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4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theme/theme5.xml" ContentType="application/vnd.openxmlformats-officedocument.theme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40" r:id="rId5"/>
    <p:sldMasterId id="2147483790" r:id="rId6"/>
    <p:sldMasterId id="2147483839" r:id="rId7"/>
    <p:sldMasterId id="2147483919" r:id="rId8"/>
    <p:sldMasterId id="2147483999" r:id="rId9"/>
    <p:sldMasterId id="2147484079" r:id="rId10"/>
    <p:sldMasterId id="2147484129" r:id="rId11"/>
    <p:sldMasterId id="2147484209" r:id="rId12"/>
    <p:sldMasterId id="2147484289" r:id="rId13"/>
    <p:sldMasterId id="2147484369" r:id="rId14"/>
    <p:sldMasterId id="2147484449" r:id="rId15"/>
    <p:sldMasterId id="2147484465" r:id="rId16"/>
  </p:sldMasterIdLst>
  <p:notesMasterIdLst>
    <p:notesMasterId r:id="rId29"/>
  </p:notesMasterIdLst>
  <p:sldIdLst>
    <p:sldId id="256" r:id="rId17"/>
    <p:sldId id="6349" r:id="rId18"/>
    <p:sldId id="6364" r:id="rId19"/>
    <p:sldId id="6354" r:id="rId20"/>
    <p:sldId id="6366" r:id="rId21"/>
    <p:sldId id="345" r:id="rId22"/>
    <p:sldId id="6361" r:id="rId23"/>
    <p:sldId id="6362" r:id="rId24"/>
    <p:sldId id="6365" r:id="rId25"/>
    <p:sldId id="6363" r:id="rId26"/>
    <p:sldId id="6367" r:id="rId27"/>
    <p:sldId id="6356" r:id="rId28"/>
  </p:sldIdLst>
  <p:sldSz cx="12192000" cy="6858000"/>
  <p:notesSz cx="6724650" cy="9774238"/>
  <p:custDataLst>
    <p:tags r:id="rId3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289"/>
    <a:srgbClr val="C09A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6" d="100"/>
          <a:sy n="86" d="100"/>
        </p:scale>
        <p:origin x="51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90410"/>
          </a:xfrm>
          <a:prstGeom prst="rect">
            <a:avLst/>
          </a:prstGeom>
        </p:spPr>
        <p:txBody>
          <a:bodyPr vert="horz" lIns="90279" tIns="45139" rIns="90279" bIns="45139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90410"/>
          </a:xfrm>
          <a:prstGeom prst="rect">
            <a:avLst/>
          </a:prstGeom>
        </p:spPr>
        <p:txBody>
          <a:bodyPr vert="horz" lIns="90279" tIns="45139" rIns="90279" bIns="45139" rtlCol="0"/>
          <a:lstStyle>
            <a:lvl1pPr algn="r">
              <a:defRPr sz="1200"/>
            </a:lvl1pPr>
          </a:lstStyle>
          <a:p>
            <a:fld id="{270A99FE-2F09-4123-80CB-DCB803FB493E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1222375"/>
            <a:ext cx="58642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279" tIns="45139" rIns="90279" bIns="45139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2465" y="4703852"/>
            <a:ext cx="5379720" cy="3848606"/>
          </a:xfrm>
          <a:prstGeom prst="rect">
            <a:avLst/>
          </a:prstGeom>
        </p:spPr>
        <p:txBody>
          <a:bodyPr vert="horz" lIns="90279" tIns="45139" rIns="90279" bIns="4513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283831"/>
            <a:ext cx="2914015" cy="490409"/>
          </a:xfrm>
          <a:prstGeom prst="rect">
            <a:avLst/>
          </a:prstGeom>
        </p:spPr>
        <p:txBody>
          <a:bodyPr vert="horz" lIns="90279" tIns="45139" rIns="90279" bIns="45139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9079" y="9283831"/>
            <a:ext cx="2914015" cy="490409"/>
          </a:xfrm>
          <a:prstGeom prst="rect">
            <a:avLst/>
          </a:prstGeom>
        </p:spPr>
        <p:txBody>
          <a:bodyPr vert="horz" lIns="90279" tIns="45139" rIns="90279" bIns="45139" rtlCol="0" anchor="b"/>
          <a:lstStyle>
            <a:lvl1pPr algn="r">
              <a:defRPr sz="1200"/>
            </a:lvl1pPr>
          </a:lstStyle>
          <a:p>
            <a:fld id="{C9B76C0D-53DD-4C97-955A-FD9130E03E2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486502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2787">
              <a:defRPr/>
            </a:pPr>
            <a:fld id="{3B9164E2-BF89-B744-BE52-CA3D061AC79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02787">
                <a:defRPr/>
              </a:pPr>
              <a:t>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488005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err="1"/>
              <a:t>Some</a:t>
            </a:r>
            <a:r>
              <a:rPr lang="da-DK" dirty="0"/>
              <a:t> </a:t>
            </a:r>
            <a:r>
              <a:rPr lang="da-DK" dirty="0" err="1"/>
              <a:t>important</a:t>
            </a:r>
            <a:r>
              <a:rPr lang="da-DK" dirty="0"/>
              <a:t> facts </a:t>
            </a:r>
            <a:r>
              <a:rPr lang="da-DK" dirty="0" err="1"/>
              <a:t>about</a:t>
            </a:r>
            <a:r>
              <a:rPr lang="da-DK" dirty="0"/>
              <a:t> Logstor</a:t>
            </a:r>
          </a:p>
          <a:p>
            <a:pPr marL="171450" indent="-171450">
              <a:buFontTx/>
              <a:buChar char="-"/>
            </a:pPr>
            <a:r>
              <a:rPr lang="da-DK" dirty="0"/>
              <a:t>+50 </a:t>
            </a:r>
            <a:r>
              <a:rPr lang="da-DK" dirty="0" err="1"/>
              <a:t>years</a:t>
            </a:r>
            <a:r>
              <a:rPr lang="da-DK" dirty="0"/>
              <a:t> of </a:t>
            </a:r>
            <a:r>
              <a:rPr lang="da-DK" dirty="0" err="1"/>
              <a:t>experience</a:t>
            </a:r>
            <a:r>
              <a:rPr lang="da-DK" dirty="0"/>
              <a:t> with the PIP</a:t>
            </a:r>
          </a:p>
          <a:p>
            <a:pPr marL="171450" indent="-171450">
              <a:buFontTx/>
              <a:buChar char="-"/>
            </a:pPr>
            <a:r>
              <a:rPr lang="da-DK" dirty="0"/>
              <a:t>Value propositions for the </a:t>
            </a:r>
            <a:r>
              <a:rPr lang="da-DK" dirty="0" err="1"/>
              <a:t>entire</a:t>
            </a:r>
            <a:r>
              <a:rPr lang="da-DK" dirty="0"/>
              <a:t> </a:t>
            </a:r>
            <a:r>
              <a:rPr lang="da-DK" dirty="0" err="1"/>
              <a:t>project</a:t>
            </a:r>
            <a:r>
              <a:rPr lang="da-DK" dirty="0"/>
              <a:t> </a:t>
            </a:r>
            <a:r>
              <a:rPr lang="da-DK" dirty="0" err="1"/>
              <a:t>cycle</a:t>
            </a:r>
            <a:r>
              <a:rPr lang="da-DK" dirty="0"/>
              <a:t>, </a:t>
            </a:r>
            <a:r>
              <a:rPr lang="da-DK" dirty="0" err="1"/>
              <a:t>before</a:t>
            </a:r>
            <a:r>
              <a:rPr lang="da-DK" dirty="0"/>
              <a:t> </a:t>
            </a:r>
            <a:r>
              <a:rPr lang="da-DK" dirty="0" err="1"/>
              <a:t>during</a:t>
            </a:r>
            <a:r>
              <a:rPr lang="da-DK" dirty="0"/>
              <a:t> and </a:t>
            </a:r>
            <a:r>
              <a:rPr lang="da-DK" dirty="0" err="1"/>
              <a:t>after</a:t>
            </a:r>
            <a:r>
              <a:rPr lang="da-DK" dirty="0"/>
              <a:t> install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164E2-BF89-B744-BE52-CA3D061AC79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4388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153.jpeg"/><Relationship Id="rId3" Type="http://schemas.openxmlformats.org/officeDocument/2006/relationships/image" Target="../media/image3.emf"/><Relationship Id="rId7" Type="http://schemas.openxmlformats.org/officeDocument/2006/relationships/image" Target="../media/image19.emf"/><Relationship Id="rId12" Type="http://schemas.openxmlformats.org/officeDocument/2006/relationships/image" Target="../media/image152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7.emf"/><Relationship Id="rId11" Type="http://schemas.openxmlformats.org/officeDocument/2006/relationships/image" Target="../media/image151.jpeg"/><Relationship Id="rId5" Type="http://schemas.openxmlformats.org/officeDocument/2006/relationships/image" Target="../media/image13.emf"/><Relationship Id="rId10" Type="http://schemas.openxmlformats.org/officeDocument/2006/relationships/image" Target="../media/image150.jpeg"/><Relationship Id="rId4" Type="http://schemas.openxmlformats.org/officeDocument/2006/relationships/image" Target="../media/image14.emf"/><Relationship Id="rId9" Type="http://schemas.openxmlformats.org/officeDocument/2006/relationships/image" Target="../media/image149.jpeg"/><Relationship Id="rId14" Type="http://schemas.openxmlformats.org/officeDocument/2006/relationships/image" Target="../media/image154.jpeg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26" Type="http://schemas.openxmlformats.org/officeDocument/2006/relationships/image" Target="../media/image47.png"/><Relationship Id="rId3" Type="http://schemas.openxmlformats.org/officeDocument/2006/relationships/image" Target="../media/image24.png"/><Relationship Id="rId21" Type="http://schemas.openxmlformats.org/officeDocument/2006/relationships/image" Target="../media/image42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5" Type="http://schemas.openxmlformats.org/officeDocument/2006/relationships/image" Target="../media/image46.pn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29" Type="http://schemas.openxmlformats.org/officeDocument/2006/relationships/image" Target="../media/image5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24" Type="http://schemas.openxmlformats.org/officeDocument/2006/relationships/image" Target="../media/image45.png"/><Relationship Id="rId32" Type="http://schemas.openxmlformats.org/officeDocument/2006/relationships/image" Target="../media/image53.pn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28" Type="http://schemas.openxmlformats.org/officeDocument/2006/relationships/image" Target="../media/image49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31" Type="http://schemas.openxmlformats.org/officeDocument/2006/relationships/image" Target="../media/image52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3.png"/><Relationship Id="rId27" Type="http://schemas.openxmlformats.org/officeDocument/2006/relationships/image" Target="../media/image48.png"/><Relationship Id="rId30" Type="http://schemas.openxmlformats.org/officeDocument/2006/relationships/image" Target="../media/image51.png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5.png"/><Relationship Id="rId18" Type="http://schemas.openxmlformats.org/officeDocument/2006/relationships/image" Target="../media/image70.png"/><Relationship Id="rId26" Type="http://schemas.openxmlformats.org/officeDocument/2006/relationships/image" Target="../media/image78.png"/><Relationship Id="rId3" Type="http://schemas.openxmlformats.org/officeDocument/2006/relationships/image" Target="../media/image55.png"/><Relationship Id="rId21" Type="http://schemas.openxmlformats.org/officeDocument/2006/relationships/image" Target="../media/image73.png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17" Type="http://schemas.openxmlformats.org/officeDocument/2006/relationships/image" Target="../media/image69.png"/><Relationship Id="rId25" Type="http://schemas.openxmlformats.org/officeDocument/2006/relationships/image" Target="../media/image77.png"/><Relationship Id="rId2" Type="http://schemas.openxmlformats.org/officeDocument/2006/relationships/image" Target="../media/image54.png"/><Relationship Id="rId16" Type="http://schemas.openxmlformats.org/officeDocument/2006/relationships/image" Target="../media/image68.png"/><Relationship Id="rId20" Type="http://schemas.openxmlformats.org/officeDocument/2006/relationships/image" Target="../media/image7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8.png"/><Relationship Id="rId11" Type="http://schemas.openxmlformats.org/officeDocument/2006/relationships/image" Target="../media/image63.png"/><Relationship Id="rId24" Type="http://schemas.openxmlformats.org/officeDocument/2006/relationships/image" Target="../media/image76.png"/><Relationship Id="rId5" Type="http://schemas.openxmlformats.org/officeDocument/2006/relationships/image" Target="../media/image57.png"/><Relationship Id="rId15" Type="http://schemas.openxmlformats.org/officeDocument/2006/relationships/image" Target="../media/image67.png"/><Relationship Id="rId23" Type="http://schemas.openxmlformats.org/officeDocument/2006/relationships/image" Target="../media/image75.png"/><Relationship Id="rId10" Type="http://schemas.openxmlformats.org/officeDocument/2006/relationships/image" Target="../media/image62.png"/><Relationship Id="rId19" Type="http://schemas.openxmlformats.org/officeDocument/2006/relationships/image" Target="../media/image71.png"/><Relationship Id="rId4" Type="http://schemas.openxmlformats.org/officeDocument/2006/relationships/image" Target="../media/image56.png"/><Relationship Id="rId9" Type="http://schemas.openxmlformats.org/officeDocument/2006/relationships/image" Target="../media/image61.png"/><Relationship Id="rId14" Type="http://schemas.openxmlformats.org/officeDocument/2006/relationships/image" Target="../media/image66.png"/><Relationship Id="rId22" Type="http://schemas.openxmlformats.org/officeDocument/2006/relationships/image" Target="../media/image74.png"/><Relationship Id="rId27" Type="http://schemas.openxmlformats.org/officeDocument/2006/relationships/image" Target="../media/image79.png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1.png"/><Relationship Id="rId18" Type="http://schemas.openxmlformats.org/officeDocument/2006/relationships/image" Target="../media/image96.png"/><Relationship Id="rId26" Type="http://schemas.openxmlformats.org/officeDocument/2006/relationships/image" Target="../media/image104.png"/><Relationship Id="rId3" Type="http://schemas.openxmlformats.org/officeDocument/2006/relationships/image" Target="../media/image81.png"/><Relationship Id="rId21" Type="http://schemas.openxmlformats.org/officeDocument/2006/relationships/image" Target="../media/image99.png"/><Relationship Id="rId7" Type="http://schemas.openxmlformats.org/officeDocument/2006/relationships/image" Target="../media/image85.png"/><Relationship Id="rId12" Type="http://schemas.openxmlformats.org/officeDocument/2006/relationships/image" Target="../media/image90.png"/><Relationship Id="rId17" Type="http://schemas.openxmlformats.org/officeDocument/2006/relationships/image" Target="../media/image95.png"/><Relationship Id="rId25" Type="http://schemas.openxmlformats.org/officeDocument/2006/relationships/image" Target="../media/image103.png"/><Relationship Id="rId33" Type="http://schemas.openxmlformats.org/officeDocument/2006/relationships/image" Target="../media/image111.png"/><Relationship Id="rId2" Type="http://schemas.openxmlformats.org/officeDocument/2006/relationships/image" Target="../media/image80.png"/><Relationship Id="rId16" Type="http://schemas.openxmlformats.org/officeDocument/2006/relationships/image" Target="../media/image94.png"/><Relationship Id="rId20" Type="http://schemas.openxmlformats.org/officeDocument/2006/relationships/image" Target="../media/image98.png"/><Relationship Id="rId29" Type="http://schemas.openxmlformats.org/officeDocument/2006/relationships/image" Target="../media/image10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24" Type="http://schemas.openxmlformats.org/officeDocument/2006/relationships/image" Target="../media/image102.png"/><Relationship Id="rId32" Type="http://schemas.openxmlformats.org/officeDocument/2006/relationships/image" Target="../media/image110.png"/><Relationship Id="rId5" Type="http://schemas.openxmlformats.org/officeDocument/2006/relationships/image" Target="../media/image83.png"/><Relationship Id="rId15" Type="http://schemas.openxmlformats.org/officeDocument/2006/relationships/image" Target="../media/image93.png"/><Relationship Id="rId23" Type="http://schemas.openxmlformats.org/officeDocument/2006/relationships/image" Target="../media/image101.png"/><Relationship Id="rId28" Type="http://schemas.openxmlformats.org/officeDocument/2006/relationships/image" Target="../media/image106.png"/><Relationship Id="rId10" Type="http://schemas.openxmlformats.org/officeDocument/2006/relationships/image" Target="../media/image88.png"/><Relationship Id="rId19" Type="http://schemas.openxmlformats.org/officeDocument/2006/relationships/image" Target="../media/image97.png"/><Relationship Id="rId31" Type="http://schemas.openxmlformats.org/officeDocument/2006/relationships/image" Target="../media/image109.png"/><Relationship Id="rId4" Type="http://schemas.openxmlformats.org/officeDocument/2006/relationships/image" Target="../media/image82.png"/><Relationship Id="rId9" Type="http://schemas.openxmlformats.org/officeDocument/2006/relationships/image" Target="../media/image87.png"/><Relationship Id="rId14" Type="http://schemas.openxmlformats.org/officeDocument/2006/relationships/image" Target="../media/image92.png"/><Relationship Id="rId22" Type="http://schemas.openxmlformats.org/officeDocument/2006/relationships/image" Target="../media/image100.png"/><Relationship Id="rId27" Type="http://schemas.openxmlformats.org/officeDocument/2006/relationships/image" Target="../media/image105.png"/><Relationship Id="rId30" Type="http://schemas.openxmlformats.org/officeDocument/2006/relationships/image" Target="../media/image108.png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openxmlformats.org/officeDocument/2006/relationships/image" Target="../media/image123.png"/><Relationship Id="rId18" Type="http://schemas.openxmlformats.org/officeDocument/2006/relationships/image" Target="../media/image128.png"/><Relationship Id="rId3" Type="http://schemas.openxmlformats.org/officeDocument/2006/relationships/image" Target="../media/image113.png"/><Relationship Id="rId21" Type="http://schemas.openxmlformats.org/officeDocument/2006/relationships/image" Target="../media/image131.png"/><Relationship Id="rId7" Type="http://schemas.openxmlformats.org/officeDocument/2006/relationships/image" Target="../media/image117.png"/><Relationship Id="rId12" Type="http://schemas.openxmlformats.org/officeDocument/2006/relationships/image" Target="../media/image122.png"/><Relationship Id="rId17" Type="http://schemas.openxmlformats.org/officeDocument/2006/relationships/image" Target="../media/image127.png"/><Relationship Id="rId2" Type="http://schemas.openxmlformats.org/officeDocument/2006/relationships/image" Target="../media/image112.png"/><Relationship Id="rId16" Type="http://schemas.openxmlformats.org/officeDocument/2006/relationships/image" Target="../media/image126.png"/><Relationship Id="rId20" Type="http://schemas.openxmlformats.org/officeDocument/2006/relationships/image" Target="../media/image13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6.png"/><Relationship Id="rId11" Type="http://schemas.openxmlformats.org/officeDocument/2006/relationships/image" Target="../media/image121.png"/><Relationship Id="rId5" Type="http://schemas.openxmlformats.org/officeDocument/2006/relationships/image" Target="../media/image115.png"/><Relationship Id="rId15" Type="http://schemas.openxmlformats.org/officeDocument/2006/relationships/image" Target="../media/image125.png"/><Relationship Id="rId10" Type="http://schemas.openxmlformats.org/officeDocument/2006/relationships/image" Target="../media/image120.png"/><Relationship Id="rId19" Type="http://schemas.openxmlformats.org/officeDocument/2006/relationships/image" Target="../media/image129.png"/><Relationship Id="rId4" Type="http://schemas.openxmlformats.org/officeDocument/2006/relationships/image" Target="../media/image114.png"/><Relationship Id="rId9" Type="http://schemas.openxmlformats.org/officeDocument/2006/relationships/image" Target="../media/image119.png"/><Relationship Id="rId14" Type="http://schemas.openxmlformats.org/officeDocument/2006/relationships/image" Target="../media/image124.png"/><Relationship Id="rId22" Type="http://schemas.openxmlformats.org/officeDocument/2006/relationships/image" Target="../media/image132.png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png"/><Relationship Id="rId13" Type="http://schemas.openxmlformats.org/officeDocument/2006/relationships/image" Target="../media/image144.png"/><Relationship Id="rId3" Type="http://schemas.openxmlformats.org/officeDocument/2006/relationships/image" Target="../media/image134.png"/><Relationship Id="rId7" Type="http://schemas.openxmlformats.org/officeDocument/2006/relationships/image" Target="../media/image138.png"/><Relationship Id="rId12" Type="http://schemas.openxmlformats.org/officeDocument/2006/relationships/image" Target="../media/image143.png"/><Relationship Id="rId2" Type="http://schemas.openxmlformats.org/officeDocument/2006/relationships/image" Target="../media/image133.png"/><Relationship Id="rId16" Type="http://schemas.openxmlformats.org/officeDocument/2006/relationships/image" Target="../media/image14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7.png"/><Relationship Id="rId11" Type="http://schemas.openxmlformats.org/officeDocument/2006/relationships/image" Target="../media/image142.png"/><Relationship Id="rId5" Type="http://schemas.openxmlformats.org/officeDocument/2006/relationships/image" Target="../media/image136.png"/><Relationship Id="rId15" Type="http://schemas.openxmlformats.org/officeDocument/2006/relationships/image" Target="../media/image146.png"/><Relationship Id="rId10" Type="http://schemas.openxmlformats.org/officeDocument/2006/relationships/image" Target="../media/image141.png"/><Relationship Id="rId4" Type="http://schemas.openxmlformats.org/officeDocument/2006/relationships/image" Target="../media/image135.png"/><Relationship Id="rId9" Type="http://schemas.openxmlformats.org/officeDocument/2006/relationships/image" Target="../media/image140.png"/><Relationship Id="rId14" Type="http://schemas.openxmlformats.org/officeDocument/2006/relationships/image" Target="../media/image145.png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9.emf"/><Relationship Id="rId4" Type="http://schemas.openxmlformats.org/officeDocument/2006/relationships/image" Target="../media/image10.jpeg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5.pn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5.png"/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6.emf"/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3.emf"/><Relationship Id="rId7" Type="http://schemas.openxmlformats.org/officeDocument/2006/relationships/image" Target="../media/image1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3" Type="http://schemas.openxmlformats.org/officeDocument/2006/relationships/image" Target="../media/image20.emf"/><Relationship Id="rId3" Type="http://schemas.openxmlformats.org/officeDocument/2006/relationships/image" Target="../media/image3.emf"/><Relationship Id="rId7" Type="http://schemas.openxmlformats.org/officeDocument/2006/relationships/image" Target="../media/image11.emf"/><Relationship Id="rId12" Type="http://schemas.openxmlformats.org/officeDocument/2006/relationships/image" Target="../media/image19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6.emf"/><Relationship Id="rId11" Type="http://schemas.openxmlformats.org/officeDocument/2006/relationships/image" Target="../media/image18.png"/><Relationship Id="rId5" Type="http://schemas.openxmlformats.org/officeDocument/2006/relationships/image" Target="../media/image15.emf"/><Relationship Id="rId10" Type="http://schemas.openxmlformats.org/officeDocument/2006/relationships/image" Target="../media/image12.emf"/><Relationship Id="rId4" Type="http://schemas.openxmlformats.org/officeDocument/2006/relationships/image" Target="../media/image14.emf"/><Relationship Id="rId9" Type="http://schemas.openxmlformats.org/officeDocument/2006/relationships/image" Target="../media/image17.emf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9.emf"/><Relationship Id="rId4" Type="http://schemas.openxmlformats.org/officeDocument/2006/relationships/image" Target="../media/image10.jpeg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26" Type="http://schemas.openxmlformats.org/officeDocument/2006/relationships/image" Target="../media/image47.png"/><Relationship Id="rId3" Type="http://schemas.openxmlformats.org/officeDocument/2006/relationships/image" Target="../media/image24.png"/><Relationship Id="rId21" Type="http://schemas.openxmlformats.org/officeDocument/2006/relationships/image" Target="../media/image42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5" Type="http://schemas.openxmlformats.org/officeDocument/2006/relationships/image" Target="../media/image46.pn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29" Type="http://schemas.openxmlformats.org/officeDocument/2006/relationships/image" Target="../media/image5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24" Type="http://schemas.openxmlformats.org/officeDocument/2006/relationships/image" Target="../media/image45.png"/><Relationship Id="rId32" Type="http://schemas.openxmlformats.org/officeDocument/2006/relationships/image" Target="../media/image53.pn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28" Type="http://schemas.openxmlformats.org/officeDocument/2006/relationships/image" Target="../media/image49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31" Type="http://schemas.openxmlformats.org/officeDocument/2006/relationships/image" Target="../media/image52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3.png"/><Relationship Id="rId27" Type="http://schemas.openxmlformats.org/officeDocument/2006/relationships/image" Target="../media/image48.png"/><Relationship Id="rId30" Type="http://schemas.openxmlformats.org/officeDocument/2006/relationships/image" Target="../media/image51.pn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5.png"/><Relationship Id="rId18" Type="http://schemas.openxmlformats.org/officeDocument/2006/relationships/image" Target="../media/image70.png"/><Relationship Id="rId26" Type="http://schemas.openxmlformats.org/officeDocument/2006/relationships/image" Target="../media/image78.png"/><Relationship Id="rId3" Type="http://schemas.openxmlformats.org/officeDocument/2006/relationships/image" Target="../media/image55.png"/><Relationship Id="rId21" Type="http://schemas.openxmlformats.org/officeDocument/2006/relationships/image" Target="../media/image73.png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17" Type="http://schemas.openxmlformats.org/officeDocument/2006/relationships/image" Target="../media/image69.png"/><Relationship Id="rId25" Type="http://schemas.openxmlformats.org/officeDocument/2006/relationships/image" Target="../media/image77.png"/><Relationship Id="rId2" Type="http://schemas.openxmlformats.org/officeDocument/2006/relationships/image" Target="../media/image54.png"/><Relationship Id="rId16" Type="http://schemas.openxmlformats.org/officeDocument/2006/relationships/image" Target="../media/image68.png"/><Relationship Id="rId20" Type="http://schemas.openxmlformats.org/officeDocument/2006/relationships/image" Target="../media/image7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8.png"/><Relationship Id="rId11" Type="http://schemas.openxmlformats.org/officeDocument/2006/relationships/image" Target="../media/image63.png"/><Relationship Id="rId24" Type="http://schemas.openxmlformats.org/officeDocument/2006/relationships/image" Target="../media/image76.png"/><Relationship Id="rId5" Type="http://schemas.openxmlformats.org/officeDocument/2006/relationships/image" Target="../media/image57.png"/><Relationship Id="rId15" Type="http://schemas.openxmlformats.org/officeDocument/2006/relationships/image" Target="../media/image67.png"/><Relationship Id="rId23" Type="http://schemas.openxmlformats.org/officeDocument/2006/relationships/image" Target="../media/image75.png"/><Relationship Id="rId10" Type="http://schemas.openxmlformats.org/officeDocument/2006/relationships/image" Target="../media/image62.png"/><Relationship Id="rId19" Type="http://schemas.openxmlformats.org/officeDocument/2006/relationships/image" Target="../media/image71.png"/><Relationship Id="rId4" Type="http://schemas.openxmlformats.org/officeDocument/2006/relationships/image" Target="../media/image56.png"/><Relationship Id="rId9" Type="http://schemas.openxmlformats.org/officeDocument/2006/relationships/image" Target="../media/image61.png"/><Relationship Id="rId14" Type="http://schemas.openxmlformats.org/officeDocument/2006/relationships/image" Target="../media/image66.png"/><Relationship Id="rId22" Type="http://schemas.openxmlformats.org/officeDocument/2006/relationships/image" Target="../media/image74.png"/><Relationship Id="rId27" Type="http://schemas.openxmlformats.org/officeDocument/2006/relationships/image" Target="../media/image79.png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1.png"/><Relationship Id="rId18" Type="http://schemas.openxmlformats.org/officeDocument/2006/relationships/image" Target="../media/image96.png"/><Relationship Id="rId26" Type="http://schemas.openxmlformats.org/officeDocument/2006/relationships/image" Target="../media/image104.png"/><Relationship Id="rId3" Type="http://schemas.openxmlformats.org/officeDocument/2006/relationships/image" Target="../media/image81.png"/><Relationship Id="rId21" Type="http://schemas.openxmlformats.org/officeDocument/2006/relationships/image" Target="../media/image99.png"/><Relationship Id="rId7" Type="http://schemas.openxmlformats.org/officeDocument/2006/relationships/image" Target="../media/image85.png"/><Relationship Id="rId12" Type="http://schemas.openxmlformats.org/officeDocument/2006/relationships/image" Target="../media/image90.png"/><Relationship Id="rId17" Type="http://schemas.openxmlformats.org/officeDocument/2006/relationships/image" Target="../media/image95.png"/><Relationship Id="rId25" Type="http://schemas.openxmlformats.org/officeDocument/2006/relationships/image" Target="../media/image103.png"/><Relationship Id="rId33" Type="http://schemas.openxmlformats.org/officeDocument/2006/relationships/image" Target="../media/image111.png"/><Relationship Id="rId2" Type="http://schemas.openxmlformats.org/officeDocument/2006/relationships/image" Target="../media/image80.png"/><Relationship Id="rId16" Type="http://schemas.openxmlformats.org/officeDocument/2006/relationships/image" Target="../media/image94.png"/><Relationship Id="rId20" Type="http://schemas.openxmlformats.org/officeDocument/2006/relationships/image" Target="../media/image98.png"/><Relationship Id="rId29" Type="http://schemas.openxmlformats.org/officeDocument/2006/relationships/image" Target="../media/image10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24" Type="http://schemas.openxmlformats.org/officeDocument/2006/relationships/image" Target="../media/image102.png"/><Relationship Id="rId32" Type="http://schemas.openxmlformats.org/officeDocument/2006/relationships/image" Target="../media/image110.png"/><Relationship Id="rId5" Type="http://schemas.openxmlformats.org/officeDocument/2006/relationships/image" Target="../media/image83.png"/><Relationship Id="rId15" Type="http://schemas.openxmlformats.org/officeDocument/2006/relationships/image" Target="../media/image93.png"/><Relationship Id="rId23" Type="http://schemas.openxmlformats.org/officeDocument/2006/relationships/image" Target="../media/image101.png"/><Relationship Id="rId28" Type="http://schemas.openxmlformats.org/officeDocument/2006/relationships/image" Target="../media/image106.png"/><Relationship Id="rId10" Type="http://schemas.openxmlformats.org/officeDocument/2006/relationships/image" Target="../media/image88.png"/><Relationship Id="rId19" Type="http://schemas.openxmlformats.org/officeDocument/2006/relationships/image" Target="../media/image97.png"/><Relationship Id="rId31" Type="http://schemas.openxmlformats.org/officeDocument/2006/relationships/image" Target="../media/image109.png"/><Relationship Id="rId4" Type="http://schemas.openxmlformats.org/officeDocument/2006/relationships/image" Target="../media/image82.png"/><Relationship Id="rId9" Type="http://schemas.openxmlformats.org/officeDocument/2006/relationships/image" Target="../media/image87.png"/><Relationship Id="rId14" Type="http://schemas.openxmlformats.org/officeDocument/2006/relationships/image" Target="../media/image92.png"/><Relationship Id="rId22" Type="http://schemas.openxmlformats.org/officeDocument/2006/relationships/image" Target="../media/image100.png"/><Relationship Id="rId27" Type="http://schemas.openxmlformats.org/officeDocument/2006/relationships/image" Target="../media/image105.png"/><Relationship Id="rId30" Type="http://schemas.openxmlformats.org/officeDocument/2006/relationships/image" Target="../media/image108.png"/></Relationships>
</file>

<file path=ppt/slideLayouts/_rels/slideLayout2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openxmlformats.org/officeDocument/2006/relationships/image" Target="../media/image123.png"/><Relationship Id="rId18" Type="http://schemas.openxmlformats.org/officeDocument/2006/relationships/image" Target="../media/image128.png"/><Relationship Id="rId3" Type="http://schemas.openxmlformats.org/officeDocument/2006/relationships/image" Target="../media/image113.png"/><Relationship Id="rId21" Type="http://schemas.openxmlformats.org/officeDocument/2006/relationships/image" Target="../media/image131.png"/><Relationship Id="rId7" Type="http://schemas.openxmlformats.org/officeDocument/2006/relationships/image" Target="../media/image117.png"/><Relationship Id="rId12" Type="http://schemas.openxmlformats.org/officeDocument/2006/relationships/image" Target="../media/image122.png"/><Relationship Id="rId17" Type="http://schemas.openxmlformats.org/officeDocument/2006/relationships/image" Target="../media/image127.png"/><Relationship Id="rId2" Type="http://schemas.openxmlformats.org/officeDocument/2006/relationships/image" Target="../media/image112.png"/><Relationship Id="rId16" Type="http://schemas.openxmlformats.org/officeDocument/2006/relationships/image" Target="../media/image126.png"/><Relationship Id="rId20" Type="http://schemas.openxmlformats.org/officeDocument/2006/relationships/image" Target="../media/image13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6.png"/><Relationship Id="rId11" Type="http://schemas.openxmlformats.org/officeDocument/2006/relationships/image" Target="../media/image121.png"/><Relationship Id="rId5" Type="http://schemas.openxmlformats.org/officeDocument/2006/relationships/image" Target="../media/image115.png"/><Relationship Id="rId15" Type="http://schemas.openxmlformats.org/officeDocument/2006/relationships/image" Target="../media/image125.png"/><Relationship Id="rId10" Type="http://schemas.openxmlformats.org/officeDocument/2006/relationships/image" Target="../media/image120.png"/><Relationship Id="rId19" Type="http://schemas.openxmlformats.org/officeDocument/2006/relationships/image" Target="../media/image129.png"/><Relationship Id="rId4" Type="http://schemas.openxmlformats.org/officeDocument/2006/relationships/image" Target="../media/image114.png"/><Relationship Id="rId9" Type="http://schemas.openxmlformats.org/officeDocument/2006/relationships/image" Target="../media/image119.png"/><Relationship Id="rId14" Type="http://schemas.openxmlformats.org/officeDocument/2006/relationships/image" Target="../media/image124.png"/><Relationship Id="rId22" Type="http://schemas.openxmlformats.org/officeDocument/2006/relationships/image" Target="../media/image132.png"/></Relationships>
</file>

<file path=ppt/slideLayouts/_rels/slideLayout2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png"/><Relationship Id="rId13" Type="http://schemas.openxmlformats.org/officeDocument/2006/relationships/image" Target="../media/image144.png"/><Relationship Id="rId3" Type="http://schemas.openxmlformats.org/officeDocument/2006/relationships/image" Target="../media/image134.png"/><Relationship Id="rId7" Type="http://schemas.openxmlformats.org/officeDocument/2006/relationships/image" Target="../media/image138.png"/><Relationship Id="rId12" Type="http://schemas.openxmlformats.org/officeDocument/2006/relationships/image" Target="../media/image143.png"/><Relationship Id="rId2" Type="http://schemas.openxmlformats.org/officeDocument/2006/relationships/image" Target="../media/image133.png"/><Relationship Id="rId16" Type="http://schemas.openxmlformats.org/officeDocument/2006/relationships/image" Target="../media/image14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37.png"/><Relationship Id="rId11" Type="http://schemas.openxmlformats.org/officeDocument/2006/relationships/image" Target="../media/image142.png"/><Relationship Id="rId5" Type="http://schemas.openxmlformats.org/officeDocument/2006/relationships/image" Target="../media/image136.png"/><Relationship Id="rId15" Type="http://schemas.openxmlformats.org/officeDocument/2006/relationships/image" Target="../media/image146.png"/><Relationship Id="rId10" Type="http://schemas.openxmlformats.org/officeDocument/2006/relationships/image" Target="../media/image141.png"/><Relationship Id="rId4" Type="http://schemas.openxmlformats.org/officeDocument/2006/relationships/image" Target="../media/image135.png"/><Relationship Id="rId9" Type="http://schemas.openxmlformats.org/officeDocument/2006/relationships/image" Target="../media/image140.png"/><Relationship Id="rId14" Type="http://schemas.openxmlformats.org/officeDocument/2006/relationships/image" Target="../media/image145.png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3" Type="http://schemas.openxmlformats.org/officeDocument/2006/relationships/image" Target="../media/image20.emf"/><Relationship Id="rId3" Type="http://schemas.openxmlformats.org/officeDocument/2006/relationships/image" Target="../media/image3.emf"/><Relationship Id="rId7" Type="http://schemas.openxmlformats.org/officeDocument/2006/relationships/image" Target="../media/image11.emf"/><Relationship Id="rId12" Type="http://schemas.openxmlformats.org/officeDocument/2006/relationships/image" Target="../media/image19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6.emf"/><Relationship Id="rId11" Type="http://schemas.openxmlformats.org/officeDocument/2006/relationships/image" Target="../media/image160.png"/><Relationship Id="rId5" Type="http://schemas.openxmlformats.org/officeDocument/2006/relationships/image" Target="../media/image15.emf"/><Relationship Id="rId10" Type="http://schemas.openxmlformats.org/officeDocument/2006/relationships/image" Target="../media/image12.emf"/><Relationship Id="rId4" Type="http://schemas.openxmlformats.org/officeDocument/2006/relationships/image" Target="../media/image14.emf"/><Relationship Id="rId9" Type="http://schemas.openxmlformats.org/officeDocument/2006/relationships/image" Target="../media/image17.emf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Master" Target="../slideMasters/slideMaster5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Master" Target="../slideMasters/slideMaster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5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5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9.jpg"/><Relationship Id="rId1" Type="http://schemas.openxmlformats.org/officeDocument/2006/relationships/slideMaster" Target="../slideMasters/slideMaster5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5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png"/><Relationship Id="rId13" Type="http://schemas.openxmlformats.org/officeDocument/2006/relationships/image" Target="../media/image174.png"/><Relationship Id="rId18" Type="http://schemas.openxmlformats.org/officeDocument/2006/relationships/image" Target="../media/image179.png"/><Relationship Id="rId26" Type="http://schemas.openxmlformats.org/officeDocument/2006/relationships/image" Target="../media/image187.png"/><Relationship Id="rId3" Type="http://schemas.openxmlformats.org/officeDocument/2006/relationships/image" Target="../media/image164.png"/><Relationship Id="rId21" Type="http://schemas.openxmlformats.org/officeDocument/2006/relationships/image" Target="../media/image182.png"/><Relationship Id="rId7" Type="http://schemas.openxmlformats.org/officeDocument/2006/relationships/image" Target="../media/image168.png"/><Relationship Id="rId12" Type="http://schemas.openxmlformats.org/officeDocument/2006/relationships/image" Target="../media/image173.png"/><Relationship Id="rId17" Type="http://schemas.openxmlformats.org/officeDocument/2006/relationships/image" Target="../media/image178.png"/><Relationship Id="rId25" Type="http://schemas.openxmlformats.org/officeDocument/2006/relationships/image" Target="../media/image186.png"/><Relationship Id="rId2" Type="http://schemas.openxmlformats.org/officeDocument/2006/relationships/image" Target="../media/image163.png"/><Relationship Id="rId16" Type="http://schemas.openxmlformats.org/officeDocument/2006/relationships/image" Target="../media/image177.png"/><Relationship Id="rId20" Type="http://schemas.openxmlformats.org/officeDocument/2006/relationships/image" Target="../media/image181.png"/><Relationship Id="rId29" Type="http://schemas.openxmlformats.org/officeDocument/2006/relationships/image" Target="../media/image19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67.png"/><Relationship Id="rId11" Type="http://schemas.openxmlformats.org/officeDocument/2006/relationships/image" Target="../media/image172.png"/><Relationship Id="rId24" Type="http://schemas.openxmlformats.org/officeDocument/2006/relationships/image" Target="../media/image185.png"/><Relationship Id="rId32" Type="http://schemas.openxmlformats.org/officeDocument/2006/relationships/image" Target="../media/image193.png"/><Relationship Id="rId5" Type="http://schemas.openxmlformats.org/officeDocument/2006/relationships/image" Target="../media/image166.png"/><Relationship Id="rId15" Type="http://schemas.openxmlformats.org/officeDocument/2006/relationships/image" Target="../media/image176.png"/><Relationship Id="rId23" Type="http://schemas.openxmlformats.org/officeDocument/2006/relationships/image" Target="../media/image184.png"/><Relationship Id="rId28" Type="http://schemas.openxmlformats.org/officeDocument/2006/relationships/image" Target="../media/image189.png"/><Relationship Id="rId10" Type="http://schemas.openxmlformats.org/officeDocument/2006/relationships/image" Target="../media/image171.png"/><Relationship Id="rId19" Type="http://schemas.openxmlformats.org/officeDocument/2006/relationships/image" Target="../media/image180.png"/><Relationship Id="rId31" Type="http://schemas.openxmlformats.org/officeDocument/2006/relationships/image" Target="../media/image192.png"/><Relationship Id="rId4" Type="http://schemas.openxmlformats.org/officeDocument/2006/relationships/image" Target="../media/image165.png"/><Relationship Id="rId9" Type="http://schemas.openxmlformats.org/officeDocument/2006/relationships/image" Target="../media/image170.png"/><Relationship Id="rId14" Type="http://schemas.openxmlformats.org/officeDocument/2006/relationships/image" Target="../media/image175.png"/><Relationship Id="rId22" Type="http://schemas.openxmlformats.org/officeDocument/2006/relationships/image" Target="../media/image183.png"/><Relationship Id="rId27" Type="http://schemas.openxmlformats.org/officeDocument/2006/relationships/image" Target="../media/image188.png"/><Relationship Id="rId30" Type="http://schemas.openxmlformats.org/officeDocument/2006/relationships/image" Target="../media/image191.png"/></Relationships>
</file>

<file path=ppt/slideLayouts/_rels/slideLayout3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0.png"/><Relationship Id="rId13" Type="http://schemas.openxmlformats.org/officeDocument/2006/relationships/image" Target="../media/image205.png"/><Relationship Id="rId18" Type="http://schemas.openxmlformats.org/officeDocument/2006/relationships/image" Target="../media/image210.png"/><Relationship Id="rId26" Type="http://schemas.openxmlformats.org/officeDocument/2006/relationships/image" Target="../media/image218.png"/><Relationship Id="rId3" Type="http://schemas.openxmlformats.org/officeDocument/2006/relationships/image" Target="../media/image195.png"/><Relationship Id="rId21" Type="http://schemas.openxmlformats.org/officeDocument/2006/relationships/image" Target="../media/image213.png"/><Relationship Id="rId7" Type="http://schemas.openxmlformats.org/officeDocument/2006/relationships/image" Target="../media/image199.png"/><Relationship Id="rId12" Type="http://schemas.openxmlformats.org/officeDocument/2006/relationships/image" Target="../media/image204.png"/><Relationship Id="rId17" Type="http://schemas.openxmlformats.org/officeDocument/2006/relationships/image" Target="../media/image209.png"/><Relationship Id="rId25" Type="http://schemas.openxmlformats.org/officeDocument/2006/relationships/image" Target="../media/image217.png"/><Relationship Id="rId2" Type="http://schemas.openxmlformats.org/officeDocument/2006/relationships/image" Target="../media/image194.png"/><Relationship Id="rId16" Type="http://schemas.openxmlformats.org/officeDocument/2006/relationships/image" Target="../media/image208.png"/><Relationship Id="rId20" Type="http://schemas.openxmlformats.org/officeDocument/2006/relationships/image" Target="../media/image21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98.png"/><Relationship Id="rId11" Type="http://schemas.openxmlformats.org/officeDocument/2006/relationships/image" Target="../media/image203.png"/><Relationship Id="rId24" Type="http://schemas.openxmlformats.org/officeDocument/2006/relationships/image" Target="../media/image216.png"/><Relationship Id="rId5" Type="http://schemas.openxmlformats.org/officeDocument/2006/relationships/image" Target="../media/image197.png"/><Relationship Id="rId15" Type="http://schemas.openxmlformats.org/officeDocument/2006/relationships/image" Target="../media/image207.png"/><Relationship Id="rId23" Type="http://schemas.openxmlformats.org/officeDocument/2006/relationships/image" Target="../media/image215.png"/><Relationship Id="rId10" Type="http://schemas.openxmlformats.org/officeDocument/2006/relationships/image" Target="../media/image202.png"/><Relationship Id="rId19" Type="http://schemas.openxmlformats.org/officeDocument/2006/relationships/image" Target="../media/image211.png"/><Relationship Id="rId4" Type="http://schemas.openxmlformats.org/officeDocument/2006/relationships/image" Target="../media/image196.png"/><Relationship Id="rId9" Type="http://schemas.openxmlformats.org/officeDocument/2006/relationships/image" Target="../media/image201.png"/><Relationship Id="rId14" Type="http://schemas.openxmlformats.org/officeDocument/2006/relationships/image" Target="../media/image206.png"/><Relationship Id="rId22" Type="http://schemas.openxmlformats.org/officeDocument/2006/relationships/image" Target="../media/image214.png"/><Relationship Id="rId27" Type="http://schemas.openxmlformats.org/officeDocument/2006/relationships/image" Target="../media/image219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6.png"/><Relationship Id="rId13" Type="http://schemas.openxmlformats.org/officeDocument/2006/relationships/image" Target="../media/image231.png"/><Relationship Id="rId18" Type="http://schemas.openxmlformats.org/officeDocument/2006/relationships/image" Target="../media/image236.png"/><Relationship Id="rId26" Type="http://schemas.openxmlformats.org/officeDocument/2006/relationships/image" Target="../media/image244.png"/><Relationship Id="rId3" Type="http://schemas.openxmlformats.org/officeDocument/2006/relationships/image" Target="../media/image221.png"/><Relationship Id="rId21" Type="http://schemas.openxmlformats.org/officeDocument/2006/relationships/image" Target="../media/image239.png"/><Relationship Id="rId7" Type="http://schemas.openxmlformats.org/officeDocument/2006/relationships/image" Target="../media/image225.png"/><Relationship Id="rId12" Type="http://schemas.openxmlformats.org/officeDocument/2006/relationships/image" Target="../media/image230.png"/><Relationship Id="rId17" Type="http://schemas.openxmlformats.org/officeDocument/2006/relationships/image" Target="../media/image235.png"/><Relationship Id="rId25" Type="http://schemas.openxmlformats.org/officeDocument/2006/relationships/image" Target="../media/image243.png"/><Relationship Id="rId33" Type="http://schemas.openxmlformats.org/officeDocument/2006/relationships/image" Target="../media/image251.png"/><Relationship Id="rId2" Type="http://schemas.openxmlformats.org/officeDocument/2006/relationships/image" Target="../media/image220.png"/><Relationship Id="rId16" Type="http://schemas.openxmlformats.org/officeDocument/2006/relationships/image" Target="../media/image234.png"/><Relationship Id="rId20" Type="http://schemas.openxmlformats.org/officeDocument/2006/relationships/image" Target="../media/image238.png"/><Relationship Id="rId29" Type="http://schemas.openxmlformats.org/officeDocument/2006/relationships/image" Target="../media/image24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24.png"/><Relationship Id="rId11" Type="http://schemas.openxmlformats.org/officeDocument/2006/relationships/image" Target="../media/image229.png"/><Relationship Id="rId24" Type="http://schemas.openxmlformats.org/officeDocument/2006/relationships/image" Target="../media/image242.png"/><Relationship Id="rId32" Type="http://schemas.openxmlformats.org/officeDocument/2006/relationships/image" Target="../media/image250.png"/><Relationship Id="rId5" Type="http://schemas.openxmlformats.org/officeDocument/2006/relationships/image" Target="../media/image223.png"/><Relationship Id="rId15" Type="http://schemas.openxmlformats.org/officeDocument/2006/relationships/image" Target="../media/image233.png"/><Relationship Id="rId23" Type="http://schemas.openxmlformats.org/officeDocument/2006/relationships/image" Target="../media/image241.png"/><Relationship Id="rId28" Type="http://schemas.openxmlformats.org/officeDocument/2006/relationships/image" Target="../media/image246.png"/><Relationship Id="rId10" Type="http://schemas.openxmlformats.org/officeDocument/2006/relationships/image" Target="../media/image228.png"/><Relationship Id="rId19" Type="http://schemas.openxmlformats.org/officeDocument/2006/relationships/image" Target="../media/image237.png"/><Relationship Id="rId31" Type="http://schemas.openxmlformats.org/officeDocument/2006/relationships/image" Target="../media/image249.png"/><Relationship Id="rId4" Type="http://schemas.openxmlformats.org/officeDocument/2006/relationships/image" Target="../media/image222.png"/><Relationship Id="rId9" Type="http://schemas.openxmlformats.org/officeDocument/2006/relationships/image" Target="../media/image227.png"/><Relationship Id="rId14" Type="http://schemas.openxmlformats.org/officeDocument/2006/relationships/image" Target="../media/image232.png"/><Relationship Id="rId22" Type="http://schemas.openxmlformats.org/officeDocument/2006/relationships/image" Target="../media/image240.png"/><Relationship Id="rId27" Type="http://schemas.openxmlformats.org/officeDocument/2006/relationships/image" Target="../media/image245.png"/><Relationship Id="rId30" Type="http://schemas.openxmlformats.org/officeDocument/2006/relationships/image" Target="../media/image248.png"/></Relationships>
</file>

<file path=ppt/slideLayouts/_rels/slideLayout3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8.png"/><Relationship Id="rId13" Type="http://schemas.openxmlformats.org/officeDocument/2006/relationships/image" Target="../media/image263.png"/><Relationship Id="rId18" Type="http://schemas.openxmlformats.org/officeDocument/2006/relationships/image" Target="../media/image268.png"/><Relationship Id="rId3" Type="http://schemas.openxmlformats.org/officeDocument/2006/relationships/image" Target="../media/image253.png"/><Relationship Id="rId21" Type="http://schemas.openxmlformats.org/officeDocument/2006/relationships/image" Target="../media/image271.png"/><Relationship Id="rId7" Type="http://schemas.openxmlformats.org/officeDocument/2006/relationships/image" Target="../media/image257.png"/><Relationship Id="rId12" Type="http://schemas.openxmlformats.org/officeDocument/2006/relationships/image" Target="../media/image262.png"/><Relationship Id="rId17" Type="http://schemas.openxmlformats.org/officeDocument/2006/relationships/image" Target="../media/image267.png"/><Relationship Id="rId2" Type="http://schemas.openxmlformats.org/officeDocument/2006/relationships/image" Target="../media/image252.png"/><Relationship Id="rId16" Type="http://schemas.openxmlformats.org/officeDocument/2006/relationships/image" Target="../media/image266.png"/><Relationship Id="rId20" Type="http://schemas.openxmlformats.org/officeDocument/2006/relationships/image" Target="../media/image27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56.png"/><Relationship Id="rId11" Type="http://schemas.openxmlformats.org/officeDocument/2006/relationships/image" Target="../media/image261.png"/><Relationship Id="rId5" Type="http://schemas.openxmlformats.org/officeDocument/2006/relationships/image" Target="../media/image255.png"/><Relationship Id="rId15" Type="http://schemas.openxmlformats.org/officeDocument/2006/relationships/image" Target="../media/image265.png"/><Relationship Id="rId10" Type="http://schemas.openxmlformats.org/officeDocument/2006/relationships/image" Target="../media/image260.png"/><Relationship Id="rId19" Type="http://schemas.openxmlformats.org/officeDocument/2006/relationships/image" Target="../media/image269.png"/><Relationship Id="rId4" Type="http://schemas.openxmlformats.org/officeDocument/2006/relationships/image" Target="../media/image254.png"/><Relationship Id="rId9" Type="http://schemas.openxmlformats.org/officeDocument/2006/relationships/image" Target="../media/image259.png"/><Relationship Id="rId14" Type="http://schemas.openxmlformats.org/officeDocument/2006/relationships/image" Target="../media/image264.png"/><Relationship Id="rId22" Type="http://schemas.openxmlformats.org/officeDocument/2006/relationships/image" Target="../media/image272.png"/></Relationships>
</file>

<file path=ppt/slideLayouts/_rels/slideLayout3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9.png"/><Relationship Id="rId13" Type="http://schemas.openxmlformats.org/officeDocument/2006/relationships/image" Target="../media/image284.png"/><Relationship Id="rId3" Type="http://schemas.openxmlformats.org/officeDocument/2006/relationships/image" Target="../media/image274.png"/><Relationship Id="rId7" Type="http://schemas.openxmlformats.org/officeDocument/2006/relationships/image" Target="../media/image278.png"/><Relationship Id="rId12" Type="http://schemas.openxmlformats.org/officeDocument/2006/relationships/image" Target="../media/image283.png"/><Relationship Id="rId2" Type="http://schemas.openxmlformats.org/officeDocument/2006/relationships/image" Target="../media/image273.png"/><Relationship Id="rId16" Type="http://schemas.openxmlformats.org/officeDocument/2006/relationships/image" Target="../media/image28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77.png"/><Relationship Id="rId11" Type="http://schemas.openxmlformats.org/officeDocument/2006/relationships/image" Target="../media/image282.png"/><Relationship Id="rId5" Type="http://schemas.openxmlformats.org/officeDocument/2006/relationships/image" Target="../media/image276.png"/><Relationship Id="rId15" Type="http://schemas.openxmlformats.org/officeDocument/2006/relationships/image" Target="../media/image286.png"/><Relationship Id="rId10" Type="http://schemas.openxmlformats.org/officeDocument/2006/relationships/image" Target="../media/image281.png"/><Relationship Id="rId4" Type="http://schemas.openxmlformats.org/officeDocument/2006/relationships/image" Target="../media/image275.png"/><Relationship Id="rId9" Type="http://schemas.openxmlformats.org/officeDocument/2006/relationships/image" Target="../media/image280.png"/><Relationship Id="rId14" Type="http://schemas.openxmlformats.org/officeDocument/2006/relationships/image" Target="../media/image285.png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6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6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6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6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3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3" Type="http://schemas.openxmlformats.org/officeDocument/2006/relationships/image" Target="../media/image20.emf"/><Relationship Id="rId3" Type="http://schemas.openxmlformats.org/officeDocument/2006/relationships/image" Target="../media/image3.emf"/><Relationship Id="rId7" Type="http://schemas.openxmlformats.org/officeDocument/2006/relationships/image" Target="../media/image11.emf"/><Relationship Id="rId12" Type="http://schemas.openxmlformats.org/officeDocument/2006/relationships/image" Target="../media/image19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6.emf"/><Relationship Id="rId11" Type="http://schemas.openxmlformats.org/officeDocument/2006/relationships/image" Target="../media/image160.png"/><Relationship Id="rId5" Type="http://schemas.openxmlformats.org/officeDocument/2006/relationships/image" Target="../media/image15.emf"/><Relationship Id="rId10" Type="http://schemas.openxmlformats.org/officeDocument/2006/relationships/image" Target="../media/image12.emf"/><Relationship Id="rId4" Type="http://schemas.openxmlformats.org/officeDocument/2006/relationships/image" Target="../media/image14.emf"/><Relationship Id="rId9" Type="http://schemas.openxmlformats.org/officeDocument/2006/relationships/image" Target="../media/image17.emf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Master" Target="../slideMasters/slideMaster6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Master" Target="../slideMasters/slideMaster6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6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6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9.jpg"/><Relationship Id="rId1" Type="http://schemas.openxmlformats.org/officeDocument/2006/relationships/slideMaster" Target="../slideMasters/slideMaster6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6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6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6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6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6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6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6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6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6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6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6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4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png"/><Relationship Id="rId13" Type="http://schemas.openxmlformats.org/officeDocument/2006/relationships/image" Target="../media/image174.png"/><Relationship Id="rId18" Type="http://schemas.openxmlformats.org/officeDocument/2006/relationships/image" Target="../media/image179.png"/><Relationship Id="rId26" Type="http://schemas.openxmlformats.org/officeDocument/2006/relationships/image" Target="../media/image187.png"/><Relationship Id="rId3" Type="http://schemas.openxmlformats.org/officeDocument/2006/relationships/image" Target="../media/image164.png"/><Relationship Id="rId21" Type="http://schemas.openxmlformats.org/officeDocument/2006/relationships/image" Target="../media/image182.png"/><Relationship Id="rId7" Type="http://schemas.openxmlformats.org/officeDocument/2006/relationships/image" Target="../media/image168.png"/><Relationship Id="rId12" Type="http://schemas.openxmlformats.org/officeDocument/2006/relationships/image" Target="../media/image173.png"/><Relationship Id="rId17" Type="http://schemas.openxmlformats.org/officeDocument/2006/relationships/image" Target="../media/image178.png"/><Relationship Id="rId25" Type="http://schemas.openxmlformats.org/officeDocument/2006/relationships/image" Target="../media/image186.png"/><Relationship Id="rId2" Type="http://schemas.openxmlformats.org/officeDocument/2006/relationships/image" Target="../media/image163.png"/><Relationship Id="rId16" Type="http://schemas.openxmlformats.org/officeDocument/2006/relationships/image" Target="../media/image177.png"/><Relationship Id="rId20" Type="http://schemas.openxmlformats.org/officeDocument/2006/relationships/image" Target="../media/image181.png"/><Relationship Id="rId29" Type="http://schemas.openxmlformats.org/officeDocument/2006/relationships/image" Target="../media/image190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67.png"/><Relationship Id="rId11" Type="http://schemas.openxmlformats.org/officeDocument/2006/relationships/image" Target="../media/image172.png"/><Relationship Id="rId24" Type="http://schemas.openxmlformats.org/officeDocument/2006/relationships/image" Target="../media/image185.png"/><Relationship Id="rId32" Type="http://schemas.openxmlformats.org/officeDocument/2006/relationships/image" Target="../media/image193.png"/><Relationship Id="rId5" Type="http://schemas.openxmlformats.org/officeDocument/2006/relationships/image" Target="../media/image166.png"/><Relationship Id="rId15" Type="http://schemas.openxmlformats.org/officeDocument/2006/relationships/image" Target="../media/image176.png"/><Relationship Id="rId23" Type="http://schemas.openxmlformats.org/officeDocument/2006/relationships/image" Target="../media/image184.png"/><Relationship Id="rId28" Type="http://schemas.openxmlformats.org/officeDocument/2006/relationships/image" Target="../media/image189.png"/><Relationship Id="rId10" Type="http://schemas.openxmlformats.org/officeDocument/2006/relationships/image" Target="../media/image171.png"/><Relationship Id="rId19" Type="http://schemas.openxmlformats.org/officeDocument/2006/relationships/image" Target="../media/image180.png"/><Relationship Id="rId31" Type="http://schemas.openxmlformats.org/officeDocument/2006/relationships/image" Target="../media/image192.png"/><Relationship Id="rId4" Type="http://schemas.openxmlformats.org/officeDocument/2006/relationships/image" Target="../media/image165.png"/><Relationship Id="rId9" Type="http://schemas.openxmlformats.org/officeDocument/2006/relationships/image" Target="../media/image170.png"/><Relationship Id="rId14" Type="http://schemas.openxmlformats.org/officeDocument/2006/relationships/image" Target="../media/image175.png"/><Relationship Id="rId22" Type="http://schemas.openxmlformats.org/officeDocument/2006/relationships/image" Target="../media/image183.png"/><Relationship Id="rId27" Type="http://schemas.openxmlformats.org/officeDocument/2006/relationships/image" Target="../media/image188.png"/><Relationship Id="rId30" Type="http://schemas.openxmlformats.org/officeDocument/2006/relationships/image" Target="../media/image191.png"/></Relationships>
</file>

<file path=ppt/slideLayouts/_rels/slideLayout4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0.png"/><Relationship Id="rId13" Type="http://schemas.openxmlformats.org/officeDocument/2006/relationships/image" Target="../media/image205.png"/><Relationship Id="rId18" Type="http://schemas.openxmlformats.org/officeDocument/2006/relationships/image" Target="../media/image210.png"/><Relationship Id="rId26" Type="http://schemas.openxmlformats.org/officeDocument/2006/relationships/image" Target="../media/image218.png"/><Relationship Id="rId3" Type="http://schemas.openxmlformats.org/officeDocument/2006/relationships/image" Target="../media/image195.png"/><Relationship Id="rId21" Type="http://schemas.openxmlformats.org/officeDocument/2006/relationships/image" Target="../media/image213.png"/><Relationship Id="rId7" Type="http://schemas.openxmlformats.org/officeDocument/2006/relationships/image" Target="../media/image199.png"/><Relationship Id="rId12" Type="http://schemas.openxmlformats.org/officeDocument/2006/relationships/image" Target="../media/image204.png"/><Relationship Id="rId17" Type="http://schemas.openxmlformats.org/officeDocument/2006/relationships/image" Target="../media/image209.png"/><Relationship Id="rId25" Type="http://schemas.openxmlformats.org/officeDocument/2006/relationships/image" Target="../media/image217.png"/><Relationship Id="rId2" Type="http://schemas.openxmlformats.org/officeDocument/2006/relationships/image" Target="../media/image194.png"/><Relationship Id="rId16" Type="http://schemas.openxmlformats.org/officeDocument/2006/relationships/image" Target="../media/image208.png"/><Relationship Id="rId20" Type="http://schemas.openxmlformats.org/officeDocument/2006/relationships/image" Target="../media/image21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98.png"/><Relationship Id="rId11" Type="http://schemas.openxmlformats.org/officeDocument/2006/relationships/image" Target="../media/image203.png"/><Relationship Id="rId24" Type="http://schemas.openxmlformats.org/officeDocument/2006/relationships/image" Target="../media/image216.png"/><Relationship Id="rId5" Type="http://schemas.openxmlformats.org/officeDocument/2006/relationships/image" Target="../media/image197.png"/><Relationship Id="rId15" Type="http://schemas.openxmlformats.org/officeDocument/2006/relationships/image" Target="../media/image207.png"/><Relationship Id="rId23" Type="http://schemas.openxmlformats.org/officeDocument/2006/relationships/image" Target="../media/image215.png"/><Relationship Id="rId10" Type="http://schemas.openxmlformats.org/officeDocument/2006/relationships/image" Target="../media/image202.png"/><Relationship Id="rId19" Type="http://schemas.openxmlformats.org/officeDocument/2006/relationships/image" Target="../media/image211.png"/><Relationship Id="rId4" Type="http://schemas.openxmlformats.org/officeDocument/2006/relationships/image" Target="../media/image196.png"/><Relationship Id="rId9" Type="http://schemas.openxmlformats.org/officeDocument/2006/relationships/image" Target="../media/image201.png"/><Relationship Id="rId14" Type="http://schemas.openxmlformats.org/officeDocument/2006/relationships/image" Target="../media/image206.png"/><Relationship Id="rId22" Type="http://schemas.openxmlformats.org/officeDocument/2006/relationships/image" Target="../media/image214.png"/><Relationship Id="rId27" Type="http://schemas.openxmlformats.org/officeDocument/2006/relationships/image" Target="../media/image219.png"/></Relationships>
</file>

<file path=ppt/slideLayouts/_rels/slideLayout4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6.png"/><Relationship Id="rId13" Type="http://schemas.openxmlformats.org/officeDocument/2006/relationships/image" Target="../media/image231.png"/><Relationship Id="rId18" Type="http://schemas.openxmlformats.org/officeDocument/2006/relationships/image" Target="../media/image236.png"/><Relationship Id="rId26" Type="http://schemas.openxmlformats.org/officeDocument/2006/relationships/image" Target="../media/image244.png"/><Relationship Id="rId3" Type="http://schemas.openxmlformats.org/officeDocument/2006/relationships/image" Target="../media/image221.png"/><Relationship Id="rId21" Type="http://schemas.openxmlformats.org/officeDocument/2006/relationships/image" Target="../media/image239.png"/><Relationship Id="rId7" Type="http://schemas.openxmlformats.org/officeDocument/2006/relationships/image" Target="../media/image225.png"/><Relationship Id="rId12" Type="http://schemas.openxmlformats.org/officeDocument/2006/relationships/image" Target="../media/image230.png"/><Relationship Id="rId17" Type="http://schemas.openxmlformats.org/officeDocument/2006/relationships/image" Target="../media/image235.png"/><Relationship Id="rId25" Type="http://schemas.openxmlformats.org/officeDocument/2006/relationships/image" Target="../media/image243.png"/><Relationship Id="rId33" Type="http://schemas.openxmlformats.org/officeDocument/2006/relationships/image" Target="../media/image251.png"/><Relationship Id="rId2" Type="http://schemas.openxmlformats.org/officeDocument/2006/relationships/image" Target="../media/image220.png"/><Relationship Id="rId16" Type="http://schemas.openxmlformats.org/officeDocument/2006/relationships/image" Target="../media/image234.png"/><Relationship Id="rId20" Type="http://schemas.openxmlformats.org/officeDocument/2006/relationships/image" Target="../media/image238.png"/><Relationship Id="rId29" Type="http://schemas.openxmlformats.org/officeDocument/2006/relationships/image" Target="../media/image24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24.png"/><Relationship Id="rId11" Type="http://schemas.openxmlformats.org/officeDocument/2006/relationships/image" Target="../media/image229.png"/><Relationship Id="rId24" Type="http://schemas.openxmlformats.org/officeDocument/2006/relationships/image" Target="../media/image242.png"/><Relationship Id="rId32" Type="http://schemas.openxmlformats.org/officeDocument/2006/relationships/image" Target="../media/image250.png"/><Relationship Id="rId5" Type="http://schemas.openxmlformats.org/officeDocument/2006/relationships/image" Target="../media/image223.png"/><Relationship Id="rId15" Type="http://schemas.openxmlformats.org/officeDocument/2006/relationships/image" Target="../media/image233.png"/><Relationship Id="rId23" Type="http://schemas.openxmlformats.org/officeDocument/2006/relationships/image" Target="../media/image241.png"/><Relationship Id="rId28" Type="http://schemas.openxmlformats.org/officeDocument/2006/relationships/image" Target="../media/image246.png"/><Relationship Id="rId10" Type="http://schemas.openxmlformats.org/officeDocument/2006/relationships/image" Target="../media/image228.png"/><Relationship Id="rId19" Type="http://schemas.openxmlformats.org/officeDocument/2006/relationships/image" Target="../media/image237.png"/><Relationship Id="rId31" Type="http://schemas.openxmlformats.org/officeDocument/2006/relationships/image" Target="../media/image249.png"/><Relationship Id="rId4" Type="http://schemas.openxmlformats.org/officeDocument/2006/relationships/image" Target="../media/image222.png"/><Relationship Id="rId9" Type="http://schemas.openxmlformats.org/officeDocument/2006/relationships/image" Target="../media/image227.png"/><Relationship Id="rId14" Type="http://schemas.openxmlformats.org/officeDocument/2006/relationships/image" Target="../media/image232.png"/><Relationship Id="rId22" Type="http://schemas.openxmlformats.org/officeDocument/2006/relationships/image" Target="../media/image240.png"/><Relationship Id="rId27" Type="http://schemas.openxmlformats.org/officeDocument/2006/relationships/image" Target="../media/image245.png"/><Relationship Id="rId30" Type="http://schemas.openxmlformats.org/officeDocument/2006/relationships/image" Target="../media/image248.pn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8.png"/><Relationship Id="rId13" Type="http://schemas.openxmlformats.org/officeDocument/2006/relationships/image" Target="../media/image263.png"/><Relationship Id="rId18" Type="http://schemas.openxmlformats.org/officeDocument/2006/relationships/image" Target="../media/image268.png"/><Relationship Id="rId3" Type="http://schemas.openxmlformats.org/officeDocument/2006/relationships/image" Target="../media/image253.png"/><Relationship Id="rId21" Type="http://schemas.openxmlformats.org/officeDocument/2006/relationships/image" Target="../media/image271.png"/><Relationship Id="rId7" Type="http://schemas.openxmlformats.org/officeDocument/2006/relationships/image" Target="../media/image257.png"/><Relationship Id="rId12" Type="http://schemas.openxmlformats.org/officeDocument/2006/relationships/image" Target="../media/image262.png"/><Relationship Id="rId17" Type="http://schemas.openxmlformats.org/officeDocument/2006/relationships/image" Target="../media/image267.png"/><Relationship Id="rId2" Type="http://schemas.openxmlformats.org/officeDocument/2006/relationships/image" Target="../media/image252.png"/><Relationship Id="rId16" Type="http://schemas.openxmlformats.org/officeDocument/2006/relationships/image" Target="../media/image266.png"/><Relationship Id="rId20" Type="http://schemas.openxmlformats.org/officeDocument/2006/relationships/image" Target="../media/image270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56.png"/><Relationship Id="rId11" Type="http://schemas.openxmlformats.org/officeDocument/2006/relationships/image" Target="../media/image261.png"/><Relationship Id="rId5" Type="http://schemas.openxmlformats.org/officeDocument/2006/relationships/image" Target="../media/image255.png"/><Relationship Id="rId15" Type="http://schemas.openxmlformats.org/officeDocument/2006/relationships/image" Target="../media/image265.png"/><Relationship Id="rId10" Type="http://schemas.openxmlformats.org/officeDocument/2006/relationships/image" Target="../media/image260.png"/><Relationship Id="rId19" Type="http://schemas.openxmlformats.org/officeDocument/2006/relationships/image" Target="../media/image269.png"/><Relationship Id="rId4" Type="http://schemas.openxmlformats.org/officeDocument/2006/relationships/image" Target="../media/image254.png"/><Relationship Id="rId9" Type="http://schemas.openxmlformats.org/officeDocument/2006/relationships/image" Target="../media/image259.png"/><Relationship Id="rId14" Type="http://schemas.openxmlformats.org/officeDocument/2006/relationships/image" Target="../media/image264.png"/><Relationship Id="rId22" Type="http://schemas.openxmlformats.org/officeDocument/2006/relationships/image" Target="../media/image272.png"/></Relationships>
</file>

<file path=ppt/slideLayouts/_rels/slideLayout4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9.png"/><Relationship Id="rId13" Type="http://schemas.openxmlformats.org/officeDocument/2006/relationships/image" Target="../media/image284.png"/><Relationship Id="rId3" Type="http://schemas.openxmlformats.org/officeDocument/2006/relationships/image" Target="../media/image274.png"/><Relationship Id="rId7" Type="http://schemas.openxmlformats.org/officeDocument/2006/relationships/image" Target="../media/image278.png"/><Relationship Id="rId12" Type="http://schemas.openxmlformats.org/officeDocument/2006/relationships/image" Target="../media/image283.png"/><Relationship Id="rId2" Type="http://schemas.openxmlformats.org/officeDocument/2006/relationships/image" Target="../media/image273.png"/><Relationship Id="rId16" Type="http://schemas.openxmlformats.org/officeDocument/2006/relationships/image" Target="../media/image28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77.png"/><Relationship Id="rId11" Type="http://schemas.openxmlformats.org/officeDocument/2006/relationships/image" Target="../media/image282.png"/><Relationship Id="rId5" Type="http://schemas.openxmlformats.org/officeDocument/2006/relationships/image" Target="../media/image276.png"/><Relationship Id="rId15" Type="http://schemas.openxmlformats.org/officeDocument/2006/relationships/image" Target="../media/image286.png"/><Relationship Id="rId10" Type="http://schemas.openxmlformats.org/officeDocument/2006/relationships/image" Target="../media/image281.png"/><Relationship Id="rId4" Type="http://schemas.openxmlformats.org/officeDocument/2006/relationships/image" Target="../media/image275.png"/><Relationship Id="rId9" Type="http://schemas.openxmlformats.org/officeDocument/2006/relationships/image" Target="../media/image280.png"/><Relationship Id="rId14" Type="http://schemas.openxmlformats.org/officeDocument/2006/relationships/image" Target="../media/image285.png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7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7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3" Type="http://schemas.openxmlformats.org/officeDocument/2006/relationships/image" Target="../media/image20.emf"/><Relationship Id="rId3" Type="http://schemas.openxmlformats.org/officeDocument/2006/relationships/image" Target="../media/image3.emf"/><Relationship Id="rId7" Type="http://schemas.openxmlformats.org/officeDocument/2006/relationships/image" Target="../media/image11.emf"/><Relationship Id="rId12" Type="http://schemas.openxmlformats.org/officeDocument/2006/relationships/image" Target="../media/image19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emf"/><Relationship Id="rId11" Type="http://schemas.openxmlformats.org/officeDocument/2006/relationships/image" Target="../media/image18.png"/><Relationship Id="rId5" Type="http://schemas.openxmlformats.org/officeDocument/2006/relationships/image" Target="../media/image15.emf"/><Relationship Id="rId10" Type="http://schemas.openxmlformats.org/officeDocument/2006/relationships/image" Target="../media/image12.emf"/><Relationship Id="rId4" Type="http://schemas.openxmlformats.org/officeDocument/2006/relationships/image" Target="../media/image14.emf"/><Relationship Id="rId9" Type="http://schemas.openxmlformats.org/officeDocument/2006/relationships/image" Target="../media/image17.emf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7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7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7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7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7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93.jpg"/><Relationship Id="rId3" Type="http://schemas.openxmlformats.org/officeDocument/2006/relationships/image" Target="../media/image3.emf"/><Relationship Id="rId7" Type="http://schemas.openxmlformats.org/officeDocument/2006/relationships/image" Target="../media/image19.emf"/><Relationship Id="rId12" Type="http://schemas.openxmlformats.org/officeDocument/2006/relationships/image" Target="../media/image292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7.emf"/><Relationship Id="rId11" Type="http://schemas.openxmlformats.org/officeDocument/2006/relationships/image" Target="../media/image291.jpg"/><Relationship Id="rId5" Type="http://schemas.openxmlformats.org/officeDocument/2006/relationships/image" Target="../media/image13.emf"/><Relationship Id="rId10" Type="http://schemas.openxmlformats.org/officeDocument/2006/relationships/image" Target="../media/image290.jpg"/><Relationship Id="rId4" Type="http://schemas.openxmlformats.org/officeDocument/2006/relationships/image" Target="../media/image14.emf"/><Relationship Id="rId9" Type="http://schemas.openxmlformats.org/officeDocument/2006/relationships/image" Target="../media/image289.jpg"/><Relationship Id="rId14" Type="http://schemas.openxmlformats.org/officeDocument/2006/relationships/image" Target="../media/image294.jpg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Master" Target="../slideMasters/slideMaster7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4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png"/><Relationship Id="rId13" Type="http://schemas.openxmlformats.org/officeDocument/2006/relationships/image" Target="../media/image174.png"/><Relationship Id="rId18" Type="http://schemas.openxmlformats.org/officeDocument/2006/relationships/image" Target="../media/image179.png"/><Relationship Id="rId26" Type="http://schemas.openxmlformats.org/officeDocument/2006/relationships/image" Target="../media/image187.png"/><Relationship Id="rId3" Type="http://schemas.openxmlformats.org/officeDocument/2006/relationships/image" Target="../media/image164.png"/><Relationship Id="rId21" Type="http://schemas.openxmlformats.org/officeDocument/2006/relationships/image" Target="../media/image182.png"/><Relationship Id="rId7" Type="http://schemas.openxmlformats.org/officeDocument/2006/relationships/image" Target="../media/image168.png"/><Relationship Id="rId12" Type="http://schemas.openxmlformats.org/officeDocument/2006/relationships/image" Target="../media/image173.png"/><Relationship Id="rId17" Type="http://schemas.openxmlformats.org/officeDocument/2006/relationships/image" Target="../media/image178.png"/><Relationship Id="rId25" Type="http://schemas.openxmlformats.org/officeDocument/2006/relationships/image" Target="../media/image186.png"/><Relationship Id="rId2" Type="http://schemas.openxmlformats.org/officeDocument/2006/relationships/image" Target="../media/image163.png"/><Relationship Id="rId16" Type="http://schemas.openxmlformats.org/officeDocument/2006/relationships/image" Target="../media/image177.png"/><Relationship Id="rId20" Type="http://schemas.openxmlformats.org/officeDocument/2006/relationships/image" Target="../media/image181.png"/><Relationship Id="rId29" Type="http://schemas.openxmlformats.org/officeDocument/2006/relationships/image" Target="../media/image19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67.png"/><Relationship Id="rId11" Type="http://schemas.openxmlformats.org/officeDocument/2006/relationships/image" Target="../media/image172.png"/><Relationship Id="rId24" Type="http://schemas.openxmlformats.org/officeDocument/2006/relationships/image" Target="../media/image185.png"/><Relationship Id="rId32" Type="http://schemas.openxmlformats.org/officeDocument/2006/relationships/image" Target="../media/image193.png"/><Relationship Id="rId5" Type="http://schemas.openxmlformats.org/officeDocument/2006/relationships/image" Target="../media/image166.png"/><Relationship Id="rId15" Type="http://schemas.openxmlformats.org/officeDocument/2006/relationships/image" Target="../media/image176.png"/><Relationship Id="rId23" Type="http://schemas.openxmlformats.org/officeDocument/2006/relationships/image" Target="../media/image184.png"/><Relationship Id="rId28" Type="http://schemas.openxmlformats.org/officeDocument/2006/relationships/image" Target="../media/image189.png"/><Relationship Id="rId10" Type="http://schemas.openxmlformats.org/officeDocument/2006/relationships/image" Target="../media/image171.png"/><Relationship Id="rId19" Type="http://schemas.openxmlformats.org/officeDocument/2006/relationships/image" Target="../media/image180.png"/><Relationship Id="rId31" Type="http://schemas.openxmlformats.org/officeDocument/2006/relationships/image" Target="../media/image192.png"/><Relationship Id="rId4" Type="http://schemas.openxmlformats.org/officeDocument/2006/relationships/image" Target="../media/image165.png"/><Relationship Id="rId9" Type="http://schemas.openxmlformats.org/officeDocument/2006/relationships/image" Target="../media/image170.png"/><Relationship Id="rId14" Type="http://schemas.openxmlformats.org/officeDocument/2006/relationships/image" Target="../media/image175.png"/><Relationship Id="rId22" Type="http://schemas.openxmlformats.org/officeDocument/2006/relationships/image" Target="../media/image183.png"/><Relationship Id="rId27" Type="http://schemas.openxmlformats.org/officeDocument/2006/relationships/image" Target="../media/image188.png"/><Relationship Id="rId30" Type="http://schemas.openxmlformats.org/officeDocument/2006/relationships/image" Target="../media/image191.png"/></Relationships>
</file>

<file path=ppt/slideLayouts/_rels/slideLayout4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0.png"/><Relationship Id="rId13" Type="http://schemas.openxmlformats.org/officeDocument/2006/relationships/image" Target="../media/image205.png"/><Relationship Id="rId18" Type="http://schemas.openxmlformats.org/officeDocument/2006/relationships/image" Target="../media/image210.png"/><Relationship Id="rId26" Type="http://schemas.openxmlformats.org/officeDocument/2006/relationships/image" Target="../media/image218.png"/><Relationship Id="rId3" Type="http://schemas.openxmlformats.org/officeDocument/2006/relationships/image" Target="../media/image195.png"/><Relationship Id="rId21" Type="http://schemas.openxmlformats.org/officeDocument/2006/relationships/image" Target="../media/image213.png"/><Relationship Id="rId7" Type="http://schemas.openxmlformats.org/officeDocument/2006/relationships/image" Target="../media/image199.png"/><Relationship Id="rId12" Type="http://schemas.openxmlformats.org/officeDocument/2006/relationships/image" Target="../media/image204.png"/><Relationship Id="rId17" Type="http://schemas.openxmlformats.org/officeDocument/2006/relationships/image" Target="../media/image209.png"/><Relationship Id="rId25" Type="http://schemas.openxmlformats.org/officeDocument/2006/relationships/image" Target="../media/image217.png"/><Relationship Id="rId2" Type="http://schemas.openxmlformats.org/officeDocument/2006/relationships/image" Target="../media/image194.png"/><Relationship Id="rId16" Type="http://schemas.openxmlformats.org/officeDocument/2006/relationships/image" Target="../media/image208.png"/><Relationship Id="rId20" Type="http://schemas.openxmlformats.org/officeDocument/2006/relationships/image" Target="../media/image212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98.png"/><Relationship Id="rId11" Type="http://schemas.openxmlformats.org/officeDocument/2006/relationships/image" Target="../media/image203.png"/><Relationship Id="rId24" Type="http://schemas.openxmlformats.org/officeDocument/2006/relationships/image" Target="../media/image216.png"/><Relationship Id="rId5" Type="http://schemas.openxmlformats.org/officeDocument/2006/relationships/image" Target="../media/image197.png"/><Relationship Id="rId15" Type="http://schemas.openxmlformats.org/officeDocument/2006/relationships/image" Target="../media/image207.png"/><Relationship Id="rId23" Type="http://schemas.openxmlformats.org/officeDocument/2006/relationships/image" Target="../media/image215.png"/><Relationship Id="rId10" Type="http://schemas.openxmlformats.org/officeDocument/2006/relationships/image" Target="../media/image202.png"/><Relationship Id="rId19" Type="http://schemas.openxmlformats.org/officeDocument/2006/relationships/image" Target="../media/image211.png"/><Relationship Id="rId4" Type="http://schemas.openxmlformats.org/officeDocument/2006/relationships/image" Target="../media/image196.png"/><Relationship Id="rId9" Type="http://schemas.openxmlformats.org/officeDocument/2006/relationships/image" Target="../media/image201.png"/><Relationship Id="rId14" Type="http://schemas.openxmlformats.org/officeDocument/2006/relationships/image" Target="../media/image206.png"/><Relationship Id="rId22" Type="http://schemas.openxmlformats.org/officeDocument/2006/relationships/image" Target="../media/image214.png"/><Relationship Id="rId27" Type="http://schemas.openxmlformats.org/officeDocument/2006/relationships/image" Target="../media/image219.png"/></Relationships>
</file>

<file path=ppt/slideLayouts/_rels/slideLayout4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6.png"/><Relationship Id="rId13" Type="http://schemas.openxmlformats.org/officeDocument/2006/relationships/image" Target="../media/image231.png"/><Relationship Id="rId18" Type="http://schemas.openxmlformats.org/officeDocument/2006/relationships/image" Target="../media/image236.png"/><Relationship Id="rId26" Type="http://schemas.openxmlformats.org/officeDocument/2006/relationships/image" Target="../media/image244.png"/><Relationship Id="rId3" Type="http://schemas.openxmlformats.org/officeDocument/2006/relationships/image" Target="../media/image221.png"/><Relationship Id="rId21" Type="http://schemas.openxmlformats.org/officeDocument/2006/relationships/image" Target="../media/image239.png"/><Relationship Id="rId7" Type="http://schemas.openxmlformats.org/officeDocument/2006/relationships/image" Target="../media/image225.png"/><Relationship Id="rId12" Type="http://schemas.openxmlformats.org/officeDocument/2006/relationships/image" Target="../media/image230.png"/><Relationship Id="rId17" Type="http://schemas.openxmlformats.org/officeDocument/2006/relationships/image" Target="../media/image235.png"/><Relationship Id="rId25" Type="http://schemas.openxmlformats.org/officeDocument/2006/relationships/image" Target="../media/image243.png"/><Relationship Id="rId33" Type="http://schemas.openxmlformats.org/officeDocument/2006/relationships/image" Target="../media/image251.png"/><Relationship Id="rId2" Type="http://schemas.openxmlformats.org/officeDocument/2006/relationships/image" Target="../media/image220.png"/><Relationship Id="rId16" Type="http://schemas.openxmlformats.org/officeDocument/2006/relationships/image" Target="../media/image234.png"/><Relationship Id="rId20" Type="http://schemas.openxmlformats.org/officeDocument/2006/relationships/image" Target="../media/image238.png"/><Relationship Id="rId29" Type="http://schemas.openxmlformats.org/officeDocument/2006/relationships/image" Target="../media/image247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24.png"/><Relationship Id="rId11" Type="http://schemas.openxmlformats.org/officeDocument/2006/relationships/image" Target="../media/image229.png"/><Relationship Id="rId24" Type="http://schemas.openxmlformats.org/officeDocument/2006/relationships/image" Target="../media/image242.png"/><Relationship Id="rId32" Type="http://schemas.openxmlformats.org/officeDocument/2006/relationships/image" Target="../media/image250.png"/><Relationship Id="rId5" Type="http://schemas.openxmlformats.org/officeDocument/2006/relationships/image" Target="../media/image223.png"/><Relationship Id="rId15" Type="http://schemas.openxmlformats.org/officeDocument/2006/relationships/image" Target="../media/image233.png"/><Relationship Id="rId23" Type="http://schemas.openxmlformats.org/officeDocument/2006/relationships/image" Target="../media/image241.png"/><Relationship Id="rId28" Type="http://schemas.openxmlformats.org/officeDocument/2006/relationships/image" Target="../media/image246.png"/><Relationship Id="rId10" Type="http://schemas.openxmlformats.org/officeDocument/2006/relationships/image" Target="../media/image228.png"/><Relationship Id="rId19" Type="http://schemas.openxmlformats.org/officeDocument/2006/relationships/image" Target="../media/image237.png"/><Relationship Id="rId31" Type="http://schemas.openxmlformats.org/officeDocument/2006/relationships/image" Target="../media/image249.png"/><Relationship Id="rId4" Type="http://schemas.openxmlformats.org/officeDocument/2006/relationships/image" Target="../media/image222.png"/><Relationship Id="rId9" Type="http://schemas.openxmlformats.org/officeDocument/2006/relationships/image" Target="../media/image227.png"/><Relationship Id="rId14" Type="http://schemas.openxmlformats.org/officeDocument/2006/relationships/image" Target="../media/image232.png"/><Relationship Id="rId22" Type="http://schemas.openxmlformats.org/officeDocument/2006/relationships/image" Target="../media/image240.png"/><Relationship Id="rId27" Type="http://schemas.openxmlformats.org/officeDocument/2006/relationships/image" Target="../media/image245.png"/><Relationship Id="rId30" Type="http://schemas.openxmlformats.org/officeDocument/2006/relationships/image" Target="../media/image248.png"/></Relationships>
</file>

<file path=ppt/slideLayouts/_rels/slideLayout4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8.png"/><Relationship Id="rId13" Type="http://schemas.openxmlformats.org/officeDocument/2006/relationships/image" Target="../media/image263.png"/><Relationship Id="rId18" Type="http://schemas.openxmlformats.org/officeDocument/2006/relationships/image" Target="../media/image268.png"/><Relationship Id="rId3" Type="http://schemas.openxmlformats.org/officeDocument/2006/relationships/image" Target="../media/image253.png"/><Relationship Id="rId21" Type="http://schemas.openxmlformats.org/officeDocument/2006/relationships/image" Target="../media/image271.png"/><Relationship Id="rId7" Type="http://schemas.openxmlformats.org/officeDocument/2006/relationships/image" Target="../media/image257.png"/><Relationship Id="rId12" Type="http://schemas.openxmlformats.org/officeDocument/2006/relationships/image" Target="../media/image262.png"/><Relationship Id="rId17" Type="http://schemas.openxmlformats.org/officeDocument/2006/relationships/image" Target="../media/image267.png"/><Relationship Id="rId2" Type="http://schemas.openxmlformats.org/officeDocument/2006/relationships/image" Target="../media/image252.png"/><Relationship Id="rId16" Type="http://schemas.openxmlformats.org/officeDocument/2006/relationships/image" Target="../media/image266.png"/><Relationship Id="rId20" Type="http://schemas.openxmlformats.org/officeDocument/2006/relationships/image" Target="../media/image27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56.png"/><Relationship Id="rId11" Type="http://schemas.openxmlformats.org/officeDocument/2006/relationships/image" Target="../media/image261.png"/><Relationship Id="rId5" Type="http://schemas.openxmlformats.org/officeDocument/2006/relationships/image" Target="../media/image255.png"/><Relationship Id="rId15" Type="http://schemas.openxmlformats.org/officeDocument/2006/relationships/image" Target="../media/image265.png"/><Relationship Id="rId10" Type="http://schemas.openxmlformats.org/officeDocument/2006/relationships/image" Target="../media/image260.png"/><Relationship Id="rId19" Type="http://schemas.openxmlformats.org/officeDocument/2006/relationships/image" Target="../media/image269.png"/><Relationship Id="rId4" Type="http://schemas.openxmlformats.org/officeDocument/2006/relationships/image" Target="../media/image254.png"/><Relationship Id="rId9" Type="http://schemas.openxmlformats.org/officeDocument/2006/relationships/image" Target="../media/image259.png"/><Relationship Id="rId14" Type="http://schemas.openxmlformats.org/officeDocument/2006/relationships/image" Target="../media/image264.png"/><Relationship Id="rId22" Type="http://schemas.openxmlformats.org/officeDocument/2006/relationships/image" Target="../media/image272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9.png"/><Relationship Id="rId13" Type="http://schemas.openxmlformats.org/officeDocument/2006/relationships/image" Target="../media/image284.png"/><Relationship Id="rId3" Type="http://schemas.openxmlformats.org/officeDocument/2006/relationships/image" Target="../media/image274.png"/><Relationship Id="rId7" Type="http://schemas.openxmlformats.org/officeDocument/2006/relationships/image" Target="../media/image278.png"/><Relationship Id="rId12" Type="http://schemas.openxmlformats.org/officeDocument/2006/relationships/image" Target="../media/image283.png"/><Relationship Id="rId2" Type="http://schemas.openxmlformats.org/officeDocument/2006/relationships/image" Target="../media/image273.png"/><Relationship Id="rId16" Type="http://schemas.openxmlformats.org/officeDocument/2006/relationships/image" Target="../media/image287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77.png"/><Relationship Id="rId11" Type="http://schemas.openxmlformats.org/officeDocument/2006/relationships/image" Target="../media/image282.png"/><Relationship Id="rId5" Type="http://schemas.openxmlformats.org/officeDocument/2006/relationships/image" Target="../media/image276.png"/><Relationship Id="rId15" Type="http://schemas.openxmlformats.org/officeDocument/2006/relationships/image" Target="../media/image286.png"/><Relationship Id="rId10" Type="http://schemas.openxmlformats.org/officeDocument/2006/relationships/image" Target="../media/image281.png"/><Relationship Id="rId4" Type="http://schemas.openxmlformats.org/officeDocument/2006/relationships/image" Target="../media/image275.png"/><Relationship Id="rId9" Type="http://schemas.openxmlformats.org/officeDocument/2006/relationships/image" Target="../media/image280.png"/><Relationship Id="rId14" Type="http://schemas.openxmlformats.org/officeDocument/2006/relationships/image" Target="../media/image285.png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8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8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8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8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8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8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8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8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8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8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8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8.xml"/></Relationships>
</file>

<file path=ppt/slideLayouts/_rels/slideLayout5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3" Type="http://schemas.openxmlformats.org/officeDocument/2006/relationships/image" Target="../media/image20.emf"/><Relationship Id="rId3" Type="http://schemas.openxmlformats.org/officeDocument/2006/relationships/image" Target="../media/image3.emf"/><Relationship Id="rId7" Type="http://schemas.openxmlformats.org/officeDocument/2006/relationships/image" Target="../media/image11.emf"/><Relationship Id="rId12" Type="http://schemas.openxmlformats.org/officeDocument/2006/relationships/image" Target="../media/image19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6.emf"/><Relationship Id="rId11" Type="http://schemas.openxmlformats.org/officeDocument/2006/relationships/image" Target="../media/image160.png"/><Relationship Id="rId5" Type="http://schemas.openxmlformats.org/officeDocument/2006/relationships/image" Target="../media/image15.emf"/><Relationship Id="rId10" Type="http://schemas.openxmlformats.org/officeDocument/2006/relationships/image" Target="../media/image12.emf"/><Relationship Id="rId4" Type="http://schemas.openxmlformats.org/officeDocument/2006/relationships/image" Target="../media/image14.emf"/><Relationship Id="rId9" Type="http://schemas.openxmlformats.org/officeDocument/2006/relationships/image" Target="../media/image17.emf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Master" Target="../slideMasters/slideMaster8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Master" Target="../slideMasters/slideMaster8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8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8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9.jpg"/><Relationship Id="rId1" Type="http://schemas.openxmlformats.org/officeDocument/2006/relationships/slideMaster" Target="../slideMasters/slideMaster8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8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8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8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8.xml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8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8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8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8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8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8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8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8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8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8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8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8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8.xml"/></Relationships>
</file>

<file path=ppt/slideLayouts/_rels/slideLayout5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png"/><Relationship Id="rId13" Type="http://schemas.openxmlformats.org/officeDocument/2006/relationships/image" Target="../media/image174.png"/><Relationship Id="rId18" Type="http://schemas.openxmlformats.org/officeDocument/2006/relationships/image" Target="../media/image179.png"/><Relationship Id="rId26" Type="http://schemas.openxmlformats.org/officeDocument/2006/relationships/image" Target="../media/image187.png"/><Relationship Id="rId3" Type="http://schemas.openxmlformats.org/officeDocument/2006/relationships/image" Target="../media/image164.png"/><Relationship Id="rId21" Type="http://schemas.openxmlformats.org/officeDocument/2006/relationships/image" Target="../media/image182.png"/><Relationship Id="rId7" Type="http://schemas.openxmlformats.org/officeDocument/2006/relationships/image" Target="../media/image168.png"/><Relationship Id="rId12" Type="http://schemas.openxmlformats.org/officeDocument/2006/relationships/image" Target="../media/image173.png"/><Relationship Id="rId17" Type="http://schemas.openxmlformats.org/officeDocument/2006/relationships/image" Target="../media/image178.png"/><Relationship Id="rId25" Type="http://schemas.openxmlformats.org/officeDocument/2006/relationships/image" Target="../media/image186.png"/><Relationship Id="rId2" Type="http://schemas.openxmlformats.org/officeDocument/2006/relationships/image" Target="../media/image163.png"/><Relationship Id="rId16" Type="http://schemas.openxmlformats.org/officeDocument/2006/relationships/image" Target="../media/image177.png"/><Relationship Id="rId20" Type="http://schemas.openxmlformats.org/officeDocument/2006/relationships/image" Target="../media/image181.png"/><Relationship Id="rId29" Type="http://schemas.openxmlformats.org/officeDocument/2006/relationships/image" Target="../media/image190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67.png"/><Relationship Id="rId11" Type="http://schemas.openxmlformats.org/officeDocument/2006/relationships/image" Target="../media/image172.png"/><Relationship Id="rId24" Type="http://schemas.openxmlformats.org/officeDocument/2006/relationships/image" Target="../media/image185.png"/><Relationship Id="rId32" Type="http://schemas.openxmlformats.org/officeDocument/2006/relationships/image" Target="../media/image193.png"/><Relationship Id="rId5" Type="http://schemas.openxmlformats.org/officeDocument/2006/relationships/image" Target="../media/image166.png"/><Relationship Id="rId15" Type="http://schemas.openxmlformats.org/officeDocument/2006/relationships/image" Target="../media/image176.png"/><Relationship Id="rId23" Type="http://schemas.openxmlformats.org/officeDocument/2006/relationships/image" Target="../media/image184.png"/><Relationship Id="rId28" Type="http://schemas.openxmlformats.org/officeDocument/2006/relationships/image" Target="../media/image189.png"/><Relationship Id="rId10" Type="http://schemas.openxmlformats.org/officeDocument/2006/relationships/image" Target="../media/image171.png"/><Relationship Id="rId19" Type="http://schemas.openxmlformats.org/officeDocument/2006/relationships/image" Target="../media/image180.png"/><Relationship Id="rId31" Type="http://schemas.openxmlformats.org/officeDocument/2006/relationships/image" Target="../media/image192.png"/><Relationship Id="rId4" Type="http://schemas.openxmlformats.org/officeDocument/2006/relationships/image" Target="../media/image165.png"/><Relationship Id="rId9" Type="http://schemas.openxmlformats.org/officeDocument/2006/relationships/image" Target="../media/image170.png"/><Relationship Id="rId14" Type="http://schemas.openxmlformats.org/officeDocument/2006/relationships/image" Target="../media/image175.png"/><Relationship Id="rId22" Type="http://schemas.openxmlformats.org/officeDocument/2006/relationships/image" Target="../media/image183.png"/><Relationship Id="rId27" Type="http://schemas.openxmlformats.org/officeDocument/2006/relationships/image" Target="../media/image188.png"/><Relationship Id="rId30" Type="http://schemas.openxmlformats.org/officeDocument/2006/relationships/image" Target="../media/image191.png"/></Relationships>
</file>

<file path=ppt/slideLayouts/_rels/slideLayout5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0.png"/><Relationship Id="rId13" Type="http://schemas.openxmlformats.org/officeDocument/2006/relationships/image" Target="../media/image205.png"/><Relationship Id="rId18" Type="http://schemas.openxmlformats.org/officeDocument/2006/relationships/image" Target="../media/image210.png"/><Relationship Id="rId26" Type="http://schemas.openxmlformats.org/officeDocument/2006/relationships/image" Target="../media/image218.png"/><Relationship Id="rId3" Type="http://schemas.openxmlformats.org/officeDocument/2006/relationships/image" Target="../media/image195.png"/><Relationship Id="rId21" Type="http://schemas.openxmlformats.org/officeDocument/2006/relationships/image" Target="../media/image213.png"/><Relationship Id="rId7" Type="http://schemas.openxmlformats.org/officeDocument/2006/relationships/image" Target="../media/image199.png"/><Relationship Id="rId12" Type="http://schemas.openxmlformats.org/officeDocument/2006/relationships/image" Target="../media/image204.png"/><Relationship Id="rId17" Type="http://schemas.openxmlformats.org/officeDocument/2006/relationships/image" Target="../media/image209.png"/><Relationship Id="rId25" Type="http://schemas.openxmlformats.org/officeDocument/2006/relationships/image" Target="../media/image217.png"/><Relationship Id="rId2" Type="http://schemas.openxmlformats.org/officeDocument/2006/relationships/image" Target="../media/image194.png"/><Relationship Id="rId16" Type="http://schemas.openxmlformats.org/officeDocument/2006/relationships/image" Target="../media/image208.png"/><Relationship Id="rId20" Type="http://schemas.openxmlformats.org/officeDocument/2006/relationships/image" Target="../media/image212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98.png"/><Relationship Id="rId11" Type="http://schemas.openxmlformats.org/officeDocument/2006/relationships/image" Target="../media/image203.png"/><Relationship Id="rId24" Type="http://schemas.openxmlformats.org/officeDocument/2006/relationships/image" Target="../media/image216.png"/><Relationship Id="rId5" Type="http://schemas.openxmlformats.org/officeDocument/2006/relationships/image" Target="../media/image197.png"/><Relationship Id="rId15" Type="http://schemas.openxmlformats.org/officeDocument/2006/relationships/image" Target="../media/image207.png"/><Relationship Id="rId23" Type="http://schemas.openxmlformats.org/officeDocument/2006/relationships/image" Target="../media/image215.png"/><Relationship Id="rId10" Type="http://schemas.openxmlformats.org/officeDocument/2006/relationships/image" Target="../media/image202.png"/><Relationship Id="rId19" Type="http://schemas.openxmlformats.org/officeDocument/2006/relationships/image" Target="../media/image211.png"/><Relationship Id="rId4" Type="http://schemas.openxmlformats.org/officeDocument/2006/relationships/image" Target="../media/image196.png"/><Relationship Id="rId9" Type="http://schemas.openxmlformats.org/officeDocument/2006/relationships/image" Target="../media/image201.png"/><Relationship Id="rId14" Type="http://schemas.openxmlformats.org/officeDocument/2006/relationships/image" Target="../media/image206.png"/><Relationship Id="rId22" Type="http://schemas.openxmlformats.org/officeDocument/2006/relationships/image" Target="../media/image214.png"/><Relationship Id="rId27" Type="http://schemas.openxmlformats.org/officeDocument/2006/relationships/image" Target="../media/image219.png"/></Relationships>
</file>

<file path=ppt/slideLayouts/_rels/slideLayout5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6.png"/><Relationship Id="rId13" Type="http://schemas.openxmlformats.org/officeDocument/2006/relationships/image" Target="../media/image231.png"/><Relationship Id="rId18" Type="http://schemas.openxmlformats.org/officeDocument/2006/relationships/image" Target="../media/image236.png"/><Relationship Id="rId26" Type="http://schemas.openxmlformats.org/officeDocument/2006/relationships/image" Target="../media/image244.png"/><Relationship Id="rId3" Type="http://schemas.openxmlformats.org/officeDocument/2006/relationships/image" Target="../media/image221.png"/><Relationship Id="rId21" Type="http://schemas.openxmlformats.org/officeDocument/2006/relationships/image" Target="../media/image239.png"/><Relationship Id="rId7" Type="http://schemas.openxmlformats.org/officeDocument/2006/relationships/image" Target="../media/image225.png"/><Relationship Id="rId12" Type="http://schemas.openxmlformats.org/officeDocument/2006/relationships/image" Target="../media/image230.png"/><Relationship Id="rId17" Type="http://schemas.openxmlformats.org/officeDocument/2006/relationships/image" Target="../media/image235.png"/><Relationship Id="rId25" Type="http://schemas.openxmlformats.org/officeDocument/2006/relationships/image" Target="../media/image243.png"/><Relationship Id="rId33" Type="http://schemas.openxmlformats.org/officeDocument/2006/relationships/image" Target="../media/image251.png"/><Relationship Id="rId2" Type="http://schemas.openxmlformats.org/officeDocument/2006/relationships/image" Target="../media/image220.png"/><Relationship Id="rId16" Type="http://schemas.openxmlformats.org/officeDocument/2006/relationships/image" Target="../media/image234.png"/><Relationship Id="rId20" Type="http://schemas.openxmlformats.org/officeDocument/2006/relationships/image" Target="../media/image238.png"/><Relationship Id="rId29" Type="http://schemas.openxmlformats.org/officeDocument/2006/relationships/image" Target="../media/image247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24.png"/><Relationship Id="rId11" Type="http://schemas.openxmlformats.org/officeDocument/2006/relationships/image" Target="../media/image229.png"/><Relationship Id="rId24" Type="http://schemas.openxmlformats.org/officeDocument/2006/relationships/image" Target="../media/image242.png"/><Relationship Id="rId32" Type="http://schemas.openxmlformats.org/officeDocument/2006/relationships/image" Target="../media/image250.png"/><Relationship Id="rId5" Type="http://schemas.openxmlformats.org/officeDocument/2006/relationships/image" Target="../media/image223.png"/><Relationship Id="rId15" Type="http://schemas.openxmlformats.org/officeDocument/2006/relationships/image" Target="../media/image233.png"/><Relationship Id="rId23" Type="http://schemas.openxmlformats.org/officeDocument/2006/relationships/image" Target="../media/image241.png"/><Relationship Id="rId28" Type="http://schemas.openxmlformats.org/officeDocument/2006/relationships/image" Target="../media/image246.png"/><Relationship Id="rId10" Type="http://schemas.openxmlformats.org/officeDocument/2006/relationships/image" Target="../media/image228.png"/><Relationship Id="rId19" Type="http://schemas.openxmlformats.org/officeDocument/2006/relationships/image" Target="../media/image237.png"/><Relationship Id="rId31" Type="http://schemas.openxmlformats.org/officeDocument/2006/relationships/image" Target="../media/image249.png"/><Relationship Id="rId4" Type="http://schemas.openxmlformats.org/officeDocument/2006/relationships/image" Target="../media/image222.png"/><Relationship Id="rId9" Type="http://schemas.openxmlformats.org/officeDocument/2006/relationships/image" Target="../media/image227.png"/><Relationship Id="rId14" Type="http://schemas.openxmlformats.org/officeDocument/2006/relationships/image" Target="../media/image232.png"/><Relationship Id="rId22" Type="http://schemas.openxmlformats.org/officeDocument/2006/relationships/image" Target="../media/image240.png"/><Relationship Id="rId27" Type="http://schemas.openxmlformats.org/officeDocument/2006/relationships/image" Target="../media/image245.png"/><Relationship Id="rId30" Type="http://schemas.openxmlformats.org/officeDocument/2006/relationships/image" Target="../media/image248.png"/></Relationships>
</file>

<file path=ppt/slideLayouts/_rels/slideLayout5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8.png"/><Relationship Id="rId13" Type="http://schemas.openxmlformats.org/officeDocument/2006/relationships/image" Target="../media/image263.png"/><Relationship Id="rId18" Type="http://schemas.openxmlformats.org/officeDocument/2006/relationships/image" Target="../media/image268.png"/><Relationship Id="rId3" Type="http://schemas.openxmlformats.org/officeDocument/2006/relationships/image" Target="../media/image253.png"/><Relationship Id="rId21" Type="http://schemas.openxmlformats.org/officeDocument/2006/relationships/image" Target="../media/image271.png"/><Relationship Id="rId7" Type="http://schemas.openxmlformats.org/officeDocument/2006/relationships/image" Target="../media/image257.png"/><Relationship Id="rId12" Type="http://schemas.openxmlformats.org/officeDocument/2006/relationships/image" Target="../media/image262.png"/><Relationship Id="rId17" Type="http://schemas.openxmlformats.org/officeDocument/2006/relationships/image" Target="../media/image267.png"/><Relationship Id="rId2" Type="http://schemas.openxmlformats.org/officeDocument/2006/relationships/image" Target="../media/image252.png"/><Relationship Id="rId16" Type="http://schemas.openxmlformats.org/officeDocument/2006/relationships/image" Target="../media/image266.png"/><Relationship Id="rId20" Type="http://schemas.openxmlformats.org/officeDocument/2006/relationships/image" Target="../media/image270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56.png"/><Relationship Id="rId11" Type="http://schemas.openxmlformats.org/officeDocument/2006/relationships/image" Target="../media/image261.png"/><Relationship Id="rId5" Type="http://schemas.openxmlformats.org/officeDocument/2006/relationships/image" Target="../media/image255.png"/><Relationship Id="rId15" Type="http://schemas.openxmlformats.org/officeDocument/2006/relationships/image" Target="../media/image265.png"/><Relationship Id="rId10" Type="http://schemas.openxmlformats.org/officeDocument/2006/relationships/image" Target="../media/image260.png"/><Relationship Id="rId19" Type="http://schemas.openxmlformats.org/officeDocument/2006/relationships/image" Target="../media/image269.png"/><Relationship Id="rId4" Type="http://schemas.openxmlformats.org/officeDocument/2006/relationships/image" Target="../media/image254.png"/><Relationship Id="rId9" Type="http://schemas.openxmlformats.org/officeDocument/2006/relationships/image" Target="../media/image259.png"/><Relationship Id="rId14" Type="http://schemas.openxmlformats.org/officeDocument/2006/relationships/image" Target="../media/image264.png"/><Relationship Id="rId22" Type="http://schemas.openxmlformats.org/officeDocument/2006/relationships/image" Target="../media/image272.png"/></Relationships>
</file>

<file path=ppt/slideLayouts/_rels/slideLayout5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9.png"/><Relationship Id="rId13" Type="http://schemas.openxmlformats.org/officeDocument/2006/relationships/image" Target="../media/image284.png"/><Relationship Id="rId3" Type="http://schemas.openxmlformats.org/officeDocument/2006/relationships/image" Target="../media/image274.png"/><Relationship Id="rId7" Type="http://schemas.openxmlformats.org/officeDocument/2006/relationships/image" Target="../media/image278.png"/><Relationship Id="rId12" Type="http://schemas.openxmlformats.org/officeDocument/2006/relationships/image" Target="../media/image283.png"/><Relationship Id="rId2" Type="http://schemas.openxmlformats.org/officeDocument/2006/relationships/image" Target="../media/image273.png"/><Relationship Id="rId16" Type="http://schemas.openxmlformats.org/officeDocument/2006/relationships/image" Target="../media/image287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77.png"/><Relationship Id="rId11" Type="http://schemas.openxmlformats.org/officeDocument/2006/relationships/image" Target="../media/image282.png"/><Relationship Id="rId5" Type="http://schemas.openxmlformats.org/officeDocument/2006/relationships/image" Target="../media/image276.png"/><Relationship Id="rId15" Type="http://schemas.openxmlformats.org/officeDocument/2006/relationships/image" Target="../media/image286.png"/><Relationship Id="rId10" Type="http://schemas.openxmlformats.org/officeDocument/2006/relationships/image" Target="../media/image281.png"/><Relationship Id="rId4" Type="http://schemas.openxmlformats.org/officeDocument/2006/relationships/image" Target="../media/image275.png"/><Relationship Id="rId9" Type="http://schemas.openxmlformats.org/officeDocument/2006/relationships/image" Target="../media/image280.png"/><Relationship Id="rId14" Type="http://schemas.openxmlformats.org/officeDocument/2006/relationships/image" Target="../media/image285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9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9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9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9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9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9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9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9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9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9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9.xml"/></Relationships>
</file>

<file path=ppt/slideLayouts/_rels/slideLayout5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3" Type="http://schemas.openxmlformats.org/officeDocument/2006/relationships/image" Target="../media/image20.emf"/><Relationship Id="rId3" Type="http://schemas.openxmlformats.org/officeDocument/2006/relationships/image" Target="../media/image3.emf"/><Relationship Id="rId7" Type="http://schemas.openxmlformats.org/officeDocument/2006/relationships/image" Target="../media/image11.emf"/><Relationship Id="rId12" Type="http://schemas.openxmlformats.org/officeDocument/2006/relationships/image" Target="../media/image19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6.emf"/><Relationship Id="rId11" Type="http://schemas.openxmlformats.org/officeDocument/2006/relationships/image" Target="../media/image160.png"/><Relationship Id="rId5" Type="http://schemas.openxmlformats.org/officeDocument/2006/relationships/image" Target="../media/image15.emf"/><Relationship Id="rId10" Type="http://schemas.openxmlformats.org/officeDocument/2006/relationships/image" Target="../media/image12.emf"/><Relationship Id="rId4" Type="http://schemas.openxmlformats.org/officeDocument/2006/relationships/image" Target="../media/image14.emf"/><Relationship Id="rId9" Type="http://schemas.openxmlformats.org/officeDocument/2006/relationships/image" Target="../media/image17.emf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Master" Target="../slideMasters/slideMaster9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Master" Target="../slideMasters/slideMaster9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9.xml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9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9.jpg"/><Relationship Id="rId1" Type="http://schemas.openxmlformats.org/officeDocument/2006/relationships/slideMaster" Target="../slideMasters/slideMaster9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9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9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9.xml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9.xml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emf"/><Relationship Id="rId4" Type="http://schemas.openxmlformats.org/officeDocument/2006/relationships/image" Target="../media/image10.jpeg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9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9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9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9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9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9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9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9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9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9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9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9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9.xml"/></Relationships>
</file>

<file path=ppt/slideLayouts/_rels/slideLayout6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png"/><Relationship Id="rId13" Type="http://schemas.openxmlformats.org/officeDocument/2006/relationships/image" Target="../media/image174.png"/><Relationship Id="rId18" Type="http://schemas.openxmlformats.org/officeDocument/2006/relationships/image" Target="../media/image179.png"/><Relationship Id="rId26" Type="http://schemas.openxmlformats.org/officeDocument/2006/relationships/image" Target="../media/image187.png"/><Relationship Id="rId3" Type="http://schemas.openxmlformats.org/officeDocument/2006/relationships/image" Target="../media/image164.png"/><Relationship Id="rId21" Type="http://schemas.openxmlformats.org/officeDocument/2006/relationships/image" Target="../media/image182.png"/><Relationship Id="rId7" Type="http://schemas.openxmlformats.org/officeDocument/2006/relationships/image" Target="../media/image168.png"/><Relationship Id="rId12" Type="http://schemas.openxmlformats.org/officeDocument/2006/relationships/image" Target="../media/image173.png"/><Relationship Id="rId17" Type="http://schemas.openxmlformats.org/officeDocument/2006/relationships/image" Target="../media/image178.png"/><Relationship Id="rId25" Type="http://schemas.openxmlformats.org/officeDocument/2006/relationships/image" Target="../media/image186.png"/><Relationship Id="rId2" Type="http://schemas.openxmlformats.org/officeDocument/2006/relationships/image" Target="../media/image163.png"/><Relationship Id="rId16" Type="http://schemas.openxmlformats.org/officeDocument/2006/relationships/image" Target="../media/image177.png"/><Relationship Id="rId20" Type="http://schemas.openxmlformats.org/officeDocument/2006/relationships/image" Target="../media/image181.png"/><Relationship Id="rId29" Type="http://schemas.openxmlformats.org/officeDocument/2006/relationships/image" Target="../media/image190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67.png"/><Relationship Id="rId11" Type="http://schemas.openxmlformats.org/officeDocument/2006/relationships/image" Target="../media/image172.png"/><Relationship Id="rId24" Type="http://schemas.openxmlformats.org/officeDocument/2006/relationships/image" Target="../media/image185.png"/><Relationship Id="rId32" Type="http://schemas.openxmlformats.org/officeDocument/2006/relationships/image" Target="../media/image193.png"/><Relationship Id="rId5" Type="http://schemas.openxmlformats.org/officeDocument/2006/relationships/image" Target="../media/image166.png"/><Relationship Id="rId15" Type="http://schemas.openxmlformats.org/officeDocument/2006/relationships/image" Target="../media/image176.png"/><Relationship Id="rId23" Type="http://schemas.openxmlformats.org/officeDocument/2006/relationships/image" Target="../media/image184.png"/><Relationship Id="rId28" Type="http://schemas.openxmlformats.org/officeDocument/2006/relationships/image" Target="../media/image189.png"/><Relationship Id="rId10" Type="http://schemas.openxmlformats.org/officeDocument/2006/relationships/image" Target="../media/image171.png"/><Relationship Id="rId19" Type="http://schemas.openxmlformats.org/officeDocument/2006/relationships/image" Target="../media/image180.png"/><Relationship Id="rId31" Type="http://schemas.openxmlformats.org/officeDocument/2006/relationships/image" Target="../media/image192.png"/><Relationship Id="rId4" Type="http://schemas.openxmlformats.org/officeDocument/2006/relationships/image" Target="../media/image165.png"/><Relationship Id="rId9" Type="http://schemas.openxmlformats.org/officeDocument/2006/relationships/image" Target="../media/image170.png"/><Relationship Id="rId14" Type="http://schemas.openxmlformats.org/officeDocument/2006/relationships/image" Target="../media/image175.png"/><Relationship Id="rId22" Type="http://schemas.openxmlformats.org/officeDocument/2006/relationships/image" Target="../media/image183.png"/><Relationship Id="rId27" Type="http://schemas.openxmlformats.org/officeDocument/2006/relationships/image" Target="../media/image188.png"/><Relationship Id="rId30" Type="http://schemas.openxmlformats.org/officeDocument/2006/relationships/image" Target="../media/image191.png"/></Relationships>
</file>

<file path=ppt/slideLayouts/_rels/slideLayout6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0.png"/><Relationship Id="rId13" Type="http://schemas.openxmlformats.org/officeDocument/2006/relationships/image" Target="../media/image205.png"/><Relationship Id="rId18" Type="http://schemas.openxmlformats.org/officeDocument/2006/relationships/image" Target="../media/image210.png"/><Relationship Id="rId26" Type="http://schemas.openxmlformats.org/officeDocument/2006/relationships/image" Target="../media/image218.png"/><Relationship Id="rId3" Type="http://schemas.openxmlformats.org/officeDocument/2006/relationships/image" Target="../media/image195.png"/><Relationship Id="rId21" Type="http://schemas.openxmlformats.org/officeDocument/2006/relationships/image" Target="../media/image213.png"/><Relationship Id="rId7" Type="http://schemas.openxmlformats.org/officeDocument/2006/relationships/image" Target="../media/image199.png"/><Relationship Id="rId12" Type="http://schemas.openxmlformats.org/officeDocument/2006/relationships/image" Target="../media/image204.png"/><Relationship Id="rId17" Type="http://schemas.openxmlformats.org/officeDocument/2006/relationships/image" Target="../media/image209.png"/><Relationship Id="rId25" Type="http://schemas.openxmlformats.org/officeDocument/2006/relationships/image" Target="../media/image217.png"/><Relationship Id="rId2" Type="http://schemas.openxmlformats.org/officeDocument/2006/relationships/image" Target="../media/image194.png"/><Relationship Id="rId16" Type="http://schemas.openxmlformats.org/officeDocument/2006/relationships/image" Target="../media/image208.png"/><Relationship Id="rId20" Type="http://schemas.openxmlformats.org/officeDocument/2006/relationships/image" Target="../media/image212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98.png"/><Relationship Id="rId11" Type="http://schemas.openxmlformats.org/officeDocument/2006/relationships/image" Target="../media/image203.png"/><Relationship Id="rId24" Type="http://schemas.openxmlformats.org/officeDocument/2006/relationships/image" Target="../media/image216.png"/><Relationship Id="rId5" Type="http://schemas.openxmlformats.org/officeDocument/2006/relationships/image" Target="../media/image197.png"/><Relationship Id="rId15" Type="http://schemas.openxmlformats.org/officeDocument/2006/relationships/image" Target="../media/image207.png"/><Relationship Id="rId23" Type="http://schemas.openxmlformats.org/officeDocument/2006/relationships/image" Target="../media/image215.png"/><Relationship Id="rId10" Type="http://schemas.openxmlformats.org/officeDocument/2006/relationships/image" Target="../media/image202.png"/><Relationship Id="rId19" Type="http://schemas.openxmlformats.org/officeDocument/2006/relationships/image" Target="../media/image211.png"/><Relationship Id="rId4" Type="http://schemas.openxmlformats.org/officeDocument/2006/relationships/image" Target="../media/image196.png"/><Relationship Id="rId9" Type="http://schemas.openxmlformats.org/officeDocument/2006/relationships/image" Target="../media/image201.png"/><Relationship Id="rId14" Type="http://schemas.openxmlformats.org/officeDocument/2006/relationships/image" Target="../media/image206.png"/><Relationship Id="rId22" Type="http://schemas.openxmlformats.org/officeDocument/2006/relationships/image" Target="../media/image214.png"/><Relationship Id="rId27" Type="http://schemas.openxmlformats.org/officeDocument/2006/relationships/image" Target="../media/image219.png"/></Relationships>
</file>

<file path=ppt/slideLayouts/_rels/slideLayout6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6.png"/><Relationship Id="rId13" Type="http://schemas.openxmlformats.org/officeDocument/2006/relationships/image" Target="../media/image231.png"/><Relationship Id="rId18" Type="http://schemas.openxmlformats.org/officeDocument/2006/relationships/image" Target="../media/image236.png"/><Relationship Id="rId26" Type="http://schemas.openxmlformats.org/officeDocument/2006/relationships/image" Target="../media/image244.png"/><Relationship Id="rId3" Type="http://schemas.openxmlformats.org/officeDocument/2006/relationships/image" Target="../media/image221.png"/><Relationship Id="rId21" Type="http://schemas.openxmlformats.org/officeDocument/2006/relationships/image" Target="../media/image239.png"/><Relationship Id="rId7" Type="http://schemas.openxmlformats.org/officeDocument/2006/relationships/image" Target="../media/image225.png"/><Relationship Id="rId12" Type="http://schemas.openxmlformats.org/officeDocument/2006/relationships/image" Target="../media/image230.png"/><Relationship Id="rId17" Type="http://schemas.openxmlformats.org/officeDocument/2006/relationships/image" Target="../media/image235.png"/><Relationship Id="rId25" Type="http://schemas.openxmlformats.org/officeDocument/2006/relationships/image" Target="../media/image243.png"/><Relationship Id="rId33" Type="http://schemas.openxmlformats.org/officeDocument/2006/relationships/image" Target="../media/image251.png"/><Relationship Id="rId2" Type="http://schemas.openxmlformats.org/officeDocument/2006/relationships/image" Target="../media/image220.png"/><Relationship Id="rId16" Type="http://schemas.openxmlformats.org/officeDocument/2006/relationships/image" Target="../media/image234.png"/><Relationship Id="rId20" Type="http://schemas.openxmlformats.org/officeDocument/2006/relationships/image" Target="../media/image238.png"/><Relationship Id="rId29" Type="http://schemas.openxmlformats.org/officeDocument/2006/relationships/image" Target="../media/image24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24.png"/><Relationship Id="rId11" Type="http://schemas.openxmlformats.org/officeDocument/2006/relationships/image" Target="../media/image229.png"/><Relationship Id="rId24" Type="http://schemas.openxmlformats.org/officeDocument/2006/relationships/image" Target="../media/image242.png"/><Relationship Id="rId32" Type="http://schemas.openxmlformats.org/officeDocument/2006/relationships/image" Target="../media/image250.png"/><Relationship Id="rId5" Type="http://schemas.openxmlformats.org/officeDocument/2006/relationships/image" Target="../media/image223.png"/><Relationship Id="rId15" Type="http://schemas.openxmlformats.org/officeDocument/2006/relationships/image" Target="../media/image233.png"/><Relationship Id="rId23" Type="http://schemas.openxmlformats.org/officeDocument/2006/relationships/image" Target="../media/image241.png"/><Relationship Id="rId28" Type="http://schemas.openxmlformats.org/officeDocument/2006/relationships/image" Target="../media/image246.png"/><Relationship Id="rId10" Type="http://schemas.openxmlformats.org/officeDocument/2006/relationships/image" Target="../media/image228.png"/><Relationship Id="rId19" Type="http://schemas.openxmlformats.org/officeDocument/2006/relationships/image" Target="../media/image237.png"/><Relationship Id="rId31" Type="http://schemas.openxmlformats.org/officeDocument/2006/relationships/image" Target="../media/image249.png"/><Relationship Id="rId4" Type="http://schemas.openxmlformats.org/officeDocument/2006/relationships/image" Target="../media/image222.png"/><Relationship Id="rId9" Type="http://schemas.openxmlformats.org/officeDocument/2006/relationships/image" Target="../media/image227.png"/><Relationship Id="rId14" Type="http://schemas.openxmlformats.org/officeDocument/2006/relationships/image" Target="../media/image232.png"/><Relationship Id="rId22" Type="http://schemas.openxmlformats.org/officeDocument/2006/relationships/image" Target="../media/image240.png"/><Relationship Id="rId27" Type="http://schemas.openxmlformats.org/officeDocument/2006/relationships/image" Target="../media/image245.png"/><Relationship Id="rId30" Type="http://schemas.openxmlformats.org/officeDocument/2006/relationships/image" Target="../media/image248.png"/></Relationships>
</file>

<file path=ppt/slideLayouts/_rels/slideLayout6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8.png"/><Relationship Id="rId13" Type="http://schemas.openxmlformats.org/officeDocument/2006/relationships/image" Target="../media/image263.png"/><Relationship Id="rId18" Type="http://schemas.openxmlformats.org/officeDocument/2006/relationships/image" Target="../media/image268.png"/><Relationship Id="rId3" Type="http://schemas.openxmlformats.org/officeDocument/2006/relationships/image" Target="../media/image253.png"/><Relationship Id="rId21" Type="http://schemas.openxmlformats.org/officeDocument/2006/relationships/image" Target="../media/image271.png"/><Relationship Id="rId7" Type="http://schemas.openxmlformats.org/officeDocument/2006/relationships/image" Target="../media/image257.png"/><Relationship Id="rId12" Type="http://schemas.openxmlformats.org/officeDocument/2006/relationships/image" Target="../media/image262.png"/><Relationship Id="rId17" Type="http://schemas.openxmlformats.org/officeDocument/2006/relationships/image" Target="../media/image267.png"/><Relationship Id="rId2" Type="http://schemas.openxmlformats.org/officeDocument/2006/relationships/image" Target="../media/image252.png"/><Relationship Id="rId16" Type="http://schemas.openxmlformats.org/officeDocument/2006/relationships/image" Target="../media/image266.png"/><Relationship Id="rId20" Type="http://schemas.openxmlformats.org/officeDocument/2006/relationships/image" Target="../media/image270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56.png"/><Relationship Id="rId11" Type="http://schemas.openxmlformats.org/officeDocument/2006/relationships/image" Target="../media/image261.png"/><Relationship Id="rId5" Type="http://schemas.openxmlformats.org/officeDocument/2006/relationships/image" Target="../media/image255.png"/><Relationship Id="rId15" Type="http://schemas.openxmlformats.org/officeDocument/2006/relationships/image" Target="../media/image265.png"/><Relationship Id="rId10" Type="http://schemas.openxmlformats.org/officeDocument/2006/relationships/image" Target="../media/image260.png"/><Relationship Id="rId19" Type="http://schemas.openxmlformats.org/officeDocument/2006/relationships/image" Target="../media/image269.png"/><Relationship Id="rId4" Type="http://schemas.openxmlformats.org/officeDocument/2006/relationships/image" Target="../media/image254.png"/><Relationship Id="rId9" Type="http://schemas.openxmlformats.org/officeDocument/2006/relationships/image" Target="../media/image259.png"/><Relationship Id="rId14" Type="http://schemas.openxmlformats.org/officeDocument/2006/relationships/image" Target="../media/image264.png"/><Relationship Id="rId22" Type="http://schemas.openxmlformats.org/officeDocument/2006/relationships/image" Target="../media/image272.png"/></Relationships>
</file>

<file path=ppt/slideLayouts/_rels/slideLayout6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9.png"/><Relationship Id="rId13" Type="http://schemas.openxmlformats.org/officeDocument/2006/relationships/image" Target="../media/image284.png"/><Relationship Id="rId3" Type="http://schemas.openxmlformats.org/officeDocument/2006/relationships/image" Target="../media/image274.png"/><Relationship Id="rId7" Type="http://schemas.openxmlformats.org/officeDocument/2006/relationships/image" Target="../media/image278.png"/><Relationship Id="rId12" Type="http://schemas.openxmlformats.org/officeDocument/2006/relationships/image" Target="../media/image283.png"/><Relationship Id="rId2" Type="http://schemas.openxmlformats.org/officeDocument/2006/relationships/image" Target="../media/image273.png"/><Relationship Id="rId16" Type="http://schemas.openxmlformats.org/officeDocument/2006/relationships/image" Target="../media/image28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77.png"/><Relationship Id="rId11" Type="http://schemas.openxmlformats.org/officeDocument/2006/relationships/image" Target="../media/image282.png"/><Relationship Id="rId5" Type="http://schemas.openxmlformats.org/officeDocument/2006/relationships/image" Target="../media/image276.png"/><Relationship Id="rId15" Type="http://schemas.openxmlformats.org/officeDocument/2006/relationships/image" Target="../media/image286.png"/><Relationship Id="rId10" Type="http://schemas.openxmlformats.org/officeDocument/2006/relationships/image" Target="../media/image281.png"/><Relationship Id="rId4" Type="http://schemas.openxmlformats.org/officeDocument/2006/relationships/image" Target="../media/image275.png"/><Relationship Id="rId9" Type="http://schemas.openxmlformats.org/officeDocument/2006/relationships/image" Target="../media/image280.png"/><Relationship Id="rId14" Type="http://schemas.openxmlformats.org/officeDocument/2006/relationships/image" Target="../media/image285.png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10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0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0.xml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0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0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0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0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0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0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0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0.xml"/></Relationships>
</file>

<file path=ppt/slideLayouts/_rels/slideLayout6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3" Type="http://schemas.openxmlformats.org/officeDocument/2006/relationships/image" Target="../media/image20.emf"/><Relationship Id="rId3" Type="http://schemas.openxmlformats.org/officeDocument/2006/relationships/image" Target="../media/image3.emf"/><Relationship Id="rId7" Type="http://schemas.openxmlformats.org/officeDocument/2006/relationships/image" Target="../media/image11.emf"/><Relationship Id="rId12" Type="http://schemas.openxmlformats.org/officeDocument/2006/relationships/image" Target="../media/image19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6.emf"/><Relationship Id="rId11" Type="http://schemas.openxmlformats.org/officeDocument/2006/relationships/image" Target="../media/image160.png"/><Relationship Id="rId5" Type="http://schemas.openxmlformats.org/officeDocument/2006/relationships/image" Target="../media/image15.emf"/><Relationship Id="rId10" Type="http://schemas.openxmlformats.org/officeDocument/2006/relationships/image" Target="../media/image12.emf"/><Relationship Id="rId4" Type="http://schemas.openxmlformats.org/officeDocument/2006/relationships/image" Target="../media/image14.emf"/><Relationship Id="rId9" Type="http://schemas.openxmlformats.org/officeDocument/2006/relationships/image" Target="../media/image17.emf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Master" Target="../slideMasters/slideMaster10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Master" Target="../slideMasters/slideMaster10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10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0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9.jpg"/><Relationship Id="rId1" Type="http://schemas.openxmlformats.org/officeDocument/2006/relationships/slideMaster" Target="../slideMasters/slideMaster10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0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0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0.xml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0.xml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0.xml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0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0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0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0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0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0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0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0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0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0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0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0.xml"/></Relationships>
</file>

<file path=ppt/slideLayouts/_rels/slideLayout6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png"/><Relationship Id="rId13" Type="http://schemas.openxmlformats.org/officeDocument/2006/relationships/image" Target="../media/image174.png"/><Relationship Id="rId18" Type="http://schemas.openxmlformats.org/officeDocument/2006/relationships/image" Target="../media/image179.png"/><Relationship Id="rId26" Type="http://schemas.openxmlformats.org/officeDocument/2006/relationships/image" Target="../media/image187.png"/><Relationship Id="rId3" Type="http://schemas.openxmlformats.org/officeDocument/2006/relationships/image" Target="../media/image164.png"/><Relationship Id="rId21" Type="http://schemas.openxmlformats.org/officeDocument/2006/relationships/image" Target="../media/image182.png"/><Relationship Id="rId7" Type="http://schemas.openxmlformats.org/officeDocument/2006/relationships/image" Target="../media/image168.png"/><Relationship Id="rId12" Type="http://schemas.openxmlformats.org/officeDocument/2006/relationships/image" Target="../media/image173.png"/><Relationship Id="rId17" Type="http://schemas.openxmlformats.org/officeDocument/2006/relationships/image" Target="../media/image178.png"/><Relationship Id="rId25" Type="http://schemas.openxmlformats.org/officeDocument/2006/relationships/image" Target="../media/image186.png"/><Relationship Id="rId2" Type="http://schemas.openxmlformats.org/officeDocument/2006/relationships/image" Target="../media/image163.png"/><Relationship Id="rId16" Type="http://schemas.openxmlformats.org/officeDocument/2006/relationships/image" Target="../media/image177.png"/><Relationship Id="rId20" Type="http://schemas.openxmlformats.org/officeDocument/2006/relationships/image" Target="../media/image181.png"/><Relationship Id="rId29" Type="http://schemas.openxmlformats.org/officeDocument/2006/relationships/image" Target="../media/image19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67.png"/><Relationship Id="rId11" Type="http://schemas.openxmlformats.org/officeDocument/2006/relationships/image" Target="../media/image172.png"/><Relationship Id="rId24" Type="http://schemas.openxmlformats.org/officeDocument/2006/relationships/image" Target="../media/image185.png"/><Relationship Id="rId32" Type="http://schemas.openxmlformats.org/officeDocument/2006/relationships/image" Target="../media/image193.png"/><Relationship Id="rId5" Type="http://schemas.openxmlformats.org/officeDocument/2006/relationships/image" Target="../media/image166.png"/><Relationship Id="rId15" Type="http://schemas.openxmlformats.org/officeDocument/2006/relationships/image" Target="../media/image176.png"/><Relationship Id="rId23" Type="http://schemas.openxmlformats.org/officeDocument/2006/relationships/image" Target="../media/image184.png"/><Relationship Id="rId28" Type="http://schemas.openxmlformats.org/officeDocument/2006/relationships/image" Target="../media/image189.png"/><Relationship Id="rId10" Type="http://schemas.openxmlformats.org/officeDocument/2006/relationships/image" Target="../media/image171.png"/><Relationship Id="rId19" Type="http://schemas.openxmlformats.org/officeDocument/2006/relationships/image" Target="../media/image180.png"/><Relationship Id="rId31" Type="http://schemas.openxmlformats.org/officeDocument/2006/relationships/image" Target="../media/image192.png"/><Relationship Id="rId4" Type="http://schemas.openxmlformats.org/officeDocument/2006/relationships/image" Target="../media/image165.png"/><Relationship Id="rId9" Type="http://schemas.openxmlformats.org/officeDocument/2006/relationships/image" Target="../media/image170.png"/><Relationship Id="rId14" Type="http://schemas.openxmlformats.org/officeDocument/2006/relationships/image" Target="../media/image175.png"/><Relationship Id="rId22" Type="http://schemas.openxmlformats.org/officeDocument/2006/relationships/image" Target="../media/image183.png"/><Relationship Id="rId27" Type="http://schemas.openxmlformats.org/officeDocument/2006/relationships/image" Target="../media/image188.png"/><Relationship Id="rId30" Type="http://schemas.openxmlformats.org/officeDocument/2006/relationships/image" Target="../media/image191.png"/></Relationships>
</file>

<file path=ppt/slideLayouts/_rels/slideLayout6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0.png"/><Relationship Id="rId13" Type="http://schemas.openxmlformats.org/officeDocument/2006/relationships/image" Target="../media/image205.png"/><Relationship Id="rId18" Type="http://schemas.openxmlformats.org/officeDocument/2006/relationships/image" Target="../media/image210.png"/><Relationship Id="rId26" Type="http://schemas.openxmlformats.org/officeDocument/2006/relationships/image" Target="../media/image218.png"/><Relationship Id="rId3" Type="http://schemas.openxmlformats.org/officeDocument/2006/relationships/image" Target="../media/image195.png"/><Relationship Id="rId21" Type="http://schemas.openxmlformats.org/officeDocument/2006/relationships/image" Target="../media/image213.png"/><Relationship Id="rId7" Type="http://schemas.openxmlformats.org/officeDocument/2006/relationships/image" Target="../media/image199.png"/><Relationship Id="rId12" Type="http://schemas.openxmlformats.org/officeDocument/2006/relationships/image" Target="../media/image204.png"/><Relationship Id="rId17" Type="http://schemas.openxmlformats.org/officeDocument/2006/relationships/image" Target="../media/image209.png"/><Relationship Id="rId25" Type="http://schemas.openxmlformats.org/officeDocument/2006/relationships/image" Target="../media/image217.png"/><Relationship Id="rId2" Type="http://schemas.openxmlformats.org/officeDocument/2006/relationships/image" Target="../media/image194.png"/><Relationship Id="rId16" Type="http://schemas.openxmlformats.org/officeDocument/2006/relationships/image" Target="../media/image208.png"/><Relationship Id="rId20" Type="http://schemas.openxmlformats.org/officeDocument/2006/relationships/image" Target="../media/image212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98.png"/><Relationship Id="rId11" Type="http://schemas.openxmlformats.org/officeDocument/2006/relationships/image" Target="../media/image203.png"/><Relationship Id="rId24" Type="http://schemas.openxmlformats.org/officeDocument/2006/relationships/image" Target="../media/image216.png"/><Relationship Id="rId5" Type="http://schemas.openxmlformats.org/officeDocument/2006/relationships/image" Target="../media/image197.png"/><Relationship Id="rId15" Type="http://schemas.openxmlformats.org/officeDocument/2006/relationships/image" Target="../media/image207.png"/><Relationship Id="rId23" Type="http://schemas.openxmlformats.org/officeDocument/2006/relationships/image" Target="../media/image215.png"/><Relationship Id="rId10" Type="http://schemas.openxmlformats.org/officeDocument/2006/relationships/image" Target="../media/image202.png"/><Relationship Id="rId19" Type="http://schemas.openxmlformats.org/officeDocument/2006/relationships/image" Target="../media/image211.png"/><Relationship Id="rId4" Type="http://schemas.openxmlformats.org/officeDocument/2006/relationships/image" Target="../media/image196.png"/><Relationship Id="rId9" Type="http://schemas.openxmlformats.org/officeDocument/2006/relationships/image" Target="../media/image201.png"/><Relationship Id="rId14" Type="http://schemas.openxmlformats.org/officeDocument/2006/relationships/image" Target="../media/image206.png"/><Relationship Id="rId22" Type="http://schemas.openxmlformats.org/officeDocument/2006/relationships/image" Target="../media/image214.png"/><Relationship Id="rId27" Type="http://schemas.openxmlformats.org/officeDocument/2006/relationships/image" Target="../media/image219.png"/></Relationships>
</file>

<file path=ppt/slideLayouts/_rels/slideLayout6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6.png"/><Relationship Id="rId13" Type="http://schemas.openxmlformats.org/officeDocument/2006/relationships/image" Target="../media/image231.png"/><Relationship Id="rId18" Type="http://schemas.openxmlformats.org/officeDocument/2006/relationships/image" Target="../media/image236.png"/><Relationship Id="rId26" Type="http://schemas.openxmlformats.org/officeDocument/2006/relationships/image" Target="../media/image244.png"/><Relationship Id="rId3" Type="http://schemas.openxmlformats.org/officeDocument/2006/relationships/image" Target="../media/image221.png"/><Relationship Id="rId21" Type="http://schemas.openxmlformats.org/officeDocument/2006/relationships/image" Target="../media/image239.png"/><Relationship Id="rId7" Type="http://schemas.openxmlformats.org/officeDocument/2006/relationships/image" Target="../media/image225.png"/><Relationship Id="rId12" Type="http://schemas.openxmlformats.org/officeDocument/2006/relationships/image" Target="../media/image230.png"/><Relationship Id="rId17" Type="http://schemas.openxmlformats.org/officeDocument/2006/relationships/image" Target="../media/image235.png"/><Relationship Id="rId25" Type="http://schemas.openxmlformats.org/officeDocument/2006/relationships/image" Target="../media/image243.png"/><Relationship Id="rId33" Type="http://schemas.openxmlformats.org/officeDocument/2006/relationships/image" Target="../media/image251.png"/><Relationship Id="rId2" Type="http://schemas.openxmlformats.org/officeDocument/2006/relationships/image" Target="../media/image220.png"/><Relationship Id="rId16" Type="http://schemas.openxmlformats.org/officeDocument/2006/relationships/image" Target="../media/image234.png"/><Relationship Id="rId20" Type="http://schemas.openxmlformats.org/officeDocument/2006/relationships/image" Target="../media/image238.png"/><Relationship Id="rId29" Type="http://schemas.openxmlformats.org/officeDocument/2006/relationships/image" Target="../media/image247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224.png"/><Relationship Id="rId11" Type="http://schemas.openxmlformats.org/officeDocument/2006/relationships/image" Target="../media/image229.png"/><Relationship Id="rId24" Type="http://schemas.openxmlformats.org/officeDocument/2006/relationships/image" Target="../media/image242.png"/><Relationship Id="rId32" Type="http://schemas.openxmlformats.org/officeDocument/2006/relationships/image" Target="../media/image250.png"/><Relationship Id="rId5" Type="http://schemas.openxmlformats.org/officeDocument/2006/relationships/image" Target="../media/image223.png"/><Relationship Id="rId15" Type="http://schemas.openxmlformats.org/officeDocument/2006/relationships/image" Target="../media/image233.png"/><Relationship Id="rId23" Type="http://schemas.openxmlformats.org/officeDocument/2006/relationships/image" Target="../media/image241.png"/><Relationship Id="rId28" Type="http://schemas.openxmlformats.org/officeDocument/2006/relationships/image" Target="../media/image246.png"/><Relationship Id="rId10" Type="http://schemas.openxmlformats.org/officeDocument/2006/relationships/image" Target="../media/image228.png"/><Relationship Id="rId19" Type="http://schemas.openxmlformats.org/officeDocument/2006/relationships/image" Target="../media/image237.png"/><Relationship Id="rId31" Type="http://schemas.openxmlformats.org/officeDocument/2006/relationships/image" Target="../media/image249.png"/><Relationship Id="rId4" Type="http://schemas.openxmlformats.org/officeDocument/2006/relationships/image" Target="../media/image222.png"/><Relationship Id="rId9" Type="http://schemas.openxmlformats.org/officeDocument/2006/relationships/image" Target="../media/image227.png"/><Relationship Id="rId14" Type="http://schemas.openxmlformats.org/officeDocument/2006/relationships/image" Target="../media/image232.png"/><Relationship Id="rId22" Type="http://schemas.openxmlformats.org/officeDocument/2006/relationships/image" Target="../media/image240.png"/><Relationship Id="rId27" Type="http://schemas.openxmlformats.org/officeDocument/2006/relationships/image" Target="../media/image245.png"/><Relationship Id="rId30" Type="http://schemas.openxmlformats.org/officeDocument/2006/relationships/image" Target="../media/image248.png"/></Relationships>
</file>

<file path=ppt/slideLayouts/_rels/slideLayout6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8.png"/><Relationship Id="rId13" Type="http://schemas.openxmlformats.org/officeDocument/2006/relationships/image" Target="../media/image263.png"/><Relationship Id="rId18" Type="http://schemas.openxmlformats.org/officeDocument/2006/relationships/image" Target="../media/image268.png"/><Relationship Id="rId3" Type="http://schemas.openxmlformats.org/officeDocument/2006/relationships/image" Target="../media/image253.png"/><Relationship Id="rId21" Type="http://schemas.openxmlformats.org/officeDocument/2006/relationships/image" Target="../media/image271.png"/><Relationship Id="rId7" Type="http://schemas.openxmlformats.org/officeDocument/2006/relationships/image" Target="../media/image257.png"/><Relationship Id="rId12" Type="http://schemas.openxmlformats.org/officeDocument/2006/relationships/image" Target="../media/image262.png"/><Relationship Id="rId17" Type="http://schemas.openxmlformats.org/officeDocument/2006/relationships/image" Target="../media/image267.png"/><Relationship Id="rId2" Type="http://schemas.openxmlformats.org/officeDocument/2006/relationships/image" Target="../media/image252.png"/><Relationship Id="rId16" Type="http://schemas.openxmlformats.org/officeDocument/2006/relationships/image" Target="../media/image266.png"/><Relationship Id="rId20" Type="http://schemas.openxmlformats.org/officeDocument/2006/relationships/image" Target="../media/image27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256.png"/><Relationship Id="rId11" Type="http://schemas.openxmlformats.org/officeDocument/2006/relationships/image" Target="../media/image261.png"/><Relationship Id="rId5" Type="http://schemas.openxmlformats.org/officeDocument/2006/relationships/image" Target="../media/image255.png"/><Relationship Id="rId15" Type="http://schemas.openxmlformats.org/officeDocument/2006/relationships/image" Target="../media/image265.png"/><Relationship Id="rId10" Type="http://schemas.openxmlformats.org/officeDocument/2006/relationships/image" Target="../media/image260.png"/><Relationship Id="rId19" Type="http://schemas.openxmlformats.org/officeDocument/2006/relationships/image" Target="../media/image269.png"/><Relationship Id="rId4" Type="http://schemas.openxmlformats.org/officeDocument/2006/relationships/image" Target="../media/image254.png"/><Relationship Id="rId9" Type="http://schemas.openxmlformats.org/officeDocument/2006/relationships/image" Target="../media/image259.png"/><Relationship Id="rId14" Type="http://schemas.openxmlformats.org/officeDocument/2006/relationships/image" Target="../media/image264.png"/><Relationship Id="rId22" Type="http://schemas.openxmlformats.org/officeDocument/2006/relationships/image" Target="../media/image272.png"/></Relationships>
</file>

<file path=ppt/slideLayouts/_rels/slideLayout6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9.png"/><Relationship Id="rId13" Type="http://schemas.openxmlformats.org/officeDocument/2006/relationships/image" Target="../media/image284.png"/><Relationship Id="rId3" Type="http://schemas.openxmlformats.org/officeDocument/2006/relationships/image" Target="../media/image274.png"/><Relationship Id="rId7" Type="http://schemas.openxmlformats.org/officeDocument/2006/relationships/image" Target="../media/image278.png"/><Relationship Id="rId12" Type="http://schemas.openxmlformats.org/officeDocument/2006/relationships/image" Target="../media/image283.png"/><Relationship Id="rId2" Type="http://schemas.openxmlformats.org/officeDocument/2006/relationships/image" Target="../media/image273.png"/><Relationship Id="rId16" Type="http://schemas.openxmlformats.org/officeDocument/2006/relationships/image" Target="../media/image287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277.png"/><Relationship Id="rId11" Type="http://schemas.openxmlformats.org/officeDocument/2006/relationships/image" Target="../media/image282.png"/><Relationship Id="rId5" Type="http://schemas.openxmlformats.org/officeDocument/2006/relationships/image" Target="../media/image276.png"/><Relationship Id="rId15" Type="http://schemas.openxmlformats.org/officeDocument/2006/relationships/image" Target="../media/image286.png"/><Relationship Id="rId10" Type="http://schemas.openxmlformats.org/officeDocument/2006/relationships/image" Target="../media/image281.png"/><Relationship Id="rId4" Type="http://schemas.openxmlformats.org/officeDocument/2006/relationships/image" Target="../media/image275.png"/><Relationship Id="rId9" Type="http://schemas.openxmlformats.org/officeDocument/2006/relationships/image" Target="../media/image280.png"/><Relationship Id="rId14" Type="http://schemas.openxmlformats.org/officeDocument/2006/relationships/image" Target="../media/image285.png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11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1.xml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7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1.xml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1.xml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1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1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1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1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1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1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1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26" Type="http://schemas.openxmlformats.org/officeDocument/2006/relationships/image" Target="../media/image47.png"/><Relationship Id="rId3" Type="http://schemas.openxmlformats.org/officeDocument/2006/relationships/image" Target="../media/image24.png"/><Relationship Id="rId21" Type="http://schemas.openxmlformats.org/officeDocument/2006/relationships/image" Target="../media/image42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5" Type="http://schemas.openxmlformats.org/officeDocument/2006/relationships/image" Target="../media/image46.pn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29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24" Type="http://schemas.openxmlformats.org/officeDocument/2006/relationships/image" Target="../media/image45.png"/><Relationship Id="rId32" Type="http://schemas.openxmlformats.org/officeDocument/2006/relationships/image" Target="../media/image53.pn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28" Type="http://schemas.openxmlformats.org/officeDocument/2006/relationships/image" Target="../media/image49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31" Type="http://schemas.openxmlformats.org/officeDocument/2006/relationships/image" Target="../media/image52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3.png"/><Relationship Id="rId27" Type="http://schemas.openxmlformats.org/officeDocument/2006/relationships/image" Target="../media/image48.png"/><Relationship Id="rId30" Type="http://schemas.openxmlformats.org/officeDocument/2006/relationships/image" Target="../media/image51.png"/></Relationships>
</file>

<file path=ppt/slideLayouts/_rels/slideLayout7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3" Type="http://schemas.openxmlformats.org/officeDocument/2006/relationships/image" Target="../media/image20.emf"/><Relationship Id="rId3" Type="http://schemas.openxmlformats.org/officeDocument/2006/relationships/image" Target="../media/image3.emf"/><Relationship Id="rId7" Type="http://schemas.openxmlformats.org/officeDocument/2006/relationships/image" Target="../media/image11.emf"/><Relationship Id="rId12" Type="http://schemas.openxmlformats.org/officeDocument/2006/relationships/image" Target="../media/image19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6.emf"/><Relationship Id="rId11" Type="http://schemas.openxmlformats.org/officeDocument/2006/relationships/image" Target="../media/image160.png"/><Relationship Id="rId5" Type="http://schemas.openxmlformats.org/officeDocument/2006/relationships/image" Target="../media/image15.emf"/><Relationship Id="rId10" Type="http://schemas.openxmlformats.org/officeDocument/2006/relationships/image" Target="../media/image12.emf"/><Relationship Id="rId4" Type="http://schemas.openxmlformats.org/officeDocument/2006/relationships/image" Target="../media/image14.emf"/><Relationship Id="rId9" Type="http://schemas.openxmlformats.org/officeDocument/2006/relationships/image" Target="../media/image17.emf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Master" Target="../slideMasters/slideMaster11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Master" Target="../slideMasters/slideMaster11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5.png"/><Relationship Id="rId18" Type="http://schemas.openxmlformats.org/officeDocument/2006/relationships/image" Target="../media/image70.png"/><Relationship Id="rId26" Type="http://schemas.openxmlformats.org/officeDocument/2006/relationships/image" Target="../media/image78.png"/><Relationship Id="rId3" Type="http://schemas.openxmlformats.org/officeDocument/2006/relationships/image" Target="../media/image55.png"/><Relationship Id="rId21" Type="http://schemas.openxmlformats.org/officeDocument/2006/relationships/image" Target="../media/image73.png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17" Type="http://schemas.openxmlformats.org/officeDocument/2006/relationships/image" Target="../media/image69.png"/><Relationship Id="rId25" Type="http://schemas.openxmlformats.org/officeDocument/2006/relationships/image" Target="../media/image77.png"/><Relationship Id="rId2" Type="http://schemas.openxmlformats.org/officeDocument/2006/relationships/image" Target="../media/image54.png"/><Relationship Id="rId16" Type="http://schemas.openxmlformats.org/officeDocument/2006/relationships/image" Target="../media/image68.png"/><Relationship Id="rId20" Type="http://schemas.openxmlformats.org/officeDocument/2006/relationships/image" Target="../media/image7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8.png"/><Relationship Id="rId11" Type="http://schemas.openxmlformats.org/officeDocument/2006/relationships/image" Target="../media/image63.png"/><Relationship Id="rId24" Type="http://schemas.openxmlformats.org/officeDocument/2006/relationships/image" Target="../media/image76.png"/><Relationship Id="rId5" Type="http://schemas.openxmlformats.org/officeDocument/2006/relationships/image" Target="../media/image57.png"/><Relationship Id="rId15" Type="http://schemas.openxmlformats.org/officeDocument/2006/relationships/image" Target="../media/image67.png"/><Relationship Id="rId23" Type="http://schemas.openxmlformats.org/officeDocument/2006/relationships/image" Target="../media/image75.png"/><Relationship Id="rId10" Type="http://schemas.openxmlformats.org/officeDocument/2006/relationships/image" Target="../media/image62.png"/><Relationship Id="rId19" Type="http://schemas.openxmlformats.org/officeDocument/2006/relationships/image" Target="../media/image71.png"/><Relationship Id="rId4" Type="http://schemas.openxmlformats.org/officeDocument/2006/relationships/image" Target="../media/image56.png"/><Relationship Id="rId9" Type="http://schemas.openxmlformats.org/officeDocument/2006/relationships/image" Target="../media/image61.png"/><Relationship Id="rId14" Type="http://schemas.openxmlformats.org/officeDocument/2006/relationships/image" Target="../media/image66.png"/><Relationship Id="rId22" Type="http://schemas.openxmlformats.org/officeDocument/2006/relationships/image" Target="../media/image74.png"/><Relationship Id="rId27" Type="http://schemas.openxmlformats.org/officeDocument/2006/relationships/image" Target="../media/image79.png"/></Relationships>
</file>

<file path=ppt/slideLayouts/_rels/slideLayout7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11.xml"/></Relationships>
</file>

<file path=ppt/slideLayouts/_rels/slideLayout7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1.xml"/></Relationships>
</file>

<file path=ppt/slideLayouts/_rels/slideLayout7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9.jpg"/><Relationship Id="rId1" Type="http://schemas.openxmlformats.org/officeDocument/2006/relationships/slideMaster" Target="../slideMasters/slideMaster11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1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1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1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1.xml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1.xml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1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1.png"/><Relationship Id="rId18" Type="http://schemas.openxmlformats.org/officeDocument/2006/relationships/image" Target="../media/image96.png"/><Relationship Id="rId26" Type="http://schemas.openxmlformats.org/officeDocument/2006/relationships/image" Target="../media/image104.png"/><Relationship Id="rId3" Type="http://schemas.openxmlformats.org/officeDocument/2006/relationships/image" Target="../media/image81.png"/><Relationship Id="rId21" Type="http://schemas.openxmlformats.org/officeDocument/2006/relationships/image" Target="../media/image99.png"/><Relationship Id="rId7" Type="http://schemas.openxmlformats.org/officeDocument/2006/relationships/image" Target="../media/image85.png"/><Relationship Id="rId12" Type="http://schemas.openxmlformats.org/officeDocument/2006/relationships/image" Target="../media/image90.png"/><Relationship Id="rId17" Type="http://schemas.openxmlformats.org/officeDocument/2006/relationships/image" Target="../media/image95.png"/><Relationship Id="rId25" Type="http://schemas.openxmlformats.org/officeDocument/2006/relationships/image" Target="../media/image103.png"/><Relationship Id="rId33" Type="http://schemas.openxmlformats.org/officeDocument/2006/relationships/image" Target="../media/image111.png"/><Relationship Id="rId2" Type="http://schemas.openxmlformats.org/officeDocument/2006/relationships/image" Target="../media/image80.png"/><Relationship Id="rId16" Type="http://schemas.openxmlformats.org/officeDocument/2006/relationships/image" Target="../media/image94.png"/><Relationship Id="rId20" Type="http://schemas.openxmlformats.org/officeDocument/2006/relationships/image" Target="../media/image98.png"/><Relationship Id="rId29" Type="http://schemas.openxmlformats.org/officeDocument/2006/relationships/image" Target="../media/image10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24" Type="http://schemas.openxmlformats.org/officeDocument/2006/relationships/image" Target="../media/image102.png"/><Relationship Id="rId32" Type="http://schemas.openxmlformats.org/officeDocument/2006/relationships/image" Target="../media/image110.png"/><Relationship Id="rId5" Type="http://schemas.openxmlformats.org/officeDocument/2006/relationships/image" Target="../media/image83.png"/><Relationship Id="rId15" Type="http://schemas.openxmlformats.org/officeDocument/2006/relationships/image" Target="../media/image93.png"/><Relationship Id="rId23" Type="http://schemas.openxmlformats.org/officeDocument/2006/relationships/image" Target="../media/image101.png"/><Relationship Id="rId28" Type="http://schemas.openxmlformats.org/officeDocument/2006/relationships/image" Target="../media/image106.png"/><Relationship Id="rId10" Type="http://schemas.openxmlformats.org/officeDocument/2006/relationships/image" Target="../media/image88.png"/><Relationship Id="rId19" Type="http://schemas.openxmlformats.org/officeDocument/2006/relationships/image" Target="../media/image97.png"/><Relationship Id="rId31" Type="http://schemas.openxmlformats.org/officeDocument/2006/relationships/image" Target="../media/image109.png"/><Relationship Id="rId4" Type="http://schemas.openxmlformats.org/officeDocument/2006/relationships/image" Target="../media/image82.png"/><Relationship Id="rId9" Type="http://schemas.openxmlformats.org/officeDocument/2006/relationships/image" Target="../media/image87.png"/><Relationship Id="rId14" Type="http://schemas.openxmlformats.org/officeDocument/2006/relationships/image" Target="../media/image92.png"/><Relationship Id="rId22" Type="http://schemas.openxmlformats.org/officeDocument/2006/relationships/image" Target="../media/image100.png"/><Relationship Id="rId27" Type="http://schemas.openxmlformats.org/officeDocument/2006/relationships/image" Target="../media/image105.png"/><Relationship Id="rId30" Type="http://schemas.openxmlformats.org/officeDocument/2006/relationships/image" Target="../media/image108.png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1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1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1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1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1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1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1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1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1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openxmlformats.org/officeDocument/2006/relationships/image" Target="../media/image123.png"/><Relationship Id="rId18" Type="http://schemas.openxmlformats.org/officeDocument/2006/relationships/image" Target="../media/image128.png"/><Relationship Id="rId3" Type="http://schemas.openxmlformats.org/officeDocument/2006/relationships/image" Target="../media/image113.png"/><Relationship Id="rId21" Type="http://schemas.openxmlformats.org/officeDocument/2006/relationships/image" Target="../media/image131.png"/><Relationship Id="rId7" Type="http://schemas.openxmlformats.org/officeDocument/2006/relationships/image" Target="../media/image117.png"/><Relationship Id="rId12" Type="http://schemas.openxmlformats.org/officeDocument/2006/relationships/image" Target="../media/image122.png"/><Relationship Id="rId17" Type="http://schemas.openxmlformats.org/officeDocument/2006/relationships/image" Target="../media/image127.png"/><Relationship Id="rId2" Type="http://schemas.openxmlformats.org/officeDocument/2006/relationships/image" Target="../media/image112.png"/><Relationship Id="rId16" Type="http://schemas.openxmlformats.org/officeDocument/2006/relationships/image" Target="../media/image126.png"/><Relationship Id="rId20" Type="http://schemas.openxmlformats.org/officeDocument/2006/relationships/image" Target="../media/image13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6.png"/><Relationship Id="rId11" Type="http://schemas.openxmlformats.org/officeDocument/2006/relationships/image" Target="../media/image121.png"/><Relationship Id="rId5" Type="http://schemas.openxmlformats.org/officeDocument/2006/relationships/image" Target="../media/image115.png"/><Relationship Id="rId15" Type="http://schemas.openxmlformats.org/officeDocument/2006/relationships/image" Target="../media/image125.png"/><Relationship Id="rId10" Type="http://schemas.openxmlformats.org/officeDocument/2006/relationships/image" Target="../media/image120.png"/><Relationship Id="rId19" Type="http://schemas.openxmlformats.org/officeDocument/2006/relationships/image" Target="../media/image129.png"/><Relationship Id="rId4" Type="http://schemas.openxmlformats.org/officeDocument/2006/relationships/image" Target="../media/image114.png"/><Relationship Id="rId9" Type="http://schemas.openxmlformats.org/officeDocument/2006/relationships/image" Target="../media/image119.png"/><Relationship Id="rId14" Type="http://schemas.openxmlformats.org/officeDocument/2006/relationships/image" Target="../media/image124.png"/><Relationship Id="rId22" Type="http://schemas.openxmlformats.org/officeDocument/2006/relationships/image" Target="../media/image132.png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1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1.xml"/></Relationships>
</file>

<file path=ppt/slideLayouts/_rels/slideLayout7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png"/><Relationship Id="rId13" Type="http://schemas.openxmlformats.org/officeDocument/2006/relationships/image" Target="../media/image174.png"/><Relationship Id="rId18" Type="http://schemas.openxmlformats.org/officeDocument/2006/relationships/image" Target="../media/image179.png"/><Relationship Id="rId26" Type="http://schemas.openxmlformats.org/officeDocument/2006/relationships/image" Target="../media/image187.png"/><Relationship Id="rId3" Type="http://schemas.openxmlformats.org/officeDocument/2006/relationships/image" Target="../media/image164.png"/><Relationship Id="rId21" Type="http://schemas.openxmlformats.org/officeDocument/2006/relationships/image" Target="../media/image182.png"/><Relationship Id="rId7" Type="http://schemas.openxmlformats.org/officeDocument/2006/relationships/image" Target="../media/image168.png"/><Relationship Id="rId12" Type="http://schemas.openxmlformats.org/officeDocument/2006/relationships/image" Target="../media/image173.png"/><Relationship Id="rId17" Type="http://schemas.openxmlformats.org/officeDocument/2006/relationships/image" Target="../media/image178.png"/><Relationship Id="rId25" Type="http://schemas.openxmlformats.org/officeDocument/2006/relationships/image" Target="../media/image186.png"/><Relationship Id="rId2" Type="http://schemas.openxmlformats.org/officeDocument/2006/relationships/image" Target="../media/image163.png"/><Relationship Id="rId16" Type="http://schemas.openxmlformats.org/officeDocument/2006/relationships/image" Target="../media/image177.png"/><Relationship Id="rId20" Type="http://schemas.openxmlformats.org/officeDocument/2006/relationships/image" Target="../media/image181.png"/><Relationship Id="rId29" Type="http://schemas.openxmlformats.org/officeDocument/2006/relationships/image" Target="../media/image190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67.png"/><Relationship Id="rId11" Type="http://schemas.openxmlformats.org/officeDocument/2006/relationships/image" Target="../media/image172.png"/><Relationship Id="rId24" Type="http://schemas.openxmlformats.org/officeDocument/2006/relationships/image" Target="../media/image185.png"/><Relationship Id="rId32" Type="http://schemas.openxmlformats.org/officeDocument/2006/relationships/image" Target="../media/image193.png"/><Relationship Id="rId5" Type="http://schemas.openxmlformats.org/officeDocument/2006/relationships/image" Target="../media/image166.png"/><Relationship Id="rId15" Type="http://schemas.openxmlformats.org/officeDocument/2006/relationships/image" Target="../media/image176.png"/><Relationship Id="rId23" Type="http://schemas.openxmlformats.org/officeDocument/2006/relationships/image" Target="../media/image184.png"/><Relationship Id="rId28" Type="http://schemas.openxmlformats.org/officeDocument/2006/relationships/image" Target="../media/image189.png"/><Relationship Id="rId10" Type="http://schemas.openxmlformats.org/officeDocument/2006/relationships/image" Target="../media/image171.png"/><Relationship Id="rId19" Type="http://schemas.openxmlformats.org/officeDocument/2006/relationships/image" Target="../media/image180.png"/><Relationship Id="rId31" Type="http://schemas.openxmlformats.org/officeDocument/2006/relationships/image" Target="../media/image192.png"/><Relationship Id="rId4" Type="http://schemas.openxmlformats.org/officeDocument/2006/relationships/image" Target="../media/image165.png"/><Relationship Id="rId9" Type="http://schemas.openxmlformats.org/officeDocument/2006/relationships/image" Target="../media/image170.png"/><Relationship Id="rId14" Type="http://schemas.openxmlformats.org/officeDocument/2006/relationships/image" Target="../media/image175.png"/><Relationship Id="rId22" Type="http://schemas.openxmlformats.org/officeDocument/2006/relationships/image" Target="../media/image183.png"/><Relationship Id="rId27" Type="http://schemas.openxmlformats.org/officeDocument/2006/relationships/image" Target="../media/image188.png"/><Relationship Id="rId30" Type="http://schemas.openxmlformats.org/officeDocument/2006/relationships/image" Target="../media/image191.png"/></Relationships>
</file>

<file path=ppt/slideLayouts/_rels/slideLayout7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0.png"/><Relationship Id="rId13" Type="http://schemas.openxmlformats.org/officeDocument/2006/relationships/image" Target="../media/image205.png"/><Relationship Id="rId18" Type="http://schemas.openxmlformats.org/officeDocument/2006/relationships/image" Target="../media/image210.png"/><Relationship Id="rId26" Type="http://schemas.openxmlformats.org/officeDocument/2006/relationships/image" Target="../media/image218.png"/><Relationship Id="rId3" Type="http://schemas.openxmlformats.org/officeDocument/2006/relationships/image" Target="../media/image195.png"/><Relationship Id="rId21" Type="http://schemas.openxmlformats.org/officeDocument/2006/relationships/image" Target="../media/image213.png"/><Relationship Id="rId7" Type="http://schemas.openxmlformats.org/officeDocument/2006/relationships/image" Target="../media/image199.png"/><Relationship Id="rId12" Type="http://schemas.openxmlformats.org/officeDocument/2006/relationships/image" Target="../media/image204.png"/><Relationship Id="rId17" Type="http://schemas.openxmlformats.org/officeDocument/2006/relationships/image" Target="../media/image209.png"/><Relationship Id="rId25" Type="http://schemas.openxmlformats.org/officeDocument/2006/relationships/image" Target="../media/image217.png"/><Relationship Id="rId2" Type="http://schemas.openxmlformats.org/officeDocument/2006/relationships/image" Target="../media/image194.png"/><Relationship Id="rId16" Type="http://schemas.openxmlformats.org/officeDocument/2006/relationships/image" Target="../media/image208.png"/><Relationship Id="rId20" Type="http://schemas.openxmlformats.org/officeDocument/2006/relationships/image" Target="../media/image212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98.png"/><Relationship Id="rId11" Type="http://schemas.openxmlformats.org/officeDocument/2006/relationships/image" Target="../media/image203.png"/><Relationship Id="rId24" Type="http://schemas.openxmlformats.org/officeDocument/2006/relationships/image" Target="../media/image216.png"/><Relationship Id="rId5" Type="http://schemas.openxmlformats.org/officeDocument/2006/relationships/image" Target="../media/image197.png"/><Relationship Id="rId15" Type="http://schemas.openxmlformats.org/officeDocument/2006/relationships/image" Target="../media/image207.png"/><Relationship Id="rId23" Type="http://schemas.openxmlformats.org/officeDocument/2006/relationships/image" Target="../media/image215.png"/><Relationship Id="rId10" Type="http://schemas.openxmlformats.org/officeDocument/2006/relationships/image" Target="../media/image202.png"/><Relationship Id="rId19" Type="http://schemas.openxmlformats.org/officeDocument/2006/relationships/image" Target="../media/image211.png"/><Relationship Id="rId4" Type="http://schemas.openxmlformats.org/officeDocument/2006/relationships/image" Target="../media/image196.png"/><Relationship Id="rId9" Type="http://schemas.openxmlformats.org/officeDocument/2006/relationships/image" Target="../media/image201.png"/><Relationship Id="rId14" Type="http://schemas.openxmlformats.org/officeDocument/2006/relationships/image" Target="../media/image206.png"/><Relationship Id="rId22" Type="http://schemas.openxmlformats.org/officeDocument/2006/relationships/image" Target="../media/image214.png"/><Relationship Id="rId27" Type="http://schemas.openxmlformats.org/officeDocument/2006/relationships/image" Target="../media/image219.png"/></Relationships>
</file>

<file path=ppt/slideLayouts/_rels/slideLayout7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6.png"/><Relationship Id="rId13" Type="http://schemas.openxmlformats.org/officeDocument/2006/relationships/image" Target="../media/image231.png"/><Relationship Id="rId18" Type="http://schemas.openxmlformats.org/officeDocument/2006/relationships/image" Target="../media/image236.png"/><Relationship Id="rId26" Type="http://schemas.openxmlformats.org/officeDocument/2006/relationships/image" Target="../media/image244.png"/><Relationship Id="rId3" Type="http://schemas.openxmlformats.org/officeDocument/2006/relationships/image" Target="../media/image221.png"/><Relationship Id="rId21" Type="http://schemas.openxmlformats.org/officeDocument/2006/relationships/image" Target="../media/image239.png"/><Relationship Id="rId7" Type="http://schemas.openxmlformats.org/officeDocument/2006/relationships/image" Target="../media/image225.png"/><Relationship Id="rId12" Type="http://schemas.openxmlformats.org/officeDocument/2006/relationships/image" Target="../media/image230.png"/><Relationship Id="rId17" Type="http://schemas.openxmlformats.org/officeDocument/2006/relationships/image" Target="../media/image235.png"/><Relationship Id="rId25" Type="http://schemas.openxmlformats.org/officeDocument/2006/relationships/image" Target="../media/image243.png"/><Relationship Id="rId33" Type="http://schemas.openxmlformats.org/officeDocument/2006/relationships/image" Target="../media/image251.png"/><Relationship Id="rId2" Type="http://schemas.openxmlformats.org/officeDocument/2006/relationships/image" Target="../media/image220.png"/><Relationship Id="rId16" Type="http://schemas.openxmlformats.org/officeDocument/2006/relationships/image" Target="../media/image234.png"/><Relationship Id="rId20" Type="http://schemas.openxmlformats.org/officeDocument/2006/relationships/image" Target="../media/image238.png"/><Relationship Id="rId29" Type="http://schemas.openxmlformats.org/officeDocument/2006/relationships/image" Target="../media/image247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224.png"/><Relationship Id="rId11" Type="http://schemas.openxmlformats.org/officeDocument/2006/relationships/image" Target="../media/image229.png"/><Relationship Id="rId24" Type="http://schemas.openxmlformats.org/officeDocument/2006/relationships/image" Target="../media/image242.png"/><Relationship Id="rId32" Type="http://schemas.openxmlformats.org/officeDocument/2006/relationships/image" Target="../media/image250.png"/><Relationship Id="rId5" Type="http://schemas.openxmlformats.org/officeDocument/2006/relationships/image" Target="../media/image223.png"/><Relationship Id="rId15" Type="http://schemas.openxmlformats.org/officeDocument/2006/relationships/image" Target="../media/image233.png"/><Relationship Id="rId23" Type="http://schemas.openxmlformats.org/officeDocument/2006/relationships/image" Target="../media/image241.png"/><Relationship Id="rId28" Type="http://schemas.openxmlformats.org/officeDocument/2006/relationships/image" Target="../media/image246.png"/><Relationship Id="rId10" Type="http://schemas.openxmlformats.org/officeDocument/2006/relationships/image" Target="../media/image228.png"/><Relationship Id="rId19" Type="http://schemas.openxmlformats.org/officeDocument/2006/relationships/image" Target="../media/image237.png"/><Relationship Id="rId31" Type="http://schemas.openxmlformats.org/officeDocument/2006/relationships/image" Target="../media/image249.png"/><Relationship Id="rId4" Type="http://schemas.openxmlformats.org/officeDocument/2006/relationships/image" Target="../media/image222.png"/><Relationship Id="rId9" Type="http://schemas.openxmlformats.org/officeDocument/2006/relationships/image" Target="../media/image227.png"/><Relationship Id="rId14" Type="http://schemas.openxmlformats.org/officeDocument/2006/relationships/image" Target="../media/image232.png"/><Relationship Id="rId22" Type="http://schemas.openxmlformats.org/officeDocument/2006/relationships/image" Target="../media/image240.png"/><Relationship Id="rId27" Type="http://schemas.openxmlformats.org/officeDocument/2006/relationships/image" Target="../media/image245.png"/><Relationship Id="rId30" Type="http://schemas.openxmlformats.org/officeDocument/2006/relationships/image" Target="../media/image248.png"/></Relationships>
</file>

<file path=ppt/slideLayouts/_rels/slideLayout7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8.png"/><Relationship Id="rId13" Type="http://schemas.openxmlformats.org/officeDocument/2006/relationships/image" Target="../media/image263.png"/><Relationship Id="rId18" Type="http://schemas.openxmlformats.org/officeDocument/2006/relationships/image" Target="../media/image268.png"/><Relationship Id="rId3" Type="http://schemas.openxmlformats.org/officeDocument/2006/relationships/image" Target="../media/image253.png"/><Relationship Id="rId21" Type="http://schemas.openxmlformats.org/officeDocument/2006/relationships/image" Target="../media/image271.png"/><Relationship Id="rId7" Type="http://schemas.openxmlformats.org/officeDocument/2006/relationships/image" Target="../media/image257.png"/><Relationship Id="rId12" Type="http://schemas.openxmlformats.org/officeDocument/2006/relationships/image" Target="../media/image262.png"/><Relationship Id="rId17" Type="http://schemas.openxmlformats.org/officeDocument/2006/relationships/image" Target="../media/image267.png"/><Relationship Id="rId2" Type="http://schemas.openxmlformats.org/officeDocument/2006/relationships/image" Target="../media/image252.png"/><Relationship Id="rId16" Type="http://schemas.openxmlformats.org/officeDocument/2006/relationships/image" Target="../media/image266.png"/><Relationship Id="rId20" Type="http://schemas.openxmlformats.org/officeDocument/2006/relationships/image" Target="../media/image270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256.png"/><Relationship Id="rId11" Type="http://schemas.openxmlformats.org/officeDocument/2006/relationships/image" Target="../media/image261.png"/><Relationship Id="rId5" Type="http://schemas.openxmlformats.org/officeDocument/2006/relationships/image" Target="../media/image255.png"/><Relationship Id="rId15" Type="http://schemas.openxmlformats.org/officeDocument/2006/relationships/image" Target="../media/image265.png"/><Relationship Id="rId10" Type="http://schemas.openxmlformats.org/officeDocument/2006/relationships/image" Target="../media/image260.png"/><Relationship Id="rId19" Type="http://schemas.openxmlformats.org/officeDocument/2006/relationships/image" Target="../media/image269.png"/><Relationship Id="rId4" Type="http://schemas.openxmlformats.org/officeDocument/2006/relationships/image" Target="../media/image254.png"/><Relationship Id="rId9" Type="http://schemas.openxmlformats.org/officeDocument/2006/relationships/image" Target="../media/image259.png"/><Relationship Id="rId14" Type="http://schemas.openxmlformats.org/officeDocument/2006/relationships/image" Target="../media/image264.png"/><Relationship Id="rId22" Type="http://schemas.openxmlformats.org/officeDocument/2006/relationships/image" Target="../media/image272.png"/></Relationships>
</file>

<file path=ppt/slideLayouts/_rels/slideLayout7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9.png"/><Relationship Id="rId13" Type="http://schemas.openxmlformats.org/officeDocument/2006/relationships/image" Target="../media/image284.png"/><Relationship Id="rId3" Type="http://schemas.openxmlformats.org/officeDocument/2006/relationships/image" Target="../media/image274.png"/><Relationship Id="rId7" Type="http://schemas.openxmlformats.org/officeDocument/2006/relationships/image" Target="../media/image278.png"/><Relationship Id="rId12" Type="http://schemas.openxmlformats.org/officeDocument/2006/relationships/image" Target="../media/image283.png"/><Relationship Id="rId2" Type="http://schemas.openxmlformats.org/officeDocument/2006/relationships/image" Target="../media/image273.png"/><Relationship Id="rId16" Type="http://schemas.openxmlformats.org/officeDocument/2006/relationships/image" Target="../media/image287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277.png"/><Relationship Id="rId11" Type="http://schemas.openxmlformats.org/officeDocument/2006/relationships/image" Target="../media/image282.png"/><Relationship Id="rId5" Type="http://schemas.openxmlformats.org/officeDocument/2006/relationships/image" Target="../media/image276.png"/><Relationship Id="rId15" Type="http://schemas.openxmlformats.org/officeDocument/2006/relationships/image" Target="../media/image286.png"/><Relationship Id="rId10" Type="http://schemas.openxmlformats.org/officeDocument/2006/relationships/image" Target="../media/image281.png"/><Relationship Id="rId4" Type="http://schemas.openxmlformats.org/officeDocument/2006/relationships/image" Target="../media/image275.png"/><Relationship Id="rId9" Type="http://schemas.openxmlformats.org/officeDocument/2006/relationships/image" Target="../media/image280.png"/><Relationship Id="rId14" Type="http://schemas.openxmlformats.org/officeDocument/2006/relationships/image" Target="../media/image285.png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7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7.jpg"/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png"/><Relationship Id="rId13" Type="http://schemas.openxmlformats.org/officeDocument/2006/relationships/image" Target="../media/image144.png"/><Relationship Id="rId3" Type="http://schemas.openxmlformats.org/officeDocument/2006/relationships/image" Target="../media/image134.png"/><Relationship Id="rId7" Type="http://schemas.openxmlformats.org/officeDocument/2006/relationships/image" Target="../media/image138.png"/><Relationship Id="rId12" Type="http://schemas.openxmlformats.org/officeDocument/2006/relationships/image" Target="../media/image143.png"/><Relationship Id="rId2" Type="http://schemas.openxmlformats.org/officeDocument/2006/relationships/image" Target="../media/image133.png"/><Relationship Id="rId16" Type="http://schemas.openxmlformats.org/officeDocument/2006/relationships/image" Target="../media/image14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7.png"/><Relationship Id="rId11" Type="http://schemas.openxmlformats.org/officeDocument/2006/relationships/image" Target="../media/image142.png"/><Relationship Id="rId5" Type="http://schemas.openxmlformats.org/officeDocument/2006/relationships/image" Target="../media/image136.png"/><Relationship Id="rId15" Type="http://schemas.openxmlformats.org/officeDocument/2006/relationships/image" Target="../media/image146.png"/><Relationship Id="rId10" Type="http://schemas.openxmlformats.org/officeDocument/2006/relationships/image" Target="../media/image141.png"/><Relationship Id="rId4" Type="http://schemas.openxmlformats.org/officeDocument/2006/relationships/image" Target="../media/image135.png"/><Relationship Id="rId9" Type="http://schemas.openxmlformats.org/officeDocument/2006/relationships/image" Target="../media/image140.png"/><Relationship Id="rId14" Type="http://schemas.openxmlformats.org/officeDocument/2006/relationships/image" Target="../media/image145.png"/></Relationships>
</file>

<file path=ppt/slideLayouts/_rels/slideLayout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6.jpg"/><Relationship Id="rId1" Type="http://schemas.openxmlformats.org/officeDocument/2006/relationships/slideMaster" Target="../slideMasters/slideMaster12.xml"/></Relationships>
</file>

<file path=ppt/slideLayouts/_rels/slideLayout7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8.jpg"/><Relationship Id="rId1" Type="http://schemas.openxmlformats.org/officeDocument/2006/relationships/slideMaster" Target="../slideMasters/slideMaster12.xml"/></Relationships>
</file>

<file path=ppt/slideLayouts/_rels/slideLayout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7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6.jpg"/><Relationship Id="rId1" Type="http://schemas.openxmlformats.org/officeDocument/2006/relationships/slideMaster" Target="../slideMasters/slideMaster12.xml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297.jpg"/><Relationship Id="rId1" Type="http://schemas.openxmlformats.org/officeDocument/2006/relationships/slideMaster" Target="../slideMasters/slideMaster13.xml"/></Relationships>
</file>

<file path=ppt/slideLayouts/_rels/slideLayout7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299.jpg"/><Relationship Id="rId1" Type="http://schemas.openxmlformats.org/officeDocument/2006/relationships/slideMaster" Target="../slideMasters/slideMaster13.xml"/></Relationships>
</file>

<file path=ppt/slideLayouts/_rels/slideLayout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8.png"/><Relationship Id="rId1" Type="http://schemas.openxmlformats.org/officeDocument/2006/relationships/slideMaster" Target="../slideMasters/slideMaster13.xml"/></Relationships>
</file>

<file path=ppt/slideLayouts/_rels/slideLayout7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297.jpg"/><Relationship Id="rId1" Type="http://schemas.openxmlformats.org/officeDocument/2006/relationships/slideMaster" Target="../slideMasters/slideMaster13.xml"/></Relationships>
</file>

<file path=ppt/slideLayouts/_rels/slideLayout7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301.jpg"/><Relationship Id="rId1" Type="http://schemas.openxmlformats.org/officeDocument/2006/relationships/slideMaster" Target="../slideMasters/slideMaster13.xml"/></Relationships>
</file>

<file path=ppt/slideLayouts/_rels/slideLayout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8.png"/><Relationship Id="rId1" Type="http://schemas.openxmlformats.org/officeDocument/2006/relationships/slideMaster" Target="../slideMasters/slideMaster13.xml"/></Relationships>
</file>

<file path=ppt/slideLayouts/_rels/slideLayout7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302.jpg"/><Relationship Id="rId1" Type="http://schemas.openxmlformats.org/officeDocument/2006/relationships/slideMaster" Target="../slideMasters/slideMaster1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8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299.jpg"/><Relationship Id="rId1" Type="http://schemas.openxmlformats.org/officeDocument/2006/relationships/slideMaster" Target="../slideMasters/slideMaster13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0.png"/><Relationship Id="rId1" Type="http://schemas.openxmlformats.org/officeDocument/2006/relationships/slideMaster" Target="../slideMasters/slideMaster13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8.png"/><Relationship Id="rId1" Type="http://schemas.openxmlformats.org/officeDocument/2006/relationships/slideMaster" Target="../slideMasters/slideMaster13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302.jpg"/><Relationship Id="rId1" Type="http://schemas.openxmlformats.org/officeDocument/2006/relationships/slideMaster" Target="../slideMasters/slideMaster13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301.jpg"/><Relationship Id="rId1" Type="http://schemas.openxmlformats.org/officeDocument/2006/relationships/slideMaster" Target="../slideMasters/slideMaster13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8.png"/><Relationship Id="rId1" Type="http://schemas.openxmlformats.org/officeDocument/2006/relationships/slideMaster" Target="../slideMasters/slideMaster13.xml"/></Relationships>
</file>

<file path=ppt/slideLayouts/_rels/slideLayout8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302.jpg"/><Relationship Id="rId1" Type="http://schemas.openxmlformats.org/officeDocument/2006/relationships/slideMaster" Target="../slideMasters/slideMaster13.xml"/></Relationships>
</file>

<file path=ppt/slideLayouts/_rels/slideLayout8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301.jpg"/><Relationship Id="rId1" Type="http://schemas.openxmlformats.org/officeDocument/2006/relationships/slideMaster" Target="../slideMasters/slideMaster13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8.png"/><Relationship Id="rId1" Type="http://schemas.openxmlformats.org/officeDocument/2006/relationships/slideMaster" Target="../slideMasters/slideMaster13.xml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297.jpg"/><Relationship Id="rId1" Type="http://schemas.openxmlformats.org/officeDocument/2006/relationships/slideMaster" Target="../slideMasters/slideMaster1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8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299.jpg"/><Relationship Id="rId1" Type="http://schemas.openxmlformats.org/officeDocument/2006/relationships/slideMaster" Target="../slideMasters/slideMaster13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8.png"/><Relationship Id="rId1" Type="http://schemas.openxmlformats.org/officeDocument/2006/relationships/slideMaster" Target="../slideMasters/slideMaster13.xml"/></Relationships>
</file>

<file path=ppt/slideLayouts/_rels/slideLayout8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302.jpg"/><Relationship Id="rId1" Type="http://schemas.openxmlformats.org/officeDocument/2006/relationships/slideMaster" Target="../slideMasters/slideMaster13.xml"/></Relationships>
</file>

<file path=ppt/slideLayouts/_rels/slideLayout8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299.jpg"/><Relationship Id="rId1" Type="http://schemas.openxmlformats.org/officeDocument/2006/relationships/slideMaster" Target="../slideMasters/slideMaster13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8.png"/><Relationship Id="rId1" Type="http://schemas.openxmlformats.org/officeDocument/2006/relationships/slideMaster" Target="../slideMasters/slideMaster13.xml"/></Relationships>
</file>

<file path=ppt/slideLayouts/_rels/slideLayout8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302.jpg"/><Relationship Id="rId1" Type="http://schemas.openxmlformats.org/officeDocument/2006/relationships/slideMaster" Target="../slideMasters/slideMaster13.xml"/></Relationships>
</file>

<file path=ppt/slideLayouts/_rels/slideLayout8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299.jpg"/><Relationship Id="rId1" Type="http://schemas.openxmlformats.org/officeDocument/2006/relationships/slideMaster" Target="../slideMasters/slideMaster13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8.png"/><Relationship Id="rId1" Type="http://schemas.openxmlformats.org/officeDocument/2006/relationships/slideMaster" Target="../slideMasters/slideMaster13.xml"/></Relationships>
</file>

<file path=ppt/slideLayouts/_rels/slideLayout8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302.jpg"/><Relationship Id="rId1" Type="http://schemas.openxmlformats.org/officeDocument/2006/relationships/slideMaster" Target="../slideMasters/slideMaster13.xml"/></Relationships>
</file>

<file path=ppt/slideLayouts/_rels/slideLayout8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301.jpg"/><Relationship Id="rId1" Type="http://schemas.openxmlformats.org/officeDocument/2006/relationships/slideMaster" Target="../slideMasters/slideMaster1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8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8.png"/><Relationship Id="rId1" Type="http://schemas.openxmlformats.org/officeDocument/2006/relationships/slideMaster" Target="../slideMasters/slideMaster13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302.jpg"/><Relationship Id="rId1" Type="http://schemas.openxmlformats.org/officeDocument/2006/relationships/slideMaster" Target="../slideMasters/slideMaster13.xml"/></Relationships>
</file>

<file path=ppt/slideLayouts/_rels/slideLayout8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301.jpg"/><Relationship Id="rId1" Type="http://schemas.openxmlformats.org/officeDocument/2006/relationships/slideMaster" Target="../slideMasters/slideMaster13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8.png"/><Relationship Id="rId1" Type="http://schemas.openxmlformats.org/officeDocument/2006/relationships/slideMaster" Target="../slideMasters/slideMaster13.xml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302.jpg"/><Relationship Id="rId1" Type="http://schemas.openxmlformats.org/officeDocument/2006/relationships/slideMaster" Target="../slideMasters/slideMaster13.xml"/></Relationships>
</file>

<file path=ppt/slideLayouts/_rels/slideLayout8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301.jpg"/><Relationship Id="rId1" Type="http://schemas.openxmlformats.org/officeDocument/2006/relationships/slideMaster" Target="../slideMasters/slideMaster13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8.png"/><Relationship Id="rId1" Type="http://schemas.openxmlformats.org/officeDocument/2006/relationships/slideMaster" Target="../slideMasters/slideMaster13.xml"/></Relationships>
</file>

<file path=ppt/slideLayouts/_rels/slideLayout8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302.jpg"/><Relationship Id="rId1" Type="http://schemas.openxmlformats.org/officeDocument/2006/relationships/slideMaster" Target="../slideMasters/slideMaster13.xml"/></Relationships>
</file>

<file path=ppt/slideLayouts/_rels/slideLayout8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301.jpg"/><Relationship Id="rId1" Type="http://schemas.openxmlformats.org/officeDocument/2006/relationships/slideMaster" Target="../slideMasters/slideMaster13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8.png"/><Relationship Id="rId1" Type="http://schemas.openxmlformats.org/officeDocument/2006/relationships/slideMaster" Target="../slideMasters/slideMaster1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8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302.jpg"/><Relationship Id="rId1" Type="http://schemas.openxmlformats.org/officeDocument/2006/relationships/slideMaster" Target="../slideMasters/slideMaster13.xml"/></Relationships>
</file>

<file path=ppt/slideLayouts/_rels/slideLayout8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301.jpg"/><Relationship Id="rId1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4DB3BC1-51BC-FA4C-B894-20464786F5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uideline Slide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5058055-1CEA-8F4A-B28D-6EBF057B1F66}"/>
              </a:ext>
            </a:extLst>
          </p:cNvPr>
          <p:cNvSpPr txBox="1"/>
          <p:nvPr userDrawn="1"/>
        </p:nvSpPr>
        <p:spPr>
          <a:xfrm>
            <a:off x="4198976" y="1454019"/>
            <a:ext cx="3609474" cy="51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3200" dirty="0">
                <a:latin typeface="Century Gothic" panose="020B0502020202020204" pitchFamily="34" charset="0"/>
              </a:rPr>
              <a:t>Title </a:t>
            </a:r>
            <a:r>
              <a:rPr lang="en-US" sz="3200" b="0" i="0" dirty="0">
                <a:latin typeface="Century Gothic" panose="020B0502020202020204" pitchFamily="34" charset="0"/>
              </a:rPr>
              <a:t>Size 3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latin typeface="Century Gothic" panose="020B0502020202020204" pitchFamily="34" charset="0"/>
              </a:rPr>
              <a:t>Title </a:t>
            </a:r>
            <a:r>
              <a:rPr lang="en-US" sz="4000" b="0" i="0" dirty="0">
                <a:latin typeface="Century Gothic" panose="020B0502020202020204" pitchFamily="34" charset="0"/>
              </a:rPr>
              <a:t>Size 4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latin typeface="Century Gothic" panose="020B0502020202020204" pitchFamily="34" charset="0"/>
              </a:rPr>
              <a:t>Title </a:t>
            </a:r>
            <a:r>
              <a:rPr lang="en-US" sz="4800" b="0" i="0" dirty="0">
                <a:latin typeface="Century Gothic" panose="020B0502020202020204" pitchFamily="34" charset="0"/>
              </a:rPr>
              <a:t>Size 4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Subtitle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i="0" dirty="0">
                <a:latin typeface="Century Gothic" panose="020B0502020202020204" pitchFamily="34" charset="0"/>
              </a:rPr>
              <a:t>Subtitle Size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i="0" dirty="0">
                <a:latin typeface="Century Gothic" panose="020B0502020202020204" pitchFamily="34" charset="0"/>
              </a:rPr>
              <a:t>Subtitle Size 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0" i="0" dirty="0">
                <a:latin typeface="Century Gothic" panose="020B0502020202020204" pitchFamily="34" charset="0"/>
              </a:rPr>
              <a:t>Subtitle Size 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latin typeface="Century Gothic" panose="020B0502020202020204" pitchFamily="34" charset="0"/>
              </a:rPr>
              <a:t>Body Copy Size 1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dirty="0">
                <a:latin typeface="Century Gothic" panose="020B0502020202020204" pitchFamily="34" charset="0"/>
              </a:rPr>
              <a:t>Body Copy Size 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0" i="0" dirty="0">
                <a:latin typeface="Century Gothic" panose="020B0502020202020204" pitchFamily="34" charset="0"/>
              </a:rPr>
              <a:t>Body Copy Size 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Body Copy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endParaRPr lang="en-US" sz="3200" b="0" i="0" dirty="0">
              <a:latin typeface="Century Gothic" panose="020B0502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A9601FA-2C65-E743-B839-2BC0AA447EFA}"/>
              </a:ext>
            </a:extLst>
          </p:cNvPr>
          <p:cNvGrpSpPr/>
          <p:nvPr userDrawn="1"/>
        </p:nvGrpSpPr>
        <p:grpSpPr>
          <a:xfrm>
            <a:off x="623887" y="1457766"/>
            <a:ext cx="3625820" cy="4943755"/>
            <a:chOff x="-6257760" y="707017"/>
            <a:chExt cx="3625820" cy="494375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BD78F41-BB0F-F94F-B712-97D86AE976FB}"/>
                </a:ext>
              </a:extLst>
            </p:cNvPr>
            <p:cNvSpPr/>
            <p:nvPr/>
          </p:nvSpPr>
          <p:spPr>
            <a:xfrm>
              <a:off x="-6246609" y="707017"/>
              <a:ext cx="881743" cy="881743"/>
            </a:xfrm>
            <a:prstGeom prst="ellipse">
              <a:avLst/>
            </a:prstGeom>
            <a:solidFill>
              <a:srgbClr val="0941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BCF57C2-460B-E046-8C9E-C10EFA6D7193}"/>
                </a:ext>
              </a:extLst>
            </p:cNvPr>
            <p:cNvSpPr/>
            <p:nvPr/>
          </p:nvSpPr>
          <p:spPr>
            <a:xfrm>
              <a:off x="-6246609" y="1726714"/>
              <a:ext cx="881743" cy="881743"/>
            </a:xfrm>
            <a:prstGeom prst="ellipse">
              <a:avLst/>
            </a:prstGeom>
            <a:solidFill>
              <a:srgbClr val="2382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5F50ABA-AC03-BB42-A8AC-FAC93E74E2FA}"/>
                </a:ext>
              </a:extLst>
            </p:cNvPr>
            <p:cNvSpPr/>
            <p:nvPr/>
          </p:nvSpPr>
          <p:spPr>
            <a:xfrm>
              <a:off x="-6246609" y="2740819"/>
              <a:ext cx="881743" cy="881743"/>
            </a:xfrm>
            <a:prstGeom prst="ellipse">
              <a:avLst/>
            </a:prstGeom>
            <a:solidFill>
              <a:srgbClr val="F7A4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78521A9-75E7-4548-A46B-547A9ACB0A3D}"/>
                </a:ext>
              </a:extLst>
            </p:cNvPr>
            <p:cNvSpPr/>
            <p:nvPr/>
          </p:nvSpPr>
          <p:spPr>
            <a:xfrm>
              <a:off x="-6257760" y="3754924"/>
              <a:ext cx="881743" cy="881743"/>
            </a:xfrm>
            <a:prstGeom prst="ellipse">
              <a:avLst/>
            </a:prstGeom>
            <a:solidFill>
              <a:srgbClr val="0FA0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BF5A9BF-9E01-A946-A6D0-4A399D564919}"/>
                </a:ext>
              </a:extLst>
            </p:cNvPr>
            <p:cNvSpPr/>
            <p:nvPr/>
          </p:nvSpPr>
          <p:spPr>
            <a:xfrm>
              <a:off x="-6257760" y="4769029"/>
              <a:ext cx="881743" cy="881743"/>
            </a:xfrm>
            <a:prstGeom prst="ellipse">
              <a:avLst/>
            </a:prstGeom>
            <a:solidFill>
              <a:srgbClr val="C09A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474E757-2D7D-E84A-8F90-67963898E9A5}"/>
                </a:ext>
              </a:extLst>
            </p:cNvPr>
            <p:cNvSpPr txBox="1"/>
            <p:nvPr/>
          </p:nvSpPr>
          <p:spPr>
            <a:xfrm>
              <a:off x="-5235635" y="293357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Orang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0 / 42 / 87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247 / 164 / 45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FBDF904-4B20-C644-BF8D-76EF3776FFF5}"/>
                </a:ext>
              </a:extLst>
            </p:cNvPr>
            <p:cNvSpPr txBox="1"/>
            <p:nvPr/>
          </p:nvSpPr>
          <p:spPr>
            <a:xfrm>
              <a:off x="-5235635" y="191247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0 / 33 / 4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 / 141 / 198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8FEDB90-7B3E-404B-BEE7-B7222F3FF624}"/>
                </a:ext>
              </a:extLst>
            </p:cNvPr>
            <p:cNvSpPr txBox="1"/>
            <p:nvPr/>
          </p:nvSpPr>
          <p:spPr>
            <a:xfrm>
              <a:off x="-5235635" y="851395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100 / 72 / 0 / 18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0 / 66 / 137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2223326-CD12-D04E-AD0D-8F5551660336}"/>
                </a:ext>
              </a:extLst>
            </p:cNvPr>
            <p:cNvSpPr txBox="1"/>
            <p:nvPr/>
          </p:nvSpPr>
          <p:spPr>
            <a:xfrm>
              <a:off x="-5235635" y="396009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Green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1 / 5 / 95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5 / 160 / 66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42560D3-17B6-DD47-A272-449E80C687E5}"/>
                </a:ext>
              </a:extLst>
            </p:cNvPr>
            <p:cNvSpPr txBox="1"/>
            <p:nvPr/>
          </p:nvSpPr>
          <p:spPr>
            <a:xfrm>
              <a:off x="-5235635" y="496178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Gold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30 / 40 / 70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2 / 154 / 9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79106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</a:lstStyle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Right click and use the crop function to size your image box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Scale and position your image to fit inside this area.</a:t>
            </a:r>
            <a:br>
              <a:rPr lang="en-US" sz="2000" dirty="0"/>
            </a:br>
            <a:endParaRPr lang="en-US" sz="2000" dirty="0"/>
          </a:p>
          <a:p>
            <a:pPr lvl="0"/>
            <a:endParaRPr lang="en-US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680278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01CB732-A621-8440-A42B-A3E72ABEF6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051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56A60E4-0332-914F-93F8-9A7AA90937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08C281-9C7A-294A-87E1-B2464303E763}"/>
              </a:ext>
            </a:extLst>
          </p:cNvPr>
          <p:cNvSpPr/>
          <p:nvPr userDrawn="1"/>
        </p:nvSpPr>
        <p:spPr>
          <a:xfrm>
            <a:off x="0" y="1"/>
            <a:ext cx="12181021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9" y="1745140"/>
            <a:ext cx="3527424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12113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8023"/>
            <a:ext cx="10934489" cy="54303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49577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E4BDEA-9ED9-9E4A-8299-1ED7EDA0B7BE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530DB3-6D36-8245-B9A4-DFAB045921B8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44A662-5109-9E46-BA25-7B6A075E7F85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C6B76F-1E4F-AC47-9415-689DE31A47F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168B1D-3168-D940-8927-A3A5BAAAFAF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Subtitle 2">
            <a:extLst>
              <a:ext uri="{FF2B5EF4-FFF2-40B4-BE49-F238E27FC236}">
                <a16:creationId xmlns:a16="http://schemas.microsoft.com/office/drawing/2014/main" id="{A69FF014-B939-B84A-B950-4DB7547889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B58088-83A5-AD46-ACC2-6FB2290F56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420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B3BBCE2E-3119-F04F-B262-DE7256C2C7A1}"/>
              </a:ext>
            </a:extLst>
          </p:cNvPr>
          <p:cNvSpPr/>
          <p:nvPr userDrawn="1"/>
        </p:nvSpPr>
        <p:spPr>
          <a:xfrm>
            <a:off x="373198" y="0"/>
            <a:ext cx="11807823" cy="4530723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8" y="1745140"/>
            <a:ext cx="3527425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745140"/>
            <a:ext cx="3556001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01453" y="1745140"/>
            <a:ext cx="3556002" cy="254746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32288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E05B4EB-48E0-2742-B1AE-279309679E4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332288" y="4688681"/>
            <a:ext cx="3527425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CAB8C08-8214-6A4E-A4D8-C6B318A0AFD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3888" y="4688681"/>
            <a:ext cx="3556001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ECE91E5-64B2-9844-9A5C-E74D42AB53F9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8001453" y="4688681"/>
            <a:ext cx="3556002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06BC46-0E61-E540-B5BD-BCDF424A6C78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D66A452-9491-0747-91FC-E3C7677DDB5C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3775A9-4829-B74C-9440-0DEA4FFD7D3E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7484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736726"/>
            <a:ext cx="261815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736726"/>
            <a:ext cx="2627312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736726"/>
            <a:ext cx="259238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736726"/>
            <a:ext cx="2627313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B9EAB2A-56B1-E542-B42E-A1585F7F0D9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406405" y="1272949"/>
            <a:ext cx="2598735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0E97C0-517F-494A-9ECE-ABF5BF8D5F5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3888" y="1272949"/>
            <a:ext cx="2627311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6CB81E-2868-C24A-A2D5-F8A38CC80E0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6197605" y="1272949"/>
            <a:ext cx="259873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5484F9-15AE-E747-8437-F25FF8A7112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940800" y="1272949"/>
            <a:ext cx="262731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8A60D2C3-77F9-EA4D-8FDD-D99DA6EE91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3623"/>
            <a:ext cx="10968449" cy="512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Main Titl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AC9DD0D-4687-204C-B610-9E8509660368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23888" y="4801560"/>
            <a:ext cx="10944223" cy="12492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50B2B7B-B299-584F-83B1-8A6E2DAD24C1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1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7E5DAF-191D-4648-A2A4-AC5ABD21B32D}"/>
              </a:ext>
            </a:extLst>
          </p:cNvPr>
          <p:cNvCxnSpPr>
            <a:cxnSpLocks/>
          </p:cNvCxnSpPr>
          <p:nvPr userDrawn="1"/>
        </p:nvCxnSpPr>
        <p:spPr>
          <a:xfrm>
            <a:off x="3406405" y="1125538"/>
            <a:ext cx="261815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3C4C2E8-8905-214A-A6DA-BC1350B2EC69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A5E08C-7312-384E-B73D-6651839252B3}"/>
              </a:ext>
            </a:extLst>
          </p:cNvPr>
          <p:cNvCxnSpPr>
            <a:cxnSpLocks/>
          </p:cNvCxnSpPr>
          <p:nvPr userDrawn="1"/>
        </p:nvCxnSpPr>
        <p:spPr>
          <a:xfrm>
            <a:off x="89408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838D76C-8F40-194F-A2DC-75834602A1A6}"/>
              </a:ext>
            </a:extLst>
          </p:cNvPr>
          <p:cNvCxnSpPr>
            <a:cxnSpLocks/>
          </p:cNvCxnSpPr>
          <p:nvPr userDrawn="1"/>
        </p:nvCxnSpPr>
        <p:spPr>
          <a:xfrm>
            <a:off x="629925" y="4944428"/>
            <a:ext cx="31156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94EDC1BE-5A2F-9141-AD5F-0F7879D6B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541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3B371F-F73D-7848-955E-6F4A47C7D7A0}"/>
              </a:ext>
            </a:extLst>
          </p:cNvPr>
          <p:cNvSpPr/>
          <p:nvPr userDrawn="1"/>
        </p:nvSpPr>
        <p:spPr>
          <a:xfrm>
            <a:off x="5232400" y="512763"/>
            <a:ext cx="4500563" cy="271747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9BCB5-7570-8940-9AC8-67AF9BFB7BFC}"/>
              </a:ext>
            </a:extLst>
          </p:cNvPr>
          <p:cNvSpPr/>
          <p:nvPr userDrawn="1"/>
        </p:nvSpPr>
        <p:spPr>
          <a:xfrm>
            <a:off x="5228384" y="3362277"/>
            <a:ext cx="3567953" cy="237387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02A2A2-091B-3843-8E8D-C5130D918C0B}"/>
              </a:ext>
            </a:extLst>
          </p:cNvPr>
          <p:cNvSpPr/>
          <p:nvPr userDrawn="1"/>
        </p:nvSpPr>
        <p:spPr>
          <a:xfrm>
            <a:off x="8947152" y="3362277"/>
            <a:ext cx="3244848" cy="237648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B59B44-4EB0-684F-AB52-741961638BCF}"/>
              </a:ext>
            </a:extLst>
          </p:cNvPr>
          <p:cNvSpPr/>
          <p:nvPr userDrawn="1"/>
        </p:nvSpPr>
        <p:spPr>
          <a:xfrm>
            <a:off x="9861552" y="501927"/>
            <a:ext cx="2330448" cy="272831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04AF4BF-EF8E-5246-A68A-86D5DCC9D8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844" y="1459681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0D1934E5-DFFE-D64A-AC88-7270E46A22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6656" y="1513469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BE6F2F-98ED-E740-8C3A-11E55932FF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1806" y="4122199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D554C6E-14A7-F240-A7FE-4B4921CCB3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5726" y="4108752"/>
            <a:ext cx="1150938" cy="1004936"/>
          </a:xfrm>
          <a:prstGeom prst="rect">
            <a:avLst/>
          </a:prstGeom>
        </p:spPr>
      </p:pic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D0040FA-429B-3340-98A6-8EDBE6F6C15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400" y="501926"/>
            <a:ext cx="4500563" cy="2714866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25E71D81-56C6-4741-8183-0B428AFAEF52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5838" y="499315"/>
            <a:ext cx="2316162" cy="2717477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663DCAF0-0A11-9744-996C-8D17C975A9D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1" y="3373115"/>
            <a:ext cx="3251200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BD990BB-3AB6-874E-8F35-63EA9033F064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5232400" y="3373116"/>
            <a:ext cx="3563937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806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06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198804" y="0"/>
            <a:ext cx="798221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Imag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CD41DA-5299-F245-B635-25684774BD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467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733" y="71563"/>
            <a:ext cx="1592580" cy="703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133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D3A9F48F-DEB8-D54B-9A3F-D74D7B3BDB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E83591B-96D8-4D47-B22F-66A56E777A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447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CB6B763-9BD5-DD42-876D-86BF240D60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C0519C4-C654-324F-A1C1-D78DB6CBA7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226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743691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8693107-CCA3-A44F-A088-CA97182B2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E3C12AD-F3DE-8345-83C1-ED4A54A6FA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438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27396510-F944-4741-BA3C-017EE0787E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F86B7C-BE1A-8143-ADB4-6DDB056CB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726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270B3F9-86D7-C949-8435-04D9B62A3D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44DA6B8-C25A-AE4C-8728-B2D0905C2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013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s and fon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4DB3BC1-51BC-FA4C-B894-20464786F5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uideline Slide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5058055-1CEA-8F4A-B28D-6EBF057B1F66}"/>
              </a:ext>
            </a:extLst>
          </p:cNvPr>
          <p:cNvSpPr txBox="1"/>
          <p:nvPr userDrawn="1"/>
        </p:nvSpPr>
        <p:spPr>
          <a:xfrm>
            <a:off x="4198976" y="1454019"/>
            <a:ext cx="3609474" cy="51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3200" dirty="0">
                <a:latin typeface="Century Gothic" panose="020B0502020202020204" pitchFamily="34" charset="0"/>
              </a:rPr>
              <a:t>Title </a:t>
            </a:r>
            <a:r>
              <a:rPr lang="en-US" sz="3200" b="0" i="0" dirty="0">
                <a:latin typeface="Century Gothic" panose="020B0502020202020204" pitchFamily="34" charset="0"/>
              </a:rPr>
              <a:t>Size 3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latin typeface="Century Gothic" panose="020B0502020202020204" pitchFamily="34" charset="0"/>
              </a:rPr>
              <a:t>Title </a:t>
            </a:r>
            <a:r>
              <a:rPr lang="en-US" sz="4000" b="0" i="0" dirty="0">
                <a:latin typeface="Century Gothic" panose="020B0502020202020204" pitchFamily="34" charset="0"/>
              </a:rPr>
              <a:t>Size 4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latin typeface="Century Gothic" panose="020B0502020202020204" pitchFamily="34" charset="0"/>
              </a:rPr>
              <a:t>Title </a:t>
            </a:r>
            <a:r>
              <a:rPr lang="en-US" sz="4800" b="0" i="0" dirty="0">
                <a:latin typeface="Century Gothic" panose="020B0502020202020204" pitchFamily="34" charset="0"/>
              </a:rPr>
              <a:t>Size 4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Subtitle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i="0" dirty="0">
                <a:latin typeface="Century Gothic" panose="020B0502020202020204" pitchFamily="34" charset="0"/>
              </a:rPr>
              <a:t>Subtitle Size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i="0" dirty="0">
                <a:latin typeface="Century Gothic" panose="020B0502020202020204" pitchFamily="34" charset="0"/>
              </a:rPr>
              <a:t>Subtitle Size 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0" i="0" dirty="0">
                <a:latin typeface="Century Gothic" panose="020B0502020202020204" pitchFamily="34" charset="0"/>
              </a:rPr>
              <a:t>Subtitle Size 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latin typeface="Century Gothic" panose="020B0502020202020204" pitchFamily="34" charset="0"/>
              </a:rPr>
              <a:t>Body Copy Size 1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dirty="0">
                <a:latin typeface="Century Gothic" panose="020B0502020202020204" pitchFamily="34" charset="0"/>
              </a:rPr>
              <a:t>Body Copy Size 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0" i="0" dirty="0">
                <a:latin typeface="Century Gothic" panose="020B0502020202020204" pitchFamily="34" charset="0"/>
              </a:rPr>
              <a:t>Body Copy Size 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Body Copy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endParaRPr lang="en-US" sz="3200" b="0" i="0" dirty="0">
              <a:latin typeface="Century Gothic" panose="020B0502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A9601FA-2C65-E743-B839-2BC0AA447EFA}"/>
              </a:ext>
            </a:extLst>
          </p:cNvPr>
          <p:cNvGrpSpPr/>
          <p:nvPr userDrawn="1"/>
        </p:nvGrpSpPr>
        <p:grpSpPr>
          <a:xfrm>
            <a:off x="623887" y="1457766"/>
            <a:ext cx="3625820" cy="4943755"/>
            <a:chOff x="-6257760" y="707017"/>
            <a:chExt cx="3625820" cy="494375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BD78F41-BB0F-F94F-B712-97D86AE976FB}"/>
                </a:ext>
              </a:extLst>
            </p:cNvPr>
            <p:cNvSpPr/>
            <p:nvPr/>
          </p:nvSpPr>
          <p:spPr>
            <a:xfrm>
              <a:off x="-6246609" y="707017"/>
              <a:ext cx="881743" cy="881743"/>
            </a:xfrm>
            <a:prstGeom prst="ellipse">
              <a:avLst/>
            </a:prstGeom>
            <a:solidFill>
              <a:srgbClr val="0941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BCF57C2-460B-E046-8C9E-C10EFA6D7193}"/>
                </a:ext>
              </a:extLst>
            </p:cNvPr>
            <p:cNvSpPr/>
            <p:nvPr/>
          </p:nvSpPr>
          <p:spPr>
            <a:xfrm>
              <a:off x="-6246609" y="1726714"/>
              <a:ext cx="881743" cy="881743"/>
            </a:xfrm>
            <a:prstGeom prst="ellipse">
              <a:avLst/>
            </a:prstGeom>
            <a:solidFill>
              <a:srgbClr val="2382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5F50ABA-AC03-BB42-A8AC-FAC93E74E2FA}"/>
                </a:ext>
              </a:extLst>
            </p:cNvPr>
            <p:cNvSpPr/>
            <p:nvPr/>
          </p:nvSpPr>
          <p:spPr>
            <a:xfrm>
              <a:off x="-6246609" y="2740819"/>
              <a:ext cx="881743" cy="881743"/>
            </a:xfrm>
            <a:prstGeom prst="ellipse">
              <a:avLst/>
            </a:prstGeom>
            <a:solidFill>
              <a:srgbClr val="F7A4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78521A9-75E7-4548-A46B-547A9ACB0A3D}"/>
                </a:ext>
              </a:extLst>
            </p:cNvPr>
            <p:cNvSpPr/>
            <p:nvPr/>
          </p:nvSpPr>
          <p:spPr>
            <a:xfrm>
              <a:off x="-6257760" y="3754924"/>
              <a:ext cx="881743" cy="881743"/>
            </a:xfrm>
            <a:prstGeom prst="ellipse">
              <a:avLst/>
            </a:prstGeom>
            <a:solidFill>
              <a:srgbClr val="0FA0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BF5A9BF-9E01-A946-A6D0-4A399D564919}"/>
                </a:ext>
              </a:extLst>
            </p:cNvPr>
            <p:cNvSpPr/>
            <p:nvPr/>
          </p:nvSpPr>
          <p:spPr>
            <a:xfrm>
              <a:off x="-6257760" y="4769029"/>
              <a:ext cx="881743" cy="881743"/>
            </a:xfrm>
            <a:prstGeom prst="ellipse">
              <a:avLst/>
            </a:prstGeom>
            <a:solidFill>
              <a:srgbClr val="C09A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474E757-2D7D-E84A-8F90-67963898E9A5}"/>
                </a:ext>
              </a:extLst>
            </p:cNvPr>
            <p:cNvSpPr txBox="1"/>
            <p:nvPr/>
          </p:nvSpPr>
          <p:spPr>
            <a:xfrm>
              <a:off x="-5235635" y="293357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Orang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0 / 42 / 87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247 / 164 / 45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FBDF904-4B20-C644-BF8D-76EF3776FFF5}"/>
                </a:ext>
              </a:extLst>
            </p:cNvPr>
            <p:cNvSpPr txBox="1"/>
            <p:nvPr/>
          </p:nvSpPr>
          <p:spPr>
            <a:xfrm>
              <a:off x="-5235635" y="191247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0 / 33 / 4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 / 141 / 198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8FEDB90-7B3E-404B-BEE7-B7222F3FF624}"/>
                </a:ext>
              </a:extLst>
            </p:cNvPr>
            <p:cNvSpPr txBox="1"/>
            <p:nvPr/>
          </p:nvSpPr>
          <p:spPr>
            <a:xfrm>
              <a:off x="-5235635" y="851395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100 / 72 / 0 / 18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0 / 66 / 137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2223326-CD12-D04E-AD0D-8F5551660336}"/>
                </a:ext>
              </a:extLst>
            </p:cNvPr>
            <p:cNvSpPr txBox="1"/>
            <p:nvPr/>
          </p:nvSpPr>
          <p:spPr>
            <a:xfrm>
              <a:off x="-5235635" y="396009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Green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1 / 5 / 95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5 / 160 / 66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42560D3-17B6-DD47-A272-449E80C687E5}"/>
                </a:ext>
              </a:extLst>
            </p:cNvPr>
            <p:cNvSpPr txBox="1"/>
            <p:nvPr/>
          </p:nvSpPr>
          <p:spPr>
            <a:xfrm>
              <a:off x="-5235635" y="496178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Gold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30 / 40 / 70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2 / 154 / 9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29596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8F8528-A255-6045-B279-EFF4A71A06DD}"/>
              </a:ext>
            </a:extLst>
          </p:cNvPr>
          <p:cNvSpPr/>
          <p:nvPr userDrawn="1"/>
        </p:nvSpPr>
        <p:spPr>
          <a:xfrm>
            <a:off x="10979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14" y="2432441"/>
            <a:ext cx="899998" cy="439534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2E7FB9-B022-AB4A-BAC0-F149A0629C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13" y="2992990"/>
            <a:ext cx="899998" cy="4395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00D63A-3C2D-3140-BC56-D1370DC4894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13" y="4298362"/>
            <a:ext cx="899998" cy="43953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Logo Asset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EEEF11F-B58A-FD47-AD30-84622B7E65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13" y="3550163"/>
            <a:ext cx="899999" cy="4395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E37C99C-700A-5A47-8187-38196CD7BE7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5774" y="2452612"/>
            <a:ext cx="2184530" cy="52921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AD87397-2A55-3448-9CF3-31235031B11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5774" y="3621350"/>
            <a:ext cx="2254404" cy="43650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881D252-0CE7-8149-AA1C-F3C162BA843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1028" y="3050202"/>
            <a:ext cx="2261893" cy="43795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32639EA-3281-6442-A50C-851F285B3942}"/>
              </a:ext>
            </a:extLst>
          </p:cNvPr>
          <p:cNvSpPr txBox="1"/>
          <p:nvPr userDrawn="1"/>
        </p:nvSpPr>
        <p:spPr>
          <a:xfrm>
            <a:off x="7045693" y="1474269"/>
            <a:ext cx="22619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access logos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a logo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logos can then be pasted onto a slide of your choosing.</a:t>
            </a:r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98ABB886-0820-4715-ADDC-41111014FE7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6125" y="5398798"/>
            <a:ext cx="1029365" cy="180000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6F32CB3A-309E-4D2D-BD70-68D3374137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8640" y="6142344"/>
            <a:ext cx="1411974" cy="180000"/>
          </a:xfrm>
          <a:prstGeom prst="rect">
            <a:avLst/>
          </a:prstGeom>
        </p:spPr>
      </p:pic>
      <p:pic>
        <p:nvPicPr>
          <p:cNvPr id="9" name="Picture 8" descr="A drawing of a face&#10;&#10;Description automatically generated">
            <a:extLst>
              <a:ext uri="{FF2B5EF4-FFF2-40B4-BE49-F238E27FC236}">
                <a16:creationId xmlns:a16="http://schemas.microsoft.com/office/drawing/2014/main" id="{D04224BB-CFCF-4D9B-9787-5E84BE0E792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13" y="5398798"/>
            <a:ext cx="929931" cy="180000"/>
          </a:xfrm>
          <a:prstGeom prst="rect">
            <a:avLst/>
          </a:prstGeom>
        </p:spPr>
      </p:pic>
      <p:pic>
        <p:nvPicPr>
          <p:cNvPr id="23" name="Picture 22" descr="A picture containing drawing&#10;&#10;Description automatically generated">
            <a:extLst>
              <a:ext uri="{FF2B5EF4-FFF2-40B4-BE49-F238E27FC236}">
                <a16:creationId xmlns:a16="http://schemas.microsoft.com/office/drawing/2014/main" id="{B04ACDCF-7CFD-451C-880A-7C21FA5967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0613" y="6142344"/>
            <a:ext cx="687400" cy="180000"/>
          </a:xfrm>
          <a:prstGeom prst="rect">
            <a:avLst/>
          </a:prstGeom>
        </p:spPr>
      </p:pic>
      <p:pic>
        <p:nvPicPr>
          <p:cNvPr id="26" name="Picture 25" descr="A picture containing drawing&#10;&#10;Description automatically generated">
            <a:extLst>
              <a:ext uri="{FF2B5EF4-FFF2-40B4-BE49-F238E27FC236}">
                <a16:creationId xmlns:a16="http://schemas.microsoft.com/office/drawing/2014/main" id="{8DA1F2F7-E2D9-4C3C-9B87-E4B8D798EC51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1271" y="6128399"/>
            <a:ext cx="968505" cy="1800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8B7D624-6E7C-4D48-91A6-BD72368CC9C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1271" y="5470798"/>
            <a:ext cx="120374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321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ingspan locations 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pic>
        <p:nvPicPr>
          <p:cNvPr id="187" name="Picture 186" descr="A group of people in a dark room&#10;&#10;Description automatically generated">
            <a:extLst>
              <a:ext uri="{FF2B5EF4-FFF2-40B4-BE49-F238E27FC236}">
                <a16:creationId xmlns:a16="http://schemas.microsoft.com/office/drawing/2014/main" id="{84355E12-4DC3-A24D-A7D7-89987EA9EB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2411" y="0"/>
            <a:ext cx="10609589" cy="6858000"/>
          </a:xfrm>
          <a:prstGeom prst="rect">
            <a:avLst/>
          </a:prstGeom>
        </p:spPr>
      </p:pic>
      <p:sp>
        <p:nvSpPr>
          <p:cNvPr id="188" name="Content Placeholder 2">
            <a:extLst>
              <a:ext uri="{FF2B5EF4-FFF2-40B4-BE49-F238E27FC236}">
                <a16:creationId xmlns:a16="http://schemas.microsoft.com/office/drawing/2014/main" id="{FF714AA7-CEE4-5F47-99FA-AE15DDF9FB8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161968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ingspan lo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map&#10;&#10;Description automatically generated">
            <a:extLst>
              <a:ext uri="{FF2B5EF4-FFF2-40B4-BE49-F238E27FC236}">
                <a16:creationId xmlns:a16="http://schemas.microsoft.com/office/drawing/2014/main" id="{BD34BBF7-F237-CC4A-B3CD-B5C10BA9F6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6745" y="777711"/>
            <a:ext cx="10624276" cy="608028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5BAECDA-3C87-BF41-AD8F-C04F616F40D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</p:spTree>
    <p:extLst>
      <p:ext uri="{BB962C8B-B14F-4D97-AF65-F5344CB8AC3E}">
        <p14:creationId xmlns:p14="http://schemas.microsoft.com/office/powerpoint/2010/main" val="2891658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 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0D7B03-0C58-0644-9EC7-D53C1D3087E4}"/>
              </a:ext>
            </a:extLst>
          </p:cNvPr>
          <p:cNvGrpSpPr/>
          <p:nvPr userDrawn="1"/>
        </p:nvGrpSpPr>
        <p:grpSpPr>
          <a:xfrm>
            <a:off x="1254681" y="1287006"/>
            <a:ext cx="9682637" cy="5156348"/>
            <a:chOff x="837718" y="2166032"/>
            <a:chExt cx="7093287" cy="3777427"/>
          </a:xfrm>
          <a:solidFill>
            <a:srgbClr val="09417A"/>
          </a:solidFill>
        </p:grpSpPr>
        <p:sp>
          <p:nvSpPr>
            <p:cNvPr id="6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DAF49FA4-B6FB-0F46-A0BA-21C9F57D1D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7718" y="2418601"/>
              <a:ext cx="990263" cy="467668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640446B4-3040-1D4B-840B-0E361CC5EE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72923" y="4820778"/>
              <a:ext cx="177968" cy="194284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01A6F51-C84B-9F47-9EC2-7970EFACE1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1736" y="4608454"/>
              <a:ext cx="268222" cy="281712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5AA18849-39FE-9B41-9D26-DBDF9DB3B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266" y="3838259"/>
              <a:ext cx="236443" cy="176243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D07A088-BF3A-0F44-AC89-393767370D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594016"/>
              <a:ext cx="193222" cy="180406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DD9D767A-7288-1348-84A7-DFED66876D8C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58018"/>
              <a:ext cx="13983" cy="33306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4A198BF-2931-E64C-805B-C2052042E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71" y="3090267"/>
              <a:ext cx="381360" cy="234528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3F5C7D8D-54BB-6146-8610-67E6A95F95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9211" y="3714749"/>
              <a:ext cx="195765" cy="419097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27D2E16E-A5D5-B24D-A2E3-A55D1BD5D3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2902" y="4032542"/>
              <a:ext cx="307630" cy="327507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BDD54B73-5DEE-864C-B0CA-377024D2AF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86029" y="2982023"/>
              <a:ext cx="1262300" cy="682768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2986076-BC4B-B947-B867-E7D21C467CD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2228" y="5232936"/>
              <a:ext cx="119493" cy="134611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62380EB0-BAB6-B54C-AC02-1A836BC10A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80120" y="2678108"/>
              <a:ext cx="185595" cy="290038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1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71DA14FD-819A-9346-80DF-9C39A7306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8946" y="3625934"/>
              <a:ext cx="108051" cy="112407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2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21ED622D-F845-4A49-B303-2D39675ADCB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3770" y="2901534"/>
              <a:ext cx="359749" cy="22065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4D19FE5E-7193-F34E-9986-9D11AFB391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8433" y="4260131"/>
              <a:ext cx="125848" cy="16236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F0D3446-BF62-3A4A-AFBA-4C01FAB82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996" y="3166593"/>
              <a:ext cx="325427" cy="212325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5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BB07076-388E-A34F-A6CC-09DDD04CF9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47499" y="3183246"/>
              <a:ext cx="428393" cy="17763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6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95C5FB4E-E02F-4648-A39E-B7564C1606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5038" y="3320631"/>
              <a:ext cx="87712" cy="19983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7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1671B8CE-94A9-1D4F-98F0-02BCD8AD49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5799" y="4064460"/>
              <a:ext cx="45763" cy="141549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9EA8586-F1DD-0147-8BEA-63245D8588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5142" y="3799402"/>
              <a:ext cx="199578" cy="417710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FA18E-509B-6F4E-B1F6-83832338418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7161" y="4407232"/>
              <a:ext cx="247883" cy="305303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619D18B-1B62-1C4A-AF21-FECBE870D2F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6237" y="3216551"/>
              <a:ext cx="177968" cy="123509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1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923B25CB-9D3E-3945-BBEE-20C381783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2011" y="3660628"/>
              <a:ext cx="38136" cy="9436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2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CEC19507-D2E4-3D46-B0B7-BD5DEBF24E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317856"/>
              <a:ext cx="144917" cy="14571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9D78D97-75EA-1742-BDB4-A9E6A56343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3025043"/>
              <a:ext cx="92797" cy="55510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4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026FE73A-891F-D144-B368-53D5C2C5B6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52581" y="2471335"/>
              <a:ext cx="223731" cy="348323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5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1F8F3C2-9E49-D547-BB98-83EDD700C9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416" y="5106653"/>
              <a:ext cx="33051" cy="47183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6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90AD4590-428C-7845-881F-AD9A60FF4E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397" y="4208785"/>
              <a:ext cx="94069" cy="117958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968A0D37-FD84-814B-B9F3-FC60D033BFB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2512" y="4106092"/>
              <a:ext cx="54661" cy="106856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8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3F5F92B-7E04-904F-A705-6A334CD194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25458" y="3138838"/>
              <a:ext cx="282206" cy="216487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6081DFCA-3607-5F4B-A84F-853A57D02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0300" y="4036705"/>
              <a:ext cx="230087" cy="38995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85663" y="4568210"/>
              <a:ext cx="119493" cy="122121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1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3B0B63E-08BE-024E-8D98-7EAE9C7725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5802" y="3048634"/>
              <a:ext cx="67373" cy="43020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2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F4BDB682-36AD-FF49-9375-C22F06C516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4447" y="2977860"/>
              <a:ext cx="115679" cy="51347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3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10CFEAE4-D597-064F-AA2C-04C7326E18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7068" y="4092214"/>
              <a:ext cx="67373" cy="9436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4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FF44D0B-D47E-0F4D-BE0D-80079287A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9694" y="3900706"/>
              <a:ext cx="134747" cy="129060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5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A848B51-A257-B141-A263-BE224F057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66344"/>
              <a:ext cx="477971" cy="448240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DE846F17-9F01-EF48-962A-D0A9F82C6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365" y="4407232"/>
              <a:ext cx="48306" cy="5134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7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372E6C68-F958-F445-8B73-E7939351B5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33963" y="2716965"/>
              <a:ext cx="97882" cy="421873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F42B9E93-C135-AE4A-A75B-415E4E29E0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17837" y="2196562"/>
              <a:ext cx="2916129" cy="1013050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ED648A8-9E07-0949-9E20-4C80C17ADD1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3013941"/>
              <a:ext cx="198307" cy="12906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B02953AA-348B-2F4E-BD82-9FC16DCE81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2420" y="3634260"/>
              <a:ext cx="21610" cy="4995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2DFD4982-A5B9-4E4F-8E73-67E0780CD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4345" y="3856299"/>
              <a:ext cx="44492" cy="2081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BEA959A1-E334-C94B-8EE0-1F52439F8E2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4018" y="3186021"/>
              <a:ext cx="73730" cy="144325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EFEBD36-86E7-2A46-B431-7A131B104F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9785" y="2834922"/>
              <a:ext cx="200849" cy="158202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4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D605A7B9-5938-034F-BA38-0471753AA7E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80570" y="3846585"/>
              <a:ext cx="230087" cy="42326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1BAB6D50-490A-6047-9A62-6C0F2F27253B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4765" y="4376702"/>
              <a:ext cx="302545" cy="52456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6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5C147906-B4DE-0A4C-B4E8-22D5959DAC6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7481" y="4923471"/>
              <a:ext cx="193222" cy="23869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19558" y="4430823"/>
              <a:ext cx="350851" cy="255344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8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5FEAE546-523E-AC42-A6B1-19CA1E780CA9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1713" y="4106092"/>
              <a:ext cx="130933" cy="680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50BCDF8-3135-5248-93F6-AE4B61D5D3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2168" y="3328958"/>
              <a:ext cx="338139" cy="370527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BCF68BDE-2130-F843-B4A7-1E94A1A95C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4213" y="3888217"/>
              <a:ext cx="30509" cy="22204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6BFC5A4-5C32-5749-9975-344F30D10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8014" y="3667566"/>
              <a:ext cx="174154" cy="237304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2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BB354FDB-0A58-9F46-9FC3-6BA252ED1BF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39445" y="2222930"/>
              <a:ext cx="438563" cy="52595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3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AB4B013-C271-2B47-9FB4-4E78AE94D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3173" y="3983971"/>
              <a:ext cx="269494" cy="2719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4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B3E8443-69F6-7041-AD17-3D1DC6B9C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969" y="3711974"/>
              <a:ext cx="357206" cy="331670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5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3DECCEF-2270-784E-BCAF-F10E57D8B3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3832" y="3957604"/>
              <a:ext cx="105509" cy="116570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21679" y="5350895"/>
              <a:ext cx="409326" cy="34554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BF31AF5-9264-CD44-86C0-EBDC749118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6297" y="2925126"/>
              <a:ext cx="137289" cy="134611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0A28748-E3AD-BD4A-85B0-B8D548584FB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8597" y="2872392"/>
              <a:ext cx="87712" cy="7355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9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E76FF854-0325-AE44-9D8C-AAB4FE65959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8019" y="3513528"/>
              <a:ext cx="189408" cy="11657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AE04FF1B-7800-154B-94D8-D2E361BBBA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5293" y="4858247"/>
              <a:ext cx="307630" cy="342772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811D5E9C-14A7-3A40-8667-0C42E33A39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5480" y="3569037"/>
              <a:ext cx="204663" cy="52734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2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25240E4B-B718-7F43-898D-8636267733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4789" y="4675065"/>
              <a:ext cx="246612" cy="47044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F7E9F73A-3DBC-3A43-B6D7-A4584C9A4D0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593" y="3360876"/>
              <a:ext cx="273307" cy="23314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4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176C0E46-7111-3D41-BC06-D17DC19DB77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2583" y="3143001"/>
              <a:ext cx="36864" cy="4718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5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D797893-1110-BE47-837C-5D9227211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89460" y="2905698"/>
              <a:ext cx="676278" cy="292813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FFF037F-C801-AE4A-A50B-D97EC55A8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96" y="3008390"/>
              <a:ext cx="69916" cy="8326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7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59AA8A-CB58-F746-8029-88751D885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0860" y="3452467"/>
              <a:ext cx="600006" cy="513464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8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E8824692-E2E0-5547-AD8D-0E5BD8CC3AA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17413" y="3351162"/>
              <a:ext cx="10170" cy="9715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9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2171320-371D-9B4B-A33C-220B752FE4E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606506"/>
              <a:ext cx="277121" cy="353874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0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5219B2B8-0AB4-874F-8AEB-AA738990DB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2492" y="3667566"/>
              <a:ext cx="373732" cy="42326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D08ED4CE-9296-2C4B-9BE4-04F85D2B35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9041" y="4186581"/>
              <a:ext cx="99153" cy="154040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990497EC-2119-3B4A-9C01-FCF50F5A68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0399" y="4168541"/>
              <a:ext cx="221189" cy="185957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2E37103F-4E40-6D49-A1C0-07C4AA1E7C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4535" y="4644535"/>
              <a:ext cx="75000" cy="22065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DE19BEA9-2759-8944-BD58-5E193AC6E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4452" y="4726412"/>
              <a:ext cx="191951" cy="383016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5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AF9052D-38A6-BB49-BC34-33F4416CB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346" y="3176306"/>
              <a:ext cx="53390" cy="44408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6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95E272BC-A097-824E-861A-D3A5637968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1987" y="2962594"/>
              <a:ext cx="16525" cy="1526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7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4BF7B08-758B-5042-9A32-DC5C0BD7D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9448" y="2790515"/>
              <a:ext cx="109323" cy="6938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8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3E7960AF-38D7-9E49-B1FD-EC0C15E6E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4445" y="3038921"/>
              <a:ext cx="5085" cy="8326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927E917-C6EC-1F4A-80D6-7E5988E20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3435814"/>
              <a:ext cx="354664" cy="38995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D28C5CB-C809-4F49-87FB-592C56054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0119" y="4133847"/>
              <a:ext cx="99153" cy="122121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2B34936F-976E-5945-8C5F-5214E9E139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3432" y="5189917"/>
              <a:ext cx="53390" cy="5689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14DE609C-CC3F-2D44-8380-22A8EC6CD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9959" y="3395569"/>
              <a:ext cx="34322" cy="55510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3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3CAFEBC2-E7F5-9849-B0D5-18B1C15F69E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2747495"/>
              <a:ext cx="137289" cy="6383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2EB0F508-E6AA-F04B-82F6-8E7C7F7D25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7261" y="3739729"/>
              <a:ext cx="193222" cy="244242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5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5995702-DA7F-4B41-BB2D-A3AD2E217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3101" y="3155491"/>
              <a:ext cx="216104" cy="10963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440E35C6-8F30-F14A-B7B1-6C286308BC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6911" y="3526017"/>
              <a:ext cx="44492" cy="43020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7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9FC9D387-1716-764D-A419-8571984317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19978" y="3285938"/>
              <a:ext cx="87712" cy="14987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1C36E996-9AD7-5745-A5D8-0FF94C28B5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46248" y="3162429"/>
              <a:ext cx="105509" cy="14710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9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10D2CB17-EB05-C64B-9880-8096F1E8A3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4244866"/>
              <a:ext cx="180510" cy="26783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7A27997-3D41-CA49-9CEA-857713EFB7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2819658"/>
              <a:ext cx="811025" cy="40938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4F29EEC-989F-7449-BDA9-F5E9B2181E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434426"/>
              <a:ext cx="90255" cy="117958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2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82F50A72-6FFD-8C4A-975D-2CF4DE9BDD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291" y="3856299"/>
              <a:ext cx="50848" cy="1804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3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504A868F-9630-B647-ABBE-0395C868D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69554" y="3090267"/>
              <a:ext cx="282206" cy="60089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63A4F46-4B32-FD4C-8313-C85B87DCBC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57242" y="3044472"/>
              <a:ext cx="250426" cy="292813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DFE9D0B4-0AEF-AE43-A484-16F8863A49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1060" y="3430263"/>
              <a:ext cx="33051" cy="112407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6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C40B0C6-ABA4-1E40-AF04-AD7D0F94F34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8001" y="2822433"/>
              <a:ext cx="90255" cy="104081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375E5BA3-5F93-5342-A775-E6524381F3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5129" y="3320631"/>
              <a:ext cx="221189" cy="231753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8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C269DEC-7FEA-AC4E-8BB1-4A1DB5957B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9198" y="3249857"/>
              <a:ext cx="463987" cy="414935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0989" y="4217111"/>
              <a:ext cx="1052552" cy="457954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A53D257F-B7C2-FB42-ACA9-5F81B765DD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36492" y="3356713"/>
              <a:ext cx="629243" cy="829868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1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BEEC59A-C859-5F41-A790-C40C37A32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3508" y="2532395"/>
              <a:ext cx="184323" cy="77713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0DE3950-C8D1-AC49-BB7F-8E7082EEA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4277" y="3005615"/>
              <a:ext cx="137289" cy="7771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3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CA5F6AD-6B1B-B847-B0A5-B10A62834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9509" y="3924298"/>
              <a:ext cx="143645" cy="8604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4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4BDD70F8-F59A-194D-ACA9-35B086EE3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1631" y="3814667"/>
              <a:ext cx="63560" cy="54122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5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4A896B05-7090-ED49-89FC-3C32DBB7D11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940" y="4214336"/>
              <a:ext cx="66102" cy="104081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6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E15ED31E-A063-F749-8C3E-9DBE6BF3C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1125" y="4138010"/>
              <a:ext cx="105509" cy="20538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7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D3C30FB3-8756-D646-8F89-F128731296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8423" y="4015889"/>
              <a:ext cx="59746" cy="55510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8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D9AF898F-AB32-0B4B-9B68-8490A53965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60" y="4018665"/>
              <a:ext cx="167798" cy="155427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9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E8CEF630-CD55-CC40-99C6-BFFFB89428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136" y="3870176"/>
              <a:ext cx="95339" cy="117958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54B9099-7E7B-7443-88B7-E3F47D0E83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14434" y="2166032"/>
              <a:ext cx="902551" cy="537056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1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6D8E5FEE-4A9D-2241-96D8-E5910411B1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7075" y="3194347"/>
              <a:ext cx="171611" cy="194284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2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360C1EA2-A8C0-0B40-B87A-ADA32B43BBA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2070" y="4063072"/>
              <a:ext cx="105509" cy="181794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3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F171FAA-1AC8-6F42-B558-1ADF7502645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2832147"/>
              <a:ext cx="181781" cy="206774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A732323D-F9C5-3A42-A22B-D99008E03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1316" y="3143001"/>
              <a:ext cx="148730" cy="7355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5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9C03-4491-9541-8611-3DE2526D62B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254" y="3986746"/>
              <a:ext cx="68645" cy="1804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6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B29C833E-78A1-3144-AE83-3685EFDC460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7920" y="4308702"/>
              <a:ext cx="134747" cy="180406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7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09A6D4BC-0CBA-1944-B8B0-BDCB5890BE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25884" y="2932064"/>
              <a:ext cx="293646" cy="27616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8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8FD2806-F4C2-BC4E-A283-7F5C4220F76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7667" y="2447744"/>
              <a:ext cx="203392" cy="252569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9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0327DD2A-68B7-684E-801A-1DC19D1D10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55976" y="3956216"/>
              <a:ext cx="340681" cy="32473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0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A2F3B1DF-EAE0-E346-B3A5-B5E2E210F9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346" y="2708639"/>
              <a:ext cx="111865" cy="54122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1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832A0616-B6C3-3142-94E2-F09D320E1A0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7163" y="3866013"/>
              <a:ext cx="155086" cy="16097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2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DF39F4F-EF0F-B64E-A406-70972C8CB50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4311477"/>
              <a:ext cx="47034" cy="38857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2C386AC4-3C1B-4D46-9A48-A3DE9F884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627" y="3968706"/>
              <a:ext cx="54661" cy="38857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C2C610D7-DD19-B147-9A77-39DCEA31B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313" y="3480222"/>
              <a:ext cx="254240" cy="283099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5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83D85B79-4B7A-9E43-B64E-A1A34F9C8D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38579" y="4332294"/>
              <a:ext cx="133475" cy="18595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35656" y="4611229"/>
              <a:ext cx="80085" cy="41632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7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C7FD8FF-083B-954C-A87E-E6863FCFDD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292" y="3814667"/>
              <a:ext cx="80085" cy="58285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8A8F7F21-18B6-C644-B3EE-228B6966FA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469" y="4018665"/>
              <a:ext cx="38136" cy="4857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F3EFAEAB-F135-F64F-94D1-82860E49B7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91564" y="2759985"/>
              <a:ext cx="88984" cy="83264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0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64F99F6-EC3C-3C4F-8DCB-C18A2DFF4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0378" y="2937615"/>
              <a:ext cx="136018" cy="680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1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CE846B08-B010-8540-A687-A13636C35D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670" y="3367814"/>
              <a:ext cx="48306" cy="30530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2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8E4C-3A8A-5746-B003-F1639CC13B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195358" y="3718913"/>
              <a:ext cx="237714" cy="9575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3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2EF9A2D4-36FF-8A4F-B138-7E7AB60CEF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3429" y="3062512"/>
              <a:ext cx="118221" cy="97142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4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05D78167-1A54-1D4A-9E20-B34CCF8E6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0035" y="4074174"/>
              <a:ext cx="141103" cy="181794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68C0568-35DB-C14D-B883-EC35C27CCC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35611" y="4060297"/>
              <a:ext cx="77543" cy="80489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6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8C0F3DB1-61AF-A742-9925-ACD308B9E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0548" y="4225437"/>
              <a:ext cx="434750" cy="53428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7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7605DDEA-60BD-DA43-A460-2E1C06BD57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2581" y="4272621"/>
              <a:ext cx="172883" cy="245630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8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5D5A8D6-264B-0342-A508-322110CB9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84342" y="4024216"/>
              <a:ext cx="279664" cy="47322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9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4A195178-707F-EA44-BDFC-6A2541D8C3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10615" y="4877675"/>
              <a:ext cx="372461" cy="106578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0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0319B322-D9B9-6248-867F-8D18BC0BBC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9712" y="2866841"/>
              <a:ext cx="1179672" cy="99362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F1B21333-AFF9-6746-804A-62D7F335F93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5971" y="3711974"/>
              <a:ext cx="238985" cy="45379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19C86435-F022-D445-AD83-576A5B8DE2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28853" y="4067235"/>
              <a:ext cx="294918" cy="245630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3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A28E9468-5E2A-0B46-B3D7-9AB65F3B1D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3402" y="2174358"/>
              <a:ext cx="1796203" cy="1014438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4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9746559D-C56A-3D42-BFC1-A5ACDDE6DA8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5378" y="4004787"/>
              <a:ext cx="175425" cy="326119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5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1E4A2EF-BD0B-EA49-A6F0-BCE0C0822F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2262" y="3965931"/>
              <a:ext cx="122035" cy="117958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5676EECF-3CD9-2D4D-A1D5-75A25C96944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79" y="4447476"/>
              <a:ext cx="43221" cy="58285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4D0E7A1-E73C-6241-8945-207006017BD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72493" y="3952053"/>
              <a:ext cx="184323" cy="158202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057A09AC-6876-F149-AD03-92551D0D49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6482" y="3127736"/>
              <a:ext cx="127120" cy="7910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9EDD2BF4-A4D8-0149-9A23-EFBEB04C4A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05105" y="4228213"/>
              <a:ext cx="897466" cy="110741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0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0EDA2F90-F4C0-8940-A03F-04E3C4578A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0888" y="4881839"/>
              <a:ext cx="208477" cy="256732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DC5CDCDB-9496-E042-B45B-274B38A2E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2837" y="3095817"/>
              <a:ext cx="85170" cy="8326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2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549DBB26-4102-8A4C-9E36-6524310DD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13157" y="4652861"/>
              <a:ext cx="287291" cy="373302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3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CDDAA2D9-E8A5-194E-8995-3C233B4BF0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8869" y="3574588"/>
              <a:ext cx="75000" cy="47183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4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FA3774AE-27A4-244E-B083-A8EDCA0EF6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410" y="4026991"/>
              <a:ext cx="71187" cy="174855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B6ED8C5F-70A3-E946-912C-AF64DA3A8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5865" y="3853523"/>
              <a:ext cx="34322" cy="7493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E06E570C-12DE-7149-8DEA-961D105725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4783" y="2926513"/>
              <a:ext cx="72458" cy="54122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7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182CE3BD-C442-7F45-B9CA-6FDE5314C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8699" y="3625934"/>
              <a:ext cx="120763" cy="14987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C0D8E9D-97C9-5741-9090-340132988C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7753" y="2798841"/>
              <a:ext cx="183053" cy="130448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BC42B544-8F2D-0846-96C3-0D1B5E39E9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2250" y="3627322"/>
              <a:ext cx="8898" cy="1942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C3A1C4F4-DDDB-E64E-9F8C-5D4166505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3190184"/>
              <a:ext cx="116950" cy="102693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7949E105-52FD-5046-A31F-9BC1F196A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9530" y="2993125"/>
              <a:ext cx="147459" cy="7077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94975" y="4679229"/>
              <a:ext cx="915263" cy="936725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3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55469E7-E7D1-3348-A69B-4D2A653C613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2673" y="3205449"/>
              <a:ext cx="71187" cy="7493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4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B3DEFFCF-AAB1-3642-91C5-DE4810571B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58921" y="4998409"/>
              <a:ext cx="352122" cy="859011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7521A6CE-6F98-0B44-99C1-A63D4DE0F1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65293" y="4498823"/>
              <a:ext cx="286019" cy="389955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CB02392A-E2CE-3148-85AE-BCEA1D57B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9189" y="3170755"/>
              <a:ext cx="10170" cy="5551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7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75732-6B7B-B545-80F9-EE99846E28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6221" y="3324795"/>
              <a:ext cx="476699" cy="513464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8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28186DFD-64FA-474B-8D41-2F04044AE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5295" y="3170755"/>
              <a:ext cx="47034" cy="8604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AA1E7552-2310-4D44-AD53-799CC30727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70803" y="5006735"/>
              <a:ext cx="366105" cy="359425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0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977D33B-3CDB-3345-B37D-D72D2A34168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2930" y="3285938"/>
              <a:ext cx="292376" cy="25950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181" name="Group 340">
              <a:extLst>
                <a:ext uri="{FF2B5EF4-FFF2-40B4-BE49-F238E27FC236}">
                  <a16:creationId xmlns:a16="http://schemas.microsoft.com/office/drawing/2014/main" id="{C58EA603-7266-DE48-8A2A-92C7FADF26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07667" y="3072226"/>
              <a:ext cx="88984" cy="119346"/>
              <a:chOff x="2184" y="1242"/>
              <a:chExt cx="257" cy="316"/>
            </a:xfrm>
            <a:grpFill/>
          </p:grpSpPr>
          <p:sp>
            <p:nvSpPr>
              <p:cNvPr id="18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69AE035-7B4F-164B-A9A9-E7FD0AFED4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A648D03-405F-FB4A-9FD3-D4DDC98B11C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2" name="Freeform 8">
              <a:extLst>
                <a:ext uri="{FF2B5EF4-FFF2-40B4-BE49-F238E27FC236}">
                  <a16:creationId xmlns:a16="http://schemas.microsoft.com/office/drawing/2014/main" id="{FD68E863-4757-814A-8DFE-A41707FF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042" y="3717611"/>
              <a:ext cx="388418" cy="415994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9">
              <a:extLst>
                <a:ext uri="{FF2B5EF4-FFF2-40B4-BE49-F238E27FC236}">
                  <a16:creationId xmlns:a16="http://schemas.microsoft.com/office/drawing/2014/main" id="{8B0634EF-FC5F-C744-8278-7C6F7A41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011" y="4027375"/>
              <a:ext cx="279661" cy="255310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560D582-DEA8-E74C-B2B7-4A0667BA1F5A}"/>
              </a:ext>
            </a:extLst>
          </p:cNvPr>
          <p:cNvSpPr txBox="1"/>
          <p:nvPr userDrawn="1"/>
        </p:nvSpPr>
        <p:spPr>
          <a:xfrm>
            <a:off x="462013" y="2723949"/>
            <a:ext cx="226193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 You can highlight countries by double clicking on it and click drawing tools&gt;format&gt;shape fill and select a brand </a:t>
            </a:r>
            <a:r>
              <a:rPr lang="en-US" sz="1200" dirty="0" err="1"/>
              <a:t>colour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794134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urope Map 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Europe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CD78BE-D550-3246-8FEB-D416FAC204D3}"/>
              </a:ext>
            </a:extLst>
          </p:cNvPr>
          <p:cNvGrpSpPr/>
          <p:nvPr userDrawn="1"/>
        </p:nvGrpSpPr>
        <p:grpSpPr>
          <a:xfrm>
            <a:off x="5188350" y="889056"/>
            <a:ext cx="7003650" cy="5968944"/>
            <a:chOff x="2140350" y="889056"/>
            <a:chExt cx="7003650" cy="5968944"/>
          </a:xfrm>
          <a:solidFill>
            <a:srgbClr val="09417A"/>
          </a:solidFill>
        </p:grpSpPr>
        <p:sp>
          <p:nvSpPr>
            <p:cNvPr id="24" name="Schweiz" descr="© INSCALE GmbH, 05.05.2010&#10;http://www.presentationload.com/">
              <a:extLst>
                <a:ext uri="{FF2B5EF4-FFF2-40B4-BE49-F238E27FC236}">
                  <a16:creationId xmlns:a16="http://schemas.microsoft.com/office/drawing/2014/main" id="{0535A40E-70FD-D749-B162-DC04351056F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795" y="4950314"/>
              <a:ext cx="496724" cy="308596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Niederlande" descr="© INSCALE GmbH, 05.05.2010&#10;http://www.presentationload.com/">
              <a:extLst>
                <a:ext uri="{FF2B5EF4-FFF2-40B4-BE49-F238E27FC236}">
                  <a16:creationId xmlns:a16="http://schemas.microsoft.com/office/drawing/2014/main" id="{0DCA152D-5DDD-B948-BCED-F5B1025605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99514" y="4054230"/>
              <a:ext cx="401010" cy="420814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Belgien" descr="© INSCALE GmbH, 05.05.2010&#10;http://www.presentationload.com/">
              <a:extLst>
                <a:ext uri="{FF2B5EF4-FFF2-40B4-BE49-F238E27FC236}">
                  <a16:creationId xmlns:a16="http://schemas.microsoft.com/office/drawing/2014/main" id="{2172DDBA-DAA5-E949-A629-02FCD0C8C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8652" y="4354575"/>
              <a:ext cx="384507" cy="316847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Luxemburg" descr="© INSCALE GmbH, 05.05.2010&#10;http://www.presentationload.com/">
              <a:extLst>
                <a:ext uri="{FF2B5EF4-FFF2-40B4-BE49-F238E27FC236}">
                  <a16:creationId xmlns:a16="http://schemas.microsoft.com/office/drawing/2014/main" id="{78A776CD-D227-524B-ADEE-E471815288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5598" y="4570757"/>
              <a:ext cx="84162" cy="118817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Däne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C6F5416-35DB-0D4D-A2D2-08A7E76DCB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539" y="3400732"/>
              <a:ext cx="640296" cy="488473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Öster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285B4E3B-DD89-CA4E-81BB-B697A13BA9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1953" y="4758886"/>
              <a:ext cx="820172" cy="407611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Vereinigtes König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C9A0A0F0-FBC1-DF4A-8C0E-F29B4DB0CB3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20917" y="2849549"/>
              <a:ext cx="853178" cy="1597439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I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3F1B05C-8F35-D049-B939-DC4F4DDD4F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94169" y="3570708"/>
              <a:ext cx="486822" cy="552833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51C3C924-F01B-9441-898E-A9937FDC4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350" y="5564207"/>
              <a:ext cx="483523" cy="802020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Zypern" descr="© INSCALE GmbH, 05.05.2010&#10;http://www.presentationload.com/">
              <a:extLst>
                <a:ext uri="{FF2B5EF4-FFF2-40B4-BE49-F238E27FC236}">
                  <a16:creationId xmlns:a16="http://schemas.microsoft.com/office/drawing/2014/main" id="{B4366EEE-FEB3-8048-B035-64847330C6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0649" y="6377778"/>
              <a:ext cx="267340" cy="255788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Bosnien und Herzegowina" descr="© INSCALE GmbH, 05.05.2010&#10;http://www.presentationload.com/">
              <a:extLst>
                <a:ext uri="{FF2B5EF4-FFF2-40B4-BE49-F238E27FC236}">
                  <a16:creationId xmlns:a16="http://schemas.microsoft.com/office/drawing/2014/main" id="{B471F671-CFAF-FF41-AAF4-11A16BD358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5156" y="5323271"/>
              <a:ext cx="473621" cy="405961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Alb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57A54FD-ABAE-6B45-8616-11F2359A57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3924" y="5696227"/>
              <a:ext cx="240936" cy="457119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Mazedo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20BD5DB-52E3-E246-A72E-7B5EEE4E1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4095" y="5706128"/>
              <a:ext cx="301996" cy="250837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Norwegen" descr="© INSCALE GmbH, 05.05.2010&#10;http://www.presentationload.com/">
              <a:extLst>
                <a:ext uri="{FF2B5EF4-FFF2-40B4-BE49-F238E27FC236}">
                  <a16:creationId xmlns:a16="http://schemas.microsoft.com/office/drawing/2014/main" id="{629EDFA3-5E72-A84A-A5CA-5AA9A68875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85008" y="1263662"/>
              <a:ext cx="1648597" cy="2099114"/>
            </a:xfrm>
            <a:custGeom>
              <a:avLst/>
              <a:gdLst/>
              <a:ahLst/>
              <a:cxnLst>
                <a:cxn ang="0">
                  <a:pos x="626" y="61"/>
                </a:cxn>
                <a:cxn ang="0">
                  <a:pos x="605" y="40"/>
                </a:cxn>
                <a:cxn ang="0">
                  <a:pos x="586" y="22"/>
                </a:cxn>
                <a:cxn ang="0">
                  <a:pos x="547" y="55"/>
                </a:cxn>
                <a:cxn ang="0">
                  <a:pos x="532" y="46"/>
                </a:cxn>
                <a:cxn ang="0">
                  <a:pos x="465" y="77"/>
                </a:cxn>
                <a:cxn ang="0">
                  <a:pos x="445" y="116"/>
                </a:cxn>
                <a:cxn ang="0">
                  <a:pos x="410" y="132"/>
                </a:cxn>
                <a:cxn ang="0">
                  <a:pos x="380" y="181"/>
                </a:cxn>
                <a:cxn ang="0">
                  <a:pos x="374" y="209"/>
                </a:cxn>
                <a:cxn ang="0">
                  <a:pos x="330" y="227"/>
                </a:cxn>
                <a:cxn ang="0">
                  <a:pos x="331" y="254"/>
                </a:cxn>
                <a:cxn ang="0">
                  <a:pos x="331" y="290"/>
                </a:cxn>
                <a:cxn ang="0">
                  <a:pos x="275" y="339"/>
                </a:cxn>
                <a:cxn ang="0">
                  <a:pos x="261" y="381"/>
                </a:cxn>
                <a:cxn ang="0">
                  <a:pos x="252" y="428"/>
                </a:cxn>
                <a:cxn ang="0">
                  <a:pos x="198" y="471"/>
                </a:cxn>
                <a:cxn ang="0">
                  <a:pos x="224" y="509"/>
                </a:cxn>
                <a:cxn ang="0">
                  <a:pos x="141" y="534"/>
                </a:cxn>
                <a:cxn ang="0">
                  <a:pos x="122" y="571"/>
                </a:cxn>
                <a:cxn ang="0">
                  <a:pos x="96" y="584"/>
                </a:cxn>
                <a:cxn ang="0">
                  <a:pos x="69" y="595"/>
                </a:cxn>
                <a:cxn ang="0">
                  <a:pos x="26" y="611"/>
                </a:cxn>
                <a:cxn ang="0">
                  <a:pos x="23" y="650"/>
                </a:cxn>
                <a:cxn ang="0">
                  <a:pos x="83" y="675"/>
                </a:cxn>
                <a:cxn ang="0">
                  <a:pos x="74" y="678"/>
                </a:cxn>
                <a:cxn ang="0">
                  <a:pos x="38" y="704"/>
                </a:cxn>
                <a:cxn ang="0">
                  <a:pos x="55" y="723"/>
                </a:cxn>
                <a:cxn ang="0">
                  <a:pos x="42" y="766"/>
                </a:cxn>
                <a:cxn ang="0">
                  <a:pos x="26" y="785"/>
                </a:cxn>
                <a:cxn ang="0">
                  <a:pos x="34" y="813"/>
                </a:cxn>
                <a:cxn ang="0">
                  <a:pos x="65" y="873"/>
                </a:cxn>
                <a:cxn ang="0">
                  <a:pos x="182" y="789"/>
                </a:cxn>
                <a:cxn ang="0">
                  <a:pos x="230" y="815"/>
                </a:cxn>
                <a:cxn ang="0">
                  <a:pos x="305" y="482"/>
                </a:cxn>
                <a:cxn ang="0">
                  <a:pos x="443" y="205"/>
                </a:cxn>
                <a:cxn ang="0">
                  <a:pos x="595" y="78"/>
                </a:cxn>
                <a:cxn ang="0">
                  <a:pos x="18" y="803"/>
                </a:cxn>
                <a:cxn ang="0">
                  <a:pos x="10" y="767"/>
                </a:cxn>
                <a:cxn ang="0">
                  <a:pos x="14" y="743"/>
                </a:cxn>
                <a:cxn ang="0">
                  <a:pos x="10" y="711"/>
                </a:cxn>
                <a:cxn ang="0">
                  <a:pos x="8" y="699"/>
                </a:cxn>
                <a:cxn ang="0">
                  <a:pos x="7" y="680"/>
                </a:cxn>
                <a:cxn ang="0">
                  <a:pos x="15" y="632"/>
                </a:cxn>
                <a:cxn ang="0">
                  <a:pos x="44" y="600"/>
                </a:cxn>
                <a:cxn ang="0">
                  <a:pos x="58" y="582"/>
                </a:cxn>
                <a:cxn ang="0">
                  <a:pos x="106" y="551"/>
                </a:cxn>
                <a:cxn ang="0">
                  <a:pos x="123" y="537"/>
                </a:cxn>
                <a:cxn ang="0">
                  <a:pos x="162" y="515"/>
                </a:cxn>
                <a:cxn ang="0">
                  <a:pos x="259" y="367"/>
                </a:cxn>
                <a:cxn ang="0">
                  <a:pos x="264" y="359"/>
                </a:cxn>
                <a:cxn ang="0">
                  <a:pos x="301" y="294"/>
                </a:cxn>
                <a:cxn ang="0">
                  <a:pos x="351" y="208"/>
                </a:cxn>
                <a:cxn ang="0">
                  <a:pos x="296" y="220"/>
                </a:cxn>
                <a:cxn ang="0">
                  <a:pos x="362" y="187"/>
                </a:cxn>
                <a:cxn ang="0">
                  <a:pos x="322" y="218"/>
                </a:cxn>
                <a:cxn ang="0">
                  <a:pos x="320" y="183"/>
                </a:cxn>
                <a:cxn ang="0">
                  <a:pos x="367" y="152"/>
                </a:cxn>
                <a:cxn ang="0">
                  <a:pos x="411" y="97"/>
                </a:cxn>
                <a:cxn ang="0">
                  <a:pos x="407" y="97"/>
                </a:cxn>
                <a:cxn ang="0">
                  <a:pos x="492" y="40"/>
                </a:cxn>
                <a:cxn ang="0">
                  <a:pos x="514" y="56"/>
                </a:cxn>
                <a:cxn ang="0">
                  <a:pos x="538" y="19"/>
                </a:cxn>
              </a:cxnLst>
              <a:rect l="0" t="0" r="r" b="b"/>
              <a:pathLst>
                <a:path w="690" h="880">
                  <a:moveTo>
                    <a:pt x="685" y="71"/>
                  </a:moveTo>
                  <a:cubicBezTo>
                    <a:pt x="685" y="68"/>
                    <a:pt x="685" y="68"/>
                    <a:pt x="685" y="68"/>
                  </a:cubicBezTo>
                  <a:cubicBezTo>
                    <a:pt x="681" y="68"/>
                    <a:pt x="681" y="68"/>
                    <a:pt x="681" y="68"/>
                  </a:cubicBezTo>
                  <a:cubicBezTo>
                    <a:pt x="681" y="68"/>
                    <a:pt x="681" y="66"/>
                    <a:pt x="678" y="66"/>
                  </a:cubicBezTo>
                  <a:cubicBezTo>
                    <a:pt x="673" y="66"/>
                    <a:pt x="673" y="66"/>
                    <a:pt x="673" y="66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3" y="76"/>
                    <a:pt x="673" y="76"/>
                    <a:pt x="673" y="76"/>
                  </a:cubicBezTo>
                  <a:cubicBezTo>
                    <a:pt x="673" y="72"/>
                    <a:pt x="673" y="72"/>
                    <a:pt x="673" y="72"/>
                  </a:cubicBezTo>
                  <a:cubicBezTo>
                    <a:pt x="668" y="64"/>
                    <a:pt x="668" y="64"/>
                    <a:pt x="668" y="64"/>
                  </a:cubicBezTo>
                  <a:cubicBezTo>
                    <a:pt x="666" y="64"/>
                    <a:pt x="666" y="64"/>
                    <a:pt x="666" y="64"/>
                  </a:cubicBezTo>
                  <a:cubicBezTo>
                    <a:pt x="668" y="72"/>
                    <a:pt x="668" y="72"/>
                    <a:pt x="668" y="72"/>
                  </a:cubicBezTo>
                  <a:cubicBezTo>
                    <a:pt x="666" y="76"/>
                    <a:pt x="666" y="76"/>
                    <a:pt x="666" y="76"/>
                  </a:cubicBezTo>
                  <a:cubicBezTo>
                    <a:pt x="664" y="73"/>
                    <a:pt x="664" y="73"/>
                    <a:pt x="664" y="73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59" y="77"/>
                    <a:pt x="659" y="77"/>
                    <a:pt x="659" y="77"/>
                  </a:cubicBezTo>
                  <a:cubicBezTo>
                    <a:pt x="659" y="77"/>
                    <a:pt x="656" y="81"/>
                    <a:pt x="655" y="81"/>
                  </a:cubicBezTo>
                  <a:cubicBezTo>
                    <a:pt x="654" y="80"/>
                    <a:pt x="655" y="77"/>
                    <a:pt x="656" y="75"/>
                  </a:cubicBezTo>
                  <a:cubicBezTo>
                    <a:pt x="657" y="74"/>
                    <a:pt x="657" y="67"/>
                    <a:pt x="654" y="66"/>
                  </a:cubicBezTo>
                  <a:cubicBezTo>
                    <a:pt x="652" y="64"/>
                    <a:pt x="649" y="71"/>
                    <a:pt x="649" y="71"/>
                  </a:cubicBezTo>
                  <a:cubicBezTo>
                    <a:pt x="647" y="71"/>
                    <a:pt x="647" y="71"/>
                    <a:pt x="647" y="71"/>
                  </a:cubicBezTo>
                  <a:cubicBezTo>
                    <a:pt x="647" y="71"/>
                    <a:pt x="653" y="64"/>
                    <a:pt x="649" y="62"/>
                  </a:cubicBezTo>
                  <a:cubicBezTo>
                    <a:pt x="645" y="59"/>
                    <a:pt x="641" y="62"/>
                    <a:pt x="641" y="62"/>
                  </a:cubicBezTo>
                  <a:cubicBezTo>
                    <a:pt x="637" y="59"/>
                    <a:pt x="637" y="59"/>
                    <a:pt x="637" y="59"/>
                  </a:cubicBezTo>
                  <a:cubicBezTo>
                    <a:pt x="633" y="61"/>
                    <a:pt x="633" y="61"/>
                    <a:pt x="633" y="61"/>
                  </a:cubicBezTo>
                  <a:cubicBezTo>
                    <a:pt x="632" y="59"/>
                    <a:pt x="632" y="59"/>
                    <a:pt x="632" y="59"/>
                  </a:cubicBezTo>
                  <a:cubicBezTo>
                    <a:pt x="632" y="59"/>
                    <a:pt x="629" y="62"/>
                    <a:pt x="626" y="61"/>
                  </a:cubicBezTo>
                  <a:cubicBezTo>
                    <a:pt x="624" y="60"/>
                    <a:pt x="626" y="58"/>
                    <a:pt x="626" y="58"/>
                  </a:cubicBezTo>
                  <a:cubicBezTo>
                    <a:pt x="626" y="57"/>
                    <a:pt x="624" y="56"/>
                    <a:pt x="625" y="53"/>
                  </a:cubicBezTo>
                  <a:cubicBezTo>
                    <a:pt x="625" y="51"/>
                    <a:pt x="646" y="57"/>
                    <a:pt x="646" y="57"/>
                  </a:cubicBezTo>
                  <a:cubicBezTo>
                    <a:pt x="646" y="57"/>
                    <a:pt x="655" y="57"/>
                    <a:pt x="662" y="52"/>
                  </a:cubicBezTo>
                  <a:cubicBezTo>
                    <a:pt x="668" y="47"/>
                    <a:pt x="666" y="41"/>
                    <a:pt x="666" y="41"/>
                  </a:cubicBezTo>
                  <a:cubicBezTo>
                    <a:pt x="666" y="41"/>
                    <a:pt x="678" y="35"/>
                    <a:pt x="677" y="30"/>
                  </a:cubicBezTo>
                  <a:cubicBezTo>
                    <a:pt x="675" y="26"/>
                    <a:pt x="667" y="28"/>
                    <a:pt x="667" y="28"/>
                  </a:cubicBezTo>
                  <a:cubicBezTo>
                    <a:pt x="667" y="28"/>
                    <a:pt x="664" y="24"/>
                    <a:pt x="661" y="24"/>
                  </a:cubicBezTo>
                  <a:cubicBezTo>
                    <a:pt x="656" y="24"/>
                    <a:pt x="652" y="27"/>
                    <a:pt x="652" y="27"/>
                  </a:cubicBezTo>
                  <a:cubicBezTo>
                    <a:pt x="655" y="19"/>
                    <a:pt x="655" y="19"/>
                    <a:pt x="655" y="19"/>
                  </a:cubicBezTo>
                  <a:cubicBezTo>
                    <a:pt x="651" y="19"/>
                    <a:pt x="651" y="19"/>
                    <a:pt x="651" y="19"/>
                  </a:cubicBezTo>
                  <a:cubicBezTo>
                    <a:pt x="651" y="19"/>
                    <a:pt x="652" y="16"/>
                    <a:pt x="648" y="16"/>
                  </a:cubicBezTo>
                  <a:cubicBezTo>
                    <a:pt x="644" y="15"/>
                    <a:pt x="645" y="21"/>
                    <a:pt x="642" y="21"/>
                  </a:cubicBezTo>
                  <a:cubicBezTo>
                    <a:pt x="640" y="22"/>
                    <a:pt x="642" y="16"/>
                    <a:pt x="640" y="16"/>
                  </a:cubicBezTo>
                  <a:cubicBezTo>
                    <a:pt x="639" y="16"/>
                    <a:pt x="632" y="22"/>
                    <a:pt x="632" y="22"/>
                  </a:cubicBezTo>
                  <a:cubicBezTo>
                    <a:pt x="632" y="15"/>
                    <a:pt x="632" y="15"/>
                    <a:pt x="632" y="15"/>
                  </a:cubicBezTo>
                  <a:cubicBezTo>
                    <a:pt x="632" y="15"/>
                    <a:pt x="629" y="10"/>
                    <a:pt x="622" y="11"/>
                  </a:cubicBezTo>
                  <a:cubicBezTo>
                    <a:pt x="615" y="11"/>
                    <a:pt x="616" y="22"/>
                    <a:pt x="616" y="22"/>
                  </a:cubicBezTo>
                  <a:cubicBezTo>
                    <a:pt x="617" y="25"/>
                    <a:pt x="617" y="25"/>
                    <a:pt x="617" y="25"/>
                  </a:cubicBezTo>
                  <a:cubicBezTo>
                    <a:pt x="616" y="36"/>
                    <a:pt x="616" y="36"/>
                    <a:pt x="616" y="36"/>
                  </a:cubicBezTo>
                  <a:cubicBezTo>
                    <a:pt x="619" y="36"/>
                    <a:pt x="619" y="36"/>
                    <a:pt x="619" y="36"/>
                  </a:cubicBezTo>
                  <a:cubicBezTo>
                    <a:pt x="619" y="39"/>
                    <a:pt x="619" y="39"/>
                    <a:pt x="619" y="39"/>
                  </a:cubicBezTo>
                  <a:cubicBezTo>
                    <a:pt x="614" y="39"/>
                    <a:pt x="614" y="39"/>
                    <a:pt x="614" y="39"/>
                  </a:cubicBezTo>
                  <a:cubicBezTo>
                    <a:pt x="613" y="35"/>
                    <a:pt x="613" y="35"/>
                    <a:pt x="613" y="35"/>
                  </a:cubicBezTo>
                  <a:cubicBezTo>
                    <a:pt x="608" y="40"/>
                    <a:pt x="608" y="40"/>
                    <a:pt x="608" y="40"/>
                  </a:cubicBezTo>
                  <a:cubicBezTo>
                    <a:pt x="605" y="40"/>
                    <a:pt x="605" y="40"/>
                    <a:pt x="605" y="40"/>
                  </a:cubicBezTo>
                  <a:cubicBezTo>
                    <a:pt x="605" y="42"/>
                    <a:pt x="605" y="42"/>
                    <a:pt x="605" y="42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603" y="37"/>
                    <a:pt x="606" y="34"/>
                    <a:pt x="608" y="33"/>
                  </a:cubicBezTo>
                  <a:cubicBezTo>
                    <a:pt x="610" y="31"/>
                    <a:pt x="612" y="25"/>
                    <a:pt x="610" y="22"/>
                  </a:cubicBezTo>
                  <a:cubicBezTo>
                    <a:pt x="609" y="21"/>
                    <a:pt x="605" y="26"/>
                    <a:pt x="604" y="28"/>
                  </a:cubicBezTo>
                  <a:cubicBezTo>
                    <a:pt x="604" y="30"/>
                    <a:pt x="599" y="32"/>
                    <a:pt x="599" y="32"/>
                  </a:cubicBezTo>
                  <a:cubicBezTo>
                    <a:pt x="599" y="32"/>
                    <a:pt x="601" y="29"/>
                    <a:pt x="602" y="28"/>
                  </a:cubicBezTo>
                  <a:cubicBezTo>
                    <a:pt x="603" y="27"/>
                    <a:pt x="606" y="21"/>
                    <a:pt x="606" y="21"/>
                  </a:cubicBezTo>
                  <a:cubicBezTo>
                    <a:pt x="602" y="21"/>
                    <a:pt x="602" y="21"/>
                    <a:pt x="602" y="21"/>
                  </a:cubicBezTo>
                  <a:cubicBezTo>
                    <a:pt x="601" y="21"/>
                    <a:pt x="598" y="25"/>
                    <a:pt x="598" y="25"/>
                  </a:cubicBezTo>
                  <a:cubicBezTo>
                    <a:pt x="598" y="25"/>
                    <a:pt x="598" y="22"/>
                    <a:pt x="599" y="21"/>
                  </a:cubicBezTo>
                  <a:cubicBezTo>
                    <a:pt x="599" y="19"/>
                    <a:pt x="604" y="19"/>
                    <a:pt x="608" y="18"/>
                  </a:cubicBezTo>
                  <a:cubicBezTo>
                    <a:pt x="613" y="17"/>
                    <a:pt x="612" y="5"/>
                    <a:pt x="612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5"/>
                    <a:pt x="604" y="8"/>
                    <a:pt x="603" y="6"/>
                  </a:cubicBezTo>
                  <a:cubicBezTo>
                    <a:pt x="601" y="6"/>
                    <a:pt x="604" y="2"/>
                    <a:pt x="602" y="1"/>
                  </a:cubicBezTo>
                  <a:cubicBezTo>
                    <a:pt x="600" y="0"/>
                    <a:pt x="598" y="5"/>
                    <a:pt x="596" y="5"/>
                  </a:cubicBezTo>
                  <a:cubicBezTo>
                    <a:pt x="593" y="6"/>
                    <a:pt x="591" y="1"/>
                    <a:pt x="587" y="2"/>
                  </a:cubicBezTo>
                  <a:cubicBezTo>
                    <a:pt x="584" y="4"/>
                    <a:pt x="591" y="11"/>
                    <a:pt x="589" y="11"/>
                  </a:cubicBezTo>
                  <a:cubicBezTo>
                    <a:pt x="587" y="12"/>
                    <a:pt x="585" y="9"/>
                    <a:pt x="581" y="8"/>
                  </a:cubicBezTo>
                  <a:cubicBezTo>
                    <a:pt x="577" y="8"/>
                    <a:pt x="584" y="13"/>
                    <a:pt x="584" y="13"/>
                  </a:cubicBezTo>
                  <a:cubicBezTo>
                    <a:pt x="581" y="14"/>
                    <a:pt x="581" y="14"/>
                    <a:pt x="581" y="14"/>
                  </a:cubicBezTo>
                  <a:cubicBezTo>
                    <a:pt x="583" y="17"/>
                    <a:pt x="583" y="17"/>
                    <a:pt x="583" y="17"/>
                  </a:cubicBezTo>
                  <a:cubicBezTo>
                    <a:pt x="586" y="17"/>
                    <a:pt x="586" y="17"/>
                    <a:pt x="586" y="17"/>
                  </a:cubicBezTo>
                  <a:cubicBezTo>
                    <a:pt x="593" y="21"/>
                    <a:pt x="593" y="21"/>
                    <a:pt x="593" y="21"/>
                  </a:cubicBezTo>
                  <a:cubicBezTo>
                    <a:pt x="586" y="22"/>
                    <a:pt x="586" y="22"/>
                    <a:pt x="586" y="22"/>
                  </a:cubicBezTo>
                  <a:cubicBezTo>
                    <a:pt x="587" y="27"/>
                    <a:pt x="587" y="27"/>
                    <a:pt x="587" y="27"/>
                  </a:cubicBezTo>
                  <a:cubicBezTo>
                    <a:pt x="583" y="27"/>
                    <a:pt x="583" y="27"/>
                    <a:pt x="583" y="27"/>
                  </a:cubicBezTo>
                  <a:cubicBezTo>
                    <a:pt x="583" y="30"/>
                    <a:pt x="583" y="30"/>
                    <a:pt x="583" y="30"/>
                  </a:cubicBezTo>
                  <a:cubicBezTo>
                    <a:pt x="585" y="31"/>
                    <a:pt x="585" y="31"/>
                    <a:pt x="585" y="31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7" y="36"/>
                    <a:pt x="587" y="36"/>
                    <a:pt x="587" y="36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87" y="45"/>
                    <a:pt x="587" y="45"/>
                    <a:pt x="587" y="45"/>
                  </a:cubicBezTo>
                  <a:cubicBezTo>
                    <a:pt x="580" y="45"/>
                    <a:pt x="580" y="45"/>
                    <a:pt x="580" y="45"/>
                  </a:cubicBezTo>
                  <a:cubicBezTo>
                    <a:pt x="576" y="55"/>
                    <a:pt x="576" y="55"/>
                    <a:pt x="576" y="55"/>
                  </a:cubicBezTo>
                  <a:cubicBezTo>
                    <a:pt x="574" y="35"/>
                    <a:pt x="574" y="35"/>
                    <a:pt x="574" y="35"/>
                  </a:cubicBezTo>
                  <a:cubicBezTo>
                    <a:pt x="569" y="37"/>
                    <a:pt x="569" y="37"/>
                    <a:pt x="569" y="37"/>
                  </a:cubicBezTo>
                  <a:cubicBezTo>
                    <a:pt x="575" y="26"/>
                    <a:pt x="575" y="26"/>
                    <a:pt x="575" y="26"/>
                  </a:cubicBezTo>
                  <a:cubicBezTo>
                    <a:pt x="573" y="24"/>
                    <a:pt x="573" y="24"/>
                    <a:pt x="573" y="24"/>
                  </a:cubicBezTo>
                  <a:cubicBezTo>
                    <a:pt x="573" y="24"/>
                    <a:pt x="574" y="17"/>
                    <a:pt x="569" y="17"/>
                  </a:cubicBezTo>
                  <a:cubicBezTo>
                    <a:pt x="564" y="18"/>
                    <a:pt x="564" y="32"/>
                    <a:pt x="564" y="32"/>
                  </a:cubicBezTo>
                  <a:cubicBezTo>
                    <a:pt x="560" y="33"/>
                    <a:pt x="560" y="33"/>
                    <a:pt x="560" y="33"/>
                  </a:cubicBezTo>
                  <a:cubicBezTo>
                    <a:pt x="560" y="33"/>
                    <a:pt x="561" y="41"/>
                    <a:pt x="558" y="45"/>
                  </a:cubicBezTo>
                  <a:cubicBezTo>
                    <a:pt x="556" y="50"/>
                    <a:pt x="550" y="60"/>
                    <a:pt x="550" y="60"/>
                  </a:cubicBezTo>
                  <a:cubicBezTo>
                    <a:pt x="550" y="60"/>
                    <a:pt x="555" y="62"/>
                    <a:pt x="554" y="65"/>
                  </a:cubicBezTo>
                  <a:cubicBezTo>
                    <a:pt x="553" y="68"/>
                    <a:pt x="551" y="73"/>
                    <a:pt x="551" y="73"/>
                  </a:cubicBezTo>
                  <a:cubicBezTo>
                    <a:pt x="549" y="78"/>
                    <a:pt x="549" y="78"/>
                    <a:pt x="549" y="78"/>
                  </a:cubicBezTo>
                  <a:cubicBezTo>
                    <a:pt x="546" y="74"/>
                    <a:pt x="546" y="74"/>
                    <a:pt x="546" y="74"/>
                  </a:cubicBezTo>
                  <a:cubicBezTo>
                    <a:pt x="544" y="77"/>
                    <a:pt x="544" y="77"/>
                    <a:pt x="544" y="77"/>
                  </a:cubicBezTo>
                  <a:cubicBezTo>
                    <a:pt x="541" y="71"/>
                    <a:pt x="541" y="71"/>
                    <a:pt x="541" y="71"/>
                  </a:cubicBezTo>
                  <a:cubicBezTo>
                    <a:pt x="547" y="55"/>
                    <a:pt x="547" y="55"/>
                    <a:pt x="547" y="55"/>
                  </a:cubicBezTo>
                  <a:cubicBezTo>
                    <a:pt x="542" y="55"/>
                    <a:pt x="542" y="55"/>
                    <a:pt x="542" y="55"/>
                  </a:cubicBezTo>
                  <a:cubicBezTo>
                    <a:pt x="541" y="52"/>
                    <a:pt x="541" y="52"/>
                    <a:pt x="541" y="52"/>
                  </a:cubicBezTo>
                  <a:cubicBezTo>
                    <a:pt x="553" y="34"/>
                    <a:pt x="553" y="34"/>
                    <a:pt x="553" y="34"/>
                  </a:cubicBezTo>
                  <a:cubicBezTo>
                    <a:pt x="551" y="32"/>
                    <a:pt x="551" y="32"/>
                    <a:pt x="551" y="32"/>
                  </a:cubicBezTo>
                  <a:cubicBezTo>
                    <a:pt x="551" y="32"/>
                    <a:pt x="556" y="25"/>
                    <a:pt x="554" y="24"/>
                  </a:cubicBezTo>
                  <a:cubicBezTo>
                    <a:pt x="552" y="22"/>
                    <a:pt x="546" y="29"/>
                    <a:pt x="546" y="29"/>
                  </a:cubicBezTo>
                  <a:cubicBezTo>
                    <a:pt x="546" y="22"/>
                    <a:pt x="546" y="22"/>
                    <a:pt x="546" y="22"/>
                  </a:cubicBezTo>
                  <a:cubicBezTo>
                    <a:pt x="540" y="22"/>
                    <a:pt x="540" y="22"/>
                    <a:pt x="540" y="22"/>
                  </a:cubicBezTo>
                  <a:cubicBezTo>
                    <a:pt x="542" y="26"/>
                    <a:pt x="542" y="26"/>
                    <a:pt x="542" y="26"/>
                  </a:cubicBezTo>
                  <a:cubicBezTo>
                    <a:pt x="541" y="31"/>
                    <a:pt x="541" y="31"/>
                    <a:pt x="541" y="31"/>
                  </a:cubicBezTo>
                  <a:cubicBezTo>
                    <a:pt x="537" y="26"/>
                    <a:pt x="537" y="26"/>
                    <a:pt x="537" y="26"/>
                  </a:cubicBezTo>
                  <a:cubicBezTo>
                    <a:pt x="534" y="29"/>
                    <a:pt x="534" y="29"/>
                    <a:pt x="534" y="29"/>
                  </a:cubicBezTo>
                  <a:cubicBezTo>
                    <a:pt x="535" y="24"/>
                    <a:pt x="535" y="24"/>
                    <a:pt x="535" y="24"/>
                  </a:cubicBezTo>
                  <a:cubicBezTo>
                    <a:pt x="534" y="22"/>
                    <a:pt x="534" y="22"/>
                    <a:pt x="534" y="22"/>
                  </a:cubicBezTo>
                  <a:cubicBezTo>
                    <a:pt x="532" y="26"/>
                    <a:pt x="532" y="26"/>
                    <a:pt x="532" y="26"/>
                  </a:cubicBezTo>
                  <a:cubicBezTo>
                    <a:pt x="525" y="21"/>
                    <a:pt x="525" y="21"/>
                    <a:pt x="525" y="21"/>
                  </a:cubicBezTo>
                  <a:cubicBezTo>
                    <a:pt x="523" y="27"/>
                    <a:pt x="523" y="27"/>
                    <a:pt x="523" y="27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6" y="31"/>
                    <a:pt x="526" y="31"/>
                    <a:pt x="526" y="31"/>
                  </a:cubicBezTo>
                  <a:cubicBezTo>
                    <a:pt x="526" y="35"/>
                    <a:pt x="526" y="35"/>
                    <a:pt x="526" y="35"/>
                  </a:cubicBezTo>
                  <a:cubicBezTo>
                    <a:pt x="523" y="34"/>
                    <a:pt x="523" y="34"/>
                    <a:pt x="523" y="3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9"/>
                    <a:pt x="519" y="39"/>
                    <a:pt x="519" y="39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46"/>
                    <a:pt x="532" y="46"/>
                    <a:pt x="532" y="46"/>
                  </a:cubicBezTo>
                  <a:cubicBezTo>
                    <a:pt x="532" y="48"/>
                    <a:pt x="532" y="48"/>
                    <a:pt x="532" y="48"/>
                  </a:cubicBezTo>
                  <a:cubicBezTo>
                    <a:pt x="532" y="48"/>
                    <a:pt x="530" y="46"/>
                    <a:pt x="527" y="45"/>
                  </a:cubicBezTo>
                  <a:cubicBezTo>
                    <a:pt x="525" y="43"/>
                    <a:pt x="521" y="43"/>
                    <a:pt x="521" y="43"/>
                  </a:cubicBezTo>
                  <a:cubicBezTo>
                    <a:pt x="520" y="53"/>
                    <a:pt x="520" y="53"/>
                    <a:pt x="520" y="53"/>
                  </a:cubicBezTo>
                  <a:cubicBezTo>
                    <a:pt x="522" y="52"/>
                    <a:pt x="522" y="52"/>
                    <a:pt x="522" y="52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25" y="58"/>
                    <a:pt x="522" y="57"/>
                    <a:pt x="519" y="56"/>
                  </a:cubicBezTo>
                  <a:cubicBezTo>
                    <a:pt x="515" y="56"/>
                    <a:pt x="514" y="59"/>
                    <a:pt x="514" y="59"/>
                  </a:cubicBezTo>
                  <a:cubicBezTo>
                    <a:pt x="505" y="75"/>
                    <a:pt x="505" y="75"/>
                    <a:pt x="505" y="75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4" y="78"/>
                    <a:pt x="504" y="78"/>
                    <a:pt x="504" y="78"/>
                  </a:cubicBezTo>
                  <a:cubicBezTo>
                    <a:pt x="508" y="83"/>
                    <a:pt x="508" y="83"/>
                    <a:pt x="508" y="83"/>
                  </a:cubicBezTo>
                  <a:cubicBezTo>
                    <a:pt x="505" y="85"/>
                    <a:pt x="505" y="85"/>
                    <a:pt x="505" y="85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04" y="92"/>
                    <a:pt x="504" y="92"/>
                    <a:pt x="504" y="92"/>
                  </a:cubicBezTo>
                  <a:cubicBezTo>
                    <a:pt x="499" y="83"/>
                    <a:pt x="499" y="83"/>
                    <a:pt x="499" y="83"/>
                  </a:cubicBezTo>
                  <a:cubicBezTo>
                    <a:pt x="486" y="91"/>
                    <a:pt x="486" y="91"/>
                    <a:pt x="486" y="91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6" y="89"/>
                    <a:pt x="497" y="83"/>
                    <a:pt x="498" y="79"/>
                  </a:cubicBezTo>
                  <a:cubicBezTo>
                    <a:pt x="499" y="76"/>
                    <a:pt x="489" y="78"/>
                    <a:pt x="489" y="78"/>
                  </a:cubicBezTo>
                  <a:cubicBezTo>
                    <a:pt x="489" y="78"/>
                    <a:pt x="486" y="75"/>
                    <a:pt x="484" y="78"/>
                  </a:cubicBezTo>
                  <a:cubicBezTo>
                    <a:pt x="481" y="81"/>
                    <a:pt x="487" y="84"/>
                    <a:pt x="487" y="84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1" y="76"/>
                    <a:pt x="476" y="76"/>
                  </a:cubicBezTo>
                  <a:cubicBezTo>
                    <a:pt x="472" y="76"/>
                    <a:pt x="472" y="82"/>
                    <a:pt x="472" y="82"/>
                  </a:cubicBezTo>
                  <a:cubicBezTo>
                    <a:pt x="465" y="77"/>
                    <a:pt x="465" y="77"/>
                    <a:pt x="465" y="77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464" y="80"/>
                    <a:pt x="460" y="79"/>
                    <a:pt x="458" y="82"/>
                  </a:cubicBezTo>
                  <a:cubicBezTo>
                    <a:pt x="456" y="87"/>
                    <a:pt x="465" y="87"/>
                    <a:pt x="465" y="87"/>
                  </a:cubicBezTo>
                  <a:cubicBezTo>
                    <a:pt x="462" y="90"/>
                    <a:pt x="462" y="90"/>
                    <a:pt x="462" y="90"/>
                  </a:cubicBezTo>
                  <a:cubicBezTo>
                    <a:pt x="472" y="92"/>
                    <a:pt x="472" y="92"/>
                    <a:pt x="472" y="92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3" y="94"/>
                    <a:pt x="473" y="94"/>
                    <a:pt x="473" y="94"/>
                  </a:cubicBezTo>
                  <a:cubicBezTo>
                    <a:pt x="474" y="95"/>
                    <a:pt x="474" y="95"/>
                    <a:pt x="474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7"/>
                    <a:pt x="478" y="97"/>
                    <a:pt x="478" y="97"/>
                  </a:cubicBezTo>
                  <a:cubicBezTo>
                    <a:pt x="475" y="97"/>
                    <a:pt x="475" y="97"/>
                    <a:pt x="475" y="97"/>
                  </a:cubicBezTo>
                  <a:cubicBezTo>
                    <a:pt x="478" y="103"/>
                    <a:pt x="478" y="103"/>
                    <a:pt x="478" y="103"/>
                  </a:cubicBezTo>
                  <a:cubicBezTo>
                    <a:pt x="478" y="106"/>
                    <a:pt x="478" y="106"/>
                    <a:pt x="478" y="106"/>
                  </a:cubicBezTo>
                  <a:cubicBezTo>
                    <a:pt x="478" y="106"/>
                    <a:pt x="484" y="110"/>
                    <a:pt x="482" y="111"/>
                  </a:cubicBezTo>
                  <a:cubicBezTo>
                    <a:pt x="479" y="112"/>
                    <a:pt x="474" y="103"/>
                    <a:pt x="474" y="103"/>
                  </a:cubicBezTo>
                  <a:cubicBezTo>
                    <a:pt x="469" y="100"/>
                    <a:pt x="469" y="100"/>
                    <a:pt x="469" y="100"/>
                  </a:cubicBezTo>
                  <a:cubicBezTo>
                    <a:pt x="469" y="100"/>
                    <a:pt x="465" y="94"/>
                    <a:pt x="460" y="94"/>
                  </a:cubicBezTo>
                  <a:cubicBezTo>
                    <a:pt x="457" y="94"/>
                    <a:pt x="459" y="100"/>
                    <a:pt x="459" y="100"/>
                  </a:cubicBezTo>
                  <a:cubicBezTo>
                    <a:pt x="461" y="104"/>
                    <a:pt x="461" y="104"/>
                    <a:pt x="461" y="104"/>
                  </a:cubicBezTo>
                  <a:cubicBezTo>
                    <a:pt x="458" y="106"/>
                    <a:pt x="458" y="106"/>
                    <a:pt x="458" y="106"/>
                  </a:cubicBezTo>
                  <a:cubicBezTo>
                    <a:pt x="456" y="111"/>
                    <a:pt x="456" y="111"/>
                    <a:pt x="456" y="111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57" y="102"/>
                    <a:pt x="457" y="102"/>
                    <a:pt x="457" y="102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1" y="106"/>
                    <a:pt x="451" y="106"/>
                    <a:pt x="451" y="106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448" y="124"/>
                    <a:pt x="448" y="124"/>
                    <a:pt x="448" y="124"/>
                  </a:cubicBezTo>
                  <a:cubicBezTo>
                    <a:pt x="452" y="129"/>
                    <a:pt x="452" y="129"/>
                    <a:pt x="452" y="129"/>
                  </a:cubicBezTo>
                  <a:cubicBezTo>
                    <a:pt x="444" y="126"/>
                    <a:pt x="444" y="126"/>
                    <a:pt x="444" y="126"/>
                  </a:cubicBezTo>
                  <a:cubicBezTo>
                    <a:pt x="442" y="140"/>
                    <a:pt x="442" y="140"/>
                    <a:pt x="442" y="140"/>
                  </a:cubicBezTo>
                  <a:cubicBezTo>
                    <a:pt x="440" y="140"/>
                    <a:pt x="440" y="140"/>
                    <a:pt x="440" y="140"/>
                  </a:cubicBezTo>
                  <a:cubicBezTo>
                    <a:pt x="436" y="147"/>
                    <a:pt x="436" y="147"/>
                    <a:pt x="436" y="147"/>
                  </a:cubicBezTo>
                  <a:cubicBezTo>
                    <a:pt x="434" y="144"/>
                    <a:pt x="434" y="144"/>
                    <a:pt x="434" y="144"/>
                  </a:cubicBezTo>
                  <a:cubicBezTo>
                    <a:pt x="439" y="138"/>
                    <a:pt x="439" y="138"/>
                    <a:pt x="439" y="138"/>
                  </a:cubicBezTo>
                  <a:cubicBezTo>
                    <a:pt x="441" y="129"/>
                    <a:pt x="441" y="129"/>
                    <a:pt x="441" y="129"/>
                  </a:cubicBezTo>
                  <a:cubicBezTo>
                    <a:pt x="440" y="128"/>
                    <a:pt x="440" y="128"/>
                    <a:pt x="440" y="128"/>
                  </a:cubicBezTo>
                  <a:cubicBezTo>
                    <a:pt x="443" y="125"/>
                    <a:pt x="443" y="125"/>
                    <a:pt x="443" y="125"/>
                  </a:cubicBezTo>
                  <a:cubicBezTo>
                    <a:pt x="441" y="120"/>
                    <a:pt x="441" y="120"/>
                    <a:pt x="441" y="120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09"/>
                    <a:pt x="439" y="102"/>
                    <a:pt x="439" y="102"/>
                  </a:cubicBezTo>
                  <a:cubicBezTo>
                    <a:pt x="434" y="106"/>
                    <a:pt x="434" y="106"/>
                    <a:pt x="434" y="106"/>
                  </a:cubicBezTo>
                  <a:cubicBezTo>
                    <a:pt x="434" y="106"/>
                    <a:pt x="435" y="112"/>
                    <a:pt x="432" y="115"/>
                  </a:cubicBezTo>
                  <a:cubicBezTo>
                    <a:pt x="428" y="118"/>
                    <a:pt x="431" y="124"/>
                    <a:pt x="431" y="124"/>
                  </a:cubicBezTo>
                  <a:cubicBezTo>
                    <a:pt x="434" y="126"/>
                    <a:pt x="434" y="126"/>
                    <a:pt x="434" y="126"/>
                  </a:cubicBezTo>
                  <a:cubicBezTo>
                    <a:pt x="429" y="128"/>
                    <a:pt x="429" y="128"/>
                    <a:pt x="429" y="128"/>
                  </a:cubicBezTo>
                  <a:cubicBezTo>
                    <a:pt x="429" y="137"/>
                    <a:pt x="429" y="137"/>
                    <a:pt x="429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7" y="124"/>
                    <a:pt x="427" y="124"/>
                    <a:pt x="427" y="124"/>
                  </a:cubicBezTo>
                  <a:cubicBezTo>
                    <a:pt x="426" y="124"/>
                    <a:pt x="426" y="124"/>
                    <a:pt x="426" y="124"/>
                  </a:cubicBezTo>
                  <a:cubicBezTo>
                    <a:pt x="426" y="113"/>
                    <a:pt x="426" y="113"/>
                    <a:pt x="426" y="113"/>
                  </a:cubicBezTo>
                  <a:cubicBezTo>
                    <a:pt x="426" y="113"/>
                    <a:pt x="421" y="115"/>
                    <a:pt x="413" y="119"/>
                  </a:cubicBezTo>
                  <a:cubicBezTo>
                    <a:pt x="405" y="121"/>
                    <a:pt x="410" y="132"/>
                    <a:pt x="410" y="132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3" y="132"/>
                    <a:pt x="413" y="134"/>
                    <a:pt x="412" y="137"/>
                  </a:cubicBezTo>
                  <a:cubicBezTo>
                    <a:pt x="411" y="139"/>
                    <a:pt x="416" y="142"/>
                    <a:pt x="420" y="142"/>
                  </a:cubicBezTo>
                  <a:cubicBezTo>
                    <a:pt x="424" y="143"/>
                    <a:pt x="424" y="150"/>
                    <a:pt x="424" y="150"/>
                  </a:cubicBezTo>
                  <a:cubicBezTo>
                    <a:pt x="427" y="151"/>
                    <a:pt x="427" y="151"/>
                    <a:pt x="427" y="151"/>
                  </a:cubicBezTo>
                  <a:cubicBezTo>
                    <a:pt x="425" y="152"/>
                    <a:pt x="425" y="152"/>
                    <a:pt x="425" y="152"/>
                  </a:cubicBezTo>
                  <a:cubicBezTo>
                    <a:pt x="425" y="152"/>
                    <a:pt x="421" y="150"/>
                    <a:pt x="421" y="147"/>
                  </a:cubicBezTo>
                  <a:cubicBezTo>
                    <a:pt x="421" y="144"/>
                    <a:pt x="416" y="144"/>
                    <a:pt x="412" y="143"/>
                  </a:cubicBezTo>
                  <a:cubicBezTo>
                    <a:pt x="410" y="143"/>
                    <a:pt x="407" y="134"/>
                    <a:pt x="407" y="134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9" y="136"/>
                    <a:pt x="400" y="140"/>
                    <a:pt x="402" y="143"/>
                  </a:cubicBezTo>
                  <a:cubicBezTo>
                    <a:pt x="405" y="146"/>
                    <a:pt x="409" y="147"/>
                    <a:pt x="409" y="147"/>
                  </a:cubicBezTo>
                  <a:cubicBezTo>
                    <a:pt x="409" y="147"/>
                    <a:pt x="405" y="148"/>
                    <a:pt x="402" y="146"/>
                  </a:cubicBezTo>
                  <a:cubicBezTo>
                    <a:pt x="399" y="145"/>
                    <a:pt x="394" y="138"/>
                    <a:pt x="394" y="138"/>
                  </a:cubicBezTo>
                  <a:cubicBezTo>
                    <a:pt x="390" y="139"/>
                    <a:pt x="390" y="139"/>
                    <a:pt x="390" y="139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92" y="159"/>
                    <a:pt x="392" y="159"/>
                    <a:pt x="392" y="159"/>
                  </a:cubicBezTo>
                  <a:cubicBezTo>
                    <a:pt x="380" y="160"/>
                    <a:pt x="380" y="160"/>
                    <a:pt x="380" y="160"/>
                  </a:cubicBezTo>
                  <a:cubicBezTo>
                    <a:pt x="384" y="165"/>
                    <a:pt x="384" y="165"/>
                    <a:pt x="384" y="165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84" y="174"/>
                    <a:pt x="384" y="174"/>
                    <a:pt x="384" y="174"/>
                  </a:cubicBezTo>
                  <a:cubicBezTo>
                    <a:pt x="387" y="176"/>
                    <a:pt x="387" y="176"/>
                    <a:pt x="387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0" y="181"/>
                    <a:pt x="380" y="181"/>
                    <a:pt x="380" y="181"/>
                  </a:cubicBezTo>
                  <a:cubicBezTo>
                    <a:pt x="385" y="183"/>
                    <a:pt x="385" y="183"/>
                    <a:pt x="385" y="183"/>
                  </a:cubicBezTo>
                  <a:cubicBezTo>
                    <a:pt x="377" y="183"/>
                    <a:pt x="377" y="183"/>
                    <a:pt x="377" y="183"/>
                  </a:cubicBezTo>
                  <a:cubicBezTo>
                    <a:pt x="371" y="184"/>
                    <a:pt x="377" y="187"/>
                    <a:pt x="377" y="187"/>
                  </a:cubicBezTo>
                  <a:cubicBezTo>
                    <a:pt x="382" y="189"/>
                    <a:pt x="382" y="189"/>
                    <a:pt x="382" y="189"/>
                  </a:cubicBezTo>
                  <a:cubicBezTo>
                    <a:pt x="382" y="189"/>
                    <a:pt x="375" y="187"/>
                    <a:pt x="372" y="188"/>
                  </a:cubicBezTo>
                  <a:cubicBezTo>
                    <a:pt x="370" y="188"/>
                    <a:pt x="371" y="190"/>
                    <a:pt x="371" y="190"/>
                  </a:cubicBezTo>
                  <a:cubicBezTo>
                    <a:pt x="375" y="191"/>
                    <a:pt x="375" y="191"/>
                    <a:pt x="375" y="191"/>
                  </a:cubicBezTo>
                  <a:cubicBezTo>
                    <a:pt x="374" y="195"/>
                    <a:pt x="374" y="195"/>
                    <a:pt x="374" y="195"/>
                  </a:cubicBezTo>
                  <a:cubicBezTo>
                    <a:pt x="374" y="192"/>
                    <a:pt x="374" y="192"/>
                    <a:pt x="374" y="192"/>
                  </a:cubicBezTo>
                  <a:cubicBezTo>
                    <a:pt x="370" y="191"/>
                    <a:pt x="370" y="191"/>
                    <a:pt x="370" y="191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91"/>
                    <a:pt x="367" y="191"/>
                    <a:pt x="367" y="191"/>
                  </a:cubicBezTo>
                  <a:cubicBezTo>
                    <a:pt x="367" y="191"/>
                    <a:pt x="366" y="192"/>
                    <a:pt x="361" y="192"/>
                  </a:cubicBezTo>
                  <a:cubicBezTo>
                    <a:pt x="357" y="192"/>
                    <a:pt x="357" y="200"/>
                    <a:pt x="357" y="200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68" y="203"/>
                    <a:pt x="369" y="205"/>
                    <a:pt x="372" y="205"/>
                  </a:cubicBezTo>
                  <a:cubicBezTo>
                    <a:pt x="375" y="205"/>
                    <a:pt x="382" y="199"/>
                    <a:pt x="382" y="199"/>
                  </a:cubicBezTo>
                  <a:cubicBezTo>
                    <a:pt x="380" y="203"/>
                    <a:pt x="380" y="203"/>
                    <a:pt x="380" y="203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76" y="207"/>
                    <a:pt x="376" y="207"/>
                    <a:pt x="376" y="207"/>
                  </a:cubicBezTo>
                  <a:cubicBezTo>
                    <a:pt x="376" y="213"/>
                    <a:pt x="376" y="213"/>
                    <a:pt x="376" y="213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4" y="209"/>
                    <a:pt x="374" y="209"/>
                    <a:pt x="374" y="209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211"/>
                    <a:pt x="364" y="208"/>
                    <a:pt x="361" y="208"/>
                  </a:cubicBezTo>
                  <a:cubicBezTo>
                    <a:pt x="358" y="207"/>
                    <a:pt x="353" y="209"/>
                    <a:pt x="351" y="213"/>
                  </a:cubicBezTo>
                  <a:cubicBezTo>
                    <a:pt x="348" y="215"/>
                    <a:pt x="355" y="215"/>
                    <a:pt x="358" y="216"/>
                  </a:cubicBezTo>
                  <a:cubicBezTo>
                    <a:pt x="362" y="217"/>
                    <a:pt x="361" y="221"/>
                    <a:pt x="361" y="221"/>
                  </a:cubicBezTo>
                  <a:cubicBezTo>
                    <a:pt x="364" y="223"/>
                    <a:pt x="364" y="223"/>
                    <a:pt x="364" y="223"/>
                  </a:cubicBezTo>
                  <a:cubicBezTo>
                    <a:pt x="363" y="224"/>
                    <a:pt x="363" y="224"/>
                    <a:pt x="363" y="224"/>
                  </a:cubicBezTo>
                  <a:cubicBezTo>
                    <a:pt x="363" y="224"/>
                    <a:pt x="359" y="221"/>
                    <a:pt x="357" y="219"/>
                  </a:cubicBezTo>
                  <a:cubicBezTo>
                    <a:pt x="355" y="217"/>
                    <a:pt x="348" y="216"/>
                    <a:pt x="348" y="216"/>
                  </a:cubicBezTo>
                  <a:cubicBezTo>
                    <a:pt x="347" y="218"/>
                    <a:pt x="347" y="218"/>
                    <a:pt x="347" y="218"/>
                  </a:cubicBezTo>
                  <a:cubicBezTo>
                    <a:pt x="353" y="219"/>
                    <a:pt x="353" y="219"/>
                    <a:pt x="353" y="219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52" y="223"/>
                    <a:pt x="352" y="223"/>
                    <a:pt x="352" y="223"/>
                  </a:cubicBezTo>
                  <a:cubicBezTo>
                    <a:pt x="355" y="222"/>
                    <a:pt x="355" y="222"/>
                    <a:pt x="355" y="222"/>
                  </a:cubicBezTo>
                  <a:cubicBezTo>
                    <a:pt x="358" y="223"/>
                    <a:pt x="358" y="223"/>
                    <a:pt x="358" y="223"/>
                  </a:cubicBezTo>
                  <a:cubicBezTo>
                    <a:pt x="351" y="226"/>
                    <a:pt x="351" y="226"/>
                    <a:pt x="351" y="226"/>
                  </a:cubicBezTo>
                  <a:cubicBezTo>
                    <a:pt x="352" y="230"/>
                    <a:pt x="352" y="230"/>
                    <a:pt x="352" y="230"/>
                  </a:cubicBezTo>
                  <a:cubicBezTo>
                    <a:pt x="352" y="230"/>
                    <a:pt x="354" y="229"/>
                    <a:pt x="356" y="231"/>
                  </a:cubicBezTo>
                  <a:cubicBezTo>
                    <a:pt x="357" y="233"/>
                    <a:pt x="352" y="236"/>
                    <a:pt x="348" y="235"/>
                  </a:cubicBezTo>
                  <a:cubicBezTo>
                    <a:pt x="345" y="233"/>
                    <a:pt x="346" y="221"/>
                    <a:pt x="346" y="221"/>
                  </a:cubicBezTo>
                  <a:cubicBezTo>
                    <a:pt x="343" y="221"/>
                    <a:pt x="343" y="221"/>
                    <a:pt x="343" y="221"/>
                  </a:cubicBezTo>
                  <a:cubicBezTo>
                    <a:pt x="338" y="230"/>
                    <a:pt x="338" y="230"/>
                    <a:pt x="338" y="230"/>
                  </a:cubicBezTo>
                  <a:cubicBezTo>
                    <a:pt x="337" y="224"/>
                    <a:pt x="337" y="224"/>
                    <a:pt x="337" y="224"/>
                  </a:cubicBezTo>
                  <a:cubicBezTo>
                    <a:pt x="335" y="224"/>
                    <a:pt x="335" y="224"/>
                    <a:pt x="335" y="224"/>
                  </a:cubicBezTo>
                  <a:cubicBezTo>
                    <a:pt x="334" y="229"/>
                    <a:pt x="334" y="229"/>
                    <a:pt x="334" y="229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27" y="235"/>
                    <a:pt x="327" y="235"/>
                    <a:pt x="327" y="235"/>
                  </a:cubicBezTo>
                  <a:cubicBezTo>
                    <a:pt x="329" y="238"/>
                    <a:pt x="329" y="238"/>
                    <a:pt x="329" y="238"/>
                  </a:cubicBezTo>
                  <a:cubicBezTo>
                    <a:pt x="331" y="237"/>
                    <a:pt x="331" y="237"/>
                    <a:pt x="331" y="237"/>
                  </a:cubicBezTo>
                  <a:cubicBezTo>
                    <a:pt x="331" y="234"/>
                    <a:pt x="331" y="234"/>
                    <a:pt x="331" y="234"/>
                  </a:cubicBezTo>
                  <a:cubicBezTo>
                    <a:pt x="335" y="232"/>
                    <a:pt x="335" y="232"/>
                    <a:pt x="335" y="232"/>
                  </a:cubicBezTo>
                  <a:cubicBezTo>
                    <a:pt x="337" y="234"/>
                    <a:pt x="337" y="234"/>
                    <a:pt x="337" y="234"/>
                  </a:cubicBezTo>
                  <a:cubicBezTo>
                    <a:pt x="333" y="237"/>
                    <a:pt x="333" y="237"/>
                    <a:pt x="333" y="237"/>
                  </a:cubicBezTo>
                  <a:cubicBezTo>
                    <a:pt x="335" y="238"/>
                    <a:pt x="335" y="238"/>
                    <a:pt x="335" y="238"/>
                  </a:cubicBezTo>
                  <a:cubicBezTo>
                    <a:pt x="335" y="238"/>
                    <a:pt x="339" y="238"/>
                    <a:pt x="341" y="239"/>
                  </a:cubicBezTo>
                  <a:cubicBezTo>
                    <a:pt x="343" y="239"/>
                    <a:pt x="340" y="236"/>
                    <a:pt x="340" y="234"/>
                  </a:cubicBezTo>
                  <a:cubicBezTo>
                    <a:pt x="340" y="233"/>
                    <a:pt x="344" y="234"/>
                    <a:pt x="345" y="236"/>
                  </a:cubicBezTo>
                  <a:cubicBezTo>
                    <a:pt x="346" y="238"/>
                    <a:pt x="344" y="242"/>
                    <a:pt x="343" y="242"/>
                  </a:cubicBezTo>
                  <a:cubicBezTo>
                    <a:pt x="341" y="244"/>
                    <a:pt x="342" y="242"/>
                    <a:pt x="339" y="240"/>
                  </a:cubicBezTo>
                  <a:cubicBezTo>
                    <a:pt x="336" y="239"/>
                    <a:pt x="334" y="244"/>
                    <a:pt x="330" y="244"/>
                  </a:cubicBezTo>
                  <a:cubicBezTo>
                    <a:pt x="327" y="244"/>
                    <a:pt x="322" y="245"/>
                    <a:pt x="322" y="245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2" y="248"/>
                    <a:pt x="322" y="248"/>
                    <a:pt x="322" y="248"/>
                  </a:cubicBezTo>
                  <a:cubicBezTo>
                    <a:pt x="318" y="248"/>
                    <a:pt x="318" y="248"/>
                    <a:pt x="318" y="248"/>
                  </a:cubicBezTo>
                  <a:cubicBezTo>
                    <a:pt x="315" y="252"/>
                    <a:pt x="315" y="252"/>
                    <a:pt x="315" y="252"/>
                  </a:cubicBezTo>
                  <a:cubicBezTo>
                    <a:pt x="321" y="253"/>
                    <a:pt x="321" y="253"/>
                    <a:pt x="321" y="253"/>
                  </a:cubicBezTo>
                  <a:cubicBezTo>
                    <a:pt x="315" y="256"/>
                    <a:pt x="315" y="256"/>
                    <a:pt x="315" y="256"/>
                  </a:cubicBezTo>
                  <a:cubicBezTo>
                    <a:pt x="315" y="256"/>
                    <a:pt x="318" y="260"/>
                    <a:pt x="322" y="258"/>
                  </a:cubicBezTo>
                  <a:cubicBezTo>
                    <a:pt x="327" y="256"/>
                    <a:pt x="331" y="249"/>
                    <a:pt x="331" y="249"/>
                  </a:cubicBezTo>
                  <a:cubicBezTo>
                    <a:pt x="342" y="256"/>
                    <a:pt x="342" y="256"/>
                    <a:pt x="342" y="256"/>
                  </a:cubicBezTo>
                  <a:cubicBezTo>
                    <a:pt x="334" y="253"/>
                    <a:pt x="334" y="253"/>
                    <a:pt x="334" y="253"/>
                  </a:cubicBezTo>
                  <a:cubicBezTo>
                    <a:pt x="331" y="254"/>
                    <a:pt x="331" y="254"/>
                    <a:pt x="331" y="254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29" y="256"/>
                    <a:pt x="329" y="256"/>
                    <a:pt x="329" y="256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0" y="263"/>
                    <a:pt x="330" y="263"/>
                    <a:pt x="330" y="263"/>
                  </a:cubicBezTo>
                  <a:cubicBezTo>
                    <a:pt x="328" y="267"/>
                    <a:pt x="328" y="267"/>
                    <a:pt x="328" y="267"/>
                  </a:cubicBezTo>
                  <a:cubicBezTo>
                    <a:pt x="329" y="269"/>
                    <a:pt x="335" y="267"/>
                    <a:pt x="335" y="267"/>
                  </a:cubicBezTo>
                  <a:cubicBezTo>
                    <a:pt x="339" y="265"/>
                    <a:pt x="339" y="265"/>
                    <a:pt x="339" y="265"/>
                  </a:cubicBezTo>
                  <a:cubicBezTo>
                    <a:pt x="336" y="274"/>
                    <a:pt x="336" y="274"/>
                    <a:pt x="336" y="274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7" y="278"/>
                    <a:pt x="337" y="278"/>
                    <a:pt x="337" y="278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1"/>
                    <a:pt x="339" y="281"/>
                    <a:pt x="337" y="280"/>
                  </a:cubicBezTo>
                  <a:cubicBezTo>
                    <a:pt x="335" y="280"/>
                    <a:pt x="333" y="271"/>
                    <a:pt x="331" y="270"/>
                  </a:cubicBezTo>
                  <a:cubicBezTo>
                    <a:pt x="329" y="270"/>
                    <a:pt x="327" y="271"/>
                    <a:pt x="327" y="271"/>
                  </a:cubicBezTo>
                  <a:cubicBezTo>
                    <a:pt x="327" y="271"/>
                    <a:pt x="325" y="267"/>
                    <a:pt x="322" y="266"/>
                  </a:cubicBezTo>
                  <a:cubicBezTo>
                    <a:pt x="319" y="266"/>
                    <a:pt x="313" y="273"/>
                    <a:pt x="313" y="273"/>
                  </a:cubicBezTo>
                  <a:cubicBezTo>
                    <a:pt x="321" y="274"/>
                    <a:pt x="321" y="274"/>
                    <a:pt x="321" y="274"/>
                  </a:cubicBezTo>
                  <a:cubicBezTo>
                    <a:pt x="321" y="274"/>
                    <a:pt x="318" y="276"/>
                    <a:pt x="314" y="276"/>
                  </a:cubicBezTo>
                  <a:cubicBezTo>
                    <a:pt x="312" y="276"/>
                    <a:pt x="313" y="279"/>
                    <a:pt x="312" y="281"/>
                  </a:cubicBezTo>
                  <a:cubicBezTo>
                    <a:pt x="310" y="283"/>
                    <a:pt x="306" y="285"/>
                    <a:pt x="306" y="285"/>
                  </a:cubicBezTo>
                  <a:cubicBezTo>
                    <a:pt x="317" y="285"/>
                    <a:pt x="317" y="285"/>
                    <a:pt x="317" y="285"/>
                  </a:cubicBezTo>
                  <a:cubicBezTo>
                    <a:pt x="322" y="285"/>
                    <a:pt x="327" y="282"/>
                    <a:pt x="327" y="282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35" y="285"/>
                    <a:pt x="335" y="285"/>
                    <a:pt x="335" y="285"/>
                  </a:cubicBezTo>
                  <a:cubicBezTo>
                    <a:pt x="334" y="295"/>
                    <a:pt x="334" y="295"/>
                    <a:pt x="334" y="295"/>
                  </a:cubicBezTo>
                  <a:cubicBezTo>
                    <a:pt x="331" y="290"/>
                    <a:pt x="331" y="290"/>
                    <a:pt x="331" y="290"/>
                  </a:cubicBezTo>
                  <a:cubicBezTo>
                    <a:pt x="323" y="287"/>
                    <a:pt x="323" y="287"/>
                    <a:pt x="323" y="287"/>
                  </a:cubicBezTo>
                  <a:cubicBezTo>
                    <a:pt x="318" y="294"/>
                    <a:pt x="318" y="294"/>
                    <a:pt x="318" y="294"/>
                  </a:cubicBezTo>
                  <a:cubicBezTo>
                    <a:pt x="321" y="287"/>
                    <a:pt x="321" y="287"/>
                    <a:pt x="321" y="287"/>
                  </a:cubicBezTo>
                  <a:cubicBezTo>
                    <a:pt x="308" y="288"/>
                    <a:pt x="308" y="288"/>
                    <a:pt x="308" y="288"/>
                  </a:cubicBezTo>
                  <a:cubicBezTo>
                    <a:pt x="303" y="302"/>
                    <a:pt x="303" y="302"/>
                    <a:pt x="303" y="302"/>
                  </a:cubicBezTo>
                  <a:cubicBezTo>
                    <a:pt x="297" y="301"/>
                    <a:pt x="297" y="301"/>
                    <a:pt x="297" y="301"/>
                  </a:cubicBezTo>
                  <a:cubicBezTo>
                    <a:pt x="296" y="304"/>
                    <a:pt x="296" y="304"/>
                    <a:pt x="296" y="304"/>
                  </a:cubicBezTo>
                  <a:cubicBezTo>
                    <a:pt x="296" y="304"/>
                    <a:pt x="295" y="303"/>
                    <a:pt x="290" y="305"/>
                  </a:cubicBezTo>
                  <a:cubicBezTo>
                    <a:pt x="284" y="308"/>
                    <a:pt x="284" y="311"/>
                    <a:pt x="284" y="311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286" y="316"/>
                    <a:pt x="286" y="316"/>
                    <a:pt x="286" y="316"/>
                  </a:cubicBezTo>
                  <a:cubicBezTo>
                    <a:pt x="281" y="317"/>
                    <a:pt x="281" y="317"/>
                    <a:pt x="281" y="317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79" y="321"/>
                    <a:pt x="279" y="321"/>
                    <a:pt x="279" y="321"/>
                  </a:cubicBezTo>
                  <a:cubicBezTo>
                    <a:pt x="276" y="321"/>
                    <a:pt x="276" y="321"/>
                    <a:pt x="276" y="321"/>
                  </a:cubicBezTo>
                  <a:cubicBezTo>
                    <a:pt x="282" y="327"/>
                    <a:pt x="282" y="327"/>
                    <a:pt x="282" y="327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75" y="331"/>
                    <a:pt x="275" y="331"/>
                    <a:pt x="275" y="331"/>
                  </a:cubicBezTo>
                  <a:cubicBezTo>
                    <a:pt x="277" y="333"/>
                    <a:pt x="277" y="333"/>
                    <a:pt x="277" y="333"/>
                  </a:cubicBezTo>
                  <a:cubicBezTo>
                    <a:pt x="281" y="332"/>
                    <a:pt x="281" y="332"/>
                    <a:pt x="281" y="332"/>
                  </a:cubicBezTo>
                  <a:cubicBezTo>
                    <a:pt x="287" y="335"/>
                    <a:pt x="287" y="335"/>
                    <a:pt x="287" y="335"/>
                  </a:cubicBezTo>
                  <a:cubicBezTo>
                    <a:pt x="287" y="335"/>
                    <a:pt x="282" y="334"/>
                    <a:pt x="279" y="335"/>
                  </a:cubicBezTo>
                  <a:cubicBezTo>
                    <a:pt x="276" y="336"/>
                    <a:pt x="278" y="339"/>
                    <a:pt x="278" y="339"/>
                  </a:cubicBezTo>
                  <a:cubicBezTo>
                    <a:pt x="275" y="339"/>
                    <a:pt x="275" y="339"/>
                    <a:pt x="275" y="339"/>
                  </a:cubicBezTo>
                  <a:cubicBezTo>
                    <a:pt x="275" y="335"/>
                    <a:pt x="275" y="335"/>
                    <a:pt x="275" y="335"/>
                  </a:cubicBezTo>
                  <a:cubicBezTo>
                    <a:pt x="271" y="334"/>
                    <a:pt x="271" y="334"/>
                    <a:pt x="271" y="334"/>
                  </a:cubicBezTo>
                  <a:cubicBezTo>
                    <a:pt x="270" y="336"/>
                    <a:pt x="270" y="336"/>
                    <a:pt x="270" y="336"/>
                  </a:cubicBezTo>
                  <a:cubicBezTo>
                    <a:pt x="273" y="340"/>
                    <a:pt x="273" y="340"/>
                    <a:pt x="273" y="340"/>
                  </a:cubicBezTo>
                  <a:cubicBezTo>
                    <a:pt x="273" y="340"/>
                    <a:pt x="270" y="346"/>
                    <a:pt x="272" y="348"/>
                  </a:cubicBezTo>
                  <a:cubicBezTo>
                    <a:pt x="275" y="350"/>
                    <a:pt x="284" y="347"/>
                    <a:pt x="284" y="348"/>
                  </a:cubicBezTo>
                  <a:cubicBezTo>
                    <a:pt x="284" y="349"/>
                    <a:pt x="275" y="350"/>
                    <a:pt x="275" y="350"/>
                  </a:cubicBezTo>
                  <a:cubicBezTo>
                    <a:pt x="271" y="356"/>
                    <a:pt x="271" y="356"/>
                    <a:pt x="271" y="35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85" y="351"/>
                    <a:pt x="285" y="351"/>
                    <a:pt x="285" y="351"/>
                  </a:cubicBezTo>
                  <a:cubicBezTo>
                    <a:pt x="287" y="351"/>
                    <a:pt x="287" y="351"/>
                    <a:pt x="287" y="351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0" y="353"/>
                    <a:pt x="290" y="353"/>
                    <a:pt x="290" y="353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285" y="360"/>
                    <a:pt x="285" y="360"/>
                    <a:pt x="285" y="360"/>
                  </a:cubicBezTo>
                  <a:cubicBezTo>
                    <a:pt x="285" y="360"/>
                    <a:pt x="286" y="355"/>
                    <a:pt x="285" y="353"/>
                  </a:cubicBezTo>
                  <a:cubicBezTo>
                    <a:pt x="282" y="351"/>
                    <a:pt x="277" y="356"/>
                    <a:pt x="275" y="357"/>
                  </a:cubicBezTo>
                  <a:cubicBezTo>
                    <a:pt x="273" y="359"/>
                    <a:pt x="263" y="360"/>
                    <a:pt x="262" y="363"/>
                  </a:cubicBezTo>
                  <a:cubicBezTo>
                    <a:pt x="260" y="366"/>
                    <a:pt x="269" y="364"/>
                    <a:pt x="269" y="364"/>
                  </a:cubicBezTo>
                  <a:cubicBezTo>
                    <a:pt x="268" y="371"/>
                    <a:pt x="268" y="371"/>
                    <a:pt x="268" y="371"/>
                  </a:cubicBezTo>
                  <a:cubicBezTo>
                    <a:pt x="274" y="375"/>
                    <a:pt x="274" y="375"/>
                    <a:pt x="274" y="375"/>
                  </a:cubicBezTo>
                  <a:cubicBezTo>
                    <a:pt x="274" y="375"/>
                    <a:pt x="262" y="372"/>
                    <a:pt x="261" y="375"/>
                  </a:cubicBezTo>
                  <a:cubicBezTo>
                    <a:pt x="259" y="378"/>
                    <a:pt x="261" y="381"/>
                    <a:pt x="261" y="381"/>
                  </a:cubicBezTo>
                  <a:cubicBezTo>
                    <a:pt x="259" y="381"/>
                    <a:pt x="259" y="381"/>
                    <a:pt x="259" y="381"/>
                  </a:cubicBezTo>
                  <a:cubicBezTo>
                    <a:pt x="257" y="383"/>
                    <a:pt x="257" y="383"/>
                    <a:pt x="257" y="383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7"/>
                    <a:pt x="256" y="386"/>
                    <a:pt x="253" y="389"/>
                  </a:cubicBezTo>
                  <a:cubicBezTo>
                    <a:pt x="249" y="391"/>
                    <a:pt x="254" y="398"/>
                    <a:pt x="254" y="398"/>
                  </a:cubicBezTo>
                  <a:cubicBezTo>
                    <a:pt x="258" y="399"/>
                    <a:pt x="258" y="399"/>
                    <a:pt x="258" y="399"/>
                  </a:cubicBezTo>
                  <a:cubicBezTo>
                    <a:pt x="259" y="405"/>
                    <a:pt x="259" y="405"/>
                    <a:pt x="259" y="405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49" y="396"/>
                    <a:pt x="249" y="396"/>
                    <a:pt x="249" y="396"/>
                  </a:cubicBezTo>
                  <a:cubicBezTo>
                    <a:pt x="247" y="404"/>
                    <a:pt x="247" y="404"/>
                    <a:pt x="247" y="404"/>
                  </a:cubicBezTo>
                  <a:cubicBezTo>
                    <a:pt x="252" y="404"/>
                    <a:pt x="252" y="404"/>
                    <a:pt x="252" y="404"/>
                  </a:cubicBezTo>
                  <a:cubicBezTo>
                    <a:pt x="252" y="404"/>
                    <a:pt x="248" y="406"/>
                    <a:pt x="246" y="409"/>
                  </a:cubicBezTo>
                  <a:cubicBezTo>
                    <a:pt x="244" y="411"/>
                    <a:pt x="246" y="416"/>
                    <a:pt x="246" y="416"/>
                  </a:cubicBezTo>
                  <a:cubicBezTo>
                    <a:pt x="241" y="418"/>
                    <a:pt x="241" y="418"/>
                    <a:pt x="241" y="418"/>
                  </a:cubicBezTo>
                  <a:cubicBezTo>
                    <a:pt x="243" y="420"/>
                    <a:pt x="243" y="420"/>
                    <a:pt x="243" y="420"/>
                  </a:cubicBezTo>
                  <a:cubicBezTo>
                    <a:pt x="248" y="416"/>
                    <a:pt x="248" y="416"/>
                    <a:pt x="248" y="416"/>
                  </a:cubicBezTo>
                  <a:cubicBezTo>
                    <a:pt x="248" y="413"/>
                    <a:pt x="248" y="413"/>
                    <a:pt x="248" y="413"/>
                  </a:cubicBezTo>
                  <a:cubicBezTo>
                    <a:pt x="253" y="411"/>
                    <a:pt x="253" y="411"/>
                    <a:pt x="253" y="411"/>
                  </a:cubicBezTo>
                  <a:cubicBezTo>
                    <a:pt x="249" y="415"/>
                    <a:pt x="249" y="415"/>
                    <a:pt x="249" y="415"/>
                  </a:cubicBezTo>
                  <a:cubicBezTo>
                    <a:pt x="254" y="419"/>
                    <a:pt x="254" y="419"/>
                    <a:pt x="254" y="419"/>
                  </a:cubicBezTo>
                  <a:cubicBezTo>
                    <a:pt x="253" y="423"/>
                    <a:pt x="253" y="423"/>
                    <a:pt x="253" y="423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1" y="414"/>
                    <a:pt x="271" y="414"/>
                    <a:pt x="271" y="414"/>
                  </a:cubicBezTo>
                  <a:cubicBezTo>
                    <a:pt x="256" y="427"/>
                    <a:pt x="256" y="427"/>
                    <a:pt x="256" y="427"/>
                  </a:cubicBezTo>
                  <a:cubicBezTo>
                    <a:pt x="252" y="428"/>
                    <a:pt x="252" y="428"/>
                    <a:pt x="252" y="428"/>
                  </a:cubicBezTo>
                  <a:cubicBezTo>
                    <a:pt x="249" y="421"/>
                    <a:pt x="249" y="421"/>
                    <a:pt x="249" y="421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43" y="424"/>
                    <a:pt x="243" y="424"/>
                    <a:pt x="243" y="424"/>
                  </a:cubicBezTo>
                  <a:cubicBezTo>
                    <a:pt x="243" y="424"/>
                    <a:pt x="239" y="424"/>
                    <a:pt x="239" y="426"/>
                  </a:cubicBezTo>
                  <a:cubicBezTo>
                    <a:pt x="239" y="427"/>
                    <a:pt x="235" y="435"/>
                    <a:pt x="231" y="435"/>
                  </a:cubicBezTo>
                  <a:cubicBezTo>
                    <a:pt x="228" y="436"/>
                    <a:pt x="222" y="440"/>
                    <a:pt x="222" y="440"/>
                  </a:cubicBezTo>
                  <a:cubicBezTo>
                    <a:pt x="224" y="442"/>
                    <a:pt x="224" y="442"/>
                    <a:pt x="224" y="442"/>
                  </a:cubicBezTo>
                  <a:cubicBezTo>
                    <a:pt x="224" y="442"/>
                    <a:pt x="216" y="446"/>
                    <a:pt x="221" y="450"/>
                  </a:cubicBezTo>
                  <a:cubicBezTo>
                    <a:pt x="224" y="452"/>
                    <a:pt x="231" y="441"/>
                    <a:pt x="231" y="441"/>
                  </a:cubicBezTo>
                  <a:cubicBezTo>
                    <a:pt x="242" y="436"/>
                    <a:pt x="242" y="436"/>
                    <a:pt x="242" y="436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8" y="446"/>
                    <a:pt x="232" y="447"/>
                    <a:pt x="228" y="450"/>
                  </a:cubicBezTo>
                  <a:cubicBezTo>
                    <a:pt x="223" y="452"/>
                    <a:pt x="226" y="457"/>
                    <a:pt x="226" y="457"/>
                  </a:cubicBezTo>
                  <a:cubicBezTo>
                    <a:pt x="223" y="458"/>
                    <a:pt x="223" y="458"/>
                    <a:pt x="223" y="458"/>
                  </a:cubicBezTo>
                  <a:cubicBezTo>
                    <a:pt x="219" y="455"/>
                    <a:pt x="219" y="455"/>
                    <a:pt x="219" y="455"/>
                  </a:cubicBezTo>
                  <a:cubicBezTo>
                    <a:pt x="215" y="457"/>
                    <a:pt x="215" y="457"/>
                    <a:pt x="215" y="457"/>
                  </a:cubicBezTo>
                  <a:cubicBezTo>
                    <a:pt x="215" y="457"/>
                    <a:pt x="219" y="463"/>
                    <a:pt x="221" y="465"/>
                  </a:cubicBezTo>
                  <a:cubicBezTo>
                    <a:pt x="222" y="467"/>
                    <a:pt x="231" y="459"/>
                    <a:pt x="231" y="459"/>
                  </a:cubicBezTo>
                  <a:cubicBezTo>
                    <a:pt x="226" y="468"/>
                    <a:pt x="226" y="468"/>
                    <a:pt x="226" y="468"/>
                  </a:cubicBezTo>
                  <a:cubicBezTo>
                    <a:pt x="221" y="471"/>
                    <a:pt x="221" y="471"/>
                    <a:pt x="221" y="471"/>
                  </a:cubicBezTo>
                  <a:cubicBezTo>
                    <a:pt x="213" y="459"/>
                    <a:pt x="213" y="459"/>
                    <a:pt x="213" y="459"/>
                  </a:cubicBezTo>
                  <a:cubicBezTo>
                    <a:pt x="204" y="467"/>
                    <a:pt x="204" y="467"/>
                    <a:pt x="204" y="467"/>
                  </a:cubicBezTo>
                  <a:cubicBezTo>
                    <a:pt x="207" y="470"/>
                    <a:pt x="207" y="470"/>
                    <a:pt x="207" y="470"/>
                  </a:cubicBezTo>
                  <a:cubicBezTo>
                    <a:pt x="200" y="468"/>
                    <a:pt x="200" y="468"/>
                    <a:pt x="200" y="468"/>
                  </a:cubicBezTo>
                  <a:cubicBezTo>
                    <a:pt x="198" y="471"/>
                    <a:pt x="198" y="471"/>
                    <a:pt x="198" y="471"/>
                  </a:cubicBezTo>
                  <a:cubicBezTo>
                    <a:pt x="203" y="474"/>
                    <a:pt x="203" y="474"/>
                    <a:pt x="203" y="474"/>
                  </a:cubicBezTo>
                  <a:cubicBezTo>
                    <a:pt x="198" y="475"/>
                    <a:pt x="198" y="475"/>
                    <a:pt x="198" y="475"/>
                  </a:cubicBezTo>
                  <a:cubicBezTo>
                    <a:pt x="198" y="475"/>
                    <a:pt x="189" y="485"/>
                    <a:pt x="188" y="486"/>
                  </a:cubicBezTo>
                  <a:cubicBezTo>
                    <a:pt x="188" y="487"/>
                    <a:pt x="191" y="490"/>
                    <a:pt x="191" y="490"/>
                  </a:cubicBezTo>
                  <a:cubicBezTo>
                    <a:pt x="184" y="489"/>
                    <a:pt x="184" y="489"/>
                    <a:pt x="184" y="489"/>
                  </a:cubicBezTo>
                  <a:cubicBezTo>
                    <a:pt x="182" y="498"/>
                    <a:pt x="182" y="498"/>
                    <a:pt x="182" y="498"/>
                  </a:cubicBezTo>
                  <a:cubicBezTo>
                    <a:pt x="182" y="498"/>
                    <a:pt x="188" y="498"/>
                    <a:pt x="188" y="500"/>
                  </a:cubicBezTo>
                  <a:cubicBezTo>
                    <a:pt x="188" y="502"/>
                    <a:pt x="179" y="504"/>
                    <a:pt x="174" y="505"/>
                  </a:cubicBezTo>
                  <a:cubicBezTo>
                    <a:pt x="169" y="507"/>
                    <a:pt x="169" y="517"/>
                    <a:pt x="169" y="517"/>
                  </a:cubicBezTo>
                  <a:cubicBezTo>
                    <a:pt x="169" y="517"/>
                    <a:pt x="184" y="509"/>
                    <a:pt x="183" y="514"/>
                  </a:cubicBezTo>
                  <a:cubicBezTo>
                    <a:pt x="183" y="518"/>
                    <a:pt x="176" y="517"/>
                    <a:pt x="176" y="517"/>
                  </a:cubicBezTo>
                  <a:cubicBezTo>
                    <a:pt x="177" y="520"/>
                    <a:pt x="177" y="520"/>
                    <a:pt x="177" y="520"/>
                  </a:cubicBezTo>
                  <a:cubicBezTo>
                    <a:pt x="182" y="522"/>
                    <a:pt x="182" y="522"/>
                    <a:pt x="182" y="52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181" y="529"/>
                    <a:pt x="181" y="529"/>
                    <a:pt x="181" y="529"/>
                  </a:cubicBezTo>
                  <a:cubicBezTo>
                    <a:pt x="198" y="520"/>
                    <a:pt x="198" y="520"/>
                    <a:pt x="198" y="520"/>
                  </a:cubicBezTo>
                  <a:cubicBezTo>
                    <a:pt x="198" y="520"/>
                    <a:pt x="202" y="517"/>
                    <a:pt x="203" y="516"/>
                  </a:cubicBezTo>
                  <a:cubicBezTo>
                    <a:pt x="205" y="515"/>
                    <a:pt x="206" y="513"/>
                    <a:pt x="209" y="512"/>
                  </a:cubicBezTo>
                  <a:cubicBezTo>
                    <a:pt x="211" y="512"/>
                    <a:pt x="213" y="508"/>
                    <a:pt x="213" y="505"/>
                  </a:cubicBezTo>
                  <a:cubicBezTo>
                    <a:pt x="213" y="502"/>
                    <a:pt x="202" y="507"/>
                    <a:pt x="202" y="507"/>
                  </a:cubicBezTo>
                  <a:cubicBezTo>
                    <a:pt x="202" y="507"/>
                    <a:pt x="209" y="502"/>
                    <a:pt x="212" y="500"/>
                  </a:cubicBezTo>
                  <a:cubicBezTo>
                    <a:pt x="214" y="499"/>
                    <a:pt x="215" y="494"/>
                    <a:pt x="221" y="494"/>
                  </a:cubicBezTo>
                  <a:cubicBezTo>
                    <a:pt x="225" y="494"/>
                    <a:pt x="226" y="498"/>
                    <a:pt x="226" y="498"/>
                  </a:cubicBezTo>
                  <a:cubicBezTo>
                    <a:pt x="215" y="503"/>
                    <a:pt x="215" y="503"/>
                    <a:pt x="215" y="503"/>
                  </a:cubicBezTo>
                  <a:cubicBezTo>
                    <a:pt x="214" y="506"/>
                    <a:pt x="214" y="506"/>
                    <a:pt x="214" y="506"/>
                  </a:cubicBezTo>
                  <a:cubicBezTo>
                    <a:pt x="214" y="506"/>
                    <a:pt x="223" y="506"/>
                    <a:pt x="224" y="509"/>
                  </a:cubicBezTo>
                  <a:cubicBezTo>
                    <a:pt x="224" y="513"/>
                    <a:pt x="214" y="515"/>
                    <a:pt x="211" y="516"/>
                  </a:cubicBezTo>
                  <a:cubicBezTo>
                    <a:pt x="208" y="516"/>
                    <a:pt x="203" y="521"/>
                    <a:pt x="202" y="524"/>
                  </a:cubicBezTo>
                  <a:cubicBezTo>
                    <a:pt x="202" y="528"/>
                    <a:pt x="206" y="522"/>
                    <a:pt x="208" y="523"/>
                  </a:cubicBezTo>
                  <a:cubicBezTo>
                    <a:pt x="209" y="525"/>
                    <a:pt x="206" y="526"/>
                    <a:pt x="205" y="528"/>
                  </a:cubicBezTo>
                  <a:cubicBezTo>
                    <a:pt x="203" y="530"/>
                    <a:pt x="208" y="531"/>
                    <a:pt x="208" y="531"/>
                  </a:cubicBezTo>
                  <a:cubicBezTo>
                    <a:pt x="205" y="533"/>
                    <a:pt x="205" y="533"/>
                    <a:pt x="205" y="533"/>
                  </a:cubicBezTo>
                  <a:cubicBezTo>
                    <a:pt x="205" y="533"/>
                    <a:pt x="194" y="530"/>
                    <a:pt x="188" y="532"/>
                  </a:cubicBezTo>
                  <a:cubicBezTo>
                    <a:pt x="181" y="534"/>
                    <a:pt x="187" y="539"/>
                    <a:pt x="187" y="539"/>
                  </a:cubicBezTo>
                  <a:cubicBezTo>
                    <a:pt x="180" y="538"/>
                    <a:pt x="180" y="538"/>
                    <a:pt x="180" y="538"/>
                  </a:cubicBezTo>
                  <a:cubicBezTo>
                    <a:pt x="175" y="540"/>
                    <a:pt x="175" y="540"/>
                    <a:pt x="175" y="540"/>
                  </a:cubicBezTo>
                  <a:cubicBezTo>
                    <a:pt x="180" y="532"/>
                    <a:pt x="180" y="532"/>
                    <a:pt x="180" y="532"/>
                  </a:cubicBezTo>
                  <a:cubicBezTo>
                    <a:pt x="175" y="518"/>
                    <a:pt x="175" y="518"/>
                    <a:pt x="175" y="518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6" y="523"/>
                    <a:pt x="166" y="523"/>
                    <a:pt x="166" y="523"/>
                  </a:cubicBezTo>
                  <a:cubicBezTo>
                    <a:pt x="158" y="526"/>
                    <a:pt x="158" y="526"/>
                    <a:pt x="158" y="526"/>
                  </a:cubicBezTo>
                  <a:cubicBezTo>
                    <a:pt x="157" y="530"/>
                    <a:pt x="157" y="530"/>
                    <a:pt x="157" y="530"/>
                  </a:cubicBezTo>
                  <a:cubicBezTo>
                    <a:pt x="164" y="531"/>
                    <a:pt x="164" y="531"/>
                    <a:pt x="164" y="531"/>
                  </a:cubicBezTo>
                  <a:cubicBezTo>
                    <a:pt x="157" y="532"/>
                    <a:pt x="157" y="532"/>
                    <a:pt x="157" y="532"/>
                  </a:cubicBezTo>
                  <a:cubicBezTo>
                    <a:pt x="156" y="536"/>
                    <a:pt x="156" y="536"/>
                    <a:pt x="156" y="536"/>
                  </a:cubicBezTo>
                  <a:cubicBezTo>
                    <a:pt x="162" y="537"/>
                    <a:pt x="162" y="537"/>
                    <a:pt x="162" y="537"/>
                  </a:cubicBezTo>
                  <a:cubicBezTo>
                    <a:pt x="150" y="539"/>
                    <a:pt x="150" y="539"/>
                    <a:pt x="150" y="539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47" y="534"/>
                    <a:pt x="147" y="534"/>
                    <a:pt x="147" y="534"/>
                  </a:cubicBezTo>
                  <a:cubicBezTo>
                    <a:pt x="145" y="532"/>
                    <a:pt x="145" y="532"/>
                    <a:pt x="145" y="532"/>
                  </a:cubicBezTo>
                  <a:cubicBezTo>
                    <a:pt x="141" y="534"/>
                    <a:pt x="141" y="534"/>
                    <a:pt x="141" y="534"/>
                  </a:cubicBezTo>
                  <a:cubicBezTo>
                    <a:pt x="145" y="538"/>
                    <a:pt x="145" y="538"/>
                    <a:pt x="145" y="538"/>
                  </a:cubicBezTo>
                  <a:cubicBezTo>
                    <a:pt x="138" y="538"/>
                    <a:pt x="138" y="538"/>
                    <a:pt x="138" y="538"/>
                  </a:cubicBezTo>
                  <a:cubicBezTo>
                    <a:pt x="134" y="541"/>
                    <a:pt x="134" y="541"/>
                    <a:pt x="134" y="541"/>
                  </a:cubicBezTo>
                  <a:cubicBezTo>
                    <a:pt x="139" y="547"/>
                    <a:pt x="139" y="547"/>
                    <a:pt x="139" y="547"/>
                  </a:cubicBezTo>
                  <a:cubicBezTo>
                    <a:pt x="143" y="548"/>
                    <a:pt x="143" y="548"/>
                    <a:pt x="143" y="548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5" y="552"/>
                    <a:pt x="135" y="552"/>
                    <a:pt x="135" y="552"/>
                  </a:cubicBezTo>
                  <a:cubicBezTo>
                    <a:pt x="126" y="551"/>
                    <a:pt x="126" y="551"/>
                    <a:pt x="126" y="551"/>
                  </a:cubicBezTo>
                  <a:cubicBezTo>
                    <a:pt x="126" y="555"/>
                    <a:pt x="126" y="555"/>
                    <a:pt x="126" y="555"/>
                  </a:cubicBezTo>
                  <a:cubicBezTo>
                    <a:pt x="132" y="563"/>
                    <a:pt x="132" y="563"/>
                    <a:pt x="132" y="563"/>
                  </a:cubicBezTo>
                  <a:cubicBezTo>
                    <a:pt x="138" y="561"/>
                    <a:pt x="138" y="561"/>
                    <a:pt x="138" y="561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2" y="566"/>
                    <a:pt x="132" y="566"/>
                    <a:pt x="132" y="566"/>
                  </a:cubicBezTo>
                  <a:cubicBezTo>
                    <a:pt x="137" y="568"/>
                    <a:pt x="137" y="568"/>
                    <a:pt x="137" y="568"/>
                  </a:cubicBezTo>
                  <a:cubicBezTo>
                    <a:pt x="135" y="569"/>
                    <a:pt x="135" y="569"/>
                    <a:pt x="135" y="569"/>
                  </a:cubicBezTo>
                  <a:cubicBezTo>
                    <a:pt x="130" y="567"/>
                    <a:pt x="130" y="567"/>
                    <a:pt x="130" y="567"/>
                  </a:cubicBezTo>
                  <a:cubicBezTo>
                    <a:pt x="129" y="561"/>
                    <a:pt x="129" y="561"/>
                    <a:pt x="129" y="561"/>
                  </a:cubicBezTo>
                  <a:cubicBezTo>
                    <a:pt x="123" y="552"/>
                    <a:pt x="123" y="552"/>
                    <a:pt x="123" y="552"/>
                  </a:cubicBezTo>
                  <a:cubicBezTo>
                    <a:pt x="114" y="557"/>
                    <a:pt x="114" y="557"/>
                    <a:pt x="114" y="557"/>
                  </a:cubicBezTo>
                  <a:cubicBezTo>
                    <a:pt x="116" y="558"/>
                    <a:pt x="116" y="558"/>
                    <a:pt x="116" y="558"/>
                  </a:cubicBezTo>
                  <a:cubicBezTo>
                    <a:pt x="118" y="558"/>
                    <a:pt x="118" y="558"/>
                    <a:pt x="118" y="558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32" y="577"/>
                    <a:pt x="132" y="577"/>
                    <a:pt x="132" y="577"/>
                  </a:cubicBezTo>
                  <a:cubicBezTo>
                    <a:pt x="133" y="579"/>
                    <a:pt x="133" y="579"/>
                    <a:pt x="133" y="579"/>
                  </a:cubicBezTo>
                  <a:cubicBezTo>
                    <a:pt x="122" y="571"/>
                    <a:pt x="122" y="571"/>
                    <a:pt x="122" y="571"/>
                  </a:cubicBezTo>
                  <a:cubicBezTo>
                    <a:pt x="122" y="562"/>
                    <a:pt x="122" y="562"/>
                    <a:pt x="122" y="562"/>
                  </a:cubicBezTo>
                  <a:cubicBezTo>
                    <a:pt x="113" y="562"/>
                    <a:pt x="113" y="562"/>
                    <a:pt x="113" y="562"/>
                  </a:cubicBezTo>
                  <a:cubicBezTo>
                    <a:pt x="111" y="565"/>
                    <a:pt x="111" y="565"/>
                    <a:pt x="111" y="565"/>
                  </a:cubicBezTo>
                  <a:cubicBezTo>
                    <a:pt x="112" y="560"/>
                    <a:pt x="112" y="560"/>
                    <a:pt x="112" y="560"/>
                  </a:cubicBezTo>
                  <a:cubicBezTo>
                    <a:pt x="108" y="560"/>
                    <a:pt x="108" y="560"/>
                    <a:pt x="108" y="560"/>
                  </a:cubicBezTo>
                  <a:cubicBezTo>
                    <a:pt x="107" y="563"/>
                    <a:pt x="107" y="563"/>
                    <a:pt x="107" y="563"/>
                  </a:cubicBezTo>
                  <a:cubicBezTo>
                    <a:pt x="101" y="564"/>
                    <a:pt x="101" y="564"/>
                    <a:pt x="101" y="564"/>
                  </a:cubicBezTo>
                  <a:cubicBezTo>
                    <a:pt x="96" y="557"/>
                    <a:pt x="96" y="557"/>
                    <a:pt x="96" y="557"/>
                  </a:cubicBezTo>
                  <a:cubicBezTo>
                    <a:pt x="96" y="557"/>
                    <a:pt x="92" y="557"/>
                    <a:pt x="85" y="562"/>
                  </a:cubicBezTo>
                  <a:cubicBezTo>
                    <a:pt x="80" y="567"/>
                    <a:pt x="93" y="567"/>
                    <a:pt x="94" y="569"/>
                  </a:cubicBezTo>
                  <a:cubicBezTo>
                    <a:pt x="94" y="571"/>
                    <a:pt x="91" y="570"/>
                    <a:pt x="88" y="570"/>
                  </a:cubicBezTo>
                  <a:cubicBezTo>
                    <a:pt x="83" y="571"/>
                    <a:pt x="87" y="577"/>
                    <a:pt x="87" y="577"/>
                  </a:cubicBezTo>
                  <a:cubicBezTo>
                    <a:pt x="87" y="577"/>
                    <a:pt x="104" y="571"/>
                    <a:pt x="105" y="573"/>
                  </a:cubicBezTo>
                  <a:cubicBezTo>
                    <a:pt x="106" y="575"/>
                    <a:pt x="99" y="575"/>
                    <a:pt x="99" y="575"/>
                  </a:cubicBezTo>
                  <a:cubicBezTo>
                    <a:pt x="99" y="578"/>
                    <a:pt x="99" y="578"/>
                    <a:pt x="99" y="578"/>
                  </a:cubicBezTo>
                  <a:cubicBezTo>
                    <a:pt x="99" y="578"/>
                    <a:pt x="108" y="575"/>
                    <a:pt x="113" y="573"/>
                  </a:cubicBezTo>
                  <a:cubicBezTo>
                    <a:pt x="118" y="573"/>
                    <a:pt x="122" y="579"/>
                    <a:pt x="122" y="579"/>
                  </a:cubicBezTo>
                  <a:cubicBezTo>
                    <a:pt x="122" y="579"/>
                    <a:pt x="117" y="576"/>
                    <a:pt x="114" y="575"/>
                  </a:cubicBezTo>
                  <a:cubicBezTo>
                    <a:pt x="112" y="575"/>
                    <a:pt x="104" y="578"/>
                    <a:pt x="104" y="578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2" y="581"/>
                    <a:pt x="102" y="581"/>
                    <a:pt x="102" y="581"/>
                  </a:cubicBezTo>
                  <a:cubicBezTo>
                    <a:pt x="100" y="582"/>
                    <a:pt x="100" y="582"/>
                    <a:pt x="100" y="582"/>
                  </a:cubicBezTo>
                  <a:cubicBezTo>
                    <a:pt x="102" y="586"/>
                    <a:pt x="102" y="586"/>
                    <a:pt x="102" y="586"/>
                  </a:cubicBezTo>
                  <a:cubicBezTo>
                    <a:pt x="108" y="586"/>
                    <a:pt x="108" y="586"/>
                    <a:pt x="108" y="586"/>
                  </a:cubicBezTo>
                  <a:cubicBezTo>
                    <a:pt x="104" y="591"/>
                    <a:pt x="104" y="591"/>
                    <a:pt x="104" y="591"/>
                  </a:cubicBezTo>
                  <a:cubicBezTo>
                    <a:pt x="96" y="584"/>
                    <a:pt x="96" y="584"/>
                    <a:pt x="96" y="584"/>
                  </a:cubicBezTo>
                  <a:cubicBezTo>
                    <a:pt x="92" y="582"/>
                    <a:pt x="92" y="582"/>
                    <a:pt x="92" y="582"/>
                  </a:cubicBezTo>
                  <a:cubicBezTo>
                    <a:pt x="92" y="585"/>
                    <a:pt x="92" y="585"/>
                    <a:pt x="92" y="585"/>
                  </a:cubicBezTo>
                  <a:cubicBezTo>
                    <a:pt x="92" y="585"/>
                    <a:pt x="90" y="581"/>
                    <a:pt x="87" y="580"/>
                  </a:cubicBezTo>
                  <a:cubicBezTo>
                    <a:pt x="83" y="579"/>
                    <a:pt x="83" y="583"/>
                    <a:pt x="83" y="583"/>
                  </a:cubicBezTo>
                  <a:cubicBezTo>
                    <a:pt x="83" y="583"/>
                    <a:pt x="81" y="581"/>
                    <a:pt x="80" y="580"/>
                  </a:cubicBezTo>
                  <a:cubicBezTo>
                    <a:pt x="78" y="580"/>
                    <a:pt x="74" y="583"/>
                    <a:pt x="74" y="583"/>
                  </a:cubicBezTo>
                  <a:cubicBezTo>
                    <a:pt x="74" y="583"/>
                    <a:pt x="72" y="582"/>
                    <a:pt x="69" y="581"/>
                  </a:cubicBezTo>
                  <a:cubicBezTo>
                    <a:pt x="66" y="581"/>
                    <a:pt x="65" y="584"/>
                    <a:pt x="63" y="587"/>
                  </a:cubicBezTo>
                  <a:cubicBezTo>
                    <a:pt x="62" y="589"/>
                    <a:pt x="74" y="586"/>
                    <a:pt x="74" y="586"/>
                  </a:cubicBezTo>
                  <a:cubicBezTo>
                    <a:pt x="74" y="586"/>
                    <a:pt x="82" y="592"/>
                    <a:pt x="84" y="594"/>
                  </a:cubicBezTo>
                  <a:cubicBezTo>
                    <a:pt x="85" y="595"/>
                    <a:pt x="84" y="600"/>
                    <a:pt x="84" y="600"/>
                  </a:cubicBezTo>
                  <a:cubicBezTo>
                    <a:pt x="87" y="603"/>
                    <a:pt x="87" y="603"/>
                    <a:pt x="87" y="603"/>
                  </a:cubicBezTo>
                  <a:cubicBezTo>
                    <a:pt x="92" y="604"/>
                    <a:pt x="92" y="604"/>
                    <a:pt x="92" y="604"/>
                  </a:cubicBezTo>
                  <a:cubicBezTo>
                    <a:pt x="94" y="603"/>
                    <a:pt x="94" y="603"/>
                    <a:pt x="94" y="603"/>
                  </a:cubicBezTo>
                  <a:cubicBezTo>
                    <a:pt x="93" y="605"/>
                    <a:pt x="93" y="605"/>
                    <a:pt x="93" y="605"/>
                  </a:cubicBezTo>
                  <a:cubicBezTo>
                    <a:pt x="85" y="605"/>
                    <a:pt x="85" y="605"/>
                    <a:pt x="85" y="605"/>
                  </a:cubicBezTo>
                  <a:cubicBezTo>
                    <a:pt x="87" y="608"/>
                    <a:pt x="87" y="608"/>
                    <a:pt x="87" y="608"/>
                  </a:cubicBezTo>
                  <a:cubicBezTo>
                    <a:pt x="83" y="614"/>
                    <a:pt x="83" y="614"/>
                    <a:pt x="83" y="614"/>
                  </a:cubicBezTo>
                  <a:cubicBezTo>
                    <a:pt x="85" y="616"/>
                    <a:pt x="85" y="616"/>
                    <a:pt x="85" y="616"/>
                  </a:cubicBezTo>
                  <a:cubicBezTo>
                    <a:pt x="80" y="615"/>
                    <a:pt x="80" y="615"/>
                    <a:pt x="80" y="615"/>
                  </a:cubicBezTo>
                  <a:cubicBezTo>
                    <a:pt x="84" y="607"/>
                    <a:pt x="84" y="607"/>
                    <a:pt x="84" y="607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82" y="594"/>
                    <a:pt x="82" y="594"/>
                    <a:pt x="82" y="594"/>
                  </a:cubicBezTo>
                  <a:cubicBezTo>
                    <a:pt x="73" y="593"/>
                    <a:pt x="73" y="593"/>
                    <a:pt x="73" y="593"/>
                  </a:cubicBezTo>
                  <a:cubicBezTo>
                    <a:pt x="73" y="597"/>
                    <a:pt x="73" y="597"/>
                    <a:pt x="73" y="597"/>
                  </a:cubicBezTo>
                  <a:cubicBezTo>
                    <a:pt x="69" y="595"/>
                    <a:pt x="69" y="595"/>
                    <a:pt x="69" y="595"/>
                  </a:cubicBezTo>
                  <a:cubicBezTo>
                    <a:pt x="66" y="595"/>
                    <a:pt x="66" y="595"/>
                    <a:pt x="66" y="595"/>
                  </a:cubicBezTo>
                  <a:cubicBezTo>
                    <a:pt x="72" y="611"/>
                    <a:pt x="72" y="611"/>
                    <a:pt x="72" y="611"/>
                  </a:cubicBezTo>
                  <a:cubicBezTo>
                    <a:pt x="71" y="613"/>
                    <a:pt x="71" y="613"/>
                    <a:pt x="71" y="613"/>
                  </a:cubicBezTo>
                  <a:cubicBezTo>
                    <a:pt x="68" y="607"/>
                    <a:pt x="68" y="607"/>
                    <a:pt x="68" y="607"/>
                  </a:cubicBezTo>
                  <a:cubicBezTo>
                    <a:pt x="65" y="602"/>
                    <a:pt x="65" y="602"/>
                    <a:pt x="65" y="602"/>
                  </a:cubicBezTo>
                  <a:cubicBezTo>
                    <a:pt x="65" y="602"/>
                    <a:pt x="66" y="598"/>
                    <a:pt x="63" y="597"/>
                  </a:cubicBezTo>
                  <a:cubicBezTo>
                    <a:pt x="61" y="596"/>
                    <a:pt x="52" y="603"/>
                    <a:pt x="52" y="603"/>
                  </a:cubicBezTo>
                  <a:cubicBezTo>
                    <a:pt x="56" y="607"/>
                    <a:pt x="56" y="607"/>
                    <a:pt x="56" y="607"/>
                  </a:cubicBezTo>
                  <a:cubicBezTo>
                    <a:pt x="50" y="607"/>
                    <a:pt x="50" y="607"/>
                    <a:pt x="50" y="607"/>
                  </a:cubicBezTo>
                  <a:cubicBezTo>
                    <a:pt x="50" y="607"/>
                    <a:pt x="52" y="608"/>
                    <a:pt x="55" y="610"/>
                  </a:cubicBezTo>
                  <a:cubicBezTo>
                    <a:pt x="57" y="613"/>
                    <a:pt x="61" y="616"/>
                    <a:pt x="61" y="616"/>
                  </a:cubicBezTo>
                  <a:cubicBezTo>
                    <a:pt x="55" y="615"/>
                    <a:pt x="55" y="615"/>
                    <a:pt x="55" y="615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8" y="617"/>
                    <a:pt x="48" y="617"/>
                    <a:pt x="48" y="617"/>
                  </a:cubicBezTo>
                  <a:cubicBezTo>
                    <a:pt x="51" y="610"/>
                    <a:pt x="51" y="610"/>
                    <a:pt x="51" y="610"/>
                  </a:cubicBezTo>
                  <a:cubicBezTo>
                    <a:pt x="51" y="610"/>
                    <a:pt x="50" y="608"/>
                    <a:pt x="46" y="608"/>
                  </a:cubicBezTo>
                  <a:cubicBezTo>
                    <a:pt x="42" y="608"/>
                    <a:pt x="43" y="612"/>
                    <a:pt x="43" y="612"/>
                  </a:cubicBezTo>
                  <a:cubicBezTo>
                    <a:pt x="43" y="612"/>
                    <a:pt x="40" y="608"/>
                    <a:pt x="38" y="608"/>
                  </a:cubicBezTo>
                  <a:cubicBezTo>
                    <a:pt x="34" y="608"/>
                    <a:pt x="33" y="612"/>
                    <a:pt x="33" y="612"/>
                  </a:cubicBezTo>
                  <a:cubicBezTo>
                    <a:pt x="39" y="615"/>
                    <a:pt x="39" y="615"/>
                    <a:pt x="39" y="615"/>
                  </a:cubicBezTo>
                  <a:cubicBezTo>
                    <a:pt x="38" y="616"/>
                    <a:pt x="38" y="616"/>
                    <a:pt x="38" y="616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32" y="609"/>
                    <a:pt x="32" y="609"/>
                    <a:pt x="32" y="609"/>
                  </a:cubicBezTo>
                  <a:cubicBezTo>
                    <a:pt x="28" y="605"/>
                    <a:pt x="28" y="605"/>
                    <a:pt x="28" y="605"/>
                  </a:cubicBezTo>
                  <a:cubicBezTo>
                    <a:pt x="25" y="609"/>
                    <a:pt x="25" y="609"/>
                    <a:pt x="25" y="609"/>
                  </a:cubicBezTo>
                  <a:cubicBezTo>
                    <a:pt x="26" y="611"/>
                    <a:pt x="26" y="611"/>
                    <a:pt x="26" y="611"/>
                  </a:cubicBezTo>
                  <a:cubicBezTo>
                    <a:pt x="26" y="611"/>
                    <a:pt x="32" y="616"/>
                    <a:pt x="32" y="618"/>
                  </a:cubicBezTo>
                  <a:cubicBezTo>
                    <a:pt x="31" y="621"/>
                    <a:pt x="25" y="620"/>
                    <a:pt x="25" y="624"/>
                  </a:cubicBezTo>
                  <a:cubicBezTo>
                    <a:pt x="25" y="627"/>
                    <a:pt x="34" y="623"/>
                    <a:pt x="34" y="623"/>
                  </a:cubicBezTo>
                  <a:cubicBezTo>
                    <a:pt x="50" y="627"/>
                    <a:pt x="50" y="627"/>
                    <a:pt x="50" y="627"/>
                  </a:cubicBezTo>
                  <a:cubicBezTo>
                    <a:pt x="49" y="628"/>
                    <a:pt x="49" y="628"/>
                    <a:pt x="49" y="628"/>
                  </a:cubicBezTo>
                  <a:cubicBezTo>
                    <a:pt x="64" y="632"/>
                    <a:pt x="64" y="632"/>
                    <a:pt x="64" y="632"/>
                  </a:cubicBezTo>
                  <a:cubicBezTo>
                    <a:pt x="71" y="629"/>
                    <a:pt x="71" y="629"/>
                    <a:pt x="71" y="629"/>
                  </a:cubicBezTo>
                  <a:cubicBezTo>
                    <a:pt x="78" y="631"/>
                    <a:pt x="78" y="631"/>
                    <a:pt x="78" y="631"/>
                  </a:cubicBezTo>
                  <a:cubicBezTo>
                    <a:pt x="78" y="632"/>
                    <a:pt x="78" y="632"/>
                    <a:pt x="78" y="632"/>
                  </a:cubicBezTo>
                  <a:cubicBezTo>
                    <a:pt x="72" y="631"/>
                    <a:pt x="72" y="631"/>
                    <a:pt x="72" y="631"/>
                  </a:cubicBezTo>
                  <a:cubicBezTo>
                    <a:pt x="65" y="633"/>
                    <a:pt x="65" y="633"/>
                    <a:pt x="65" y="633"/>
                  </a:cubicBezTo>
                  <a:cubicBezTo>
                    <a:pt x="56" y="631"/>
                    <a:pt x="56" y="631"/>
                    <a:pt x="56" y="631"/>
                  </a:cubicBezTo>
                  <a:cubicBezTo>
                    <a:pt x="55" y="633"/>
                    <a:pt x="55" y="633"/>
                    <a:pt x="55" y="633"/>
                  </a:cubicBezTo>
                  <a:cubicBezTo>
                    <a:pt x="55" y="633"/>
                    <a:pt x="42" y="626"/>
                    <a:pt x="35" y="626"/>
                  </a:cubicBezTo>
                  <a:cubicBezTo>
                    <a:pt x="28" y="626"/>
                    <a:pt x="29" y="629"/>
                    <a:pt x="29" y="629"/>
                  </a:cubicBezTo>
                  <a:cubicBezTo>
                    <a:pt x="29" y="629"/>
                    <a:pt x="28" y="629"/>
                    <a:pt x="25" y="631"/>
                  </a:cubicBezTo>
                  <a:cubicBezTo>
                    <a:pt x="23" y="632"/>
                    <a:pt x="25" y="635"/>
                    <a:pt x="25" y="635"/>
                  </a:cubicBezTo>
                  <a:cubicBezTo>
                    <a:pt x="25" y="635"/>
                    <a:pt x="19" y="634"/>
                    <a:pt x="17" y="638"/>
                  </a:cubicBezTo>
                  <a:cubicBezTo>
                    <a:pt x="16" y="641"/>
                    <a:pt x="19" y="642"/>
                    <a:pt x="19" y="642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2" y="646"/>
                    <a:pt x="32" y="646"/>
                    <a:pt x="32" y="646"/>
                  </a:cubicBezTo>
                  <a:cubicBezTo>
                    <a:pt x="26" y="644"/>
                    <a:pt x="26" y="644"/>
                    <a:pt x="26" y="644"/>
                  </a:cubicBezTo>
                  <a:cubicBezTo>
                    <a:pt x="24" y="646"/>
                    <a:pt x="24" y="646"/>
                    <a:pt x="24" y="646"/>
                  </a:cubicBezTo>
                  <a:cubicBezTo>
                    <a:pt x="28" y="648"/>
                    <a:pt x="28" y="648"/>
                    <a:pt x="28" y="648"/>
                  </a:cubicBezTo>
                  <a:cubicBezTo>
                    <a:pt x="23" y="648"/>
                    <a:pt x="23" y="648"/>
                    <a:pt x="23" y="648"/>
                  </a:cubicBezTo>
                  <a:cubicBezTo>
                    <a:pt x="23" y="650"/>
                    <a:pt x="23" y="650"/>
                    <a:pt x="23" y="650"/>
                  </a:cubicBezTo>
                  <a:cubicBezTo>
                    <a:pt x="32" y="652"/>
                    <a:pt x="32" y="652"/>
                    <a:pt x="32" y="652"/>
                  </a:cubicBezTo>
                  <a:cubicBezTo>
                    <a:pt x="17" y="655"/>
                    <a:pt x="17" y="655"/>
                    <a:pt x="17" y="655"/>
                  </a:cubicBezTo>
                  <a:cubicBezTo>
                    <a:pt x="17" y="657"/>
                    <a:pt x="17" y="657"/>
                    <a:pt x="17" y="657"/>
                  </a:cubicBezTo>
                  <a:cubicBezTo>
                    <a:pt x="20" y="657"/>
                    <a:pt x="20" y="657"/>
                    <a:pt x="20" y="657"/>
                  </a:cubicBezTo>
                  <a:cubicBezTo>
                    <a:pt x="20" y="660"/>
                    <a:pt x="20" y="660"/>
                    <a:pt x="20" y="660"/>
                  </a:cubicBezTo>
                  <a:cubicBezTo>
                    <a:pt x="30" y="660"/>
                    <a:pt x="30" y="660"/>
                    <a:pt x="30" y="660"/>
                  </a:cubicBezTo>
                  <a:cubicBezTo>
                    <a:pt x="17" y="663"/>
                    <a:pt x="17" y="663"/>
                    <a:pt x="17" y="663"/>
                  </a:cubicBezTo>
                  <a:cubicBezTo>
                    <a:pt x="15" y="667"/>
                    <a:pt x="15" y="667"/>
                    <a:pt x="15" y="667"/>
                  </a:cubicBezTo>
                  <a:cubicBezTo>
                    <a:pt x="22" y="670"/>
                    <a:pt x="22" y="670"/>
                    <a:pt x="22" y="670"/>
                  </a:cubicBezTo>
                  <a:cubicBezTo>
                    <a:pt x="18" y="670"/>
                    <a:pt x="18" y="670"/>
                    <a:pt x="18" y="670"/>
                  </a:cubicBezTo>
                  <a:cubicBezTo>
                    <a:pt x="23" y="675"/>
                    <a:pt x="23" y="675"/>
                    <a:pt x="23" y="675"/>
                  </a:cubicBezTo>
                  <a:cubicBezTo>
                    <a:pt x="26" y="675"/>
                    <a:pt x="26" y="675"/>
                    <a:pt x="26" y="675"/>
                  </a:cubicBezTo>
                  <a:cubicBezTo>
                    <a:pt x="28" y="677"/>
                    <a:pt x="28" y="677"/>
                    <a:pt x="28" y="677"/>
                  </a:cubicBezTo>
                  <a:cubicBezTo>
                    <a:pt x="48" y="672"/>
                    <a:pt x="48" y="672"/>
                    <a:pt x="48" y="672"/>
                  </a:cubicBezTo>
                  <a:cubicBezTo>
                    <a:pt x="46" y="675"/>
                    <a:pt x="46" y="675"/>
                    <a:pt x="46" y="675"/>
                  </a:cubicBezTo>
                  <a:cubicBezTo>
                    <a:pt x="55" y="674"/>
                    <a:pt x="55" y="674"/>
                    <a:pt x="55" y="674"/>
                  </a:cubicBezTo>
                  <a:cubicBezTo>
                    <a:pt x="55" y="674"/>
                    <a:pt x="56" y="677"/>
                    <a:pt x="61" y="677"/>
                  </a:cubicBezTo>
                  <a:cubicBezTo>
                    <a:pt x="65" y="677"/>
                    <a:pt x="63" y="668"/>
                    <a:pt x="63" y="668"/>
                  </a:cubicBezTo>
                  <a:cubicBezTo>
                    <a:pt x="66" y="667"/>
                    <a:pt x="66" y="667"/>
                    <a:pt x="66" y="667"/>
                  </a:cubicBezTo>
                  <a:cubicBezTo>
                    <a:pt x="71" y="661"/>
                    <a:pt x="71" y="661"/>
                    <a:pt x="71" y="661"/>
                  </a:cubicBezTo>
                  <a:cubicBezTo>
                    <a:pt x="72" y="662"/>
                    <a:pt x="72" y="662"/>
                    <a:pt x="72" y="662"/>
                  </a:cubicBezTo>
                  <a:cubicBezTo>
                    <a:pt x="67" y="670"/>
                    <a:pt x="67" y="670"/>
                    <a:pt x="67" y="670"/>
                  </a:cubicBezTo>
                  <a:cubicBezTo>
                    <a:pt x="69" y="674"/>
                    <a:pt x="69" y="674"/>
                    <a:pt x="69" y="674"/>
                  </a:cubicBezTo>
                  <a:cubicBezTo>
                    <a:pt x="79" y="675"/>
                    <a:pt x="79" y="675"/>
                    <a:pt x="79" y="675"/>
                  </a:cubicBezTo>
                  <a:cubicBezTo>
                    <a:pt x="83" y="671"/>
                    <a:pt x="83" y="671"/>
                    <a:pt x="83" y="671"/>
                  </a:cubicBezTo>
                  <a:cubicBezTo>
                    <a:pt x="83" y="675"/>
                    <a:pt x="83" y="675"/>
                    <a:pt x="83" y="675"/>
                  </a:cubicBezTo>
                  <a:cubicBezTo>
                    <a:pt x="76" y="677"/>
                    <a:pt x="76" y="677"/>
                    <a:pt x="76" y="677"/>
                  </a:cubicBezTo>
                  <a:cubicBezTo>
                    <a:pt x="78" y="679"/>
                    <a:pt x="78" y="679"/>
                    <a:pt x="78" y="679"/>
                  </a:cubicBezTo>
                  <a:cubicBezTo>
                    <a:pt x="90" y="675"/>
                    <a:pt x="90" y="675"/>
                    <a:pt x="90" y="675"/>
                  </a:cubicBezTo>
                  <a:cubicBezTo>
                    <a:pt x="89" y="668"/>
                    <a:pt x="89" y="668"/>
                    <a:pt x="89" y="668"/>
                  </a:cubicBezTo>
                  <a:cubicBezTo>
                    <a:pt x="89" y="668"/>
                    <a:pt x="91" y="664"/>
                    <a:pt x="93" y="661"/>
                  </a:cubicBezTo>
                  <a:cubicBezTo>
                    <a:pt x="94" y="659"/>
                    <a:pt x="98" y="656"/>
                    <a:pt x="98" y="656"/>
                  </a:cubicBezTo>
                  <a:cubicBezTo>
                    <a:pt x="99" y="658"/>
                    <a:pt x="99" y="658"/>
                    <a:pt x="99" y="658"/>
                  </a:cubicBezTo>
                  <a:cubicBezTo>
                    <a:pt x="99" y="658"/>
                    <a:pt x="97" y="660"/>
                    <a:pt x="95" y="662"/>
                  </a:cubicBezTo>
                  <a:cubicBezTo>
                    <a:pt x="93" y="663"/>
                    <a:pt x="90" y="668"/>
                    <a:pt x="90" y="668"/>
                  </a:cubicBezTo>
                  <a:cubicBezTo>
                    <a:pt x="92" y="671"/>
                    <a:pt x="92" y="671"/>
                    <a:pt x="92" y="671"/>
                  </a:cubicBezTo>
                  <a:cubicBezTo>
                    <a:pt x="93" y="675"/>
                    <a:pt x="93" y="675"/>
                    <a:pt x="93" y="675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98" y="676"/>
                    <a:pt x="98" y="676"/>
                    <a:pt x="98" y="676"/>
                  </a:cubicBezTo>
                  <a:cubicBezTo>
                    <a:pt x="96" y="676"/>
                    <a:pt x="96" y="676"/>
                    <a:pt x="96" y="676"/>
                  </a:cubicBezTo>
                  <a:cubicBezTo>
                    <a:pt x="92" y="677"/>
                    <a:pt x="92" y="677"/>
                    <a:pt x="92" y="677"/>
                  </a:cubicBezTo>
                  <a:cubicBezTo>
                    <a:pt x="92" y="680"/>
                    <a:pt x="92" y="680"/>
                    <a:pt x="92" y="680"/>
                  </a:cubicBezTo>
                  <a:cubicBezTo>
                    <a:pt x="88" y="678"/>
                    <a:pt x="88" y="678"/>
                    <a:pt x="88" y="678"/>
                  </a:cubicBezTo>
                  <a:cubicBezTo>
                    <a:pt x="80" y="680"/>
                    <a:pt x="80" y="680"/>
                    <a:pt x="80" y="680"/>
                  </a:cubicBezTo>
                  <a:cubicBezTo>
                    <a:pt x="80" y="686"/>
                    <a:pt x="80" y="686"/>
                    <a:pt x="80" y="686"/>
                  </a:cubicBezTo>
                  <a:cubicBezTo>
                    <a:pt x="82" y="691"/>
                    <a:pt x="82" y="691"/>
                    <a:pt x="82" y="691"/>
                  </a:cubicBezTo>
                  <a:cubicBezTo>
                    <a:pt x="79" y="688"/>
                    <a:pt x="79" y="688"/>
                    <a:pt x="79" y="688"/>
                  </a:cubicBezTo>
                  <a:cubicBezTo>
                    <a:pt x="76" y="690"/>
                    <a:pt x="76" y="690"/>
                    <a:pt x="76" y="690"/>
                  </a:cubicBezTo>
                  <a:cubicBezTo>
                    <a:pt x="78" y="686"/>
                    <a:pt x="78" y="686"/>
                    <a:pt x="78" y="686"/>
                  </a:cubicBezTo>
                  <a:cubicBezTo>
                    <a:pt x="77" y="681"/>
                    <a:pt x="77" y="681"/>
                    <a:pt x="77" y="68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4" y="678"/>
                    <a:pt x="74" y="678"/>
                    <a:pt x="74" y="678"/>
                  </a:cubicBezTo>
                  <a:cubicBezTo>
                    <a:pt x="74" y="678"/>
                    <a:pt x="67" y="676"/>
                    <a:pt x="66" y="675"/>
                  </a:cubicBezTo>
                  <a:cubicBezTo>
                    <a:pt x="65" y="675"/>
                    <a:pt x="64" y="679"/>
                    <a:pt x="64" y="679"/>
                  </a:cubicBezTo>
                  <a:cubicBezTo>
                    <a:pt x="56" y="680"/>
                    <a:pt x="56" y="680"/>
                    <a:pt x="56" y="680"/>
                  </a:cubicBezTo>
                  <a:cubicBezTo>
                    <a:pt x="56" y="678"/>
                    <a:pt x="56" y="678"/>
                    <a:pt x="56" y="678"/>
                  </a:cubicBezTo>
                  <a:cubicBezTo>
                    <a:pt x="42" y="676"/>
                    <a:pt x="42" y="676"/>
                    <a:pt x="42" y="676"/>
                  </a:cubicBezTo>
                  <a:cubicBezTo>
                    <a:pt x="41" y="678"/>
                    <a:pt x="41" y="678"/>
                    <a:pt x="41" y="678"/>
                  </a:cubicBezTo>
                  <a:cubicBezTo>
                    <a:pt x="39" y="676"/>
                    <a:pt x="39" y="676"/>
                    <a:pt x="39" y="676"/>
                  </a:cubicBezTo>
                  <a:cubicBezTo>
                    <a:pt x="33" y="678"/>
                    <a:pt x="33" y="678"/>
                    <a:pt x="33" y="678"/>
                  </a:cubicBezTo>
                  <a:cubicBezTo>
                    <a:pt x="31" y="681"/>
                    <a:pt x="31" y="681"/>
                    <a:pt x="31" y="681"/>
                  </a:cubicBezTo>
                  <a:cubicBezTo>
                    <a:pt x="24" y="680"/>
                    <a:pt x="24" y="680"/>
                    <a:pt x="24" y="680"/>
                  </a:cubicBezTo>
                  <a:cubicBezTo>
                    <a:pt x="24" y="680"/>
                    <a:pt x="23" y="678"/>
                    <a:pt x="19" y="678"/>
                  </a:cubicBezTo>
                  <a:cubicBezTo>
                    <a:pt x="16" y="678"/>
                    <a:pt x="15" y="682"/>
                    <a:pt x="15" y="682"/>
                  </a:cubicBezTo>
                  <a:cubicBezTo>
                    <a:pt x="18" y="686"/>
                    <a:pt x="18" y="686"/>
                    <a:pt x="18" y="686"/>
                  </a:cubicBezTo>
                  <a:cubicBezTo>
                    <a:pt x="14" y="687"/>
                    <a:pt x="14" y="687"/>
                    <a:pt x="14" y="687"/>
                  </a:cubicBezTo>
                  <a:cubicBezTo>
                    <a:pt x="14" y="687"/>
                    <a:pt x="14" y="692"/>
                    <a:pt x="18" y="693"/>
                  </a:cubicBezTo>
                  <a:cubicBezTo>
                    <a:pt x="22" y="695"/>
                    <a:pt x="24" y="691"/>
                    <a:pt x="24" y="691"/>
                  </a:cubicBezTo>
                  <a:cubicBezTo>
                    <a:pt x="28" y="691"/>
                    <a:pt x="28" y="691"/>
                    <a:pt x="28" y="691"/>
                  </a:cubicBezTo>
                  <a:cubicBezTo>
                    <a:pt x="27" y="692"/>
                    <a:pt x="27" y="692"/>
                    <a:pt x="27" y="692"/>
                  </a:cubicBezTo>
                  <a:cubicBezTo>
                    <a:pt x="27" y="692"/>
                    <a:pt x="23" y="692"/>
                    <a:pt x="22" y="697"/>
                  </a:cubicBezTo>
                  <a:cubicBezTo>
                    <a:pt x="20" y="703"/>
                    <a:pt x="27" y="704"/>
                    <a:pt x="27" y="704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7" y="707"/>
                    <a:pt x="27" y="707"/>
                    <a:pt x="27" y="707"/>
                  </a:cubicBezTo>
                  <a:cubicBezTo>
                    <a:pt x="30" y="707"/>
                    <a:pt x="30" y="707"/>
                    <a:pt x="30" y="707"/>
                  </a:cubicBezTo>
                  <a:cubicBezTo>
                    <a:pt x="30" y="707"/>
                    <a:pt x="29" y="705"/>
                    <a:pt x="29" y="703"/>
                  </a:cubicBezTo>
                  <a:cubicBezTo>
                    <a:pt x="29" y="702"/>
                    <a:pt x="32" y="701"/>
                    <a:pt x="32" y="701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8" y="704"/>
                    <a:pt x="36" y="708"/>
                    <a:pt x="35" y="711"/>
                  </a:cubicBezTo>
                  <a:cubicBezTo>
                    <a:pt x="34" y="714"/>
                    <a:pt x="34" y="719"/>
                    <a:pt x="34" y="719"/>
                  </a:cubicBezTo>
                  <a:cubicBezTo>
                    <a:pt x="25" y="720"/>
                    <a:pt x="25" y="720"/>
                    <a:pt x="25" y="720"/>
                  </a:cubicBezTo>
                  <a:cubicBezTo>
                    <a:pt x="25" y="720"/>
                    <a:pt x="24" y="713"/>
                    <a:pt x="19" y="714"/>
                  </a:cubicBezTo>
                  <a:cubicBezTo>
                    <a:pt x="15" y="715"/>
                    <a:pt x="19" y="723"/>
                    <a:pt x="19" y="723"/>
                  </a:cubicBezTo>
                  <a:cubicBezTo>
                    <a:pt x="19" y="723"/>
                    <a:pt x="15" y="723"/>
                    <a:pt x="15" y="727"/>
                  </a:cubicBezTo>
                  <a:cubicBezTo>
                    <a:pt x="15" y="731"/>
                    <a:pt x="18" y="730"/>
                    <a:pt x="18" y="730"/>
                  </a:cubicBezTo>
                  <a:cubicBezTo>
                    <a:pt x="17" y="733"/>
                    <a:pt x="17" y="733"/>
                    <a:pt x="17" y="733"/>
                  </a:cubicBezTo>
                  <a:cubicBezTo>
                    <a:pt x="22" y="738"/>
                    <a:pt x="22" y="738"/>
                    <a:pt x="22" y="738"/>
                  </a:cubicBezTo>
                  <a:cubicBezTo>
                    <a:pt x="26" y="735"/>
                    <a:pt x="26" y="735"/>
                    <a:pt x="26" y="735"/>
                  </a:cubicBezTo>
                  <a:cubicBezTo>
                    <a:pt x="29" y="727"/>
                    <a:pt x="29" y="727"/>
                    <a:pt x="29" y="727"/>
                  </a:cubicBezTo>
                  <a:cubicBezTo>
                    <a:pt x="27" y="734"/>
                    <a:pt x="27" y="734"/>
                    <a:pt x="27" y="734"/>
                  </a:cubicBezTo>
                  <a:cubicBezTo>
                    <a:pt x="27" y="738"/>
                    <a:pt x="27" y="738"/>
                    <a:pt x="27" y="738"/>
                  </a:cubicBezTo>
                  <a:cubicBezTo>
                    <a:pt x="32" y="738"/>
                    <a:pt x="32" y="738"/>
                    <a:pt x="32" y="738"/>
                  </a:cubicBezTo>
                  <a:cubicBezTo>
                    <a:pt x="33" y="739"/>
                    <a:pt x="31" y="743"/>
                    <a:pt x="31" y="743"/>
                  </a:cubicBezTo>
                  <a:cubicBezTo>
                    <a:pt x="32" y="744"/>
                    <a:pt x="32" y="744"/>
                    <a:pt x="32" y="744"/>
                  </a:cubicBezTo>
                  <a:cubicBezTo>
                    <a:pt x="30" y="744"/>
                    <a:pt x="30" y="744"/>
                    <a:pt x="30" y="744"/>
                  </a:cubicBezTo>
                  <a:cubicBezTo>
                    <a:pt x="30" y="746"/>
                    <a:pt x="30" y="746"/>
                    <a:pt x="30" y="746"/>
                  </a:cubicBezTo>
                  <a:cubicBezTo>
                    <a:pt x="34" y="750"/>
                    <a:pt x="34" y="750"/>
                    <a:pt x="34" y="750"/>
                  </a:cubicBezTo>
                  <a:cubicBezTo>
                    <a:pt x="38" y="745"/>
                    <a:pt x="38" y="745"/>
                    <a:pt x="38" y="745"/>
                  </a:cubicBezTo>
                  <a:cubicBezTo>
                    <a:pt x="38" y="738"/>
                    <a:pt x="38" y="738"/>
                    <a:pt x="38" y="738"/>
                  </a:cubicBezTo>
                  <a:cubicBezTo>
                    <a:pt x="40" y="737"/>
                    <a:pt x="40" y="737"/>
                    <a:pt x="40" y="737"/>
                  </a:cubicBezTo>
                  <a:cubicBezTo>
                    <a:pt x="42" y="731"/>
                    <a:pt x="42" y="731"/>
                    <a:pt x="42" y="731"/>
                  </a:cubicBezTo>
                  <a:cubicBezTo>
                    <a:pt x="42" y="731"/>
                    <a:pt x="45" y="734"/>
                    <a:pt x="47" y="731"/>
                  </a:cubicBezTo>
                  <a:cubicBezTo>
                    <a:pt x="48" y="730"/>
                    <a:pt x="47" y="726"/>
                    <a:pt x="47" y="726"/>
                  </a:cubicBezTo>
                  <a:cubicBezTo>
                    <a:pt x="47" y="726"/>
                    <a:pt x="49" y="725"/>
                    <a:pt x="55" y="723"/>
                  </a:cubicBezTo>
                  <a:cubicBezTo>
                    <a:pt x="59" y="720"/>
                    <a:pt x="64" y="720"/>
                    <a:pt x="64" y="720"/>
                  </a:cubicBezTo>
                  <a:cubicBezTo>
                    <a:pt x="64" y="722"/>
                    <a:pt x="64" y="722"/>
                    <a:pt x="64" y="722"/>
                  </a:cubicBezTo>
                  <a:cubicBezTo>
                    <a:pt x="71" y="719"/>
                    <a:pt x="71" y="719"/>
                    <a:pt x="71" y="719"/>
                  </a:cubicBezTo>
                  <a:cubicBezTo>
                    <a:pt x="72" y="715"/>
                    <a:pt x="72" y="715"/>
                    <a:pt x="72" y="715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3" y="719"/>
                    <a:pt x="73" y="719"/>
                    <a:pt x="73" y="719"/>
                  </a:cubicBezTo>
                  <a:cubicBezTo>
                    <a:pt x="77" y="720"/>
                    <a:pt x="77" y="720"/>
                    <a:pt x="77" y="720"/>
                  </a:cubicBezTo>
                  <a:cubicBezTo>
                    <a:pt x="77" y="720"/>
                    <a:pt x="68" y="721"/>
                    <a:pt x="65" y="726"/>
                  </a:cubicBezTo>
                  <a:cubicBezTo>
                    <a:pt x="62" y="731"/>
                    <a:pt x="63" y="735"/>
                    <a:pt x="62" y="738"/>
                  </a:cubicBezTo>
                  <a:cubicBezTo>
                    <a:pt x="62" y="740"/>
                    <a:pt x="58" y="743"/>
                    <a:pt x="58" y="743"/>
                  </a:cubicBezTo>
                  <a:cubicBezTo>
                    <a:pt x="62" y="726"/>
                    <a:pt x="62" y="726"/>
                    <a:pt x="62" y="726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62" y="723"/>
                    <a:pt x="58" y="724"/>
                    <a:pt x="56" y="726"/>
                  </a:cubicBezTo>
                  <a:cubicBezTo>
                    <a:pt x="52" y="727"/>
                    <a:pt x="47" y="735"/>
                    <a:pt x="47" y="735"/>
                  </a:cubicBezTo>
                  <a:cubicBezTo>
                    <a:pt x="47" y="735"/>
                    <a:pt x="44" y="736"/>
                    <a:pt x="44" y="739"/>
                  </a:cubicBezTo>
                  <a:cubicBezTo>
                    <a:pt x="45" y="742"/>
                    <a:pt x="50" y="740"/>
                    <a:pt x="48" y="742"/>
                  </a:cubicBezTo>
                  <a:cubicBezTo>
                    <a:pt x="47" y="743"/>
                    <a:pt x="43" y="743"/>
                    <a:pt x="41" y="745"/>
                  </a:cubicBezTo>
                  <a:cubicBezTo>
                    <a:pt x="39" y="747"/>
                    <a:pt x="39" y="752"/>
                    <a:pt x="39" y="752"/>
                  </a:cubicBezTo>
                  <a:cubicBezTo>
                    <a:pt x="32" y="752"/>
                    <a:pt x="32" y="752"/>
                    <a:pt x="32" y="752"/>
                  </a:cubicBezTo>
                  <a:cubicBezTo>
                    <a:pt x="28" y="757"/>
                    <a:pt x="28" y="757"/>
                    <a:pt x="28" y="757"/>
                  </a:cubicBezTo>
                  <a:cubicBezTo>
                    <a:pt x="33" y="762"/>
                    <a:pt x="33" y="762"/>
                    <a:pt x="33" y="762"/>
                  </a:cubicBezTo>
                  <a:cubicBezTo>
                    <a:pt x="39" y="759"/>
                    <a:pt x="39" y="759"/>
                    <a:pt x="39" y="759"/>
                  </a:cubicBezTo>
                  <a:cubicBezTo>
                    <a:pt x="38" y="764"/>
                    <a:pt x="38" y="764"/>
                    <a:pt x="38" y="764"/>
                  </a:cubicBezTo>
                  <a:cubicBezTo>
                    <a:pt x="40" y="765"/>
                    <a:pt x="40" y="765"/>
                    <a:pt x="40" y="765"/>
                  </a:cubicBezTo>
                  <a:cubicBezTo>
                    <a:pt x="46" y="760"/>
                    <a:pt x="46" y="760"/>
                    <a:pt x="46" y="760"/>
                  </a:cubicBezTo>
                  <a:cubicBezTo>
                    <a:pt x="42" y="766"/>
                    <a:pt x="42" y="766"/>
                    <a:pt x="42" y="766"/>
                  </a:cubicBezTo>
                  <a:cubicBezTo>
                    <a:pt x="44" y="768"/>
                    <a:pt x="44" y="768"/>
                    <a:pt x="44" y="768"/>
                  </a:cubicBezTo>
                  <a:cubicBezTo>
                    <a:pt x="34" y="765"/>
                    <a:pt x="34" y="765"/>
                    <a:pt x="34" y="765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72"/>
                    <a:pt x="34" y="772"/>
                    <a:pt x="34" y="772"/>
                  </a:cubicBezTo>
                  <a:cubicBezTo>
                    <a:pt x="26" y="768"/>
                    <a:pt x="26" y="768"/>
                    <a:pt x="26" y="768"/>
                  </a:cubicBezTo>
                  <a:cubicBezTo>
                    <a:pt x="23" y="770"/>
                    <a:pt x="23" y="770"/>
                    <a:pt x="23" y="770"/>
                  </a:cubicBezTo>
                  <a:cubicBezTo>
                    <a:pt x="20" y="778"/>
                    <a:pt x="20" y="778"/>
                    <a:pt x="20" y="778"/>
                  </a:cubicBezTo>
                  <a:cubicBezTo>
                    <a:pt x="18" y="780"/>
                    <a:pt x="18" y="780"/>
                    <a:pt x="18" y="780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9" y="767"/>
                    <a:pt x="19" y="767"/>
                    <a:pt x="19" y="767"/>
                  </a:cubicBezTo>
                  <a:cubicBezTo>
                    <a:pt x="18" y="771"/>
                    <a:pt x="18" y="771"/>
                    <a:pt x="18" y="771"/>
                  </a:cubicBezTo>
                  <a:cubicBezTo>
                    <a:pt x="15" y="771"/>
                    <a:pt x="15" y="771"/>
                    <a:pt x="15" y="771"/>
                  </a:cubicBezTo>
                  <a:cubicBezTo>
                    <a:pt x="10" y="780"/>
                    <a:pt x="10" y="780"/>
                    <a:pt x="10" y="780"/>
                  </a:cubicBezTo>
                  <a:cubicBezTo>
                    <a:pt x="13" y="793"/>
                    <a:pt x="13" y="793"/>
                    <a:pt x="13" y="793"/>
                  </a:cubicBezTo>
                  <a:cubicBezTo>
                    <a:pt x="14" y="792"/>
                    <a:pt x="14" y="792"/>
                    <a:pt x="14" y="792"/>
                  </a:cubicBezTo>
                  <a:cubicBezTo>
                    <a:pt x="14" y="800"/>
                    <a:pt x="14" y="800"/>
                    <a:pt x="14" y="800"/>
                  </a:cubicBezTo>
                  <a:cubicBezTo>
                    <a:pt x="17" y="800"/>
                    <a:pt x="17" y="800"/>
                    <a:pt x="17" y="800"/>
                  </a:cubicBezTo>
                  <a:cubicBezTo>
                    <a:pt x="17" y="793"/>
                    <a:pt x="17" y="793"/>
                    <a:pt x="17" y="793"/>
                  </a:cubicBezTo>
                  <a:cubicBezTo>
                    <a:pt x="22" y="792"/>
                    <a:pt x="22" y="792"/>
                    <a:pt x="22" y="792"/>
                  </a:cubicBezTo>
                  <a:cubicBezTo>
                    <a:pt x="22" y="789"/>
                    <a:pt x="22" y="789"/>
                    <a:pt x="22" y="789"/>
                  </a:cubicBezTo>
                  <a:cubicBezTo>
                    <a:pt x="25" y="791"/>
                    <a:pt x="25" y="791"/>
                    <a:pt x="25" y="791"/>
                  </a:cubicBezTo>
                  <a:cubicBezTo>
                    <a:pt x="23" y="794"/>
                    <a:pt x="23" y="794"/>
                    <a:pt x="23" y="794"/>
                  </a:cubicBezTo>
                  <a:cubicBezTo>
                    <a:pt x="24" y="796"/>
                    <a:pt x="24" y="796"/>
                    <a:pt x="24" y="796"/>
                  </a:cubicBezTo>
                  <a:cubicBezTo>
                    <a:pt x="32" y="788"/>
                    <a:pt x="32" y="788"/>
                    <a:pt x="32" y="788"/>
                  </a:cubicBezTo>
                  <a:cubicBezTo>
                    <a:pt x="30" y="784"/>
                    <a:pt x="30" y="784"/>
                    <a:pt x="30" y="784"/>
                  </a:cubicBezTo>
                  <a:cubicBezTo>
                    <a:pt x="26" y="785"/>
                    <a:pt x="26" y="785"/>
                    <a:pt x="26" y="785"/>
                  </a:cubicBezTo>
                  <a:cubicBezTo>
                    <a:pt x="31" y="782"/>
                    <a:pt x="31" y="782"/>
                    <a:pt x="31" y="782"/>
                  </a:cubicBezTo>
                  <a:cubicBezTo>
                    <a:pt x="32" y="778"/>
                    <a:pt x="32" y="778"/>
                    <a:pt x="32" y="778"/>
                  </a:cubicBezTo>
                  <a:cubicBezTo>
                    <a:pt x="34" y="783"/>
                    <a:pt x="34" y="783"/>
                    <a:pt x="34" y="783"/>
                  </a:cubicBezTo>
                  <a:cubicBezTo>
                    <a:pt x="39" y="784"/>
                    <a:pt x="39" y="784"/>
                    <a:pt x="39" y="784"/>
                  </a:cubicBezTo>
                  <a:cubicBezTo>
                    <a:pt x="35" y="785"/>
                    <a:pt x="35" y="785"/>
                    <a:pt x="35" y="785"/>
                  </a:cubicBezTo>
                  <a:cubicBezTo>
                    <a:pt x="36" y="788"/>
                    <a:pt x="36" y="788"/>
                    <a:pt x="36" y="788"/>
                  </a:cubicBezTo>
                  <a:cubicBezTo>
                    <a:pt x="41" y="786"/>
                    <a:pt x="41" y="786"/>
                    <a:pt x="41" y="786"/>
                  </a:cubicBezTo>
                  <a:cubicBezTo>
                    <a:pt x="43" y="780"/>
                    <a:pt x="43" y="780"/>
                    <a:pt x="43" y="780"/>
                  </a:cubicBezTo>
                  <a:cubicBezTo>
                    <a:pt x="45" y="778"/>
                    <a:pt x="45" y="778"/>
                    <a:pt x="45" y="778"/>
                  </a:cubicBezTo>
                  <a:cubicBezTo>
                    <a:pt x="47" y="773"/>
                    <a:pt x="47" y="773"/>
                    <a:pt x="47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7" y="780"/>
                    <a:pt x="47" y="780"/>
                    <a:pt x="47" y="780"/>
                  </a:cubicBezTo>
                  <a:cubicBezTo>
                    <a:pt x="52" y="777"/>
                    <a:pt x="52" y="777"/>
                    <a:pt x="52" y="777"/>
                  </a:cubicBezTo>
                  <a:cubicBezTo>
                    <a:pt x="52" y="778"/>
                    <a:pt x="52" y="778"/>
                    <a:pt x="52" y="778"/>
                  </a:cubicBezTo>
                  <a:cubicBezTo>
                    <a:pt x="45" y="782"/>
                    <a:pt x="45" y="782"/>
                    <a:pt x="45" y="782"/>
                  </a:cubicBezTo>
                  <a:cubicBezTo>
                    <a:pt x="44" y="788"/>
                    <a:pt x="44" y="788"/>
                    <a:pt x="44" y="788"/>
                  </a:cubicBezTo>
                  <a:cubicBezTo>
                    <a:pt x="38" y="790"/>
                    <a:pt x="38" y="790"/>
                    <a:pt x="38" y="790"/>
                  </a:cubicBezTo>
                  <a:cubicBezTo>
                    <a:pt x="40" y="792"/>
                    <a:pt x="40" y="792"/>
                    <a:pt x="40" y="792"/>
                  </a:cubicBezTo>
                  <a:cubicBezTo>
                    <a:pt x="40" y="792"/>
                    <a:pt x="41" y="790"/>
                    <a:pt x="44" y="791"/>
                  </a:cubicBezTo>
                  <a:cubicBezTo>
                    <a:pt x="46" y="792"/>
                    <a:pt x="41" y="796"/>
                    <a:pt x="41" y="796"/>
                  </a:cubicBezTo>
                  <a:cubicBezTo>
                    <a:pt x="49" y="793"/>
                    <a:pt x="49" y="793"/>
                    <a:pt x="49" y="793"/>
                  </a:cubicBezTo>
                  <a:cubicBezTo>
                    <a:pt x="49" y="793"/>
                    <a:pt x="42" y="797"/>
                    <a:pt x="41" y="798"/>
                  </a:cubicBezTo>
                  <a:cubicBezTo>
                    <a:pt x="39" y="799"/>
                    <a:pt x="36" y="803"/>
                    <a:pt x="36" y="803"/>
                  </a:cubicBezTo>
                  <a:cubicBezTo>
                    <a:pt x="38" y="805"/>
                    <a:pt x="38" y="805"/>
                    <a:pt x="38" y="805"/>
                  </a:cubicBezTo>
                  <a:cubicBezTo>
                    <a:pt x="31" y="807"/>
                    <a:pt x="31" y="807"/>
                    <a:pt x="31" y="807"/>
                  </a:cubicBezTo>
                  <a:cubicBezTo>
                    <a:pt x="34" y="813"/>
                    <a:pt x="34" y="813"/>
                    <a:pt x="34" y="813"/>
                  </a:cubicBezTo>
                  <a:cubicBezTo>
                    <a:pt x="35" y="817"/>
                    <a:pt x="35" y="817"/>
                    <a:pt x="35" y="817"/>
                  </a:cubicBezTo>
                  <a:cubicBezTo>
                    <a:pt x="43" y="813"/>
                    <a:pt x="43" y="813"/>
                    <a:pt x="43" y="813"/>
                  </a:cubicBezTo>
                  <a:cubicBezTo>
                    <a:pt x="50" y="814"/>
                    <a:pt x="50" y="814"/>
                    <a:pt x="50" y="814"/>
                  </a:cubicBezTo>
                  <a:cubicBezTo>
                    <a:pt x="44" y="815"/>
                    <a:pt x="44" y="815"/>
                    <a:pt x="44" y="815"/>
                  </a:cubicBezTo>
                  <a:cubicBezTo>
                    <a:pt x="38" y="819"/>
                    <a:pt x="38" y="819"/>
                    <a:pt x="38" y="819"/>
                  </a:cubicBezTo>
                  <a:cubicBezTo>
                    <a:pt x="38" y="822"/>
                    <a:pt x="38" y="822"/>
                    <a:pt x="38" y="822"/>
                  </a:cubicBezTo>
                  <a:cubicBezTo>
                    <a:pt x="30" y="816"/>
                    <a:pt x="30" y="816"/>
                    <a:pt x="30" y="816"/>
                  </a:cubicBezTo>
                  <a:cubicBezTo>
                    <a:pt x="25" y="820"/>
                    <a:pt x="25" y="820"/>
                    <a:pt x="25" y="820"/>
                  </a:cubicBezTo>
                  <a:cubicBezTo>
                    <a:pt x="25" y="814"/>
                    <a:pt x="25" y="814"/>
                    <a:pt x="25" y="814"/>
                  </a:cubicBezTo>
                  <a:cubicBezTo>
                    <a:pt x="19" y="812"/>
                    <a:pt x="19" y="812"/>
                    <a:pt x="19" y="812"/>
                  </a:cubicBezTo>
                  <a:cubicBezTo>
                    <a:pt x="20" y="820"/>
                    <a:pt x="20" y="820"/>
                    <a:pt x="20" y="820"/>
                  </a:cubicBezTo>
                  <a:cubicBezTo>
                    <a:pt x="18" y="821"/>
                    <a:pt x="18" y="821"/>
                    <a:pt x="18" y="821"/>
                  </a:cubicBezTo>
                  <a:cubicBezTo>
                    <a:pt x="17" y="824"/>
                    <a:pt x="17" y="824"/>
                    <a:pt x="17" y="824"/>
                  </a:cubicBezTo>
                  <a:cubicBezTo>
                    <a:pt x="14" y="829"/>
                    <a:pt x="14" y="829"/>
                    <a:pt x="14" y="829"/>
                  </a:cubicBezTo>
                  <a:cubicBezTo>
                    <a:pt x="14" y="829"/>
                    <a:pt x="18" y="841"/>
                    <a:pt x="23" y="844"/>
                  </a:cubicBezTo>
                  <a:cubicBezTo>
                    <a:pt x="26" y="847"/>
                    <a:pt x="29" y="849"/>
                    <a:pt x="31" y="853"/>
                  </a:cubicBezTo>
                  <a:cubicBezTo>
                    <a:pt x="33" y="857"/>
                    <a:pt x="49" y="863"/>
                    <a:pt x="49" y="863"/>
                  </a:cubicBezTo>
                  <a:cubicBezTo>
                    <a:pt x="50" y="866"/>
                    <a:pt x="50" y="866"/>
                    <a:pt x="50" y="866"/>
                  </a:cubicBezTo>
                  <a:cubicBezTo>
                    <a:pt x="53" y="862"/>
                    <a:pt x="53" y="862"/>
                    <a:pt x="53" y="862"/>
                  </a:cubicBezTo>
                  <a:cubicBezTo>
                    <a:pt x="58" y="865"/>
                    <a:pt x="58" y="865"/>
                    <a:pt x="58" y="865"/>
                  </a:cubicBezTo>
                  <a:cubicBezTo>
                    <a:pt x="48" y="872"/>
                    <a:pt x="48" y="872"/>
                    <a:pt x="48" y="872"/>
                  </a:cubicBezTo>
                  <a:cubicBezTo>
                    <a:pt x="50" y="876"/>
                    <a:pt x="50" y="876"/>
                    <a:pt x="50" y="876"/>
                  </a:cubicBezTo>
                  <a:cubicBezTo>
                    <a:pt x="58" y="876"/>
                    <a:pt x="58" y="876"/>
                    <a:pt x="58" y="876"/>
                  </a:cubicBezTo>
                  <a:cubicBezTo>
                    <a:pt x="56" y="873"/>
                    <a:pt x="56" y="873"/>
                    <a:pt x="56" y="873"/>
                  </a:cubicBezTo>
                  <a:cubicBezTo>
                    <a:pt x="60" y="871"/>
                    <a:pt x="60" y="871"/>
                    <a:pt x="60" y="871"/>
                  </a:cubicBezTo>
                  <a:cubicBezTo>
                    <a:pt x="65" y="873"/>
                    <a:pt x="65" y="873"/>
                    <a:pt x="65" y="873"/>
                  </a:cubicBezTo>
                  <a:cubicBezTo>
                    <a:pt x="60" y="875"/>
                    <a:pt x="60" y="875"/>
                    <a:pt x="60" y="875"/>
                  </a:cubicBezTo>
                  <a:cubicBezTo>
                    <a:pt x="64" y="879"/>
                    <a:pt x="64" y="879"/>
                    <a:pt x="64" y="879"/>
                  </a:cubicBezTo>
                  <a:cubicBezTo>
                    <a:pt x="68" y="877"/>
                    <a:pt x="68" y="877"/>
                    <a:pt x="68" y="877"/>
                  </a:cubicBezTo>
                  <a:cubicBezTo>
                    <a:pt x="68" y="877"/>
                    <a:pt x="74" y="880"/>
                    <a:pt x="80" y="880"/>
                  </a:cubicBezTo>
                  <a:cubicBezTo>
                    <a:pt x="85" y="880"/>
                    <a:pt x="88" y="878"/>
                    <a:pt x="92" y="877"/>
                  </a:cubicBezTo>
                  <a:cubicBezTo>
                    <a:pt x="96" y="876"/>
                    <a:pt x="101" y="870"/>
                    <a:pt x="101" y="870"/>
                  </a:cubicBezTo>
                  <a:cubicBezTo>
                    <a:pt x="101" y="877"/>
                    <a:pt x="101" y="877"/>
                    <a:pt x="101" y="877"/>
                  </a:cubicBezTo>
                  <a:cubicBezTo>
                    <a:pt x="124" y="857"/>
                    <a:pt x="124" y="857"/>
                    <a:pt x="124" y="857"/>
                  </a:cubicBezTo>
                  <a:cubicBezTo>
                    <a:pt x="124" y="853"/>
                    <a:pt x="124" y="853"/>
                    <a:pt x="124" y="853"/>
                  </a:cubicBezTo>
                  <a:cubicBezTo>
                    <a:pt x="142" y="839"/>
                    <a:pt x="142" y="839"/>
                    <a:pt x="142" y="839"/>
                  </a:cubicBezTo>
                  <a:cubicBezTo>
                    <a:pt x="141" y="835"/>
                    <a:pt x="141" y="835"/>
                    <a:pt x="141" y="835"/>
                  </a:cubicBezTo>
                  <a:cubicBezTo>
                    <a:pt x="145" y="836"/>
                    <a:pt x="145" y="836"/>
                    <a:pt x="145" y="836"/>
                  </a:cubicBezTo>
                  <a:cubicBezTo>
                    <a:pt x="150" y="830"/>
                    <a:pt x="150" y="830"/>
                    <a:pt x="150" y="830"/>
                  </a:cubicBezTo>
                  <a:cubicBezTo>
                    <a:pt x="146" y="828"/>
                    <a:pt x="146" y="828"/>
                    <a:pt x="146" y="828"/>
                  </a:cubicBezTo>
                  <a:cubicBezTo>
                    <a:pt x="161" y="817"/>
                    <a:pt x="161" y="817"/>
                    <a:pt x="161" y="817"/>
                  </a:cubicBezTo>
                  <a:cubicBezTo>
                    <a:pt x="156" y="810"/>
                    <a:pt x="156" y="810"/>
                    <a:pt x="156" y="810"/>
                  </a:cubicBezTo>
                  <a:cubicBezTo>
                    <a:pt x="159" y="812"/>
                    <a:pt x="159" y="812"/>
                    <a:pt x="159" y="812"/>
                  </a:cubicBezTo>
                  <a:cubicBezTo>
                    <a:pt x="167" y="821"/>
                    <a:pt x="167" y="821"/>
                    <a:pt x="167" y="821"/>
                  </a:cubicBezTo>
                  <a:cubicBezTo>
                    <a:pt x="180" y="817"/>
                    <a:pt x="180" y="817"/>
                    <a:pt x="180" y="817"/>
                  </a:cubicBezTo>
                  <a:cubicBezTo>
                    <a:pt x="181" y="805"/>
                    <a:pt x="181" y="805"/>
                    <a:pt x="181" y="805"/>
                  </a:cubicBezTo>
                  <a:cubicBezTo>
                    <a:pt x="184" y="808"/>
                    <a:pt x="184" y="808"/>
                    <a:pt x="184" y="808"/>
                  </a:cubicBezTo>
                  <a:cubicBezTo>
                    <a:pt x="188" y="806"/>
                    <a:pt x="188" y="806"/>
                    <a:pt x="188" y="806"/>
                  </a:cubicBezTo>
                  <a:cubicBezTo>
                    <a:pt x="186" y="803"/>
                    <a:pt x="186" y="803"/>
                    <a:pt x="186" y="803"/>
                  </a:cubicBezTo>
                  <a:cubicBezTo>
                    <a:pt x="189" y="803"/>
                    <a:pt x="189" y="803"/>
                    <a:pt x="189" y="803"/>
                  </a:cubicBezTo>
                  <a:cubicBezTo>
                    <a:pt x="188" y="791"/>
                    <a:pt x="188" y="791"/>
                    <a:pt x="188" y="791"/>
                  </a:cubicBezTo>
                  <a:cubicBezTo>
                    <a:pt x="182" y="789"/>
                    <a:pt x="182" y="789"/>
                    <a:pt x="182" y="789"/>
                  </a:cubicBezTo>
                  <a:cubicBezTo>
                    <a:pt x="179" y="782"/>
                    <a:pt x="179" y="782"/>
                    <a:pt x="179" y="782"/>
                  </a:cubicBezTo>
                  <a:cubicBezTo>
                    <a:pt x="183" y="785"/>
                    <a:pt x="183" y="785"/>
                    <a:pt x="183" y="785"/>
                  </a:cubicBezTo>
                  <a:cubicBezTo>
                    <a:pt x="183" y="776"/>
                    <a:pt x="183" y="776"/>
                    <a:pt x="183" y="776"/>
                  </a:cubicBezTo>
                  <a:cubicBezTo>
                    <a:pt x="178" y="771"/>
                    <a:pt x="178" y="771"/>
                    <a:pt x="178" y="771"/>
                  </a:cubicBezTo>
                  <a:cubicBezTo>
                    <a:pt x="181" y="770"/>
                    <a:pt x="181" y="770"/>
                    <a:pt x="181" y="770"/>
                  </a:cubicBezTo>
                  <a:cubicBezTo>
                    <a:pt x="186" y="773"/>
                    <a:pt x="186" y="773"/>
                    <a:pt x="186" y="773"/>
                  </a:cubicBezTo>
                  <a:cubicBezTo>
                    <a:pt x="186" y="785"/>
                    <a:pt x="186" y="785"/>
                    <a:pt x="186" y="785"/>
                  </a:cubicBezTo>
                  <a:cubicBezTo>
                    <a:pt x="186" y="785"/>
                    <a:pt x="191" y="784"/>
                    <a:pt x="192" y="781"/>
                  </a:cubicBezTo>
                  <a:cubicBezTo>
                    <a:pt x="192" y="776"/>
                    <a:pt x="189" y="773"/>
                    <a:pt x="189" y="773"/>
                  </a:cubicBezTo>
                  <a:cubicBezTo>
                    <a:pt x="189" y="773"/>
                    <a:pt x="189" y="767"/>
                    <a:pt x="190" y="762"/>
                  </a:cubicBezTo>
                  <a:cubicBezTo>
                    <a:pt x="190" y="758"/>
                    <a:pt x="197" y="759"/>
                    <a:pt x="199" y="762"/>
                  </a:cubicBezTo>
                  <a:cubicBezTo>
                    <a:pt x="200" y="765"/>
                    <a:pt x="197" y="769"/>
                    <a:pt x="197" y="769"/>
                  </a:cubicBezTo>
                  <a:cubicBezTo>
                    <a:pt x="195" y="764"/>
                    <a:pt x="195" y="764"/>
                    <a:pt x="195" y="764"/>
                  </a:cubicBezTo>
                  <a:cubicBezTo>
                    <a:pt x="193" y="769"/>
                    <a:pt x="193" y="769"/>
                    <a:pt x="193" y="769"/>
                  </a:cubicBezTo>
                  <a:cubicBezTo>
                    <a:pt x="194" y="776"/>
                    <a:pt x="194" y="776"/>
                    <a:pt x="194" y="776"/>
                  </a:cubicBezTo>
                  <a:cubicBezTo>
                    <a:pt x="194" y="788"/>
                    <a:pt x="194" y="788"/>
                    <a:pt x="194" y="788"/>
                  </a:cubicBezTo>
                  <a:cubicBezTo>
                    <a:pt x="192" y="789"/>
                    <a:pt x="192" y="789"/>
                    <a:pt x="192" y="789"/>
                  </a:cubicBezTo>
                  <a:cubicBezTo>
                    <a:pt x="195" y="800"/>
                    <a:pt x="195" y="800"/>
                    <a:pt x="195" y="800"/>
                  </a:cubicBezTo>
                  <a:cubicBezTo>
                    <a:pt x="198" y="798"/>
                    <a:pt x="198" y="798"/>
                    <a:pt x="198" y="798"/>
                  </a:cubicBezTo>
                  <a:cubicBezTo>
                    <a:pt x="199" y="809"/>
                    <a:pt x="199" y="809"/>
                    <a:pt x="199" y="809"/>
                  </a:cubicBezTo>
                  <a:cubicBezTo>
                    <a:pt x="208" y="810"/>
                    <a:pt x="208" y="810"/>
                    <a:pt x="208" y="810"/>
                  </a:cubicBezTo>
                  <a:cubicBezTo>
                    <a:pt x="211" y="808"/>
                    <a:pt x="211" y="808"/>
                    <a:pt x="211" y="808"/>
                  </a:cubicBezTo>
                  <a:cubicBezTo>
                    <a:pt x="212" y="814"/>
                    <a:pt x="212" y="814"/>
                    <a:pt x="212" y="814"/>
                  </a:cubicBezTo>
                  <a:cubicBezTo>
                    <a:pt x="212" y="814"/>
                    <a:pt x="220" y="809"/>
                    <a:pt x="221" y="814"/>
                  </a:cubicBezTo>
                  <a:cubicBezTo>
                    <a:pt x="222" y="819"/>
                    <a:pt x="219" y="828"/>
                    <a:pt x="223" y="828"/>
                  </a:cubicBezTo>
                  <a:cubicBezTo>
                    <a:pt x="227" y="828"/>
                    <a:pt x="228" y="822"/>
                    <a:pt x="230" y="815"/>
                  </a:cubicBezTo>
                  <a:cubicBezTo>
                    <a:pt x="232" y="808"/>
                    <a:pt x="236" y="800"/>
                    <a:pt x="236" y="800"/>
                  </a:cubicBezTo>
                  <a:cubicBezTo>
                    <a:pt x="236" y="800"/>
                    <a:pt x="227" y="782"/>
                    <a:pt x="230" y="780"/>
                  </a:cubicBezTo>
                  <a:cubicBezTo>
                    <a:pt x="232" y="776"/>
                    <a:pt x="238" y="777"/>
                    <a:pt x="238" y="773"/>
                  </a:cubicBezTo>
                  <a:cubicBezTo>
                    <a:pt x="239" y="768"/>
                    <a:pt x="232" y="767"/>
                    <a:pt x="237" y="764"/>
                  </a:cubicBezTo>
                  <a:cubicBezTo>
                    <a:pt x="241" y="760"/>
                    <a:pt x="252" y="766"/>
                    <a:pt x="256" y="754"/>
                  </a:cubicBezTo>
                  <a:cubicBezTo>
                    <a:pt x="259" y="741"/>
                    <a:pt x="255" y="738"/>
                    <a:pt x="256" y="734"/>
                  </a:cubicBezTo>
                  <a:cubicBezTo>
                    <a:pt x="257" y="729"/>
                    <a:pt x="265" y="733"/>
                    <a:pt x="262" y="725"/>
                  </a:cubicBezTo>
                  <a:cubicBezTo>
                    <a:pt x="260" y="718"/>
                    <a:pt x="254" y="704"/>
                    <a:pt x="254" y="704"/>
                  </a:cubicBezTo>
                  <a:cubicBezTo>
                    <a:pt x="252" y="695"/>
                    <a:pt x="252" y="695"/>
                    <a:pt x="252" y="695"/>
                  </a:cubicBezTo>
                  <a:cubicBezTo>
                    <a:pt x="247" y="689"/>
                    <a:pt x="247" y="689"/>
                    <a:pt x="247" y="689"/>
                  </a:cubicBezTo>
                  <a:cubicBezTo>
                    <a:pt x="256" y="686"/>
                    <a:pt x="256" y="686"/>
                    <a:pt x="256" y="686"/>
                  </a:cubicBezTo>
                  <a:cubicBezTo>
                    <a:pt x="256" y="686"/>
                    <a:pt x="264" y="692"/>
                    <a:pt x="266" y="680"/>
                  </a:cubicBezTo>
                  <a:cubicBezTo>
                    <a:pt x="270" y="668"/>
                    <a:pt x="269" y="664"/>
                    <a:pt x="265" y="660"/>
                  </a:cubicBezTo>
                  <a:cubicBezTo>
                    <a:pt x="261" y="657"/>
                    <a:pt x="256" y="654"/>
                    <a:pt x="256" y="654"/>
                  </a:cubicBezTo>
                  <a:cubicBezTo>
                    <a:pt x="246" y="644"/>
                    <a:pt x="246" y="644"/>
                    <a:pt x="246" y="644"/>
                  </a:cubicBezTo>
                  <a:cubicBezTo>
                    <a:pt x="252" y="609"/>
                    <a:pt x="252" y="609"/>
                    <a:pt x="252" y="609"/>
                  </a:cubicBezTo>
                  <a:cubicBezTo>
                    <a:pt x="244" y="586"/>
                    <a:pt x="244" y="586"/>
                    <a:pt x="244" y="586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4" y="567"/>
                    <a:pt x="244" y="567"/>
                    <a:pt x="244" y="567"/>
                  </a:cubicBezTo>
                  <a:cubicBezTo>
                    <a:pt x="248" y="561"/>
                    <a:pt x="248" y="561"/>
                    <a:pt x="248" y="561"/>
                  </a:cubicBezTo>
                  <a:cubicBezTo>
                    <a:pt x="241" y="542"/>
                    <a:pt x="241" y="542"/>
                    <a:pt x="241" y="542"/>
                  </a:cubicBezTo>
                  <a:cubicBezTo>
                    <a:pt x="249" y="531"/>
                    <a:pt x="249" y="531"/>
                    <a:pt x="249" y="531"/>
                  </a:cubicBezTo>
                  <a:cubicBezTo>
                    <a:pt x="246" y="522"/>
                    <a:pt x="246" y="522"/>
                    <a:pt x="246" y="522"/>
                  </a:cubicBezTo>
                  <a:cubicBezTo>
                    <a:pt x="246" y="522"/>
                    <a:pt x="258" y="494"/>
                    <a:pt x="270" y="491"/>
                  </a:cubicBezTo>
                  <a:cubicBezTo>
                    <a:pt x="280" y="488"/>
                    <a:pt x="300" y="494"/>
                    <a:pt x="300" y="494"/>
                  </a:cubicBezTo>
                  <a:cubicBezTo>
                    <a:pt x="305" y="482"/>
                    <a:pt x="305" y="482"/>
                    <a:pt x="305" y="48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309" y="425"/>
                    <a:pt x="309" y="425"/>
                    <a:pt x="309" y="425"/>
                  </a:cubicBezTo>
                  <a:cubicBezTo>
                    <a:pt x="310" y="415"/>
                    <a:pt x="310" y="415"/>
                    <a:pt x="310" y="415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3" y="390"/>
                    <a:pt x="313" y="390"/>
                    <a:pt x="313" y="390"/>
                  </a:cubicBezTo>
                  <a:cubicBezTo>
                    <a:pt x="315" y="378"/>
                    <a:pt x="315" y="378"/>
                    <a:pt x="315" y="378"/>
                  </a:cubicBezTo>
                  <a:cubicBezTo>
                    <a:pt x="311" y="358"/>
                    <a:pt x="311" y="358"/>
                    <a:pt x="311" y="358"/>
                  </a:cubicBezTo>
                  <a:cubicBezTo>
                    <a:pt x="324" y="356"/>
                    <a:pt x="324" y="356"/>
                    <a:pt x="324" y="356"/>
                  </a:cubicBezTo>
                  <a:cubicBezTo>
                    <a:pt x="337" y="346"/>
                    <a:pt x="337" y="346"/>
                    <a:pt x="337" y="346"/>
                  </a:cubicBezTo>
                  <a:cubicBezTo>
                    <a:pt x="334" y="333"/>
                    <a:pt x="334" y="333"/>
                    <a:pt x="334" y="333"/>
                  </a:cubicBezTo>
                  <a:cubicBezTo>
                    <a:pt x="334" y="333"/>
                    <a:pt x="339" y="332"/>
                    <a:pt x="341" y="326"/>
                  </a:cubicBezTo>
                  <a:cubicBezTo>
                    <a:pt x="343" y="319"/>
                    <a:pt x="341" y="314"/>
                    <a:pt x="347" y="308"/>
                  </a:cubicBezTo>
                  <a:cubicBezTo>
                    <a:pt x="355" y="300"/>
                    <a:pt x="361" y="298"/>
                    <a:pt x="359" y="292"/>
                  </a:cubicBezTo>
                  <a:cubicBezTo>
                    <a:pt x="358" y="284"/>
                    <a:pt x="351" y="273"/>
                    <a:pt x="351" y="273"/>
                  </a:cubicBezTo>
                  <a:cubicBezTo>
                    <a:pt x="351" y="266"/>
                    <a:pt x="351" y="266"/>
                    <a:pt x="351" y="266"/>
                  </a:cubicBezTo>
                  <a:cubicBezTo>
                    <a:pt x="351" y="266"/>
                    <a:pt x="359" y="268"/>
                    <a:pt x="360" y="263"/>
                  </a:cubicBezTo>
                  <a:cubicBezTo>
                    <a:pt x="360" y="258"/>
                    <a:pt x="364" y="241"/>
                    <a:pt x="364" y="241"/>
                  </a:cubicBezTo>
                  <a:cubicBezTo>
                    <a:pt x="378" y="226"/>
                    <a:pt x="378" y="226"/>
                    <a:pt x="378" y="226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4" y="234"/>
                    <a:pt x="397" y="223"/>
                    <a:pt x="399" y="218"/>
                  </a:cubicBezTo>
                  <a:cubicBezTo>
                    <a:pt x="400" y="213"/>
                    <a:pt x="397" y="198"/>
                    <a:pt x="397" y="198"/>
                  </a:cubicBezTo>
                  <a:cubicBezTo>
                    <a:pt x="405" y="193"/>
                    <a:pt x="405" y="193"/>
                    <a:pt x="405" y="193"/>
                  </a:cubicBezTo>
                  <a:cubicBezTo>
                    <a:pt x="409" y="198"/>
                    <a:pt x="409" y="198"/>
                    <a:pt x="409" y="198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43" y="205"/>
                    <a:pt x="443" y="205"/>
                    <a:pt x="443" y="205"/>
                  </a:cubicBezTo>
                  <a:cubicBezTo>
                    <a:pt x="450" y="195"/>
                    <a:pt x="450" y="195"/>
                    <a:pt x="450" y="195"/>
                  </a:cubicBezTo>
                  <a:cubicBezTo>
                    <a:pt x="442" y="191"/>
                    <a:pt x="442" y="191"/>
                    <a:pt x="442" y="191"/>
                  </a:cubicBezTo>
                  <a:cubicBezTo>
                    <a:pt x="442" y="191"/>
                    <a:pt x="450" y="182"/>
                    <a:pt x="449" y="174"/>
                  </a:cubicBezTo>
                  <a:cubicBezTo>
                    <a:pt x="448" y="168"/>
                    <a:pt x="441" y="159"/>
                    <a:pt x="441" y="159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5" y="154"/>
                    <a:pt x="455" y="154"/>
                    <a:pt x="455" y="154"/>
                  </a:cubicBezTo>
                  <a:cubicBezTo>
                    <a:pt x="455" y="154"/>
                    <a:pt x="464" y="159"/>
                    <a:pt x="466" y="157"/>
                  </a:cubicBezTo>
                  <a:cubicBezTo>
                    <a:pt x="467" y="155"/>
                    <a:pt x="459" y="148"/>
                    <a:pt x="465" y="144"/>
                  </a:cubicBezTo>
                  <a:cubicBezTo>
                    <a:pt x="469" y="139"/>
                    <a:pt x="478" y="142"/>
                    <a:pt x="478" y="142"/>
                  </a:cubicBezTo>
                  <a:cubicBezTo>
                    <a:pt x="478" y="142"/>
                    <a:pt x="485" y="152"/>
                    <a:pt x="490" y="157"/>
                  </a:cubicBezTo>
                  <a:cubicBezTo>
                    <a:pt x="497" y="163"/>
                    <a:pt x="499" y="172"/>
                    <a:pt x="499" y="172"/>
                  </a:cubicBezTo>
                  <a:cubicBezTo>
                    <a:pt x="504" y="171"/>
                    <a:pt x="504" y="171"/>
                    <a:pt x="504" y="171"/>
                  </a:cubicBezTo>
                  <a:cubicBezTo>
                    <a:pt x="515" y="171"/>
                    <a:pt x="515" y="171"/>
                    <a:pt x="515" y="171"/>
                  </a:cubicBezTo>
                  <a:cubicBezTo>
                    <a:pt x="522" y="175"/>
                    <a:pt x="522" y="175"/>
                    <a:pt x="522" y="175"/>
                  </a:cubicBezTo>
                  <a:cubicBezTo>
                    <a:pt x="531" y="169"/>
                    <a:pt x="531" y="169"/>
                    <a:pt x="531" y="169"/>
                  </a:cubicBezTo>
                  <a:cubicBezTo>
                    <a:pt x="531" y="169"/>
                    <a:pt x="533" y="161"/>
                    <a:pt x="539" y="161"/>
                  </a:cubicBezTo>
                  <a:cubicBezTo>
                    <a:pt x="544" y="161"/>
                    <a:pt x="546" y="166"/>
                    <a:pt x="546" y="166"/>
                  </a:cubicBezTo>
                  <a:cubicBezTo>
                    <a:pt x="558" y="167"/>
                    <a:pt x="558" y="167"/>
                    <a:pt x="558" y="167"/>
                  </a:cubicBezTo>
                  <a:cubicBezTo>
                    <a:pt x="565" y="174"/>
                    <a:pt x="565" y="174"/>
                    <a:pt x="565" y="174"/>
                  </a:cubicBezTo>
                  <a:cubicBezTo>
                    <a:pt x="565" y="174"/>
                    <a:pt x="567" y="161"/>
                    <a:pt x="570" y="157"/>
                  </a:cubicBezTo>
                  <a:cubicBezTo>
                    <a:pt x="572" y="154"/>
                    <a:pt x="575" y="150"/>
                    <a:pt x="575" y="144"/>
                  </a:cubicBezTo>
                  <a:cubicBezTo>
                    <a:pt x="574" y="139"/>
                    <a:pt x="572" y="130"/>
                    <a:pt x="572" y="130"/>
                  </a:cubicBezTo>
                  <a:cubicBezTo>
                    <a:pt x="574" y="97"/>
                    <a:pt x="574" y="97"/>
                    <a:pt x="574" y="97"/>
                  </a:cubicBezTo>
                  <a:cubicBezTo>
                    <a:pt x="577" y="93"/>
                    <a:pt x="577" y="93"/>
                    <a:pt x="577" y="93"/>
                  </a:cubicBezTo>
                  <a:cubicBezTo>
                    <a:pt x="577" y="93"/>
                    <a:pt x="576" y="81"/>
                    <a:pt x="582" y="79"/>
                  </a:cubicBezTo>
                  <a:cubicBezTo>
                    <a:pt x="588" y="76"/>
                    <a:pt x="595" y="78"/>
                    <a:pt x="595" y="78"/>
                  </a:cubicBezTo>
                  <a:cubicBezTo>
                    <a:pt x="595" y="78"/>
                    <a:pt x="604" y="66"/>
                    <a:pt x="610" y="65"/>
                  </a:cubicBezTo>
                  <a:cubicBezTo>
                    <a:pt x="616" y="64"/>
                    <a:pt x="625" y="77"/>
                    <a:pt x="625" y="77"/>
                  </a:cubicBezTo>
                  <a:cubicBezTo>
                    <a:pt x="648" y="80"/>
                    <a:pt x="648" y="80"/>
                    <a:pt x="648" y="80"/>
                  </a:cubicBezTo>
                  <a:cubicBezTo>
                    <a:pt x="655" y="91"/>
                    <a:pt x="655" y="91"/>
                    <a:pt x="655" y="91"/>
                  </a:cubicBezTo>
                  <a:cubicBezTo>
                    <a:pt x="655" y="91"/>
                    <a:pt x="647" y="105"/>
                    <a:pt x="647" y="110"/>
                  </a:cubicBezTo>
                  <a:cubicBezTo>
                    <a:pt x="647" y="116"/>
                    <a:pt x="650" y="121"/>
                    <a:pt x="650" y="121"/>
                  </a:cubicBezTo>
                  <a:cubicBezTo>
                    <a:pt x="650" y="121"/>
                    <a:pt x="654" y="125"/>
                    <a:pt x="656" y="123"/>
                  </a:cubicBezTo>
                  <a:cubicBezTo>
                    <a:pt x="659" y="121"/>
                    <a:pt x="658" y="107"/>
                    <a:pt x="658" y="107"/>
                  </a:cubicBezTo>
                  <a:cubicBezTo>
                    <a:pt x="658" y="107"/>
                    <a:pt x="655" y="108"/>
                    <a:pt x="656" y="105"/>
                  </a:cubicBezTo>
                  <a:cubicBezTo>
                    <a:pt x="657" y="102"/>
                    <a:pt x="661" y="102"/>
                    <a:pt x="663" y="100"/>
                  </a:cubicBezTo>
                  <a:cubicBezTo>
                    <a:pt x="666" y="98"/>
                    <a:pt x="665" y="93"/>
                    <a:pt x="666" y="93"/>
                  </a:cubicBezTo>
                  <a:cubicBezTo>
                    <a:pt x="668" y="92"/>
                    <a:pt x="674" y="94"/>
                    <a:pt x="674" y="90"/>
                  </a:cubicBezTo>
                  <a:cubicBezTo>
                    <a:pt x="674" y="85"/>
                    <a:pt x="669" y="78"/>
                    <a:pt x="669" y="78"/>
                  </a:cubicBezTo>
                  <a:cubicBezTo>
                    <a:pt x="669" y="78"/>
                    <a:pt x="673" y="78"/>
                    <a:pt x="675" y="79"/>
                  </a:cubicBezTo>
                  <a:cubicBezTo>
                    <a:pt x="678" y="79"/>
                    <a:pt x="685" y="87"/>
                    <a:pt x="687" y="80"/>
                  </a:cubicBezTo>
                  <a:cubicBezTo>
                    <a:pt x="690" y="74"/>
                    <a:pt x="685" y="71"/>
                    <a:pt x="685" y="71"/>
                  </a:cubicBezTo>
                  <a:close/>
                  <a:moveTo>
                    <a:pt x="8" y="787"/>
                  </a:moveTo>
                  <a:cubicBezTo>
                    <a:pt x="8" y="787"/>
                    <a:pt x="7" y="793"/>
                    <a:pt x="8" y="794"/>
                  </a:cubicBezTo>
                  <a:cubicBezTo>
                    <a:pt x="9" y="796"/>
                    <a:pt x="6" y="800"/>
                    <a:pt x="6" y="800"/>
                  </a:cubicBezTo>
                  <a:cubicBezTo>
                    <a:pt x="9" y="800"/>
                    <a:pt x="9" y="800"/>
                    <a:pt x="9" y="800"/>
                  </a:cubicBezTo>
                  <a:cubicBezTo>
                    <a:pt x="11" y="798"/>
                    <a:pt x="11" y="798"/>
                    <a:pt x="11" y="798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0" y="785"/>
                    <a:pt x="10" y="785"/>
                    <a:pt x="10" y="785"/>
                  </a:cubicBezTo>
                  <a:lnTo>
                    <a:pt x="8" y="787"/>
                  </a:lnTo>
                  <a:close/>
                  <a:moveTo>
                    <a:pt x="27" y="805"/>
                  </a:moveTo>
                  <a:cubicBezTo>
                    <a:pt x="18" y="803"/>
                    <a:pt x="18" y="803"/>
                    <a:pt x="18" y="803"/>
                  </a:cubicBezTo>
                  <a:cubicBezTo>
                    <a:pt x="26" y="808"/>
                    <a:pt x="26" y="808"/>
                    <a:pt x="26" y="808"/>
                  </a:cubicBezTo>
                  <a:lnTo>
                    <a:pt x="27" y="805"/>
                  </a:lnTo>
                  <a:close/>
                  <a:moveTo>
                    <a:pt x="36" y="794"/>
                  </a:moveTo>
                  <a:cubicBezTo>
                    <a:pt x="32" y="794"/>
                    <a:pt x="32" y="794"/>
                    <a:pt x="32" y="794"/>
                  </a:cubicBezTo>
                  <a:cubicBezTo>
                    <a:pt x="30" y="799"/>
                    <a:pt x="30" y="799"/>
                    <a:pt x="30" y="799"/>
                  </a:cubicBezTo>
                  <a:cubicBezTo>
                    <a:pt x="38" y="798"/>
                    <a:pt x="38" y="798"/>
                    <a:pt x="38" y="798"/>
                  </a:cubicBezTo>
                  <a:lnTo>
                    <a:pt x="36" y="794"/>
                  </a:lnTo>
                  <a:close/>
                  <a:moveTo>
                    <a:pt x="16" y="750"/>
                  </a:moveTo>
                  <a:cubicBezTo>
                    <a:pt x="16" y="753"/>
                    <a:pt x="16" y="753"/>
                    <a:pt x="16" y="753"/>
                  </a:cubicBezTo>
                  <a:cubicBezTo>
                    <a:pt x="14" y="754"/>
                    <a:pt x="14" y="754"/>
                    <a:pt x="14" y="754"/>
                  </a:cubicBezTo>
                  <a:cubicBezTo>
                    <a:pt x="14" y="754"/>
                    <a:pt x="16" y="762"/>
                    <a:pt x="20" y="762"/>
                  </a:cubicBezTo>
                  <a:cubicBezTo>
                    <a:pt x="26" y="762"/>
                    <a:pt x="22" y="753"/>
                    <a:pt x="22" y="753"/>
                  </a:cubicBezTo>
                  <a:cubicBezTo>
                    <a:pt x="17" y="750"/>
                    <a:pt x="17" y="750"/>
                    <a:pt x="17" y="750"/>
                  </a:cubicBezTo>
                  <a:lnTo>
                    <a:pt x="16" y="750"/>
                  </a:lnTo>
                  <a:close/>
                  <a:moveTo>
                    <a:pt x="15" y="768"/>
                  </a:moveTo>
                  <a:cubicBezTo>
                    <a:pt x="17" y="766"/>
                    <a:pt x="17" y="766"/>
                    <a:pt x="17" y="766"/>
                  </a:cubicBezTo>
                  <a:cubicBezTo>
                    <a:pt x="15" y="762"/>
                    <a:pt x="15" y="762"/>
                    <a:pt x="15" y="762"/>
                  </a:cubicBezTo>
                  <a:cubicBezTo>
                    <a:pt x="15" y="758"/>
                    <a:pt x="15" y="758"/>
                    <a:pt x="15" y="758"/>
                  </a:cubicBezTo>
                  <a:cubicBezTo>
                    <a:pt x="11" y="756"/>
                    <a:pt x="11" y="756"/>
                    <a:pt x="11" y="756"/>
                  </a:cubicBezTo>
                  <a:cubicBezTo>
                    <a:pt x="11" y="757"/>
                    <a:pt x="11" y="757"/>
                    <a:pt x="11" y="757"/>
                  </a:cubicBezTo>
                  <a:cubicBezTo>
                    <a:pt x="11" y="757"/>
                    <a:pt x="10" y="758"/>
                    <a:pt x="9" y="760"/>
                  </a:cubicBezTo>
                  <a:cubicBezTo>
                    <a:pt x="8" y="762"/>
                    <a:pt x="12" y="764"/>
                    <a:pt x="12" y="764"/>
                  </a:cubicBezTo>
                  <a:cubicBezTo>
                    <a:pt x="9" y="767"/>
                    <a:pt x="9" y="767"/>
                    <a:pt x="9" y="767"/>
                  </a:cubicBezTo>
                  <a:cubicBezTo>
                    <a:pt x="9" y="773"/>
                    <a:pt x="9" y="773"/>
                    <a:pt x="9" y="773"/>
                  </a:cubicBezTo>
                  <a:cubicBezTo>
                    <a:pt x="13" y="772"/>
                    <a:pt x="13" y="772"/>
                    <a:pt x="13" y="772"/>
                  </a:cubicBezTo>
                  <a:cubicBezTo>
                    <a:pt x="10" y="767"/>
                    <a:pt x="10" y="767"/>
                    <a:pt x="10" y="767"/>
                  </a:cubicBezTo>
                  <a:cubicBezTo>
                    <a:pt x="14" y="764"/>
                    <a:pt x="14" y="764"/>
                    <a:pt x="14" y="764"/>
                  </a:cubicBezTo>
                  <a:cubicBezTo>
                    <a:pt x="15" y="764"/>
                    <a:pt x="15" y="764"/>
                    <a:pt x="15" y="764"/>
                  </a:cubicBezTo>
                  <a:cubicBezTo>
                    <a:pt x="14" y="766"/>
                    <a:pt x="14" y="766"/>
                    <a:pt x="14" y="766"/>
                  </a:cubicBezTo>
                  <a:lnTo>
                    <a:pt x="15" y="768"/>
                  </a:lnTo>
                  <a:close/>
                  <a:moveTo>
                    <a:pt x="29" y="766"/>
                  </a:moveTo>
                  <a:cubicBezTo>
                    <a:pt x="33" y="764"/>
                    <a:pt x="33" y="764"/>
                    <a:pt x="33" y="764"/>
                  </a:cubicBezTo>
                  <a:cubicBezTo>
                    <a:pt x="27" y="759"/>
                    <a:pt x="27" y="759"/>
                    <a:pt x="27" y="759"/>
                  </a:cubicBezTo>
                  <a:cubicBezTo>
                    <a:pt x="25" y="761"/>
                    <a:pt x="25" y="761"/>
                    <a:pt x="25" y="761"/>
                  </a:cubicBezTo>
                  <a:lnTo>
                    <a:pt x="29" y="766"/>
                  </a:lnTo>
                  <a:close/>
                  <a:moveTo>
                    <a:pt x="28" y="743"/>
                  </a:moveTo>
                  <a:cubicBezTo>
                    <a:pt x="23" y="744"/>
                    <a:pt x="23" y="744"/>
                    <a:pt x="23" y="744"/>
                  </a:cubicBezTo>
                  <a:cubicBezTo>
                    <a:pt x="23" y="747"/>
                    <a:pt x="23" y="747"/>
                    <a:pt x="23" y="747"/>
                  </a:cubicBezTo>
                  <a:cubicBezTo>
                    <a:pt x="20" y="749"/>
                    <a:pt x="20" y="749"/>
                    <a:pt x="20" y="749"/>
                  </a:cubicBezTo>
                  <a:cubicBezTo>
                    <a:pt x="23" y="751"/>
                    <a:pt x="23" y="751"/>
                    <a:pt x="23" y="751"/>
                  </a:cubicBezTo>
                  <a:cubicBezTo>
                    <a:pt x="25" y="754"/>
                    <a:pt x="25" y="754"/>
                    <a:pt x="25" y="754"/>
                  </a:cubicBezTo>
                  <a:cubicBezTo>
                    <a:pt x="27" y="754"/>
                    <a:pt x="27" y="754"/>
                    <a:pt x="27" y="754"/>
                  </a:cubicBezTo>
                  <a:cubicBezTo>
                    <a:pt x="27" y="751"/>
                    <a:pt x="27" y="751"/>
                    <a:pt x="27" y="751"/>
                  </a:cubicBezTo>
                  <a:cubicBezTo>
                    <a:pt x="29" y="749"/>
                    <a:pt x="29" y="749"/>
                    <a:pt x="29" y="749"/>
                  </a:cubicBezTo>
                  <a:lnTo>
                    <a:pt x="28" y="743"/>
                  </a:lnTo>
                  <a:close/>
                  <a:moveTo>
                    <a:pt x="19" y="743"/>
                  </a:moveTo>
                  <a:cubicBezTo>
                    <a:pt x="16" y="746"/>
                    <a:pt x="19" y="747"/>
                    <a:pt x="20" y="746"/>
                  </a:cubicBezTo>
                  <a:cubicBezTo>
                    <a:pt x="23" y="744"/>
                    <a:pt x="22" y="740"/>
                    <a:pt x="19" y="743"/>
                  </a:cubicBezTo>
                  <a:close/>
                  <a:moveTo>
                    <a:pt x="10" y="738"/>
                  </a:moveTo>
                  <a:cubicBezTo>
                    <a:pt x="11" y="740"/>
                    <a:pt x="11" y="740"/>
                    <a:pt x="11" y="740"/>
                  </a:cubicBezTo>
                  <a:cubicBezTo>
                    <a:pt x="12" y="740"/>
                    <a:pt x="12" y="740"/>
                    <a:pt x="12" y="740"/>
                  </a:cubicBezTo>
                  <a:cubicBezTo>
                    <a:pt x="14" y="743"/>
                    <a:pt x="14" y="743"/>
                    <a:pt x="14" y="743"/>
                  </a:cubicBezTo>
                  <a:cubicBezTo>
                    <a:pt x="12" y="745"/>
                    <a:pt x="12" y="745"/>
                    <a:pt x="12" y="745"/>
                  </a:cubicBezTo>
                  <a:cubicBezTo>
                    <a:pt x="15" y="746"/>
                    <a:pt x="15" y="746"/>
                    <a:pt x="15" y="746"/>
                  </a:cubicBezTo>
                  <a:cubicBezTo>
                    <a:pt x="16" y="742"/>
                    <a:pt x="16" y="742"/>
                    <a:pt x="16" y="742"/>
                  </a:cubicBezTo>
                  <a:cubicBezTo>
                    <a:pt x="12" y="737"/>
                    <a:pt x="12" y="737"/>
                    <a:pt x="12" y="737"/>
                  </a:cubicBezTo>
                  <a:lnTo>
                    <a:pt x="10" y="738"/>
                  </a:lnTo>
                  <a:close/>
                  <a:moveTo>
                    <a:pt x="13" y="749"/>
                  </a:moveTo>
                  <a:cubicBezTo>
                    <a:pt x="11" y="746"/>
                    <a:pt x="11" y="746"/>
                    <a:pt x="11" y="746"/>
                  </a:cubicBezTo>
                  <a:cubicBezTo>
                    <a:pt x="8" y="749"/>
                    <a:pt x="8" y="749"/>
                    <a:pt x="8" y="749"/>
                  </a:cubicBezTo>
                  <a:cubicBezTo>
                    <a:pt x="9" y="751"/>
                    <a:pt x="9" y="751"/>
                    <a:pt x="9" y="751"/>
                  </a:cubicBezTo>
                  <a:lnTo>
                    <a:pt x="13" y="749"/>
                  </a:lnTo>
                  <a:close/>
                  <a:moveTo>
                    <a:pt x="41" y="738"/>
                  </a:moveTo>
                  <a:cubicBezTo>
                    <a:pt x="39" y="740"/>
                    <a:pt x="39" y="740"/>
                    <a:pt x="39" y="740"/>
                  </a:cubicBezTo>
                  <a:cubicBezTo>
                    <a:pt x="40" y="744"/>
                    <a:pt x="40" y="744"/>
                    <a:pt x="40" y="744"/>
                  </a:cubicBezTo>
                  <a:cubicBezTo>
                    <a:pt x="43" y="741"/>
                    <a:pt x="43" y="741"/>
                    <a:pt x="43" y="741"/>
                  </a:cubicBezTo>
                  <a:lnTo>
                    <a:pt x="41" y="738"/>
                  </a:lnTo>
                  <a:close/>
                  <a:moveTo>
                    <a:pt x="9" y="733"/>
                  </a:moveTo>
                  <a:cubicBezTo>
                    <a:pt x="11" y="734"/>
                    <a:pt x="13" y="734"/>
                    <a:pt x="13" y="734"/>
                  </a:cubicBezTo>
                  <a:cubicBezTo>
                    <a:pt x="11" y="729"/>
                    <a:pt x="11" y="729"/>
                    <a:pt x="11" y="729"/>
                  </a:cubicBezTo>
                  <a:cubicBezTo>
                    <a:pt x="13" y="727"/>
                    <a:pt x="13" y="727"/>
                    <a:pt x="13" y="727"/>
                  </a:cubicBezTo>
                  <a:cubicBezTo>
                    <a:pt x="10" y="719"/>
                    <a:pt x="10" y="719"/>
                    <a:pt x="10" y="719"/>
                  </a:cubicBezTo>
                  <a:cubicBezTo>
                    <a:pt x="9" y="722"/>
                    <a:pt x="9" y="722"/>
                    <a:pt x="9" y="722"/>
                  </a:cubicBezTo>
                  <a:cubicBezTo>
                    <a:pt x="11" y="726"/>
                    <a:pt x="11" y="726"/>
                    <a:pt x="11" y="726"/>
                  </a:cubicBezTo>
                  <a:cubicBezTo>
                    <a:pt x="7" y="727"/>
                    <a:pt x="7" y="727"/>
                    <a:pt x="7" y="727"/>
                  </a:cubicBezTo>
                  <a:cubicBezTo>
                    <a:pt x="7" y="727"/>
                    <a:pt x="7" y="731"/>
                    <a:pt x="9" y="733"/>
                  </a:cubicBezTo>
                  <a:close/>
                  <a:moveTo>
                    <a:pt x="16" y="715"/>
                  </a:moveTo>
                  <a:cubicBezTo>
                    <a:pt x="10" y="711"/>
                    <a:pt x="10" y="711"/>
                    <a:pt x="10" y="711"/>
                  </a:cubicBezTo>
                  <a:cubicBezTo>
                    <a:pt x="9" y="712"/>
                    <a:pt x="9" y="712"/>
                    <a:pt x="9" y="712"/>
                  </a:cubicBezTo>
                  <a:cubicBezTo>
                    <a:pt x="12" y="714"/>
                    <a:pt x="12" y="714"/>
                    <a:pt x="12" y="714"/>
                  </a:cubicBezTo>
                  <a:cubicBezTo>
                    <a:pt x="12" y="718"/>
                    <a:pt x="12" y="718"/>
                    <a:pt x="12" y="718"/>
                  </a:cubicBezTo>
                  <a:cubicBezTo>
                    <a:pt x="14" y="721"/>
                    <a:pt x="14" y="721"/>
                    <a:pt x="14" y="721"/>
                  </a:cubicBezTo>
                  <a:cubicBezTo>
                    <a:pt x="17" y="721"/>
                    <a:pt x="17" y="721"/>
                    <a:pt x="17" y="721"/>
                  </a:cubicBezTo>
                  <a:lnTo>
                    <a:pt x="16" y="715"/>
                  </a:lnTo>
                  <a:close/>
                  <a:moveTo>
                    <a:pt x="24" y="713"/>
                  </a:moveTo>
                  <a:cubicBezTo>
                    <a:pt x="28" y="719"/>
                    <a:pt x="28" y="719"/>
                    <a:pt x="28" y="719"/>
                  </a:cubicBezTo>
                  <a:cubicBezTo>
                    <a:pt x="32" y="717"/>
                    <a:pt x="32" y="717"/>
                    <a:pt x="32" y="717"/>
                  </a:cubicBezTo>
                  <a:cubicBezTo>
                    <a:pt x="34" y="706"/>
                    <a:pt x="34" y="706"/>
                    <a:pt x="34" y="706"/>
                  </a:cubicBezTo>
                  <a:cubicBezTo>
                    <a:pt x="33" y="705"/>
                    <a:pt x="33" y="705"/>
                    <a:pt x="33" y="705"/>
                  </a:cubicBezTo>
                  <a:cubicBezTo>
                    <a:pt x="29" y="710"/>
                    <a:pt x="29" y="710"/>
                    <a:pt x="29" y="710"/>
                  </a:cubicBezTo>
                  <a:cubicBezTo>
                    <a:pt x="29" y="710"/>
                    <a:pt x="28" y="710"/>
                    <a:pt x="26" y="711"/>
                  </a:cubicBezTo>
                  <a:cubicBezTo>
                    <a:pt x="24" y="711"/>
                    <a:pt x="24" y="713"/>
                    <a:pt x="24" y="713"/>
                  </a:cubicBezTo>
                  <a:close/>
                  <a:moveTo>
                    <a:pt x="22" y="703"/>
                  </a:moveTo>
                  <a:cubicBezTo>
                    <a:pt x="13" y="694"/>
                    <a:pt x="13" y="694"/>
                    <a:pt x="13" y="694"/>
                  </a:cubicBezTo>
                  <a:cubicBezTo>
                    <a:pt x="12" y="695"/>
                    <a:pt x="12" y="695"/>
                    <a:pt x="12" y="695"/>
                  </a:cubicBezTo>
                  <a:cubicBezTo>
                    <a:pt x="18" y="703"/>
                    <a:pt x="18" y="703"/>
                    <a:pt x="18" y="703"/>
                  </a:cubicBezTo>
                  <a:cubicBezTo>
                    <a:pt x="17" y="705"/>
                    <a:pt x="17" y="705"/>
                    <a:pt x="17" y="705"/>
                  </a:cubicBezTo>
                  <a:cubicBezTo>
                    <a:pt x="15" y="704"/>
                    <a:pt x="15" y="704"/>
                    <a:pt x="15" y="704"/>
                  </a:cubicBezTo>
                  <a:cubicBezTo>
                    <a:pt x="20" y="711"/>
                    <a:pt x="20" y="711"/>
                    <a:pt x="20" y="711"/>
                  </a:cubicBezTo>
                  <a:cubicBezTo>
                    <a:pt x="23" y="711"/>
                    <a:pt x="25" y="708"/>
                    <a:pt x="25" y="708"/>
                  </a:cubicBezTo>
                  <a:cubicBezTo>
                    <a:pt x="23" y="705"/>
                    <a:pt x="23" y="705"/>
                    <a:pt x="23" y="705"/>
                  </a:cubicBezTo>
                  <a:lnTo>
                    <a:pt x="22" y="703"/>
                  </a:lnTo>
                  <a:close/>
                  <a:moveTo>
                    <a:pt x="9" y="699"/>
                  </a:moveTo>
                  <a:cubicBezTo>
                    <a:pt x="8" y="699"/>
                    <a:pt x="8" y="699"/>
                    <a:pt x="8" y="699"/>
                  </a:cubicBezTo>
                  <a:cubicBezTo>
                    <a:pt x="8" y="699"/>
                    <a:pt x="10" y="703"/>
                    <a:pt x="11" y="704"/>
                  </a:cubicBezTo>
                  <a:cubicBezTo>
                    <a:pt x="12" y="705"/>
                    <a:pt x="14" y="707"/>
                    <a:pt x="14" y="707"/>
                  </a:cubicBezTo>
                  <a:cubicBezTo>
                    <a:pt x="14" y="707"/>
                    <a:pt x="15" y="705"/>
                    <a:pt x="13" y="703"/>
                  </a:cubicBezTo>
                  <a:cubicBezTo>
                    <a:pt x="12" y="701"/>
                    <a:pt x="9" y="699"/>
                    <a:pt x="9" y="699"/>
                  </a:cubicBezTo>
                  <a:close/>
                  <a:moveTo>
                    <a:pt x="10" y="707"/>
                  </a:moveTo>
                  <a:cubicBezTo>
                    <a:pt x="9" y="707"/>
                    <a:pt x="10" y="709"/>
                    <a:pt x="11" y="710"/>
                  </a:cubicBezTo>
                  <a:cubicBezTo>
                    <a:pt x="12" y="710"/>
                    <a:pt x="16" y="712"/>
                    <a:pt x="16" y="712"/>
                  </a:cubicBezTo>
                  <a:cubicBezTo>
                    <a:pt x="16" y="710"/>
                    <a:pt x="16" y="710"/>
                    <a:pt x="16" y="710"/>
                  </a:cubicBezTo>
                  <a:cubicBezTo>
                    <a:pt x="16" y="710"/>
                    <a:pt x="11" y="707"/>
                    <a:pt x="10" y="707"/>
                  </a:cubicBezTo>
                  <a:close/>
                  <a:moveTo>
                    <a:pt x="9" y="693"/>
                  </a:moveTo>
                  <a:cubicBezTo>
                    <a:pt x="7" y="695"/>
                    <a:pt x="7" y="695"/>
                    <a:pt x="7" y="695"/>
                  </a:cubicBezTo>
                  <a:cubicBezTo>
                    <a:pt x="11" y="698"/>
                    <a:pt x="11" y="698"/>
                    <a:pt x="11" y="698"/>
                  </a:cubicBezTo>
                  <a:lnTo>
                    <a:pt x="9" y="693"/>
                  </a:lnTo>
                  <a:close/>
                  <a:moveTo>
                    <a:pt x="10" y="692"/>
                  </a:moveTo>
                  <a:cubicBezTo>
                    <a:pt x="9" y="687"/>
                    <a:pt x="9" y="687"/>
                    <a:pt x="9" y="687"/>
                  </a:cubicBezTo>
                  <a:cubicBezTo>
                    <a:pt x="7" y="689"/>
                    <a:pt x="7" y="689"/>
                    <a:pt x="7" y="689"/>
                  </a:cubicBezTo>
                  <a:lnTo>
                    <a:pt x="10" y="692"/>
                  </a:lnTo>
                  <a:close/>
                  <a:moveTo>
                    <a:pt x="9" y="678"/>
                  </a:moveTo>
                  <a:cubicBezTo>
                    <a:pt x="11" y="676"/>
                    <a:pt x="11" y="676"/>
                    <a:pt x="11" y="676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15" y="676"/>
                    <a:pt x="15" y="674"/>
                  </a:cubicBezTo>
                  <a:cubicBezTo>
                    <a:pt x="15" y="671"/>
                    <a:pt x="12" y="670"/>
                    <a:pt x="12" y="670"/>
                  </a:cubicBezTo>
                  <a:cubicBezTo>
                    <a:pt x="10" y="671"/>
                    <a:pt x="10" y="671"/>
                    <a:pt x="10" y="671"/>
                  </a:cubicBezTo>
                  <a:cubicBezTo>
                    <a:pt x="10" y="671"/>
                    <a:pt x="8" y="675"/>
                    <a:pt x="9" y="678"/>
                  </a:cubicBezTo>
                  <a:close/>
                  <a:moveTo>
                    <a:pt x="6" y="680"/>
                  </a:moveTo>
                  <a:cubicBezTo>
                    <a:pt x="7" y="680"/>
                    <a:pt x="7" y="680"/>
                    <a:pt x="7" y="680"/>
                  </a:cubicBezTo>
                  <a:cubicBezTo>
                    <a:pt x="8" y="676"/>
                    <a:pt x="8" y="676"/>
                    <a:pt x="8" y="676"/>
                  </a:cubicBezTo>
                  <a:cubicBezTo>
                    <a:pt x="7" y="676"/>
                    <a:pt x="7" y="676"/>
                    <a:pt x="7" y="676"/>
                  </a:cubicBezTo>
                  <a:lnTo>
                    <a:pt x="6" y="680"/>
                  </a:lnTo>
                  <a:close/>
                  <a:moveTo>
                    <a:pt x="3" y="678"/>
                  </a:moveTo>
                  <a:cubicBezTo>
                    <a:pt x="0" y="678"/>
                    <a:pt x="1" y="681"/>
                    <a:pt x="2" y="681"/>
                  </a:cubicBezTo>
                  <a:cubicBezTo>
                    <a:pt x="4" y="682"/>
                    <a:pt x="7" y="677"/>
                    <a:pt x="3" y="678"/>
                  </a:cubicBezTo>
                  <a:close/>
                  <a:moveTo>
                    <a:pt x="7" y="661"/>
                  </a:moveTo>
                  <a:cubicBezTo>
                    <a:pt x="3" y="661"/>
                    <a:pt x="4" y="663"/>
                    <a:pt x="6" y="663"/>
                  </a:cubicBezTo>
                  <a:cubicBezTo>
                    <a:pt x="9" y="663"/>
                    <a:pt x="10" y="662"/>
                    <a:pt x="7" y="661"/>
                  </a:cubicBezTo>
                  <a:close/>
                  <a:moveTo>
                    <a:pt x="17" y="658"/>
                  </a:moveTo>
                  <a:cubicBezTo>
                    <a:pt x="14" y="657"/>
                    <a:pt x="14" y="657"/>
                    <a:pt x="14" y="657"/>
                  </a:cubicBezTo>
                  <a:cubicBezTo>
                    <a:pt x="11" y="660"/>
                    <a:pt x="11" y="660"/>
                    <a:pt x="11" y="660"/>
                  </a:cubicBezTo>
                  <a:cubicBezTo>
                    <a:pt x="13" y="662"/>
                    <a:pt x="13" y="662"/>
                    <a:pt x="13" y="662"/>
                  </a:cubicBezTo>
                  <a:lnTo>
                    <a:pt x="17" y="658"/>
                  </a:lnTo>
                  <a:close/>
                  <a:moveTo>
                    <a:pt x="18" y="649"/>
                  </a:moveTo>
                  <a:cubicBezTo>
                    <a:pt x="14" y="646"/>
                    <a:pt x="14" y="646"/>
                    <a:pt x="14" y="646"/>
                  </a:cubicBezTo>
                  <a:cubicBezTo>
                    <a:pt x="15" y="650"/>
                    <a:pt x="15" y="650"/>
                    <a:pt x="15" y="650"/>
                  </a:cubicBezTo>
                  <a:lnTo>
                    <a:pt x="18" y="649"/>
                  </a:lnTo>
                  <a:close/>
                  <a:moveTo>
                    <a:pt x="22" y="643"/>
                  </a:moveTo>
                  <a:cubicBezTo>
                    <a:pt x="17" y="645"/>
                    <a:pt x="17" y="645"/>
                    <a:pt x="17" y="645"/>
                  </a:cubicBezTo>
                  <a:cubicBezTo>
                    <a:pt x="22" y="647"/>
                    <a:pt x="22" y="647"/>
                    <a:pt x="22" y="647"/>
                  </a:cubicBezTo>
                  <a:lnTo>
                    <a:pt x="22" y="643"/>
                  </a:lnTo>
                  <a:close/>
                  <a:moveTo>
                    <a:pt x="14" y="639"/>
                  </a:moveTo>
                  <a:cubicBezTo>
                    <a:pt x="14" y="635"/>
                    <a:pt x="11" y="635"/>
                    <a:pt x="12" y="638"/>
                  </a:cubicBezTo>
                  <a:cubicBezTo>
                    <a:pt x="12" y="641"/>
                    <a:pt x="14" y="641"/>
                    <a:pt x="14" y="639"/>
                  </a:cubicBezTo>
                  <a:close/>
                  <a:moveTo>
                    <a:pt x="15" y="632"/>
                  </a:moveTo>
                  <a:cubicBezTo>
                    <a:pt x="24" y="629"/>
                    <a:pt x="24" y="629"/>
                    <a:pt x="24" y="629"/>
                  </a:cubicBezTo>
                  <a:cubicBezTo>
                    <a:pt x="25" y="626"/>
                    <a:pt x="25" y="626"/>
                    <a:pt x="25" y="626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15" y="623"/>
                    <a:pt x="15" y="623"/>
                    <a:pt x="15" y="623"/>
                  </a:cubicBezTo>
                  <a:cubicBezTo>
                    <a:pt x="15" y="626"/>
                    <a:pt x="15" y="626"/>
                    <a:pt x="15" y="626"/>
                  </a:cubicBezTo>
                  <a:cubicBezTo>
                    <a:pt x="12" y="627"/>
                    <a:pt x="12" y="627"/>
                    <a:pt x="12" y="627"/>
                  </a:cubicBezTo>
                  <a:cubicBezTo>
                    <a:pt x="16" y="628"/>
                    <a:pt x="16" y="628"/>
                    <a:pt x="16" y="628"/>
                  </a:cubicBezTo>
                  <a:lnTo>
                    <a:pt x="15" y="632"/>
                  </a:lnTo>
                  <a:close/>
                  <a:moveTo>
                    <a:pt x="12" y="630"/>
                  </a:moveTo>
                  <a:cubicBezTo>
                    <a:pt x="13" y="632"/>
                    <a:pt x="13" y="632"/>
                    <a:pt x="13" y="632"/>
                  </a:cubicBezTo>
                  <a:cubicBezTo>
                    <a:pt x="14" y="633"/>
                    <a:pt x="14" y="633"/>
                    <a:pt x="14" y="633"/>
                  </a:cubicBezTo>
                  <a:cubicBezTo>
                    <a:pt x="14" y="629"/>
                    <a:pt x="14" y="629"/>
                    <a:pt x="14" y="629"/>
                  </a:cubicBezTo>
                  <a:lnTo>
                    <a:pt x="12" y="630"/>
                  </a:lnTo>
                  <a:close/>
                  <a:moveTo>
                    <a:pt x="20" y="618"/>
                  </a:moveTo>
                  <a:cubicBezTo>
                    <a:pt x="22" y="619"/>
                    <a:pt x="22" y="623"/>
                    <a:pt x="22" y="623"/>
                  </a:cubicBezTo>
                  <a:cubicBezTo>
                    <a:pt x="25" y="623"/>
                    <a:pt x="25" y="623"/>
                    <a:pt x="25" y="623"/>
                  </a:cubicBezTo>
                  <a:cubicBezTo>
                    <a:pt x="25" y="616"/>
                    <a:pt x="25" y="616"/>
                    <a:pt x="25" y="616"/>
                  </a:cubicBezTo>
                  <a:cubicBezTo>
                    <a:pt x="20" y="615"/>
                    <a:pt x="20" y="615"/>
                    <a:pt x="20" y="615"/>
                  </a:cubicBezTo>
                  <a:cubicBezTo>
                    <a:pt x="20" y="615"/>
                    <a:pt x="18" y="617"/>
                    <a:pt x="20" y="618"/>
                  </a:cubicBezTo>
                  <a:close/>
                  <a:moveTo>
                    <a:pt x="36" y="604"/>
                  </a:moveTo>
                  <a:cubicBezTo>
                    <a:pt x="36" y="601"/>
                    <a:pt x="36" y="601"/>
                    <a:pt x="36" y="601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4"/>
                    <a:pt x="34" y="604"/>
                    <a:pt x="34" y="604"/>
                  </a:cubicBezTo>
                  <a:lnTo>
                    <a:pt x="36" y="604"/>
                  </a:lnTo>
                  <a:close/>
                  <a:moveTo>
                    <a:pt x="45" y="607"/>
                  </a:moveTo>
                  <a:cubicBezTo>
                    <a:pt x="48" y="605"/>
                    <a:pt x="48" y="601"/>
                    <a:pt x="44" y="600"/>
                  </a:cubicBezTo>
                  <a:cubicBezTo>
                    <a:pt x="40" y="598"/>
                    <a:pt x="40" y="603"/>
                    <a:pt x="40" y="603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7"/>
                    <a:pt x="42" y="608"/>
                    <a:pt x="45" y="607"/>
                  </a:cubicBezTo>
                  <a:close/>
                  <a:moveTo>
                    <a:pt x="42" y="598"/>
                  </a:moveTo>
                  <a:cubicBezTo>
                    <a:pt x="45" y="598"/>
                    <a:pt x="45" y="598"/>
                    <a:pt x="45" y="598"/>
                  </a:cubicBezTo>
                  <a:cubicBezTo>
                    <a:pt x="46" y="596"/>
                    <a:pt x="46" y="596"/>
                    <a:pt x="46" y="596"/>
                  </a:cubicBezTo>
                  <a:cubicBezTo>
                    <a:pt x="43" y="593"/>
                    <a:pt x="43" y="593"/>
                    <a:pt x="43" y="593"/>
                  </a:cubicBezTo>
                  <a:cubicBezTo>
                    <a:pt x="41" y="593"/>
                    <a:pt x="41" y="593"/>
                    <a:pt x="41" y="593"/>
                  </a:cubicBezTo>
                  <a:cubicBezTo>
                    <a:pt x="42" y="596"/>
                    <a:pt x="42" y="596"/>
                    <a:pt x="42" y="596"/>
                  </a:cubicBezTo>
                  <a:lnTo>
                    <a:pt x="42" y="598"/>
                  </a:lnTo>
                  <a:close/>
                  <a:moveTo>
                    <a:pt x="53" y="593"/>
                  </a:moveTo>
                  <a:cubicBezTo>
                    <a:pt x="49" y="594"/>
                    <a:pt x="49" y="594"/>
                    <a:pt x="49" y="594"/>
                  </a:cubicBezTo>
                  <a:cubicBezTo>
                    <a:pt x="49" y="603"/>
                    <a:pt x="49" y="603"/>
                    <a:pt x="49" y="603"/>
                  </a:cubicBezTo>
                  <a:cubicBezTo>
                    <a:pt x="57" y="598"/>
                    <a:pt x="57" y="598"/>
                    <a:pt x="57" y="598"/>
                  </a:cubicBezTo>
                  <a:lnTo>
                    <a:pt x="53" y="593"/>
                  </a:lnTo>
                  <a:close/>
                  <a:moveTo>
                    <a:pt x="57" y="593"/>
                  </a:moveTo>
                  <a:cubicBezTo>
                    <a:pt x="60" y="596"/>
                    <a:pt x="60" y="596"/>
                    <a:pt x="60" y="596"/>
                  </a:cubicBezTo>
                  <a:cubicBezTo>
                    <a:pt x="65" y="594"/>
                    <a:pt x="65" y="594"/>
                    <a:pt x="65" y="594"/>
                  </a:cubicBezTo>
                  <a:cubicBezTo>
                    <a:pt x="61" y="592"/>
                    <a:pt x="61" y="592"/>
                    <a:pt x="61" y="592"/>
                  </a:cubicBezTo>
                  <a:lnTo>
                    <a:pt x="57" y="593"/>
                  </a:lnTo>
                  <a:close/>
                  <a:moveTo>
                    <a:pt x="55" y="587"/>
                  </a:moveTo>
                  <a:cubicBezTo>
                    <a:pt x="51" y="591"/>
                    <a:pt x="51" y="591"/>
                    <a:pt x="51" y="591"/>
                  </a:cubicBezTo>
                  <a:cubicBezTo>
                    <a:pt x="58" y="591"/>
                    <a:pt x="58" y="591"/>
                    <a:pt x="58" y="591"/>
                  </a:cubicBezTo>
                  <a:lnTo>
                    <a:pt x="55" y="587"/>
                  </a:lnTo>
                  <a:close/>
                  <a:moveTo>
                    <a:pt x="57" y="586"/>
                  </a:moveTo>
                  <a:cubicBezTo>
                    <a:pt x="59" y="586"/>
                    <a:pt x="61" y="581"/>
                    <a:pt x="58" y="582"/>
                  </a:cubicBezTo>
                  <a:cubicBezTo>
                    <a:pt x="55" y="583"/>
                    <a:pt x="56" y="586"/>
                    <a:pt x="57" y="586"/>
                  </a:cubicBezTo>
                  <a:close/>
                  <a:moveTo>
                    <a:pt x="63" y="580"/>
                  </a:moveTo>
                  <a:cubicBezTo>
                    <a:pt x="59" y="579"/>
                    <a:pt x="59" y="579"/>
                    <a:pt x="59" y="579"/>
                  </a:cubicBezTo>
                  <a:cubicBezTo>
                    <a:pt x="62" y="582"/>
                    <a:pt x="62" y="582"/>
                    <a:pt x="62" y="582"/>
                  </a:cubicBezTo>
                  <a:lnTo>
                    <a:pt x="63" y="580"/>
                  </a:lnTo>
                  <a:close/>
                  <a:moveTo>
                    <a:pt x="63" y="577"/>
                  </a:moveTo>
                  <a:cubicBezTo>
                    <a:pt x="62" y="578"/>
                    <a:pt x="62" y="578"/>
                    <a:pt x="62" y="578"/>
                  </a:cubicBezTo>
                  <a:cubicBezTo>
                    <a:pt x="65" y="580"/>
                    <a:pt x="65" y="580"/>
                    <a:pt x="65" y="580"/>
                  </a:cubicBezTo>
                  <a:lnTo>
                    <a:pt x="63" y="577"/>
                  </a:lnTo>
                  <a:close/>
                  <a:moveTo>
                    <a:pt x="71" y="575"/>
                  </a:moveTo>
                  <a:cubicBezTo>
                    <a:pt x="71" y="571"/>
                    <a:pt x="71" y="571"/>
                    <a:pt x="71" y="571"/>
                  </a:cubicBezTo>
                  <a:cubicBezTo>
                    <a:pt x="69" y="571"/>
                    <a:pt x="69" y="571"/>
                    <a:pt x="69" y="571"/>
                  </a:cubicBezTo>
                  <a:cubicBezTo>
                    <a:pt x="69" y="575"/>
                    <a:pt x="69" y="575"/>
                    <a:pt x="69" y="575"/>
                  </a:cubicBezTo>
                  <a:lnTo>
                    <a:pt x="71" y="575"/>
                  </a:lnTo>
                  <a:close/>
                  <a:moveTo>
                    <a:pt x="80" y="578"/>
                  </a:moveTo>
                  <a:cubicBezTo>
                    <a:pt x="85" y="576"/>
                    <a:pt x="85" y="575"/>
                    <a:pt x="82" y="575"/>
                  </a:cubicBezTo>
                  <a:cubicBezTo>
                    <a:pt x="78" y="573"/>
                    <a:pt x="77" y="576"/>
                    <a:pt x="77" y="577"/>
                  </a:cubicBezTo>
                  <a:cubicBezTo>
                    <a:pt x="77" y="578"/>
                    <a:pt x="80" y="578"/>
                    <a:pt x="80" y="578"/>
                  </a:cubicBezTo>
                  <a:close/>
                  <a:moveTo>
                    <a:pt x="87" y="568"/>
                  </a:moveTo>
                  <a:cubicBezTo>
                    <a:pt x="82" y="567"/>
                    <a:pt x="82" y="567"/>
                    <a:pt x="82" y="567"/>
                  </a:cubicBezTo>
                  <a:cubicBezTo>
                    <a:pt x="80" y="568"/>
                    <a:pt x="80" y="568"/>
                    <a:pt x="80" y="568"/>
                  </a:cubicBezTo>
                  <a:cubicBezTo>
                    <a:pt x="83" y="571"/>
                    <a:pt x="83" y="571"/>
                    <a:pt x="83" y="571"/>
                  </a:cubicBezTo>
                  <a:lnTo>
                    <a:pt x="87" y="568"/>
                  </a:lnTo>
                  <a:close/>
                  <a:moveTo>
                    <a:pt x="110" y="557"/>
                  </a:moveTo>
                  <a:cubicBezTo>
                    <a:pt x="109" y="551"/>
                    <a:pt x="109" y="551"/>
                    <a:pt x="109" y="551"/>
                  </a:cubicBezTo>
                  <a:cubicBezTo>
                    <a:pt x="106" y="551"/>
                    <a:pt x="106" y="551"/>
                    <a:pt x="106" y="551"/>
                  </a:cubicBezTo>
                  <a:cubicBezTo>
                    <a:pt x="107" y="554"/>
                    <a:pt x="107" y="554"/>
                    <a:pt x="107" y="554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0" y="558"/>
                    <a:pt x="100" y="558"/>
                    <a:pt x="100" y="558"/>
                  </a:cubicBezTo>
                  <a:cubicBezTo>
                    <a:pt x="105" y="562"/>
                    <a:pt x="105" y="562"/>
                    <a:pt x="105" y="562"/>
                  </a:cubicBezTo>
                  <a:lnTo>
                    <a:pt x="110" y="557"/>
                  </a:lnTo>
                  <a:close/>
                  <a:moveTo>
                    <a:pt x="116" y="555"/>
                  </a:moveTo>
                  <a:cubicBezTo>
                    <a:pt x="116" y="552"/>
                    <a:pt x="116" y="552"/>
                    <a:pt x="116" y="552"/>
                  </a:cubicBezTo>
                  <a:cubicBezTo>
                    <a:pt x="111" y="553"/>
                    <a:pt x="111" y="553"/>
                    <a:pt x="111" y="553"/>
                  </a:cubicBezTo>
                  <a:cubicBezTo>
                    <a:pt x="112" y="557"/>
                    <a:pt x="112" y="557"/>
                    <a:pt x="112" y="557"/>
                  </a:cubicBezTo>
                  <a:lnTo>
                    <a:pt x="116" y="555"/>
                  </a:lnTo>
                  <a:close/>
                  <a:moveTo>
                    <a:pt x="113" y="548"/>
                  </a:moveTo>
                  <a:cubicBezTo>
                    <a:pt x="111" y="552"/>
                    <a:pt x="111" y="552"/>
                    <a:pt x="111" y="552"/>
                  </a:cubicBezTo>
                  <a:cubicBezTo>
                    <a:pt x="115" y="551"/>
                    <a:pt x="115" y="551"/>
                    <a:pt x="115" y="551"/>
                  </a:cubicBezTo>
                  <a:lnTo>
                    <a:pt x="113" y="548"/>
                  </a:lnTo>
                  <a:close/>
                  <a:moveTo>
                    <a:pt x="124" y="545"/>
                  </a:moveTo>
                  <a:cubicBezTo>
                    <a:pt x="117" y="545"/>
                    <a:pt x="121" y="549"/>
                    <a:pt x="123" y="549"/>
                  </a:cubicBezTo>
                  <a:cubicBezTo>
                    <a:pt x="126" y="550"/>
                    <a:pt x="130" y="545"/>
                    <a:pt x="124" y="545"/>
                  </a:cubicBezTo>
                  <a:close/>
                  <a:moveTo>
                    <a:pt x="135" y="547"/>
                  </a:moveTo>
                  <a:cubicBezTo>
                    <a:pt x="133" y="542"/>
                    <a:pt x="133" y="542"/>
                    <a:pt x="133" y="542"/>
                  </a:cubicBezTo>
                  <a:cubicBezTo>
                    <a:pt x="132" y="544"/>
                    <a:pt x="132" y="544"/>
                    <a:pt x="132" y="544"/>
                  </a:cubicBezTo>
                  <a:cubicBezTo>
                    <a:pt x="129" y="541"/>
                    <a:pt x="129" y="541"/>
                    <a:pt x="129" y="541"/>
                  </a:cubicBezTo>
                  <a:cubicBezTo>
                    <a:pt x="127" y="542"/>
                    <a:pt x="127" y="542"/>
                    <a:pt x="127" y="542"/>
                  </a:cubicBezTo>
                  <a:cubicBezTo>
                    <a:pt x="132" y="549"/>
                    <a:pt x="132" y="549"/>
                    <a:pt x="132" y="549"/>
                  </a:cubicBezTo>
                  <a:lnTo>
                    <a:pt x="135" y="547"/>
                  </a:lnTo>
                  <a:close/>
                  <a:moveTo>
                    <a:pt x="118" y="535"/>
                  </a:moveTo>
                  <a:cubicBezTo>
                    <a:pt x="123" y="537"/>
                    <a:pt x="123" y="537"/>
                    <a:pt x="123" y="537"/>
                  </a:cubicBezTo>
                  <a:cubicBezTo>
                    <a:pt x="127" y="536"/>
                    <a:pt x="127" y="536"/>
                    <a:pt x="127" y="536"/>
                  </a:cubicBezTo>
                  <a:cubicBezTo>
                    <a:pt x="127" y="536"/>
                    <a:pt x="127" y="529"/>
                    <a:pt x="123" y="530"/>
                  </a:cubicBezTo>
                  <a:cubicBezTo>
                    <a:pt x="117" y="530"/>
                    <a:pt x="115" y="531"/>
                    <a:pt x="115" y="531"/>
                  </a:cubicBezTo>
                  <a:cubicBezTo>
                    <a:pt x="116" y="535"/>
                    <a:pt x="116" y="535"/>
                    <a:pt x="116" y="535"/>
                  </a:cubicBezTo>
                  <a:lnTo>
                    <a:pt x="118" y="535"/>
                  </a:lnTo>
                  <a:close/>
                  <a:moveTo>
                    <a:pt x="138" y="522"/>
                  </a:moveTo>
                  <a:cubicBezTo>
                    <a:pt x="138" y="522"/>
                    <a:pt x="131" y="524"/>
                    <a:pt x="131" y="528"/>
                  </a:cubicBezTo>
                  <a:cubicBezTo>
                    <a:pt x="131" y="533"/>
                    <a:pt x="138" y="530"/>
                    <a:pt x="145" y="529"/>
                  </a:cubicBezTo>
                  <a:cubicBezTo>
                    <a:pt x="154" y="526"/>
                    <a:pt x="158" y="523"/>
                    <a:pt x="156" y="522"/>
                  </a:cubicBezTo>
                  <a:cubicBezTo>
                    <a:pt x="154" y="521"/>
                    <a:pt x="150" y="521"/>
                    <a:pt x="150" y="521"/>
                  </a:cubicBezTo>
                  <a:cubicBezTo>
                    <a:pt x="150" y="518"/>
                    <a:pt x="150" y="518"/>
                    <a:pt x="150" y="518"/>
                  </a:cubicBezTo>
                  <a:cubicBezTo>
                    <a:pt x="150" y="518"/>
                    <a:pt x="147" y="518"/>
                    <a:pt x="143" y="519"/>
                  </a:cubicBezTo>
                  <a:cubicBezTo>
                    <a:pt x="139" y="519"/>
                    <a:pt x="138" y="522"/>
                    <a:pt x="138" y="522"/>
                  </a:cubicBezTo>
                  <a:close/>
                  <a:moveTo>
                    <a:pt x="139" y="516"/>
                  </a:moveTo>
                  <a:cubicBezTo>
                    <a:pt x="147" y="514"/>
                    <a:pt x="147" y="514"/>
                    <a:pt x="147" y="514"/>
                  </a:cubicBezTo>
                  <a:cubicBezTo>
                    <a:pt x="146" y="508"/>
                    <a:pt x="146" y="508"/>
                    <a:pt x="146" y="508"/>
                  </a:cubicBezTo>
                  <a:cubicBezTo>
                    <a:pt x="146" y="508"/>
                    <a:pt x="142" y="513"/>
                    <a:pt x="139" y="513"/>
                  </a:cubicBezTo>
                  <a:cubicBezTo>
                    <a:pt x="137" y="514"/>
                    <a:pt x="131" y="515"/>
                    <a:pt x="131" y="515"/>
                  </a:cubicBezTo>
                  <a:cubicBezTo>
                    <a:pt x="132" y="516"/>
                    <a:pt x="132" y="516"/>
                    <a:pt x="132" y="516"/>
                  </a:cubicBezTo>
                  <a:lnTo>
                    <a:pt x="139" y="516"/>
                  </a:lnTo>
                  <a:close/>
                  <a:moveTo>
                    <a:pt x="159" y="517"/>
                  </a:moveTo>
                  <a:cubicBezTo>
                    <a:pt x="154" y="518"/>
                    <a:pt x="154" y="518"/>
                    <a:pt x="154" y="518"/>
                  </a:cubicBezTo>
                  <a:cubicBezTo>
                    <a:pt x="153" y="519"/>
                    <a:pt x="153" y="519"/>
                    <a:pt x="153" y="519"/>
                  </a:cubicBezTo>
                  <a:cubicBezTo>
                    <a:pt x="159" y="519"/>
                    <a:pt x="159" y="519"/>
                    <a:pt x="159" y="519"/>
                  </a:cubicBezTo>
                  <a:lnTo>
                    <a:pt x="159" y="517"/>
                  </a:lnTo>
                  <a:close/>
                  <a:moveTo>
                    <a:pt x="162" y="515"/>
                  </a:moveTo>
                  <a:cubicBezTo>
                    <a:pt x="162" y="521"/>
                    <a:pt x="162" y="521"/>
                    <a:pt x="162" y="521"/>
                  </a:cubicBezTo>
                  <a:cubicBezTo>
                    <a:pt x="166" y="519"/>
                    <a:pt x="166" y="519"/>
                    <a:pt x="166" y="519"/>
                  </a:cubicBezTo>
                  <a:lnTo>
                    <a:pt x="162" y="515"/>
                  </a:lnTo>
                  <a:close/>
                  <a:moveTo>
                    <a:pt x="235" y="425"/>
                  </a:moveTo>
                  <a:cubicBezTo>
                    <a:pt x="235" y="425"/>
                    <a:pt x="232" y="424"/>
                    <a:pt x="230" y="425"/>
                  </a:cubicBezTo>
                  <a:cubicBezTo>
                    <a:pt x="227" y="427"/>
                    <a:pt x="229" y="430"/>
                    <a:pt x="229" y="430"/>
                  </a:cubicBezTo>
                  <a:lnTo>
                    <a:pt x="235" y="425"/>
                  </a:lnTo>
                  <a:close/>
                  <a:moveTo>
                    <a:pt x="215" y="439"/>
                  </a:moveTo>
                  <a:cubicBezTo>
                    <a:pt x="216" y="439"/>
                    <a:pt x="214" y="441"/>
                    <a:pt x="214" y="441"/>
                  </a:cubicBezTo>
                  <a:cubicBezTo>
                    <a:pt x="216" y="443"/>
                    <a:pt x="216" y="443"/>
                    <a:pt x="216" y="443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9"/>
                    <a:pt x="220" y="434"/>
                    <a:pt x="214" y="435"/>
                  </a:cubicBezTo>
                  <a:cubicBezTo>
                    <a:pt x="210" y="436"/>
                    <a:pt x="207" y="440"/>
                    <a:pt x="207" y="440"/>
                  </a:cubicBezTo>
                  <a:cubicBezTo>
                    <a:pt x="210" y="442"/>
                    <a:pt x="210" y="442"/>
                    <a:pt x="210" y="442"/>
                  </a:cubicBezTo>
                  <a:cubicBezTo>
                    <a:pt x="210" y="442"/>
                    <a:pt x="214" y="438"/>
                    <a:pt x="215" y="439"/>
                  </a:cubicBezTo>
                  <a:close/>
                  <a:moveTo>
                    <a:pt x="239" y="396"/>
                  </a:moveTo>
                  <a:cubicBezTo>
                    <a:pt x="244" y="390"/>
                    <a:pt x="244" y="390"/>
                    <a:pt x="244" y="390"/>
                  </a:cubicBezTo>
                  <a:cubicBezTo>
                    <a:pt x="242" y="387"/>
                    <a:pt x="242" y="387"/>
                    <a:pt x="242" y="387"/>
                  </a:cubicBezTo>
                  <a:cubicBezTo>
                    <a:pt x="242" y="387"/>
                    <a:pt x="236" y="386"/>
                    <a:pt x="237" y="391"/>
                  </a:cubicBezTo>
                  <a:cubicBezTo>
                    <a:pt x="237" y="396"/>
                    <a:pt x="239" y="396"/>
                    <a:pt x="239" y="396"/>
                  </a:cubicBezTo>
                  <a:close/>
                  <a:moveTo>
                    <a:pt x="242" y="408"/>
                  </a:moveTo>
                  <a:cubicBezTo>
                    <a:pt x="244" y="408"/>
                    <a:pt x="244" y="408"/>
                    <a:pt x="244" y="408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4" y="402"/>
                    <a:pt x="244" y="402"/>
                    <a:pt x="244" y="402"/>
                  </a:cubicBezTo>
                  <a:lnTo>
                    <a:pt x="242" y="408"/>
                  </a:lnTo>
                  <a:close/>
                  <a:moveTo>
                    <a:pt x="259" y="367"/>
                  </a:moveTo>
                  <a:cubicBezTo>
                    <a:pt x="259" y="367"/>
                    <a:pt x="254" y="371"/>
                    <a:pt x="253" y="373"/>
                  </a:cubicBezTo>
                  <a:cubicBezTo>
                    <a:pt x="252" y="374"/>
                    <a:pt x="255" y="378"/>
                    <a:pt x="255" y="378"/>
                  </a:cubicBezTo>
                  <a:cubicBezTo>
                    <a:pt x="260" y="373"/>
                    <a:pt x="260" y="373"/>
                    <a:pt x="260" y="373"/>
                  </a:cubicBezTo>
                  <a:cubicBezTo>
                    <a:pt x="265" y="370"/>
                    <a:pt x="265" y="370"/>
                    <a:pt x="265" y="370"/>
                  </a:cubicBezTo>
                  <a:cubicBezTo>
                    <a:pt x="266" y="367"/>
                    <a:pt x="266" y="367"/>
                    <a:pt x="266" y="367"/>
                  </a:cubicBezTo>
                  <a:cubicBezTo>
                    <a:pt x="260" y="370"/>
                    <a:pt x="260" y="370"/>
                    <a:pt x="260" y="370"/>
                  </a:cubicBezTo>
                  <a:lnTo>
                    <a:pt x="259" y="367"/>
                  </a:lnTo>
                  <a:close/>
                  <a:moveTo>
                    <a:pt x="253" y="366"/>
                  </a:moveTo>
                  <a:cubicBezTo>
                    <a:pt x="259" y="363"/>
                    <a:pt x="259" y="363"/>
                    <a:pt x="259" y="363"/>
                  </a:cubicBezTo>
                  <a:cubicBezTo>
                    <a:pt x="260" y="360"/>
                    <a:pt x="260" y="360"/>
                    <a:pt x="260" y="360"/>
                  </a:cubicBezTo>
                  <a:cubicBezTo>
                    <a:pt x="258" y="359"/>
                    <a:pt x="258" y="359"/>
                    <a:pt x="258" y="359"/>
                  </a:cubicBezTo>
                  <a:cubicBezTo>
                    <a:pt x="260" y="357"/>
                    <a:pt x="260" y="357"/>
                    <a:pt x="260" y="357"/>
                  </a:cubicBezTo>
                  <a:cubicBezTo>
                    <a:pt x="259" y="353"/>
                    <a:pt x="259" y="353"/>
                    <a:pt x="259" y="353"/>
                  </a:cubicBezTo>
                  <a:cubicBezTo>
                    <a:pt x="255" y="356"/>
                    <a:pt x="255" y="356"/>
                    <a:pt x="255" y="356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2" y="363"/>
                    <a:pt x="252" y="363"/>
                    <a:pt x="252" y="363"/>
                  </a:cubicBezTo>
                  <a:lnTo>
                    <a:pt x="253" y="366"/>
                  </a:lnTo>
                  <a:close/>
                  <a:moveTo>
                    <a:pt x="263" y="349"/>
                  </a:moveTo>
                  <a:cubicBezTo>
                    <a:pt x="262" y="352"/>
                    <a:pt x="262" y="352"/>
                    <a:pt x="262" y="352"/>
                  </a:cubicBezTo>
                  <a:cubicBezTo>
                    <a:pt x="264" y="355"/>
                    <a:pt x="264" y="355"/>
                    <a:pt x="264" y="355"/>
                  </a:cubicBezTo>
                  <a:cubicBezTo>
                    <a:pt x="268" y="350"/>
                    <a:pt x="268" y="350"/>
                    <a:pt x="268" y="350"/>
                  </a:cubicBezTo>
                  <a:lnTo>
                    <a:pt x="263" y="349"/>
                  </a:lnTo>
                  <a:close/>
                  <a:moveTo>
                    <a:pt x="264" y="359"/>
                  </a:moveTo>
                  <a:cubicBezTo>
                    <a:pt x="265" y="357"/>
                    <a:pt x="265" y="357"/>
                    <a:pt x="265" y="357"/>
                  </a:cubicBezTo>
                  <a:cubicBezTo>
                    <a:pt x="262" y="357"/>
                    <a:pt x="262" y="357"/>
                    <a:pt x="262" y="357"/>
                  </a:cubicBezTo>
                  <a:lnTo>
                    <a:pt x="264" y="359"/>
                  </a:lnTo>
                  <a:close/>
                  <a:moveTo>
                    <a:pt x="266" y="343"/>
                  </a:moveTo>
                  <a:cubicBezTo>
                    <a:pt x="269" y="340"/>
                    <a:pt x="269" y="340"/>
                    <a:pt x="269" y="340"/>
                  </a:cubicBezTo>
                  <a:cubicBezTo>
                    <a:pt x="265" y="339"/>
                    <a:pt x="265" y="339"/>
                    <a:pt x="265" y="339"/>
                  </a:cubicBezTo>
                  <a:lnTo>
                    <a:pt x="266" y="343"/>
                  </a:lnTo>
                  <a:close/>
                  <a:moveTo>
                    <a:pt x="261" y="330"/>
                  </a:moveTo>
                  <a:cubicBezTo>
                    <a:pt x="258" y="329"/>
                    <a:pt x="258" y="329"/>
                    <a:pt x="258" y="329"/>
                  </a:cubicBezTo>
                  <a:cubicBezTo>
                    <a:pt x="257" y="333"/>
                    <a:pt x="257" y="333"/>
                    <a:pt x="257" y="333"/>
                  </a:cubicBezTo>
                  <a:cubicBezTo>
                    <a:pt x="260" y="332"/>
                    <a:pt x="260" y="332"/>
                    <a:pt x="260" y="332"/>
                  </a:cubicBezTo>
                  <a:lnTo>
                    <a:pt x="261" y="330"/>
                  </a:lnTo>
                  <a:close/>
                  <a:moveTo>
                    <a:pt x="272" y="351"/>
                  </a:moveTo>
                  <a:cubicBezTo>
                    <a:pt x="269" y="350"/>
                    <a:pt x="269" y="350"/>
                    <a:pt x="269" y="350"/>
                  </a:cubicBezTo>
                  <a:cubicBezTo>
                    <a:pt x="268" y="356"/>
                    <a:pt x="268" y="356"/>
                    <a:pt x="268" y="356"/>
                  </a:cubicBezTo>
                  <a:lnTo>
                    <a:pt x="272" y="351"/>
                  </a:lnTo>
                  <a:close/>
                  <a:moveTo>
                    <a:pt x="280" y="319"/>
                  </a:moveTo>
                  <a:cubicBezTo>
                    <a:pt x="278" y="317"/>
                    <a:pt x="278" y="317"/>
                    <a:pt x="278" y="317"/>
                  </a:cubicBezTo>
                  <a:cubicBezTo>
                    <a:pt x="276" y="320"/>
                    <a:pt x="276" y="320"/>
                    <a:pt x="276" y="320"/>
                  </a:cubicBezTo>
                  <a:lnTo>
                    <a:pt x="280" y="319"/>
                  </a:lnTo>
                  <a:close/>
                  <a:moveTo>
                    <a:pt x="284" y="313"/>
                  </a:moveTo>
                  <a:cubicBezTo>
                    <a:pt x="279" y="312"/>
                    <a:pt x="279" y="312"/>
                    <a:pt x="279" y="312"/>
                  </a:cubicBezTo>
                  <a:cubicBezTo>
                    <a:pt x="276" y="315"/>
                    <a:pt x="276" y="315"/>
                    <a:pt x="276" y="315"/>
                  </a:cubicBezTo>
                  <a:cubicBezTo>
                    <a:pt x="284" y="315"/>
                    <a:pt x="284" y="315"/>
                    <a:pt x="284" y="315"/>
                  </a:cubicBezTo>
                  <a:lnTo>
                    <a:pt x="284" y="313"/>
                  </a:lnTo>
                  <a:close/>
                  <a:moveTo>
                    <a:pt x="301" y="300"/>
                  </a:moveTo>
                  <a:cubicBezTo>
                    <a:pt x="304" y="290"/>
                    <a:pt x="304" y="290"/>
                    <a:pt x="304" y="290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1" y="294"/>
                    <a:pt x="301" y="294"/>
                    <a:pt x="301" y="294"/>
                  </a:cubicBezTo>
                  <a:cubicBezTo>
                    <a:pt x="297" y="292"/>
                    <a:pt x="297" y="292"/>
                    <a:pt x="297" y="292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300" y="298"/>
                    <a:pt x="300" y="298"/>
                    <a:pt x="300" y="298"/>
                  </a:cubicBezTo>
                  <a:cubicBezTo>
                    <a:pt x="300" y="300"/>
                    <a:pt x="300" y="300"/>
                    <a:pt x="300" y="300"/>
                  </a:cubicBezTo>
                  <a:lnTo>
                    <a:pt x="301" y="300"/>
                  </a:lnTo>
                  <a:close/>
                  <a:moveTo>
                    <a:pt x="305" y="276"/>
                  </a:moveTo>
                  <a:cubicBezTo>
                    <a:pt x="298" y="279"/>
                    <a:pt x="304" y="279"/>
                    <a:pt x="306" y="278"/>
                  </a:cubicBezTo>
                  <a:cubicBezTo>
                    <a:pt x="311" y="276"/>
                    <a:pt x="310" y="273"/>
                    <a:pt x="305" y="276"/>
                  </a:cubicBezTo>
                  <a:close/>
                  <a:moveTo>
                    <a:pt x="262" y="260"/>
                  </a:moveTo>
                  <a:cubicBezTo>
                    <a:pt x="260" y="266"/>
                    <a:pt x="260" y="266"/>
                    <a:pt x="260" y="266"/>
                  </a:cubicBezTo>
                  <a:cubicBezTo>
                    <a:pt x="265" y="263"/>
                    <a:pt x="265" y="263"/>
                    <a:pt x="265" y="263"/>
                  </a:cubicBezTo>
                  <a:lnTo>
                    <a:pt x="262" y="260"/>
                  </a:lnTo>
                  <a:close/>
                  <a:moveTo>
                    <a:pt x="320" y="244"/>
                  </a:moveTo>
                  <a:cubicBezTo>
                    <a:pt x="327" y="242"/>
                    <a:pt x="327" y="242"/>
                    <a:pt x="327" y="242"/>
                  </a:cubicBezTo>
                  <a:cubicBezTo>
                    <a:pt x="327" y="241"/>
                    <a:pt x="327" y="241"/>
                    <a:pt x="327" y="241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44"/>
                  </a:lnTo>
                  <a:close/>
                  <a:moveTo>
                    <a:pt x="323" y="236"/>
                  </a:moveTo>
                  <a:cubicBezTo>
                    <a:pt x="327" y="239"/>
                    <a:pt x="327" y="239"/>
                    <a:pt x="327" y="239"/>
                  </a:cubicBezTo>
                  <a:cubicBezTo>
                    <a:pt x="327" y="238"/>
                    <a:pt x="324" y="234"/>
                    <a:pt x="324" y="234"/>
                  </a:cubicBezTo>
                  <a:lnTo>
                    <a:pt x="323" y="236"/>
                  </a:lnTo>
                  <a:close/>
                  <a:moveTo>
                    <a:pt x="353" y="201"/>
                  </a:moveTo>
                  <a:cubicBezTo>
                    <a:pt x="346" y="195"/>
                    <a:pt x="347" y="207"/>
                    <a:pt x="347" y="207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45" y="210"/>
                    <a:pt x="345" y="210"/>
                    <a:pt x="345" y="210"/>
                  </a:cubicBezTo>
                  <a:cubicBezTo>
                    <a:pt x="351" y="208"/>
                    <a:pt x="351" y="208"/>
                    <a:pt x="351" y="208"/>
                  </a:cubicBezTo>
                  <a:cubicBezTo>
                    <a:pt x="351" y="208"/>
                    <a:pt x="358" y="206"/>
                    <a:pt x="353" y="201"/>
                  </a:cubicBezTo>
                  <a:close/>
                  <a:moveTo>
                    <a:pt x="343" y="217"/>
                  </a:moveTo>
                  <a:cubicBezTo>
                    <a:pt x="348" y="213"/>
                    <a:pt x="348" y="213"/>
                    <a:pt x="348" y="213"/>
                  </a:cubicBezTo>
                  <a:cubicBezTo>
                    <a:pt x="343" y="214"/>
                    <a:pt x="343" y="214"/>
                    <a:pt x="343" y="214"/>
                  </a:cubicBezTo>
                  <a:lnTo>
                    <a:pt x="343" y="217"/>
                  </a:lnTo>
                  <a:close/>
                  <a:moveTo>
                    <a:pt x="350" y="229"/>
                  </a:moveTo>
                  <a:cubicBezTo>
                    <a:pt x="348" y="232"/>
                    <a:pt x="348" y="232"/>
                    <a:pt x="348" y="232"/>
                  </a:cubicBezTo>
                  <a:cubicBezTo>
                    <a:pt x="354" y="232"/>
                    <a:pt x="354" y="232"/>
                    <a:pt x="354" y="232"/>
                  </a:cubicBezTo>
                  <a:lnTo>
                    <a:pt x="350" y="229"/>
                  </a:lnTo>
                  <a:close/>
                  <a:moveTo>
                    <a:pt x="265" y="251"/>
                  </a:moveTo>
                  <a:cubicBezTo>
                    <a:pt x="265" y="251"/>
                    <a:pt x="270" y="250"/>
                    <a:pt x="271" y="247"/>
                  </a:cubicBezTo>
                  <a:cubicBezTo>
                    <a:pt x="271" y="245"/>
                    <a:pt x="270" y="242"/>
                    <a:pt x="271" y="242"/>
                  </a:cubicBezTo>
                  <a:cubicBezTo>
                    <a:pt x="272" y="242"/>
                    <a:pt x="275" y="238"/>
                    <a:pt x="275" y="238"/>
                  </a:cubicBezTo>
                  <a:cubicBezTo>
                    <a:pt x="275" y="238"/>
                    <a:pt x="281" y="237"/>
                    <a:pt x="281" y="232"/>
                  </a:cubicBezTo>
                  <a:cubicBezTo>
                    <a:pt x="281" y="226"/>
                    <a:pt x="278" y="227"/>
                    <a:pt x="278" y="227"/>
                  </a:cubicBezTo>
                  <a:cubicBezTo>
                    <a:pt x="274" y="235"/>
                    <a:pt x="274" y="235"/>
                    <a:pt x="274" y="235"/>
                  </a:cubicBezTo>
                  <a:cubicBezTo>
                    <a:pt x="272" y="232"/>
                    <a:pt x="272" y="232"/>
                    <a:pt x="272" y="232"/>
                  </a:cubicBezTo>
                  <a:cubicBezTo>
                    <a:pt x="272" y="232"/>
                    <a:pt x="266" y="239"/>
                    <a:pt x="266" y="242"/>
                  </a:cubicBezTo>
                  <a:cubicBezTo>
                    <a:pt x="265" y="245"/>
                    <a:pt x="266" y="247"/>
                    <a:pt x="266" y="248"/>
                  </a:cubicBezTo>
                  <a:cubicBezTo>
                    <a:pt x="266" y="249"/>
                    <a:pt x="264" y="250"/>
                    <a:pt x="265" y="251"/>
                  </a:cubicBezTo>
                  <a:close/>
                  <a:moveTo>
                    <a:pt x="282" y="233"/>
                  </a:moveTo>
                  <a:cubicBezTo>
                    <a:pt x="282" y="233"/>
                    <a:pt x="287" y="233"/>
                    <a:pt x="289" y="232"/>
                  </a:cubicBezTo>
                  <a:cubicBezTo>
                    <a:pt x="292" y="231"/>
                    <a:pt x="290" y="226"/>
                    <a:pt x="290" y="226"/>
                  </a:cubicBezTo>
                  <a:cubicBezTo>
                    <a:pt x="290" y="226"/>
                    <a:pt x="297" y="222"/>
                    <a:pt x="301" y="221"/>
                  </a:cubicBezTo>
                  <a:cubicBezTo>
                    <a:pt x="303" y="220"/>
                    <a:pt x="298" y="215"/>
                    <a:pt x="296" y="215"/>
                  </a:cubicBezTo>
                  <a:cubicBezTo>
                    <a:pt x="293" y="215"/>
                    <a:pt x="298" y="219"/>
                    <a:pt x="296" y="220"/>
                  </a:cubicBezTo>
                  <a:cubicBezTo>
                    <a:pt x="294" y="221"/>
                    <a:pt x="292" y="215"/>
                    <a:pt x="292" y="215"/>
                  </a:cubicBezTo>
                  <a:cubicBezTo>
                    <a:pt x="288" y="219"/>
                    <a:pt x="288" y="219"/>
                    <a:pt x="288" y="219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85" y="223"/>
                    <a:pt x="285" y="223"/>
                    <a:pt x="285" y="223"/>
                  </a:cubicBezTo>
                  <a:cubicBezTo>
                    <a:pt x="282" y="224"/>
                    <a:pt x="282" y="224"/>
                    <a:pt x="282" y="224"/>
                  </a:cubicBezTo>
                  <a:cubicBezTo>
                    <a:pt x="282" y="227"/>
                    <a:pt x="282" y="227"/>
                    <a:pt x="282" y="227"/>
                  </a:cubicBezTo>
                  <a:cubicBezTo>
                    <a:pt x="284" y="229"/>
                    <a:pt x="284" y="229"/>
                    <a:pt x="284" y="229"/>
                  </a:cubicBezTo>
                  <a:lnTo>
                    <a:pt x="282" y="233"/>
                  </a:lnTo>
                  <a:close/>
                  <a:moveTo>
                    <a:pt x="303" y="221"/>
                  </a:moveTo>
                  <a:cubicBezTo>
                    <a:pt x="303" y="223"/>
                    <a:pt x="301" y="226"/>
                    <a:pt x="301" y="226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11" y="216"/>
                    <a:pt x="311" y="216"/>
                    <a:pt x="311" y="216"/>
                  </a:cubicBezTo>
                  <a:cubicBezTo>
                    <a:pt x="313" y="220"/>
                    <a:pt x="313" y="220"/>
                    <a:pt x="313" y="220"/>
                  </a:cubicBezTo>
                  <a:cubicBezTo>
                    <a:pt x="322" y="207"/>
                    <a:pt x="322" y="207"/>
                    <a:pt x="322" y="207"/>
                  </a:cubicBezTo>
                  <a:cubicBezTo>
                    <a:pt x="322" y="207"/>
                    <a:pt x="317" y="208"/>
                    <a:pt x="317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05" y="213"/>
                    <a:pt x="305" y="213"/>
                    <a:pt x="305" y="213"/>
                  </a:cubicBezTo>
                  <a:cubicBezTo>
                    <a:pt x="306" y="217"/>
                    <a:pt x="306" y="217"/>
                    <a:pt x="306" y="217"/>
                  </a:cubicBezTo>
                  <a:cubicBezTo>
                    <a:pt x="303" y="216"/>
                    <a:pt x="303" y="216"/>
                    <a:pt x="303" y="216"/>
                  </a:cubicBezTo>
                  <a:cubicBezTo>
                    <a:pt x="303" y="216"/>
                    <a:pt x="304" y="219"/>
                    <a:pt x="303" y="221"/>
                  </a:cubicBezTo>
                  <a:close/>
                  <a:moveTo>
                    <a:pt x="362" y="187"/>
                  </a:moveTo>
                  <a:cubicBezTo>
                    <a:pt x="362" y="187"/>
                    <a:pt x="366" y="187"/>
                    <a:pt x="367" y="186"/>
                  </a:cubicBezTo>
                  <a:cubicBezTo>
                    <a:pt x="369" y="186"/>
                    <a:pt x="372" y="184"/>
                    <a:pt x="372" y="184"/>
                  </a:cubicBezTo>
                  <a:cubicBezTo>
                    <a:pt x="367" y="178"/>
                    <a:pt x="367" y="178"/>
                    <a:pt x="367" y="178"/>
                  </a:cubicBezTo>
                  <a:lnTo>
                    <a:pt x="362" y="187"/>
                  </a:lnTo>
                  <a:close/>
                  <a:moveTo>
                    <a:pt x="378" y="177"/>
                  </a:moveTo>
                  <a:cubicBezTo>
                    <a:pt x="377" y="175"/>
                    <a:pt x="376" y="174"/>
                    <a:pt x="374" y="174"/>
                  </a:cubicBezTo>
                  <a:cubicBezTo>
                    <a:pt x="371" y="173"/>
                    <a:pt x="369" y="175"/>
                    <a:pt x="369" y="175"/>
                  </a:cubicBezTo>
                  <a:cubicBezTo>
                    <a:pt x="369" y="175"/>
                    <a:pt x="370" y="182"/>
                    <a:pt x="373" y="182"/>
                  </a:cubicBezTo>
                  <a:cubicBezTo>
                    <a:pt x="375" y="183"/>
                    <a:pt x="379" y="178"/>
                    <a:pt x="378" y="177"/>
                  </a:cubicBezTo>
                  <a:close/>
                  <a:moveTo>
                    <a:pt x="352" y="177"/>
                  </a:moveTo>
                  <a:cubicBezTo>
                    <a:pt x="355" y="179"/>
                    <a:pt x="357" y="179"/>
                    <a:pt x="357" y="179"/>
                  </a:cubicBezTo>
                  <a:cubicBezTo>
                    <a:pt x="357" y="174"/>
                    <a:pt x="357" y="174"/>
                    <a:pt x="357" y="174"/>
                  </a:cubicBezTo>
                  <a:cubicBezTo>
                    <a:pt x="350" y="171"/>
                    <a:pt x="350" y="171"/>
                    <a:pt x="350" y="171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50" y="177"/>
                    <a:pt x="352" y="177"/>
                  </a:cubicBezTo>
                  <a:close/>
                  <a:moveTo>
                    <a:pt x="348" y="178"/>
                  </a:moveTo>
                  <a:cubicBezTo>
                    <a:pt x="344" y="183"/>
                    <a:pt x="344" y="183"/>
                    <a:pt x="344" y="183"/>
                  </a:cubicBezTo>
                  <a:cubicBezTo>
                    <a:pt x="348" y="188"/>
                    <a:pt x="348" y="188"/>
                    <a:pt x="348" y="188"/>
                  </a:cubicBezTo>
                  <a:cubicBezTo>
                    <a:pt x="344" y="189"/>
                    <a:pt x="344" y="189"/>
                    <a:pt x="344" y="189"/>
                  </a:cubicBezTo>
                  <a:cubicBezTo>
                    <a:pt x="337" y="201"/>
                    <a:pt x="337" y="201"/>
                    <a:pt x="337" y="201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2" y="177"/>
                    <a:pt x="338" y="175"/>
                  </a:cubicBezTo>
                  <a:cubicBezTo>
                    <a:pt x="333" y="173"/>
                    <a:pt x="333" y="185"/>
                    <a:pt x="333" y="185"/>
                  </a:cubicBezTo>
                  <a:cubicBezTo>
                    <a:pt x="330" y="186"/>
                    <a:pt x="330" y="186"/>
                    <a:pt x="330" y="186"/>
                  </a:cubicBezTo>
                  <a:cubicBezTo>
                    <a:pt x="331" y="197"/>
                    <a:pt x="331" y="197"/>
                    <a:pt x="331" y="197"/>
                  </a:cubicBezTo>
                  <a:cubicBezTo>
                    <a:pt x="324" y="202"/>
                    <a:pt x="324" y="202"/>
                    <a:pt x="324" y="202"/>
                  </a:cubicBezTo>
                  <a:cubicBezTo>
                    <a:pt x="325" y="206"/>
                    <a:pt x="325" y="206"/>
                    <a:pt x="325" y="206"/>
                  </a:cubicBezTo>
                  <a:cubicBezTo>
                    <a:pt x="319" y="218"/>
                    <a:pt x="319" y="218"/>
                    <a:pt x="319" y="218"/>
                  </a:cubicBezTo>
                  <a:cubicBezTo>
                    <a:pt x="322" y="218"/>
                    <a:pt x="322" y="218"/>
                    <a:pt x="322" y="218"/>
                  </a:cubicBezTo>
                  <a:cubicBezTo>
                    <a:pt x="331" y="208"/>
                    <a:pt x="331" y="208"/>
                    <a:pt x="331" y="208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35" y="215"/>
                    <a:pt x="335" y="215"/>
                    <a:pt x="335" y="215"/>
                  </a:cubicBezTo>
                  <a:cubicBezTo>
                    <a:pt x="336" y="215"/>
                    <a:pt x="337" y="209"/>
                    <a:pt x="337" y="209"/>
                  </a:cubicBezTo>
                  <a:cubicBezTo>
                    <a:pt x="340" y="211"/>
                    <a:pt x="340" y="211"/>
                    <a:pt x="340" y="211"/>
                  </a:cubicBezTo>
                  <a:cubicBezTo>
                    <a:pt x="340" y="211"/>
                    <a:pt x="345" y="202"/>
                    <a:pt x="346" y="200"/>
                  </a:cubicBezTo>
                  <a:cubicBezTo>
                    <a:pt x="347" y="198"/>
                    <a:pt x="354" y="198"/>
                    <a:pt x="354" y="198"/>
                  </a:cubicBezTo>
                  <a:cubicBezTo>
                    <a:pt x="354" y="198"/>
                    <a:pt x="357" y="193"/>
                    <a:pt x="358" y="188"/>
                  </a:cubicBezTo>
                  <a:cubicBezTo>
                    <a:pt x="359" y="184"/>
                    <a:pt x="348" y="178"/>
                    <a:pt x="348" y="178"/>
                  </a:cubicBezTo>
                  <a:close/>
                  <a:moveTo>
                    <a:pt x="330" y="179"/>
                  </a:moveTo>
                  <a:cubicBezTo>
                    <a:pt x="330" y="174"/>
                    <a:pt x="330" y="174"/>
                    <a:pt x="330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43" y="162"/>
                    <a:pt x="343" y="162"/>
                    <a:pt x="343" y="162"/>
                  </a:cubicBezTo>
                  <a:cubicBezTo>
                    <a:pt x="343" y="162"/>
                    <a:pt x="351" y="146"/>
                    <a:pt x="341" y="155"/>
                  </a:cubicBezTo>
                  <a:cubicBezTo>
                    <a:pt x="331" y="162"/>
                    <a:pt x="326" y="174"/>
                    <a:pt x="327" y="177"/>
                  </a:cubicBezTo>
                  <a:cubicBezTo>
                    <a:pt x="328" y="181"/>
                    <a:pt x="330" y="179"/>
                    <a:pt x="330" y="179"/>
                  </a:cubicBezTo>
                  <a:close/>
                  <a:moveTo>
                    <a:pt x="312" y="197"/>
                  </a:moveTo>
                  <a:cubicBezTo>
                    <a:pt x="315" y="194"/>
                    <a:pt x="319" y="192"/>
                    <a:pt x="319" y="192"/>
                  </a:cubicBezTo>
                  <a:cubicBezTo>
                    <a:pt x="313" y="199"/>
                    <a:pt x="313" y="199"/>
                    <a:pt x="313" y="199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27" y="191"/>
                    <a:pt x="327" y="191"/>
                    <a:pt x="327" y="191"/>
                  </a:cubicBezTo>
                  <a:cubicBezTo>
                    <a:pt x="325" y="187"/>
                    <a:pt x="325" y="187"/>
                    <a:pt x="325" y="187"/>
                  </a:cubicBezTo>
                  <a:cubicBezTo>
                    <a:pt x="327" y="185"/>
                    <a:pt x="327" y="185"/>
                    <a:pt x="327" y="185"/>
                  </a:cubicBezTo>
                  <a:cubicBezTo>
                    <a:pt x="322" y="171"/>
                    <a:pt x="322" y="171"/>
                    <a:pt x="322" y="171"/>
                  </a:cubicBezTo>
                  <a:cubicBezTo>
                    <a:pt x="315" y="172"/>
                    <a:pt x="315" y="172"/>
                    <a:pt x="315" y="172"/>
                  </a:cubicBezTo>
                  <a:cubicBezTo>
                    <a:pt x="320" y="183"/>
                    <a:pt x="320" y="183"/>
                    <a:pt x="320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7" y="188"/>
                    <a:pt x="317" y="188"/>
                    <a:pt x="317" y="188"/>
                  </a:cubicBezTo>
                  <a:cubicBezTo>
                    <a:pt x="309" y="186"/>
                    <a:pt x="309" y="186"/>
                    <a:pt x="309" y="186"/>
                  </a:cubicBezTo>
                  <a:cubicBezTo>
                    <a:pt x="309" y="186"/>
                    <a:pt x="306" y="191"/>
                    <a:pt x="305" y="194"/>
                  </a:cubicBezTo>
                  <a:cubicBezTo>
                    <a:pt x="303" y="199"/>
                    <a:pt x="308" y="198"/>
                    <a:pt x="312" y="197"/>
                  </a:cubicBezTo>
                  <a:close/>
                  <a:moveTo>
                    <a:pt x="309" y="186"/>
                  </a:moveTo>
                  <a:cubicBezTo>
                    <a:pt x="309" y="186"/>
                    <a:pt x="309" y="186"/>
                    <a:pt x="309" y="186"/>
                  </a:cubicBezTo>
                  <a:moveTo>
                    <a:pt x="313" y="206"/>
                  </a:moveTo>
                  <a:cubicBezTo>
                    <a:pt x="322" y="206"/>
                    <a:pt x="319" y="202"/>
                    <a:pt x="313" y="202"/>
                  </a:cubicBezTo>
                  <a:cubicBezTo>
                    <a:pt x="307" y="202"/>
                    <a:pt x="306" y="206"/>
                    <a:pt x="313" y="206"/>
                  </a:cubicBezTo>
                  <a:close/>
                  <a:moveTo>
                    <a:pt x="361" y="157"/>
                  </a:moveTo>
                  <a:cubicBezTo>
                    <a:pt x="367" y="159"/>
                    <a:pt x="367" y="159"/>
                    <a:pt x="367" y="159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62" y="168"/>
                    <a:pt x="368" y="170"/>
                    <a:pt x="371" y="168"/>
                  </a:cubicBezTo>
                  <a:cubicBezTo>
                    <a:pt x="376" y="157"/>
                    <a:pt x="376" y="157"/>
                    <a:pt x="376" y="157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9" y="144"/>
                    <a:pt x="389" y="144"/>
                    <a:pt x="389" y="144"/>
                  </a:cubicBezTo>
                  <a:cubicBezTo>
                    <a:pt x="389" y="144"/>
                    <a:pt x="391" y="135"/>
                    <a:pt x="384" y="132"/>
                  </a:cubicBezTo>
                  <a:cubicBezTo>
                    <a:pt x="376" y="129"/>
                    <a:pt x="370" y="139"/>
                    <a:pt x="370" y="139"/>
                  </a:cubicBezTo>
                  <a:cubicBezTo>
                    <a:pt x="375" y="145"/>
                    <a:pt x="375" y="145"/>
                    <a:pt x="375" y="145"/>
                  </a:cubicBezTo>
                  <a:cubicBezTo>
                    <a:pt x="371" y="143"/>
                    <a:pt x="371" y="143"/>
                    <a:pt x="371" y="143"/>
                  </a:cubicBezTo>
                  <a:cubicBezTo>
                    <a:pt x="371" y="143"/>
                    <a:pt x="362" y="144"/>
                    <a:pt x="362" y="145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7" y="152"/>
                    <a:pt x="367" y="152"/>
                    <a:pt x="367" y="152"/>
                  </a:cubicBezTo>
                  <a:cubicBezTo>
                    <a:pt x="360" y="155"/>
                    <a:pt x="360" y="155"/>
                    <a:pt x="360" y="155"/>
                  </a:cubicBezTo>
                  <a:lnTo>
                    <a:pt x="361" y="157"/>
                  </a:lnTo>
                  <a:close/>
                  <a:moveTo>
                    <a:pt x="401" y="132"/>
                  </a:moveTo>
                  <a:cubicBezTo>
                    <a:pt x="406" y="130"/>
                    <a:pt x="406" y="127"/>
                    <a:pt x="406" y="127"/>
                  </a:cubicBezTo>
                  <a:cubicBezTo>
                    <a:pt x="404" y="127"/>
                    <a:pt x="404" y="127"/>
                    <a:pt x="404" y="127"/>
                  </a:cubicBezTo>
                  <a:cubicBezTo>
                    <a:pt x="404" y="127"/>
                    <a:pt x="405" y="121"/>
                    <a:pt x="407" y="120"/>
                  </a:cubicBezTo>
                  <a:cubicBezTo>
                    <a:pt x="408" y="119"/>
                    <a:pt x="410" y="118"/>
                    <a:pt x="410" y="118"/>
                  </a:cubicBezTo>
                  <a:cubicBezTo>
                    <a:pt x="410" y="118"/>
                    <a:pt x="408" y="111"/>
                    <a:pt x="403" y="112"/>
                  </a:cubicBezTo>
                  <a:cubicBezTo>
                    <a:pt x="399" y="112"/>
                    <a:pt x="401" y="119"/>
                    <a:pt x="401" y="119"/>
                  </a:cubicBezTo>
                  <a:cubicBezTo>
                    <a:pt x="397" y="118"/>
                    <a:pt x="397" y="118"/>
                    <a:pt x="397" y="118"/>
                  </a:cubicBezTo>
                  <a:cubicBezTo>
                    <a:pt x="393" y="121"/>
                    <a:pt x="393" y="121"/>
                    <a:pt x="393" y="121"/>
                  </a:cubicBezTo>
                  <a:cubicBezTo>
                    <a:pt x="394" y="124"/>
                    <a:pt x="394" y="124"/>
                    <a:pt x="394" y="124"/>
                  </a:cubicBezTo>
                  <a:cubicBezTo>
                    <a:pt x="390" y="123"/>
                    <a:pt x="390" y="123"/>
                    <a:pt x="390" y="123"/>
                  </a:cubicBezTo>
                  <a:cubicBezTo>
                    <a:pt x="389" y="126"/>
                    <a:pt x="389" y="126"/>
                    <a:pt x="389" y="126"/>
                  </a:cubicBezTo>
                  <a:cubicBezTo>
                    <a:pt x="390" y="129"/>
                    <a:pt x="390" y="129"/>
                    <a:pt x="390" y="129"/>
                  </a:cubicBezTo>
                  <a:cubicBezTo>
                    <a:pt x="388" y="128"/>
                    <a:pt x="388" y="128"/>
                    <a:pt x="388" y="128"/>
                  </a:cubicBezTo>
                  <a:cubicBezTo>
                    <a:pt x="388" y="132"/>
                    <a:pt x="388" y="132"/>
                    <a:pt x="388" y="132"/>
                  </a:cubicBezTo>
                  <a:cubicBezTo>
                    <a:pt x="388" y="132"/>
                    <a:pt x="395" y="134"/>
                    <a:pt x="401" y="132"/>
                  </a:cubicBezTo>
                  <a:close/>
                  <a:moveTo>
                    <a:pt x="408" y="111"/>
                  </a:moveTo>
                  <a:cubicBezTo>
                    <a:pt x="410" y="112"/>
                    <a:pt x="411" y="112"/>
                    <a:pt x="411" y="112"/>
                  </a:cubicBezTo>
                  <a:cubicBezTo>
                    <a:pt x="412" y="115"/>
                    <a:pt x="412" y="115"/>
                    <a:pt x="412" y="115"/>
                  </a:cubicBezTo>
                  <a:cubicBezTo>
                    <a:pt x="412" y="115"/>
                    <a:pt x="420" y="113"/>
                    <a:pt x="420" y="109"/>
                  </a:cubicBezTo>
                  <a:cubicBezTo>
                    <a:pt x="420" y="106"/>
                    <a:pt x="420" y="106"/>
                    <a:pt x="420" y="106"/>
                  </a:cubicBezTo>
                  <a:cubicBezTo>
                    <a:pt x="420" y="106"/>
                    <a:pt x="426" y="104"/>
                    <a:pt x="424" y="102"/>
                  </a:cubicBezTo>
                  <a:cubicBezTo>
                    <a:pt x="423" y="99"/>
                    <a:pt x="418" y="100"/>
                    <a:pt x="418" y="100"/>
                  </a:cubicBezTo>
                  <a:cubicBezTo>
                    <a:pt x="418" y="100"/>
                    <a:pt x="416" y="96"/>
                    <a:pt x="411" y="97"/>
                  </a:cubicBezTo>
                  <a:cubicBezTo>
                    <a:pt x="408" y="98"/>
                    <a:pt x="403" y="106"/>
                    <a:pt x="403" y="106"/>
                  </a:cubicBezTo>
                  <a:cubicBezTo>
                    <a:pt x="403" y="106"/>
                    <a:pt x="406" y="110"/>
                    <a:pt x="408" y="111"/>
                  </a:cubicBezTo>
                  <a:close/>
                  <a:moveTo>
                    <a:pt x="424" y="106"/>
                  </a:moveTo>
                  <a:cubicBezTo>
                    <a:pt x="421" y="111"/>
                    <a:pt x="421" y="111"/>
                    <a:pt x="421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33" y="100"/>
                    <a:pt x="433" y="100"/>
                    <a:pt x="433" y="100"/>
                  </a:cubicBezTo>
                  <a:cubicBezTo>
                    <a:pt x="429" y="100"/>
                    <a:pt x="429" y="100"/>
                    <a:pt x="429" y="100"/>
                  </a:cubicBezTo>
                  <a:lnTo>
                    <a:pt x="424" y="106"/>
                  </a:lnTo>
                  <a:close/>
                  <a:moveTo>
                    <a:pt x="426" y="97"/>
                  </a:moveTo>
                  <a:cubicBezTo>
                    <a:pt x="433" y="98"/>
                    <a:pt x="434" y="97"/>
                    <a:pt x="433" y="93"/>
                  </a:cubicBezTo>
                  <a:cubicBezTo>
                    <a:pt x="431" y="90"/>
                    <a:pt x="427" y="87"/>
                    <a:pt x="427" y="87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2" y="83"/>
                    <a:pt x="422" y="83"/>
                    <a:pt x="422" y="83"/>
                  </a:cubicBezTo>
                  <a:cubicBezTo>
                    <a:pt x="420" y="87"/>
                    <a:pt x="420" y="87"/>
                    <a:pt x="420" y="87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4" y="94"/>
                    <a:pt x="422" y="96"/>
                    <a:pt x="426" y="97"/>
                  </a:cubicBezTo>
                  <a:close/>
                  <a:moveTo>
                    <a:pt x="421" y="95"/>
                  </a:moveTo>
                  <a:cubicBezTo>
                    <a:pt x="417" y="91"/>
                    <a:pt x="417" y="91"/>
                    <a:pt x="417" y="91"/>
                  </a:cubicBezTo>
                  <a:cubicBezTo>
                    <a:pt x="417" y="94"/>
                    <a:pt x="417" y="94"/>
                    <a:pt x="417" y="94"/>
                  </a:cubicBezTo>
                  <a:lnTo>
                    <a:pt x="421" y="95"/>
                  </a:lnTo>
                  <a:close/>
                  <a:moveTo>
                    <a:pt x="413" y="95"/>
                  </a:moveTo>
                  <a:cubicBezTo>
                    <a:pt x="415" y="87"/>
                    <a:pt x="415" y="87"/>
                    <a:pt x="415" y="87"/>
                  </a:cubicBezTo>
                  <a:cubicBezTo>
                    <a:pt x="409" y="84"/>
                    <a:pt x="409" y="84"/>
                    <a:pt x="409" y="84"/>
                  </a:cubicBezTo>
                  <a:cubicBezTo>
                    <a:pt x="409" y="95"/>
                    <a:pt x="409" y="95"/>
                    <a:pt x="409" y="95"/>
                  </a:cubicBezTo>
                  <a:lnTo>
                    <a:pt x="413" y="95"/>
                  </a:lnTo>
                  <a:close/>
                  <a:moveTo>
                    <a:pt x="407" y="97"/>
                  </a:moveTo>
                  <a:cubicBezTo>
                    <a:pt x="403" y="94"/>
                    <a:pt x="403" y="94"/>
                    <a:pt x="403" y="94"/>
                  </a:cubicBezTo>
                  <a:cubicBezTo>
                    <a:pt x="403" y="98"/>
                    <a:pt x="403" y="98"/>
                    <a:pt x="403" y="98"/>
                  </a:cubicBezTo>
                  <a:cubicBezTo>
                    <a:pt x="397" y="96"/>
                    <a:pt x="397" y="96"/>
                    <a:pt x="397" y="96"/>
                  </a:cubicBezTo>
                  <a:cubicBezTo>
                    <a:pt x="400" y="103"/>
                    <a:pt x="400" y="103"/>
                    <a:pt x="400" y="103"/>
                  </a:cubicBezTo>
                  <a:lnTo>
                    <a:pt x="407" y="97"/>
                  </a:lnTo>
                  <a:close/>
                  <a:moveTo>
                    <a:pt x="443" y="96"/>
                  </a:moveTo>
                  <a:cubicBezTo>
                    <a:pt x="449" y="97"/>
                    <a:pt x="452" y="90"/>
                    <a:pt x="449" y="84"/>
                  </a:cubicBezTo>
                  <a:cubicBezTo>
                    <a:pt x="446" y="79"/>
                    <a:pt x="441" y="83"/>
                    <a:pt x="440" y="90"/>
                  </a:cubicBezTo>
                  <a:cubicBezTo>
                    <a:pt x="439" y="95"/>
                    <a:pt x="443" y="96"/>
                    <a:pt x="443" y="96"/>
                  </a:cubicBezTo>
                  <a:close/>
                  <a:moveTo>
                    <a:pt x="455" y="99"/>
                  </a:moveTo>
                  <a:cubicBezTo>
                    <a:pt x="451" y="96"/>
                    <a:pt x="451" y="96"/>
                    <a:pt x="451" y="96"/>
                  </a:cubicBezTo>
                  <a:cubicBezTo>
                    <a:pt x="451" y="96"/>
                    <a:pt x="449" y="99"/>
                    <a:pt x="448" y="100"/>
                  </a:cubicBezTo>
                  <a:lnTo>
                    <a:pt x="455" y="99"/>
                  </a:lnTo>
                  <a:close/>
                  <a:moveTo>
                    <a:pt x="445" y="105"/>
                  </a:moveTo>
                  <a:cubicBezTo>
                    <a:pt x="444" y="111"/>
                    <a:pt x="444" y="111"/>
                    <a:pt x="444" y="111"/>
                  </a:cubicBezTo>
                  <a:cubicBezTo>
                    <a:pt x="449" y="109"/>
                    <a:pt x="449" y="109"/>
                    <a:pt x="449" y="109"/>
                  </a:cubicBezTo>
                  <a:cubicBezTo>
                    <a:pt x="448" y="104"/>
                    <a:pt x="448" y="104"/>
                    <a:pt x="448" y="104"/>
                  </a:cubicBezTo>
                  <a:lnTo>
                    <a:pt x="445" y="105"/>
                  </a:lnTo>
                  <a:close/>
                  <a:moveTo>
                    <a:pt x="474" y="58"/>
                  </a:moveTo>
                  <a:cubicBezTo>
                    <a:pt x="479" y="58"/>
                    <a:pt x="479" y="58"/>
                    <a:pt x="479" y="58"/>
                  </a:cubicBezTo>
                  <a:cubicBezTo>
                    <a:pt x="476" y="63"/>
                    <a:pt x="476" y="63"/>
                    <a:pt x="476" y="63"/>
                  </a:cubicBezTo>
                  <a:cubicBezTo>
                    <a:pt x="478" y="65"/>
                    <a:pt x="484" y="64"/>
                    <a:pt x="492" y="60"/>
                  </a:cubicBezTo>
                  <a:cubicBezTo>
                    <a:pt x="500" y="56"/>
                    <a:pt x="497" y="50"/>
                    <a:pt x="497" y="50"/>
                  </a:cubicBezTo>
                  <a:cubicBezTo>
                    <a:pt x="504" y="41"/>
                    <a:pt x="504" y="41"/>
                    <a:pt x="504" y="41"/>
                  </a:cubicBezTo>
                  <a:cubicBezTo>
                    <a:pt x="500" y="36"/>
                    <a:pt x="500" y="36"/>
                    <a:pt x="500" y="36"/>
                  </a:cubicBezTo>
                  <a:cubicBezTo>
                    <a:pt x="492" y="40"/>
                    <a:pt x="492" y="40"/>
                    <a:pt x="492" y="40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88" y="44"/>
                    <a:pt x="488" y="44"/>
                    <a:pt x="488" y="44"/>
                  </a:cubicBezTo>
                  <a:cubicBezTo>
                    <a:pt x="486" y="46"/>
                    <a:pt x="486" y="46"/>
                    <a:pt x="486" y="46"/>
                  </a:cubicBezTo>
                  <a:cubicBezTo>
                    <a:pt x="490" y="52"/>
                    <a:pt x="490" y="52"/>
                    <a:pt x="490" y="52"/>
                  </a:cubicBezTo>
                  <a:cubicBezTo>
                    <a:pt x="483" y="48"/>
                    <a:pt x="483" y="48"/>
                    <a:pt x="483" y="48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79" y="53"/>
                    <a:pt x="479" y="53"/>
                    <a:pt x="479" y="53"/>
                  </a:cubicBezTo>
                  <a:cubicBezTo>
                    <a:pt x="472" y="55"/>
                    <a:pt x="472" y="55"/>
                    <a:pt x="472" y="55"/>
                  </a:cubicBezTo>
                  <a:lnTo>
                    <a:pt x="474" y="58"/>
                  </a:lnTo>
                  <a:close/>
                  <a:moveTo>
                    <a:pt x="484" y="73"/>
                  </a:moveTo>
                  <a:cubicBezTo>
                    <a:pt x="484" y="76"/>
                    <a:pt x="489" y="76"/>
                    <a:pt x="489" y="76"/>
                  </a:cubicBezTo>
                  <a:cubicBezTo>
                    <a:pt x="489" y="76"/>
                    <a:pt x="498" y="77"/>
                    <a:pt x="497" y="73"/>
                  </a:cubicBezTo>
                  <a:cubicBezTo>
                    <a:pt x="497" y="68"/>
                    <a:pt x="482" y="66"/>
                    <a:pt x="484" y="73"/>
                  </a:cubicBezTo>
                  <a:close/>
                  <a:moveTo>
                    <a:pt x="503" y="55"/>
                  </a:moveTo>
                  <a:cubicBezTo>
                    <a:pt x="501" y="59"/>
                    <a:pt x="501" y="59"/>
                    <a:pt x="501" y="59"/>
                  </a:cubicBezTo>
                  <a:cubicBezTo>
                    <a:pt x="499" y="57"/>
                    <a:pt x="499" y="57"/>
                    <a:pt x="499" y="57"/>
                  </a:cubicBezTo>
                  <a:cubicBezTo>
                    <a:pt x="493" y="66"/>
                    <a:pt x="493" y="66"/>
                    <a:pt x="493" y="66"/>
                  </a:cubicBezTo>
                  <a:cubicBezTo>
                    <a:pt x="499" y="68"/>
                    <a:pt x="499" y="68"/>
                    <a:pt x="499" y="68"/>
                  </a:cubicBezTo>
                  <a:cubicBezTo>
                    <a:pt x="500" y="66"/>
                    <a:pt x="500" y="66"/>
                    <a:pt x="500" y="66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4" y="72"/>
                    <a:pt x="504" y="72"/>
                    <a:pt x="504" y="72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05" y="48"/>
                    <a:pt x="505" y="48"/>
                    <a:pt x="505" y="48"/>
                  </a:cubicBezTo>
                  <a:cubicBezTo>
                    <a:pt x="501" y="50"/>
                    <a:pt x="501" y="50"/>
                    <a:pt x="501" y="50"/>
                  </a:cubicBezTo>
                  <a:lnTo>
                    <a:pt x="503" y="55"/>
                  </a:lnTo>
                  <a:close/>
                  <a:moveTo>
                    <a:pt x="514" y="56"/>
                  </a:moveTo>
                  <a:cubicBezTo>
                    <a:pt x="517" y="56"/>
                    <a:pt x="521" y="48"/>
                    <a:pt x="516" y="43"/>
                  </a:cubicBezTo>
                  <a:cubicBezTo>
                    <a:pt x="509" y="37"/>
                    <a:pt x="505" y="43"/>
                    <a:pt x="508" y="50"/>
                  </a:cubicBezTo>
                  <a:cubicBezTo>
                    <a:pt x="508" y="50"/>
                    <a:pt x="510" y="56"/>
                    <a:pt x="514" y="56"/>
                  </a:cubicBezTo>
                  <a:close/>
                  <a:moveTo>
                    <a:pt x="513" y="22"/>
                  </a:moveTo>
                  <a:cubicBezTo>
                    <a:pt x="506" y="22"/>
                    <a:pt x="511" y="30"/>
                    <a:pt x="511" y="30"/>
                  </a:cubicBezTo>
                  <a:cubicBezTo>
                    <a:pt x="517" y="29"/>
                    <a:pt x="518" y="22"/>
                    <a:pt x="513" y="22"/>
                  </a:cubicBezTo>
                  <a:close/>
                  <a:moveTo>
                    <a:pt x="528" y="14"/>
                  </a:moveTo>
                  <a:cubicBezTo>
                    <a:pt x="523" y="17"/>
                    <a:pt x="523" y="17"/>
                    <a:pt x="523" y="17"/>
                  </a:cubicBezTo>
                  <a:cubicBezTo>
                    <a:pt x="531" y="19"/>
                    <a:pt x="531" y="19"/>
                    <a:pt x="531" y="19"/>
                  </a:cubicBezTo>
                  <a:lnTo>
                    <a:pt x="528" y="14"/>
                  </a:lnTo>
                  <a:close/>
                  <a:moveTo>
                    <a:pt x="538" y="19"/>
                  </a:moveTo>
                  <a:cubicBezTo>
                    <a:pt x="539" y="19"/>
                    <a:pt x="541" y="17"/>
                    <a:pt x="541" y="17"/>
                  </a:cubicBezTo>
                  <a:cubicBezTo>
                    <a:pt x="541" y="20"/>
                    <a:pt x="541" y="20"/>
                    <a:pt x="541" y="20"/>
                  </a:cubicBezTo>
                  <a:cubicBezTo>
                    <a:pt x="548" y="22"/>
                    <a:pt x="548" y="22"/>
                    <a:pt x="548" y="22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559" y="12"/>
                    <a:pt x="559" y="12"/>
                    <a:pt x="559" y="12"/>
                  </a:cubicBezTo>
                  <a:cubicBezTo>
                    <a:pt x="553" y="16"/>
                    <a:pt x="553" y="16"/>
                    <a:pt x="553" y="16"/>
                  </a:cubicBezTo>
                  <a:cubicBezTo>
                    <a:pt x="550" y="14"/>
                    <a:pt x="550" y="14"/>
                    <a:pt x="550" y="14"/>
                  </a:cubicBezTo>
                  <a:cubicBezTo>
                    <a:pt x="555" y="10"/>
                    <a:pt x="555" y="10"/>
                    <a:pt x="555" y="10"/>
                  </a:cubicBezTo>
                  <a:cubicBezTo>
                    <a:pt x="552" y="6"/>
                    <a:pt x="552" y="6"/>
                    <a:pt x="552" y="6"/>
                  </a:cubicBezTo>
                  <a:cubicBezTo>
                    <a:pt x="550" y="10"/>
                    <a:pt x="550" y="10"/>
                    <a:pt x="550" y="10"/>
                  </a:cubicBezTo>
                  <a:cubicBezTo>
                    <a:pt x="548" y="5"/>
                    <a:pt x="548" y="5"/>
                    <a:pt x="548" y="5"/>
                  </a:cubicBezTo>
                  <a:cubicBezTo>
                    <a:pt x="544" y="8"/>
                    <a:pt x="544" y="8"/>
                    <a:pt x="544" y="8"/>
                  </a:cubicBezTo>
                  <a:cubicBezTo>
                    <a:pt x="546" y="12"/>
                    <a:pt x="546" y="12"/>
                    <a:pt x="546" y="12"/>
                  </a:cubicBezTo>
                  <a:cubicBezTo>
                    <a:pt x="537" y="14"/>
                    <a:pt x="537" y="14"/>
                    <a:pt x="537" y="14"/>
                  </a:cubicBezTo>
                  <a:lnTo>
                    <a:pt x="538" y="19"/>
                  </a:lnTo>
                  <a:close/>
                  <a:moveTo>
                    <a:pt x="658" y="62"/>
                  </a:moveTo>
                  <a:cubicBezTo>
                    <a:pt x="659" y="72"/>
                    <a:pt x="659" y="72"/>
                    <a:pt x="659" y="72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2" y="60"/>
                    <a:pt x="662" y="60"/>
                    <a:pt x="662" y="60"/>
                  </a:cubicBezTo>
                  <a:lnTo>
                    <a:pt x="658" y="6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Es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671E315-3C47-824F-A5A3-69AB71AF8C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9465" y="2996422"/>
              <a:ext cx="513227" cy="326749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Weiß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8C100FD-BEE3-1C42-8D88-5EE56446FF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3604" y="3489846"/>
              <a:ext cx="871330" cy="788819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Let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165B0C-0C09-8A4A-9C6B-43FD4A0558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8112" y="3255510"/>
              <a:ext cx="636995" cy="359755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Moldawien" descr="© INSCALE GmbH, 05.05.2010&#10;http://www.presentationload.com/">
              <a:extLst>
                <a:ext uri="{FF2B5EF4-FFF2-40B4-BE49-F238E27FC236}">
                  <a16:creationId xmlns:a16="http://schemas.microsoft.com/office/drawing/2014/main" id="{49A541BA-EE10-0C4F-96B4-A95A88D331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3924" y="4656571"/>
              <a:ext cx="429064" cy="448867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7" name="Fin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D681938-DCF9-3D4F-9FBD-19B7F7E68B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65919" y="1417135"/>
              <a:ext cx="912587" cy="1608991"/>
            </a:xfrm>
            <a:custGeom>
              <a:avLst/>
              <a:gdLst/>
              <a:ahLst/>
              <a:cxnLst>
                <a:cxn ang="0">
                  <a:pos x="318" y="380"/>
                </a:cxn>
                <a:cxn ang="0">
                  <a:pos x="302" y="312"/>
                </a:cxn>
                <a:cxn ang="0">
                  <a:pos x="283" y="281"/>
                </a:cxn>
                <a:cxn ang="0">
                  <a:pos x="264" y="225"/>
                </a:cxn>
                <a:cxn ang="0">
                  <a:pos x="205" y="113"/>
                </a:cxn>
                <a:cxn ang="0">
                  <a:pos x="202" y="27"/>
                </a:cxn>
                <a:cxn ang="0">
                  <a:pos x="124" y="29"/>
                </a:cxn>
                <a:cxn ang="0">
                  <a:pos x="105" y="103"/>
                </a:cxn>
                <a:cxn ang="0">
                  <a:pos x="51" y="107"/>
                </a:cxn>
                <a:cxn ang="0">
                  <a:pos x="2" y="90"/>
                </a:cxn>
                <a:cxn ang="0">
                  <a:pos x="23" y="108"/>
                </a:cxn>
                <a:cxn ang="0">
                  <a:pos x="63" y="131"/>
                </a:cxn>
                <a:cxn ang="0">
                  <a:pos x="86" y="186"/>
                </a:cxn>
                <a:cxn ang="0">
                  <a:pos x="106" y="229"/>
                </a:cxn>
                <a:cxn ang="0">
                  <a:pos x="116" y="275"/>
                </a:cxn>
                <a:cxn ang="0">
                  <a:pos x="147" y="294"/>
                </a:cxn>
                <a:cxn ang="0">
                  <a:pos x="163" y="331"/>
                </a:cxn>
                <a:cxn ang="0">
                  <a:pos x="147" y="355"/>
                </a:cxn>
                <a:cxn ang="0">
                  <a:pos x="131" y="401"/>
                </a:cxn>
                <a:cxn ang="0">
                  <a:pos x="108" y="414"/>
                </a:cxn>
                <a:cxn ang="0">
                  <a:pos x="111" y="430"/>
                </a:cxn>
                <a:cxn ang="0">
                  <a:pos x="96" y="438"/>
                </a:cxn>
                <a:cxn ang="0">
                  <a:pos x="80" y="462"/>
                </a:cxn>
                <a:cxn ang="0">
                  <a:pos x="77" y="486"/>
                </a:cxn>
                <a:cxn ang="0">
                  <a:pos x="80" y="523"/>
                </a:cxn>
                <a:cxn ang="0">
                  <a:pos x="91" y="559"/>
                </a:cxn>
                <a:cxn ang="0">
                  <a:pos x="93" y="572"/>
                </a:cxn>
                <a:cxn ang="0">
                  <a:pos x="95" y="598"/>
                </a:cxn>
                <a:cxn ang="0">
                  <a:pos x="95" y="613"/>
                </a:cxn>
                <a:cxn ang="0">
                  <a:pos x="104" y="635"/>
                </a:cxn>
                <a:cxn ang="0">
                  <a:pos x="118" y="635"/>
                </a:cxn>
                <a:cxn ang="0">
                  <a:pos x="144" y="645"/>
                </a:cxn>
                <a:cxn ang="0">
                  <a:pos x="157" y="656"/>
                </a:cxn>
                <a:cxn ang="0">
                  <a:pos x="161" y="666"/>
                </a:cxn>
                <a:cxn ang="0">
                  <a:pos x="189" y="654"/>
                </a:cxn>
                <a:cxn ang="0">
                  <a:pos x="206" y="645"/>
                </a:cxn>
                <a:cxn ang="0">
                  <a:pos x="248" y="626"/>
                </a:cxn>
                <a:cxn ang="0">
                  <a:pos x="260" y="617"/>
                </a:cxn>
                <a:cxn ang="0">
                  <a:pos x="293" y="603"/>
                </a:cxn>
                <a:cxn ang="0">
                  <a:pos x="328" y="554"/>
                </a:cxn>
                <a:cxn ang="0">
                  <a:pos x="382" y="418"/>
                </a:cxn>
                <a:cxn ang="0">
                  <a:pos x="60" y="653"/>
                </a:cxn>
                <a:cxn ang="0">
                  <a:pos x="45" y="651"/>
                </a:cxn>
                <a:cxn ang="0">
                  <a:pos x="50" y="670"/>
                </a:cxn>
                <a:cxn ang="0">
                  <a:pos x="39" y="658"/>
                </a:cxn>
                <a:cxn ang="0">
                  <a:pos x="55" y="670"/>
                </a:cxn>
                <a:cxn ang="0">
                  <a:pos x="107" y="657"/>
                </a:cxn>
                <a:cxn ang="0">
                  <a:pos x="113" y="654"/>
                </a:cxn>
                <a:cxn ang="0">
                  <a:pos x="148" y="643"/>
                </a:cxn>
                <a:cxn ang="0">
                  <a:pos x="136" y="655"/>
                </a:cxn>
                <a:cxn ang="0">
                  <a:pos x="147" y="649"/>
                </a:cxn>
                <a:cxn ang="0">
                  <a:pos x="112" y="643"/>
                </a:cxn>
                <a:cxn ang="0">
                  <a:pos x="99" y="634"/>
                </a:cxn>
                <a:cxn ang="0">
                  <a:pos x="94" y="628"/>
                </a:cxn>
                <a:cxn ang="0">
                  <a:pos x="175" y="667"/>
                </a:cxn>
                <a:cxn ang="0">
                  <a:pos x="62" y="461"/>
                </a:cxn>
                <a:cxn ang="0">
                  <a:pos x="72" y="456"/>
                </a:cxn>
                <a:cxn ang="0">
                  <a:pos x="157" y="329"/>
                </a:cxn>
                <a:cxn ang="0">
                  <a:pos x="153" y="336"/>
                </a:cxn>
                <a:cxn ang="0">
                  <a:pos x="243" y="631"/>
                </a:cxn>
                <a:cxn ang="0">
                  <a:pos x="265" y="614"/>
                </a:cxn>
              </a:cxnLst>
              <a:rect l="0" t="0" r="r" b="b"/>
              <a:pathLst>
                <a:path w="382" h="674">
                  <a:moveTo>
                    <a:pt x="382" y="418"/>
                  </a:moveTo>
                  <a:cubicBezTo>
                    <a:pt x="381" y="412"/>
                    <a:pt x="369" y="412"/>
                    <a:pt x="369" y="412"/>
                  </a:cubicBezTo>
                  <a:cubicBezTo>
                    <a:pt x="366" y="404"/>
                    <a:pt x="366" y="404"/>
                    <a:pt x="366" y="404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39" y="394"/>
                    <a:pt x="339" y="394"/>
                    <a:pt x="339" y="394"/>
                  </a:cubicBezTo>
                  <a:cubicBezTo>
                    <a:pt x="318" y="380"/>
                    <a:pt x="318" y="380"/>
                    <a:pt x="318" y="380"/>
                  </a:cubicBezTo>
                  <a:cubicBezTo>
                    <a:pt x="327" y="374"/>
                    <a:pt x="327" y="374"/>
                    <a:pt x="327" y="374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26" y="370"/>
                    <a:pt x="331" y="355"/>
                    <a:pt x="327" y="346"/>
                  </a:cubicBezTo>
                  <a:cubicBezTo>
                    <a:pt x="323" y="338"/>
                    <a:pt x="313" y="344"/>
                    <a:pt x="308" y="335"/>
                  </a:cubicBezTo>
                  <a:cubicBezTo>
                    <a:pt x="301" y="326"/>
                    <a:pt x="307" y="320"/>
                    <a:pt x="307" y="320"/>
                  </a:cubicBezTo>
                  <a:cubicBezTo>
                    <a:pt x="302" y="312"/>
                    <a:pt x="302" y="312"/>
                    <a:pt x="302" y="312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285" y="301"/>
                    <a:pt x="285" y="301"/>
                    <a:pt x="285" y="301"/>
                  </a:cubicBezTo>
                  <a:cubicBezTo>
                    <a:pt x="292" y="296"/>
                    <a:pt x="292" y="296"/>
                    <a:pt x="292" y="296"/>
                  </a:cubicBezTo>
                  <a:cubicBezTo>
                    <a:pt x="291" y="291"/>
                    <a:pt x="291" y="291"/>
                    <a:pt x="291" y="291"/>
                  </a:cubicBezTo>
                  <a:cubicBezTo>
                    <a:pt x="280" y="293"/>
                    <a:pt x="280" y="293"/>
                    <a:pt x="280" y="293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0" y="272"/>
                    <a:pt x="280" y="272"/>
                    <a:pt x="280" y="272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8" y="259"/>
                    <a:pt x="288" y="259"/>
                    <a:pt x="288" y="259"/>
                  </a:cubicBezTo>
                  <a:cubicBezTo>
                    <a:pt x="288" y="259"/>
                    <a:pt x="286" y="249"/>
                    <a:pt x="281" y="240"/>
                  </a:cubicBezTo>
                  <a:cubicBezTo>
                    <a:pt x="277" y="232"/>
                    <a:pt x="264" y="225"/>
                    <a:pt x="264" y="225"/>
                  </a:cubicBezTo>
                  <a:cubicBezTo>
                    <a:pt x="261" y="223"/>
                    <a:pt x="262" y="214"/>
                    <a:pt x="254" y="208"/>
                  </a:cubicBezTo>
                  <a:cubicBezTo>
                    <a:pt x="248" y="204"/>
                    <a:pt x="237" y="187"/>
                    <a:pt x="237" y="187"/>
                  </a:cubicBezTo>
                  <a:cubicBezTo>
                    <a:pt x="237" y="187"/>
                    <a:pt x="252" y="152"/>
                    <a:pt x="251" y="142"/>
                  </a:cubicBezTo>
                  <a:cubicBezTo>
                    <a:pt x="250" y="133"/>
                    <a:pt x="238" y="133"/>
                    <a:pt x="238" y="133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05" y="113"/>
                    <a:pt x="205" y="113"/>
                    <a:pt x="205" y="113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9" y="70"/>
                    <a:pt x="199" y="70"/>
                    <a:pt x="199" y="70"/>
                  </a:cubicBezTo>
                  <a:cubicBezTo>
                    <a:pt x="188" y="68"/>
                    <a:pt x="188" y="68"/>
                    <a:pt x="188" y="68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197" y="57"/>
                    <a:pt x="194" y="52"/>
                    <a:pt x="194" y="46"/>
                  </a:cubicBezTo>
                  <a:cubicBezTo>
                    <a:pt x="194" y="41"/>
                    <a:pt x="202" y="27"/>
                    <a:pt x="202" y="27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13"/>
                    <a:pt x="163" y="0"/>
                    <a:pt x="157" y="1"/>
                  </a:cubicBezTo>
                  <a:cubicBezTo>
                    <a:pt x="151" y="2"/>
                    <a:pt x="142" y="14"/>
                    <a:pt x="142" y="14"/>
                  </a:cubicBezTo>
                  <a:cubicBezTo>
                    <a:pt x="142" y="14"/>
                    <a:pt x="135" y="12"/>
                    <a:pt x="129" y="15"/>
                  </a:cubicBezTo>
                  <a:cubicBezTo>
                    <a:pt x="123" y="17"/>
                    <a:pt x="124" y="29"/>
                    <a:pt x="124" y="29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1" y="75"/>
                    <a:pt x="122" y="80"/>
                  </a:cubicBezTo>
                  <a:cubicBezTo>
                    <a:pt x="122" y="86"/>
                    <a:pt x="119" y="90"/>
                    <a:pt x="117" y="93"/>
                  </a:cubicBezTo>
                  <a:cubicBezTo>
                    <a:pt x="114" y="97"/>
                    <a:pt x="112" y="110"/>
                    <a:pt x="112" y="110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1" y="97"/>
                    <a:pt x="86" y="97"/>
                  </a:cubicBezTo>
                  <a:cubicBezTo>
                    <a:pt x="80" y="97"/>
                    <a:pt x="78" y="105"/>
                    <a:pt x="78" y="105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4" y="99"/>
                    <a:pt x="37" y="93"/>
                  </a:cubicBezTo>
                  <a:cubicBezTo>
                    <a:pt x="32" y="88"/>
                    <a:pt x="25" y="78"/>
                    <a:pt x="25" y="78"/>
                  </a:cubicBezTo>
                  <a:cubicBezTo>
                    <a:pt x="25" y="78"/>
                    <a:pt x="16" y="75"/>
                    <a:pt x="12" y="80"/>
                  </a:cubicBezTo>
                  <a:cubicBezTo>
                    <a:pt x="6" y="84"/>
                    <a:pt x="14" y="91"/>
                    <a:pt x="13" y="93"/>
                  </a:cubicBezTo>
                  <a:cubicBezTo>
                    <a:pt x="11" y="95"/>
                    <a:pt x="2" y="90"/>
                    <a:pt x="2" y="9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53" y="126"/>
                    <a:pt x="63" y="131"/>
                  </a:cubicBezTo>
                  <a:cubicBezTo>
                    <a:pt x="72" y="136"/>
                    <a:pt x="73" y="146"/>
                    <a:pt x="73" y="146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86" y="152"/>
                    <a:pt x="88" y="155"/>
                  </a:cubicBezTo>
                  <a:cubicBezTo>
                    <a:pt x="90" y="158"/>
                    <a:pt x="85" y="158"/>
                    <a:pt x="84" y="162"/>
                  </a:cubicBezTo>
                  <a:cubicBezTo>
                    <a:pt x="83" y="167"/>
                    <a:pt x="85" y="170"/>
                    <a:pt x="86" y="174"/>
                  </a:cubicBezTo>
                  <a:cubicBezTo>
                    <a:pt x="88" y="180"/>
                    <a:pt x="86" y="186"/>
                    <a:pt x="86" y="186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95" y="197"/>
                    <a:pt x="94" y="199"/>
                    <a:pt x="94" y="204"/>
                  </a:cubicBezTo>
                  <a:cubicBezTo>
                    <a:pt x="94" y="210"/>
                    <a:pt x="103" y="215"/>
                    <a:pt x="105" y="218"/>
                  </a:cubicBezTo>
                  <a:cubicBezTo>
                    <a:pt x="107" y="222"/>
                    <a:pt x="106" y="229"/>
                    <a:pt x="106" y="229"/>
                  </a:cubicBezTo>
                  <a:cubicBezTo>
                    <a:pt x="106" y="229"/>
                    <a:pt x="108" y="233"/>
                    <a:pt x="110" y="237"/>
                  </a:cubicBezTo>
                  <a:cubicBezTo>
                    <a:pt x="111" y="240"/>
                    <a:pt x="106" y="243"/>
                    <a:pt x="103" y="248"/>
                  </a:cubicBezTo>
                  <a:cubicBezTo>
                    <a:pt x="101" y="252"/>
                    <a:pt x="106" y="253"/>
                    <a:pt x="106" y="253"/>
                  </a:cubicBezTo>
                  <a:cubicBezTo>
                    <a:pt x="106" y="253"/>
                    <a:pt x="106" y="254"/>
                    <a:pt x="105" y="260"/>
                  </a:cubicBezTo>
                  <a:cubicBezTo>
                    <a:pt x="105" y="264"/>
                    <a:pt x="112" y="265"/>
                    <a:pt x="114" y="266"/>
                  </a:cubicBezTo>
                  <a:cubicBezTo>
                    <a:pt x="116" y="268"/>
                    <a:pt x="115" y="271"/>
                    <a:pt x="116" y="275"/>
                  </a:cubicBezTo>
                  <a:cubicBezTo>
                    <a:pt x="117" y="279"/>
                    <a:pt x="122" y="281"/>
                    <a:pt x="122" y="281"/>
                  </a:cubicBezTo>
                  <a:cubicBezTo>
                    <a:pt x="123" y="288"/>
                    <a:pt x="123" y="288"/>
                    <a:pt x="123" y="288"/>
                  </a:cubicBezTo>
                  <a:cubicBezTo>
                    <a:pt x="128" y="286"/>
                    <a:pt x="128" y="286"/>
                    <a:pt x="128" y="286"/>
                  </a:cubicBezTo>
                  <a:cubicBezTo>
                    <a:pt x="139" y="293"/>
                    <a:pt x="139" y="293"/>
                    <a:pt x="139" y="293"/>
                  </a:cubicBezTo>
                  <a:cubicBezTo>
                    <a:pt x="139" y="295"/>
                    <a:pt x="139" y="295"/>
                    <a:pt x="139" y="295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54" y="297"/>
                    <a:pt x="154" y="297"/>
                    <a:pt x="154" y="297"/>
                  </a:cubicBezTo>
                  <a:cubicBezTo>
                    <a:pt x="154" y="297"/>
                    <a:pt x="159" y="301"/>
                    <a:pt x="162" y="308"/>
                  </a:cubicBezTo>
                  <a:cubicBezTo>
                    <a:pt x="166" y="314"/>
                    <a:pt x="162" y="324"/>
                    <a:pt x="162" y="324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2" y="334"/>
                    <a:pt x="162" y="334"/>
                    <a:pt x="162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7" y="342"/>
                    <a:pt x="160" y="340"/>
                    <a:pt x="154" y="341"/>
                  </a:cubicBezTo>
                  <a:cubicBezTo>
                    <a:pt x="150" y="342"/>
                    <a:pt x="147" y="346"/>
                    <a:pt x="147" y="346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66"/>
                    <a:pt x="145" y="366"/>
                    <a:pt x="145" y="366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37" y="376"/>
                    <a:pt x="137" y="376"/>
                    <a:pt x="137" y="376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1" y="401"/>
                    <a:pt x="131" y="401"/>
                    <a:pt x="131" y="401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409"/>
                    <a:pt x="124" y="409"/>
                    <a:pt x="124" y="409"/>
                  </a:cubicBezTo>
                  <a:cubicBezTo>
                    <a:pt x="117" y="413"/>
                    <a:pt x="117" y="413"/>
                    <a:pt x="117" y="413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2" y="413"/>
                    <a:pt x="112" y="413"/>
                    <a:pt x="112" y="413"/>
                  </a:cubicBezTo>
                  <a:cubicBezTo>
                    <a:pt x="108" y="414"/>
                    <a:pt x="108" y="414"/>
                    <a:pt x="108" y="414"/>
                  </a:cubicBezTo>
                  <a:cubicBezTo>
                    <a:pt x="108" y="417"/>
                    <a:pt x="108" y="417"/>
                    <a:pt x="108" y="417"/>
                  </a:cubicBezTo>
                  <a:cubicBezTo>
                    <a:pt x="106" y="418"/>
                    <a:pt x="106" y="418"/>
                    <a:pt x="106" y="418"/>
                  </a:cubicBezTo>
                  <a:cubicBezTo>
                    <a:pt x="105" y="421"/>
                    <a:pt x="105" y="421"/>
                    <a:pt x="105" y="421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3" y="422"/>
                    <a:pt x="113" y="422"/>
                    <a:pt x="113" y="422"/>
                  </a:cubicBezTo>
                  <a:cubicBezTo>
                    <a:pt x="111" y="430"/>
                    <a:pt x="111" y="430"/>
                    <a:pt x="111" y="430"/>
                  </a:cubicBezTo>
                  <a:cubicBezTo>
                    <a:pt x="111" y="430"/>
                    <a:pt x="107" y="426"/>
                    <a:pt x="104" y="428"/>
                  </a:cubicBezTo>
                  <a:cubicBezTo>
                    <a:pt x="100" y="430"/>
                    <a:pt x="102" y="436"/>
                    <a:pt x="102" y="436"/>
                  </a:cubicBezTo>
                  <a:cubicBezTo>
                    <a:pt x="102" y="439"/>
                    <a:pt x="102" y="439"/>
                    <a:pt x="102" y="439"/>
                  </a:cubicBezTo>
                  <a:cubicBezTo>
                    <a:pt x="101" y="441"/>
                    <a:pt x="100" y="442"/>
                    <a:pt x="100" y="442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6" y="438"/>
                    <a:pt x="96" y="438"/>
                    <a:pt x="96" y="438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444"/>
                    <a:pt x="99" y="455"/>
                    <a:pt x="98" y="457"/>
                  </a:cubicBezTo>
                  <a:cubicBezTo>
                    <a:pt x="97" y="460"/>
                    <a:pt x="91" y="458"/>
                    <a:pt x="89" y="458"/>
                  </a:cubicBezTo>
                  <a:cubicBezTo>
                    <a:pt x="82" y="458"/>
                    <a:pt x="82" y="458"/>
                    <a:pt x="82" y="458"/>
                  </a:cubicBezTo>
                  <a:cubicBezTo>
                    <a:pt x="82" y="458"/>
                    <a:pt x="82" y="462"/>
                    <a:pt x="80" y="462"/>
                  </a:cubicBezTo>
                  <a:cubicBezTo>
                    <a:pt x="79" y="462"/>
                    <a:pt x="77" y="459"/>
                    <a:pt x="77" y="459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83" y="475"/>
                    <a:pt x="83" y="475"/>
                    <a:pt x="83" y="475"/>
                  </a:cubicBezTo>
                  <a:cubicBezTo>
                    <a:pt x="77" y="474"/>
                    <a:pt x="77" y="474"/>
                    <a:pt x="77" y="474"/>
                  </a:cubicBezTo>
                  <a:cubicBezTo>
                    <a:pt x="75" y="482"/>
                    <a:pt x="75" y="482"/>
                    <a:pt x="75" y="482"/>
                  </a:cubicBezTo>
                  <a:cubicBezTo>
                    <a:pt x="75" y="482"/>
                    <a:pt x="77" y="484"/>
                    <a:pt x="77" y="486"/>
                  </a:cubicBezTo>
                  <a:cubicBezTo>
                    <a:pt x="77" y="487"/>
                    <a:pt x="72" y="487"/>
                    <a:pt x="72" y="487"/>
                  </a:cubicBezTo>
                  <a:cubicBezTo>
                    <a:pt x="69" y="492"/>
                    <a:pt x="69" y="492"/>
                    <a:pt x="69" y="492"/>
                  </a:cubicBezTo>
                  <a:cubicBezTo>
                    <a:pt x="68" y="504"/>
                    <a:pt x="68" y="504"/>
                    <a:pt x="68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72" y="504"/>
                    <a:pt x="69" y="508"/>
                    <a:pt x="70" y="513"/>
                  </a:cubicBezTo>
                  <a:cubicBezTo>
                    <a:pt x="70" y="517"/>
                    <a:pt x="78" y="519"/>
                    <a:pt x="80" y="523"/>
                  </a:cubicBezTo>
                  <a:cubicBezTo>
                    <a:pt x="83" y="528"/>
                    <a:pt x="80" y="534"/>
                    <a:pt x="80" y="534"/>
                  </a:cubicBezTo>
                  <a:cubicBezTo>
                    <a:pt x="80" y="543"/>
                    <a:pt x="80" y="543"/>
                    <a:pt x="80" y="543"/>
                  </a:cubicBezTo>
                  <a:cubicBezTo>
                    <a:pt x="83" y="546"/>
                    <a:pt x="83" y="546"/>
                    <a:pt x="83" y="546"/>
                  </a:cubicBezTo>
                  <a:cubicBezTo>
                    <a:pt x="86" y="544"/>
                    <a:pt x="86" y="544"/>
                    <a:pt x="86" y="544"/>
                  </a:cubicBezTo>
                  <a:cubicBezTo>
                    <a:pt x="86" y="544"/>
                    <a:pt x="86" y="550"/>
                    <a:pt x="87" y="552"/>
                  </a:cubicBezTo>
                  <a:cubicBezTo>
                    <a:pt x="88" y="555"/>
                    <a:pt x="91" y="559"/>
                    <a:pt x="91" y="559"/>
                  </a:cubicBezTo>
                  <a:cubicBezTo>
                    <a:pt x="90" y="561"/>
                    <a:pt x="90" y="561"/>
                    <a:pt x="90" y="561"/>
                  </a:cubicBezTo>
                  <a:cubicBezTo>
                    <a:pt x="94" y="562"/>
                    <a:pt x="94" y="562"/>
                    <a:pt x="94" y="562"/>
                  </a:cubicBezTo>
                  <a:cubicBezTo>
                    <a:pt x="95" y="567"/>
                    <a:pt x="95" y="567"/>
                    <a:pt x="95" y="567"/>
                  </a:cubicBezTo>
                  <a:cubicBezTo>
                    <a:pt x="90" y="566"/>
                    <a:pt x="90" y="566"/>
                    <a:pt x="90" y="566"/>
                  </a:cubicBezTo>
                  <a:cubicBezTo>
                    <a:pt x="90" y="569"/>
                    <a:pt x="90" y="569"/>
                    <a:pt x="90" y="569"/>
                  </a:cubicBezTo>
                  <a:cubicBezTo>
                    <a:pt x="93" y="572"/>
                    <a:pt x="93" y="572"/>
                    <a:pt x="93" y="572"/>
                  </a:cubicBezTo>
                  <a:cubicBezTo>
                    <a:pt x="89" y="572"/>
                    <a:pt x="89" y="572"/>
                    <a:pt x="89" y="572"/>
                  </a:cubicBezTo>
                  <a:cubicBezTo>
                    <a:pt x="93" y="577"/>
                    <a:pt x="93" y="577"/>
                    <a:pt x="93" y="577"/>
                  </a:cubicBezTo>
                  <a:cubicBezTo>
                    <a:pt x="90" y="578"/>
                    <a:pt x="90" y="578"/>
                    <a:pt x="90" y="578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5" y="584"/>
                    <a:pt x="96" y="588"/>
                    <a:pt x="94" y="591"/>
                  </a:cubicBezTo>
                  <a:cubicBezTo>
                    <a:pt x="91" y="593"/>
                    <a:pt x="95" y="598"/>
                    <a:pt x="95" y="598"/>
                  </a:cubicBezTo>
                  <a:cubicBezTo>
                    <a:pt x="95" y="598"/>
                    <a:pt x="90" y="599"/>
                    <a:pt x="90" y="603"/>
                  </a:cubicBezTo>
                  <a:cubicBezTo>
                    <a:pt x="91" y="607"/>
                    <a:pt x="94" y="610"/>
                    <a:pt x="94" y="610"/>
                  </a:cubicBezTo>
                  <a:cubicBezTo>
                    <a:pt x="91" y="610"/>
                    <a:pt x="91" y="610"/>
                    <a:pt x="91" y="610"/>
                  </a:cubicBezTo>
                  <a:cubicBezTo>
                    <a:pt x="88" y="607"/>
                    <a:pt x="88" y="607"/>
                    <a:pt x="88" y="607"/>
                  </a:cubicBezTo>
                  <a:cubicBezTo>
                    <a:pt x="87" y="613"/>
                    <a:pt x="87" y="613"/>
                    <a:pt x="87" y="613"/>
                  </a:cubicBezTo>
                  <a:cubicBezTo>
                    <a:pt x="95" y="613"/>
                    <a:pt x="95" y="613"/>
                    <a:pt x="95" y="613"/>
                  </a:cubicBezTo>
                  <a:cubicBezTo>
                    <a:pt x="93" y="614"/>
                    <a:pt x="93" y="614"/>
                    <a:pt x="93" y="614"/>
                  </a:cubicBezTo>
                  <a:cubicBezTo>
                    <a:pt x="94" y="619"/>
                    <a:pt x="94" y="619"/>
                    <a:pt x="94" y="619"/>
                  </a:cubicBezTo>
                  <a:cubicBezTo>
                    <a:pt x="97" y="622"/>
                    <a:pt x="97" y="622"/>
                    <a:pt x="97" y="622"/>
                  </a:cubicBezTo>
                  <a:cubicBezTo>
                    <a:pt x="97" y="622"/>
                    <a:pt x="95" y="624"/>
                    <a:pt x="97" y="628"/>
                  </a:cubicBezTo>
                  <a:cubicBezTo>
                    <a:pt x="99" y="632"/>
                    <a:pt x="101" y="632"/>
                    <a:pt x="101" y="632"/>
                  </a:cubicBezTo>
                  <a:cubicBezTo>
                    <a:pt x="104" y="635"/>
                    <a:pt x="104" y="635"/>
                    <a:pt x="104" y="635"/>
                  </a:cubicBezTo>
                  <a:cubicBezTo>
                    <a:pt x="104" y="630"/>
                    <a:pt x="104" y="630"/>
                    <a:pt x="104" y="630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35"/>
                    <a:pt x="110" y="635"/>
                    <a:pt x="110" y="635"/>
                  </a:cubicBezTo>
                  <a:cubicBezTo>
                    <a:pt x="112" y="635"/>
                    <a:pt x="112" y="635"/>
                    <a:pt x="112" y="635"/>
                  </a:cubicBezTo>
                  <a:cubicBezTo>
                    <a:pt x="113" y="631"/>
                    <a:pt x="113" y="631"/>
                    <a:pt x="113" y="631"/>
                  </a:cubicBezTo>
                  <a:cubicBezTo>
                    <a:pt x="118" y="635"/>
                    <a:pt x="118" y="635"/>
                    <a:pt x="118" y="635"/>
                  </a:cubicBezTo>
                  <a:cubicBezTo>
                    <a:pt x="124" y="635"/>
                    <a:pt x="124" y="635"/>
                    <a:pt x="124" y="635"/>
                  </a:cubicBezTo>
                  <a:cubicBezTo>
                    <a:pt x="131" y="638"/>
                    <a:pt x="131" y="638"/>
                    <a:pt x="131" y="638"/>
                  </a:cubicBezTo>
                  <a:cubicBezTo>
                    <a:pt x="137" y="638"/>
                    <a:pt x="137" y="638"/>
                    <a:pt x="137" y="638"/>
                  </a:cubicBezTo>
                  <a:cubicBezTo>
                    <a:pt x="135" y="646"/>
                    <a:pt x="135" y="646"/>
                    <a:pt x="135" y="646"/>
                  </a:cubicBezTo>
                  <a:cubicBezTo>
                    <a:pt x="137" y="648"/>
                    <a:pt x="137" y="648"/>
                    <a:pt x="137" y="648"/>
                  </a:cubicBezTo>
                  <a:cubicBezTo>
                    <a:pt x="144" y="645"/>
                    <a:pt x="144" y="645"/>
                    <a:pt x="144" y="645"/>
                  </a:cubicBezTo>
                  <a:cubicBezTo>
                    <a:pt x="151" y="639"/>
                    <a:pt x="151" y="639"/>
                    <a:pt x="151" y="639"/>
                  </a:cubicBezTo>
                  <a:cubicBezTo>
                    <a:pt x="152" y="640"/>
                    <a:pt x="152" y="640"/>
                    <a:pt x="152" y="640"/>
                  </a:cubicBezTo>
                  <a:cubicBezTo>
                    <a:pt x="149" y="649"/>
                    <a:pt x="149" y="649"/>
                    <a:pt x="149" y="649"/>
                  </a:cubicBezTo>
                  <a:cubicBezTo>
                    <a:pt x="154" y="653"/>
                    <a:pt x="154" y="653"/>
                    <a:pt x="154" y="653"/>
                  </a:cubicBezTo>
                  <a:cubicBezTo>
                    <a:pt x="153" y="657"/>
                    <a:pt x="153" y="657"/>
                    <a:pt x="153" y="657"/>
                  </a:cubicBezTo>
                  <a:cubicBezTo>
                    <a:pt x="157" y="656"/>
                    <a:pt x="157" y="656"/>
                    <a:pt x="157" y="656"/>
                  </a:cubicBezTo>
                  <a:cubicBezTo>
                    <a:pt x="157" y="658"/>
                    <a:pt x="157" y="658"/>
                    <a:pt x="157" y="658"/>
                  </a:cubicBezTo>
                  <a:cubicBezTo>
                    <a:pt x="150" y="664"/>
                    <a:pt x="150" y="664"/>
                    <a:pt x="150" y="664"/>
                  </a:cubicBezTo>
                  <a:cubicBezTo>
                    <a:pt x="151" y="666"/>
                    <a:pt x="151" y="666"/>
                    <a:pt x="151" y="666"/>
                  </a:cubicBezTo>
                  <a:cubicBezTo>
                    <a:pt x="156" y="666"/>
                    <a:pt x="156" y="666"/>
                    <a:pt x="156" y="666"/>
                  </a:cubicBezTo>
                  <a:cubicBezTo>
                    <a:pt x="159" y="662"/>
                    <a:pt x="159" y="662"/>
                    <a:pt x="159" y="662"/>
                  </a:cubicBezTo>
                  <a:cubicBezTo>
                    <a:pt x="159" y="662"/>
                    <a:pt x="161" y="664"/>
                    <a:pt x="161" y="666"/>
                  </a:cubicBezTo>
                  <a:cubicBezTo>
                    <a:pt x="162" y="669"/>
                    <a:pt x="152" y="674"/>
                    <a:pt x="152" y="674"/>
                  </a:cubicBezTo>
                  <a:cubicBezTo>
                    <a:pt x="163" y="671"/>
                    <a:pt x="163" y="671"/>
                    <a:pt x="163" y="671"/>
                  </a:cubicBezTo>
                  <a:cubicBezTo>
                    <a:pt x="171" y="655"/>
                    <a:pt x="171" y="655"/>
                    <a:pt x="171" y="655"/>
                  </a:cubicBezTo>
                  <a:cubicBezTo>
                    <a:pt x="169" y="663"/>
                    <a:pt x="169" y="663"/>
                    <a:pt x="169" y="663"/>
                  </a:cubicBezTo>
                  <a:cubicBezTo>
                    <a:pt x="181" y="660"/>
                    <a:pt x="181" y="660"/>
                    <a:pt x="181" y="660"/>
                  </a:cubicBezTo>
                  <a:cubicBezTo>
                    <a:pt x="189" y="654"/>
                    <a:pt x="189" y="654"/>
                    <a:pt x="189" y="654"/>
                  </a:cubicBezTo>
                  <a:cubicBezTo>
                    <a:pt x="192" y="654"/>
                    <a:pt x="192" y="654"/>
                    <a:pt x="192" y="654"/>
                  </a:cubicBezTo>
                  <a:cubicBezTo>
                    <a:pt x="198" y="649"/>
                    <a:pt x="198" y="649"/>
                    <a:pt x="198" y="649"/>
                  </a:cubicBezTo>
                  <a:cubicBezTo>
                    <a:pt x="201" y="650"/>
                    <a:pt x="201" y="650"/>
                    <a:pt x="201" y="650"/>
                  </a:cubicBezTo>
                  <a:cubicBezTo>
                    <a:pt x="203" y="655"/>
                    <a:pt x="203" y="655"/>
                    <a:pt x="203" y="655"/>
                  </a:cubicBezTo>
                  <a:cubicBezTo>
                    <a:pt x="206" y="653"/>
                    <a:pt x="206" y="653"/>
                    <a:pt x="206" y="653"/>
                  </a:cubicBezTo>
                  <a:cubicBezTo>
                    <a:pt x="206" y="645"/>
                    <a:pt x="206" y="645"/>
                    <a:pt x="206" y="645"/>
                  </a:cubicBezTo>
                  <a:cubicBezTo>
                    <a:pt x="221" y="638"/>
                    <a:pt x="221" y="638"/>
                    <a:pt x="221" y="638"/>
                  </a:cubicBezTo>
                  <a:cubicBezTo>
                    <a:pt x="222" y="635"/>
                    <a:pt x="222" y="635"/>
                    <a:pt x="222" y="635"/>
                  </a:cubicBezTo>
                  <a:cubicBezTo>
                    <a:pt x="235" y="629"/>
                    <a:pt x="235" y="629"/>
                    <a:pt x="235" y="629"/>
                  </a:cubicBezTo>
                  <a:cubicBezTo>
                    <a:pt x="235" y="622"/>
                    <a:pt x="235" y="622"/>
                    <a:pt x="235" y="622"/>
                  </a:cubicBezTo>
                  <a:cubicBezTo>
                    <a:pt x="235" y="622"/>
                    <a:pt x="237" y="628"/>
                    <a:pt x="241" y="628"/>
                  </a:cubicBezTo>
                  <a:cubicBezTo>
                    <a:pt x="244" y="628"/>
                    <a:pt x="248" y="626"/>
                    <a:pt x="248" y="626"/>
                  </a:cubicBezTo>
                  <a:cubicBezTo>
                    <a:pt x="245" y="624"/>
                    <a:pt x="245" y="624"/>
                    <a:pt x="245" y="624"/>
                  </a:cubicBezTo>
                  <a:cubicBezTo>
                    <a:pt x="246" y="620"/>
                    <a:pt x="246" y="620"/>
                    <a:pt x="246" y="620"/>
                  </a:cubicBezTo>
                  <a:cubicBezTo>
                    <a:pt x="251" y="624"/>
                    <a:pt x="251" y="624"/>
                    <a:pt x="251" y="624"/>
                  </a:cubicBezTo>
                  <a:cubicBezTo>
                    <a:pt x="251" y="622"/>
                    <a:pt x="251" y="622"/>
                    <a:pt x="251" y="622"/>
                  </a:cubicBezTo>
                  <a:cubicBezTo>
                    <a:pt x="245" y="613"/>
                    <a:pt x="245" y="613"/>
                    <a:pt x="245" y="613"/>
                  </a:cubicBezTo>
                  <a:cubicBezTo>
                    <a:pt x="245" y="613"/>
                    <a:pt x="254" y="619"/>
                    <a:pt x="260" y="617"/>
                  </a:cubicBezTo>
                  <a:cubicBezTo>
                    <a:pt x="264" y="614"/>
                    <a:pt x="262" y="611"/>
                    <a:pt x="262" y="611"/>
                  </a:cubicBezTo>
                  <a:cubicBezTo>
                    <a:pt x="268" y="610"/>
                    <a:pt x="268" y="610"/>
                    <a:pt x="268" y="610"/>
                  </a:cubicBezTo>
                  <a:cubicBezTo>
                    <a:pt x="273" y="608"/>
                    <a:pt x="273" y="608"/>
                    <a:pt x="273" y="608"/>
                  </a:cubicBezTo>
                  <a:cubicBezTo>
                    <a:pt x="279" y="608"/>
                    <a:pt x="279" y="608"/>
                    <a:pt x="279" y="608"/>
                  </a:cubicBezTo>
                  <a:cubicBezTo>
                    <a:pt x="283" y="602"/>
                    <a:pt x="283" y="602"/>
                    <a:pt x="283" y="602"/>
                  </a:cubicBezTo>
                  <a:cubicBezTo>
                    <a:pt x="293" y="603"/>
                    <a:pt x="293" y="603"/>
                    <a:pt x="293" y="603"/>
                  </a:cubicBezTo>
                  <a:cubicBezTo>
                    <a:pt x="304" y="598"/>
                    <a:pt x="304" y="598"/>
                    <a:pt x="304" y="598"/>
                  </a:cubicBezTo>
                  <a:cubicBezTo>
                    <a:pt x="304" y="597"/>
                    <a:pt x="304" y="597"/>
                    <a:pt x="304" y="597"/>
                  </a:cubicBezTo>
                  <a:cubicBezTo>
                    <a:pt x="312" y="581"/>
                    <a:pt x="312" y="581"/>
                    <a:pt x="312" y="581"/>
                  </a:cubicBezTo>
                  <a:cubicBezTo>
                    <a:pt x="323" y="566"/>
                    <a:pt x="323" y="566"/>
                    <a:pt x="323" y="566"/>
                  </a:cubicBezTo>
                  <a:cubicBezTo>
                    <a:pt x="327" y="563"/>
                    <a:pt x="327" y="563"/>
                    <a:pt x="327" y="563"/>
                  </a:cubicBezTo>
                  <a:cubicBezTo>
                    <a:pt x="328" y="554"/>
                    <a:pt x="328" y="554"/>
                    <a:pt x="328" y="554"/>
                  </a:cubicBezTo>
                  <a:cubicBezTo>
                    <a:pt x="341" y="540"/>
                    <a:pt x="341" y="540"/>
                    <a:pt x="341" y="540"/>
                  </a:cubicBezTo>
                  <a:cubicBezTo>
                    <a:pt x="341" y="540"/>
                    <a:pt x="346" y="527"/>
                    <a:pt x="349" y="521"/>
                  </a:cubicBezTo>
                  <a:cubicBezTo>
                    <a:pt x="352" y="516"/>
                    <a:pt x="360" y="496"/>
                    <a:pt x="363" y="485"/>
                  </a:cubicBezTo>
                  <a:cubicBezTo>
                    <a:pt x="366" y="473"/>
                    <a:pt x="375" y="460"/>
                    <a:pt x="375" y="460"/>
                  </a:cubicBezTo>
                  <a:cubicBezTo>
                    <a:pt x="375" y="460"/>
                    <a:pt x="377" y="456"/>
                    <a:pt x="378" y="452"/>
                  </a:cubicBezTo>
                  <a:cubicBezTo>
                    <a:pt x="380" y="448"/>
                    <a:pt x="382" y="424"/>
                    <a:pt x="382" y="418"/>
                  </a:cubicBezTo>
                  <a:close/>
                  <a:moveTo>
                    <a:pt x="52" y="662"/>
                  </a:moveTo>
                  <a:cubicBezTo>
                    <a:pt x="52" y="658"/>
                    <a:pt x="52" y="658"/>
                    <a:pt x="52" y="658"/>
                  </a:cubicBezTo>
                  <a:cubicBezTo>
                    <a:pt x="54" y="657"/>
                    <a:pt x="54" y="657"/>
                    <a:pt x="54" y="657"/>
                  </a:cubicBezTo>
                  <a:cubicBezTo>
                    <a:pt x="54" y="657"/>
                    <a:pt x="54" y="659"/>
                    <a:pt x="55" y="661"/>
                  </a:cubicBezTo>
                  <a:cubicBezTo>
                    <a:pt x="56" y="662"/>
                    <a:pt x="61" y="660"/>
                    <a:pt x="61" y="660"/>
                  </a:cubicBezTo>
                  <a:cubicBezTo>
                    <a:pt x="60" y="653"/>
                    <a:pt x="60" y="653"/>
                    <a:pt x="60" y="653"/>
                  </a:cubicBezTo>
                  <a:cubicBezTo>
                    <a:pt x="55" y="653"/>
                    <a:pt x="55" y="653"/>
                    <a:pt x="55" y="653"/>
                  </a:cubicBezTo>
                  <a:cubicBezTo>
                    <a:pt x="55" y="650"/>
                    <a:pt x="55" y="650"/>
                    <a:pt x="55" y="650"/>
                  </a:cubicBezTo>
                  <a:cubicBezTo>
                    <a:pt x="51" y="651"/>
                    <a:pt x="51" y="651"/>
                    <a:pt x="51" y="651"/>
                  </a:cubicBezTo>
                  <a:cubicBezTo>
                    <a:pt x="51" y="651"/>
                    <a:pt x="50" y="649"/>
                    <a:pt x="50" y="647"/>
                  </a:cubicBezTo>
                  <a:cubicBezTo>
                    <a:pt x="50" y="646"/>
                    <a:pt x="47" y="644"/>
                    <a:pt x="45" y="648"/>
                  </a:cubicBezTo>
                  <a:cubicBezTo>
                    <a:pt x="45" y="651"/>
                    <a:pt x="45" y="651"/>
                    <a:pt x="45" y="651"/>
                  </a:cubicBezTo>
                  <a:cubicBezTo>
                    <a:pt x="48" y="657"/>
                    <a:pt x="48" y="657"/>
                    <a:pt x="48" y="657"/>
                  </a:cubicBezTo>
                  <a:cubicBezTo>
                    <a:pt x="45" y="659"/>
                    <a:pt x="45" y="659"/>
                    <a:pt x="45" y="659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1" y="658"/>
                    <a:pt x="41" y="658"/>
                    <a:pt x="41" y="658"/>
                  </a:cubicBezTo>
                  <a:cubicBezTo>
                    <a:pt x="46" y="669"/>
                    <a:pt x="46" y="669"/>
                    <a:pt x="46" y="669"/>
                  </a:cubicBezTo>
                  <a:cubicBezTo>
                    <a:pt x="50" y="670"/>
                    <a:pt x="50" y="670"/>
                    <a:pt x="50" y="670"/>
                  </a:cubicBezTo>
                  <a:cubicBezTo>
                    <a:pt x="54" y="666"/>
                    <a:pt x="54" y="666"/>
                    <a:pt x="54" y="666"/>
                  </a:cubicBezTo>
                  <a:cubicBezTo>
                    <a:pt x="54" y="662"/>
                    <a:pt x="54" y="662"/>
                    <a:pt x="54" y="662"/>
                  </a:cubicBezTo>
                  <a:lnTo>
                    <a:pt x="52" y="662"/>
                  </a:lnTo>
                  <a:close/>
                  <a:moveTo>
                    <a:pt x="37" y="666"/>
                  </a:moveTo>
                  <a:cubicBezTo>
                    <a:pt x="41" y="664"/>
                    <a:pt x="41" y="664"/>
                    <a:pt x="41" y="664"/>
                  </a:cubicBezTo>
                  <a:cubicBezTo>
                    <a:pt x="39" y="658"/>
                    <a:pt x="39" y="658"/>
                    <a:pt x="39" y="658"/>
                  </a:cubicBezTo>
                  <a:lnTo>
                    <a:pt x="37" y="666"/>
                  </a:lnTo>
                  <a:close/>
                  <a:moveTo>
                    <a:pt x="55" y="670"/>
                  </a:moveTo>
                  <a:cubicBezTo>
                    <a:pt x="61" y="674"/>
                    <a:pt x="61" y="674"/>
                    <a:pt x="61" y="674"/>
                  </a:cubicBezTo>
                  <a:cubicBezTo>
                    <a:pt x="63" y="671"/>
                    <a:pt x="63" y="671"/>
                    <a:pt x="63" y="671"/>
                  </a:cubicBezTo>
                  <a:cubicBezTo>
                    <a:pt x="56" y="667"/>
                    <a:pt x="56" y="667"/>
                    <a:pt x="56" y="667"/>
                  </a:cubicBezTo>
                  <a:lnTo>
                    <a:pt x="55" y="670"/>
                  </a:lnTo>
                  <a:close/>
                  <a:moveTo>
                    <a:pt x="63" y="663"/>
                  </a:moveTo>
                  <a:cubicBezTo>
                    <a:pt x="61" y="664"/>
                    <a:pt x="61" y="667"/>
                    <a:pt x="64" y="667"/>
                  </a:cubicBezTo>
                  <a:cubicBezTo>
                    <a:pt x="66" y="666"/>
                    <a:pt x="66" y="662"/>
                    <a:pt x="63" y="663"/>
                  </a:cubicBezTo>
                  <a:close/>
                  <a:moveTo>
                    <a:pt x="107" y="657"/>
                  </a:moveTo>
                  <a:cubicBezTo>
                    <a:pt x="104" y="657"/>
                    <a:pt x="100" y="662"/>
                    <a:pt x="106" y="661"/>
                  </a:cubicBezTo>
                  <a:cubicBezTo>
                    <a:pt x="106" y="661"/>
                    <a:pt x="111" y="657"/>
                    <a:pt x="107" y="657"/>
                  </a:cubicBezTo>
                  <a:close/>
                  <a:moveTo>
                    <a:pt x="113" y="654"/>
                  </a:moveTo>
                  <a:cubicBezTo>
                    <a:pt x="111" y="655"/>
                    <a:pt x="112" y="657"/>
                    <a:pt x="112" y="657"/>
                  </a:cubicBezTo>
                  <a:cubicBezTo>
                    <a:pt x="110" y="659"/>
                    <a:pt x="110" y="659"/>
                    <a:pt x="110" y="659"/>
                  </a:cubicBezTo>
                  <a:cubicBezTo>
                    <a:pt x="111" y="660"/>
                    <a:pt x="111" y="660"/>
                    <a:pt x="111" y="660"/>
                  </a:cubicBezTo>
                  <a:cubicBezTo>
                    <a:pt x="117" y="655"/>
                    <a:pt x="117" y="655"/>
                    <a:pt x="117" y="655"/>
                  </a:cubicBezTo>
                  <a:cubicBezTo>
                    <a:pt x="117" y="655"/>
                    <a:pt x="115" y="653"/>
                    <a:pt x="113" y="654"/>
                  </a:cubicBezTo>
                  <a:close/>
                  <a:moveTo>
                    <a:pt x="119" y="654"/>
                  </a:moveTo>
                  <a:cubicBezTo>
                    <a:pt x="120" y="657"/>
                    <a:pt x="120" y="657"/>
                    <a:pt x="120" y="657"/>
                  </a:cubicBezTo>
                  <a:cubicBezTo>
                    <a:pt x="122" y="656"/>
                    <a:pt x="122" y="656"/>
                    <a:pt x="122" y="656"/>
                  </a:cubicBezTo>
                  <a:cubicBezTo>
                    <a:pt x="122" y="654"/>
                    <a:pt x="122" y="654"/>
                    <a:pt x="122" y="654"/>
                  </a:cubicBezTo>
                  <a:lnTo>
                    <a:pt x="119" y="654"/>
                  </a:lnTo>
                  <a:close/>
                  <a:moveTo>
                    <a:pt x="148" y="643"/>
                  </a:moveTo>
                  <a:cubicBezTo>
                    <a:pt x="146" y="647"/>
                    <a:pt x="146" y="647"/>
                    <a:pt x="146" y="647"/>
                  </a:cubicBezTo>
                  <a:cubicBezTo>
                    <a:pt x="142" y="648"/>
                    <a:pt x="142" y="648"/>
                    <a:pt x="142" y="648"/>
                  </a:cubicBezTo>
                  <a:cubicBezTo>
                    <a:pt x="139" y="650"/>
                    <a:pt x="139" y="650"/>
                    <a:pt x="139" y="650"/>
                  </a:cubicBezTo>
                  <a:cubicBezTo>
                    <a:pt x="134" y="651"/>
                    <a:pt x="134" y="651"/>
                    <a:pt x="134" y="651"/>
                  </a:cubicBezTo>
                  <a:cubicBezTo>
                    <a:pt x="133" y="655"/>
                    <a:pt x="133" y="655"/>
                    <a:pt x="133" y="655"/>
                  </a:cubicBezTo>
                  <a:cubicBezTo>
                    <a:pt x="136" y="655"/>
                    <a:pt x="136" y="655"/>
                    <a:pt x="136" y="655"/>
                  </a:cubicBezTo>
                  <a:cubicBezTo>
                    <a:pt x="133" y="659"/>
                    <a:pt x="133" y="659"/>
                    <a:pt x="133" y="659"/>
                  </a:cubicBezTo>
                  <a:cubicBezTo>
                    <a:pt x="133" y="664"/>
                    <a:pt x="133" y="664"/>
                    <a:pt x="133" y="664"/>
                  </a:cubicBezTo>
                  <a:cubicBezTo>
                    <a:pt x="139" y="661"/>
                    <a:pt x="139" y="661"/>
                    <a:pt x="139" y="661"/>
                  </a:cubicBezTo>
                  <a:cubicBezTo>
                    <a:pt x="145" y="661"/>
                    <a:pt x="145" y="661"/>
                    <a:pt x="145" y="661"/>
                  </a:cubicBezTo>
                  <a:cubicBezTo>
                    <a:pt x="149" y="654"/>
                    <a:pt x="149" y="654"/>
                    <a:pt x="149" y="654"/>
                  </a:cubicBezTo>
                  <a:cubicBezTo>
                    <a:pt x="147" y="649"/>
                    <a:pt x="147" y="649"/>
                    <a:pt x="147" y="649"/>
                  </a:cubicBezTo>
                  <a:cubicBezTo>
                    <a:pt x="149" y="644"/>
                    <a:pt x="149" y="644"/>
                    <a:pt x="149" y="644"/>
                  </a:cubicBezTo>
                  <a:lnTo>
                    <a:pt x="148" y="643"/>
                  </a:lnTo>
                  <a:close/>
                  <a:moveTo>
                    <a:pt x="111" y="639"/>
                  </a:moveTo>
                  <a:cubicBezTo>
                    <a:pt x="112" y="640"/>
                    <a:pt x="112" y="640"/>
                    <a:pt x="112" y="640"/>
                  </a:cubicBezTo>
                  <a:cubicBezTo>
                    <a:pt x="110" y="643"/>
                    <a:pt x="110" y="643"/>
                    <a:pt x="110" y="643"/>
                  </a:cubicBezTo>
                  <a:cubicBezTo>
                    <a:pt x="112" y="643"/>
                    <a:pt x="112" y="643"/>
                    <a:pt x="112" y="643"/>
                  </a:cubicBezTo>
                  <a:cubicBezTo>
                    <a:pt x="114" y="642"/>
                    <a:pt x="114" y="642"/>
                    <a:pt x="114" y="642"/>
                  </a:cubicBezTo>
                  <a:cubicBezTo>
                    <a:pt x="117" y="644"/>
                    <a:pt x="117" y="644"/>
                    <a:pt x="117" y="644"/>
                  </a:cubicBezTo>
                  <a:cubicBezTo>
                    <a:pt x="118" y="641"/>
                    <a:pt x="118" y="641"/>
                    <a:pt x="118" y="641"/>
                  </a:cubicBezTo>
                  <a:cubicBezTo>
                    <a:pt x="113" y="638"/>
                    <a:pt x="113" y="638"/>
                    <a:pt x="113" y="638"/>
                  </a:cubicBezTo>
                  <a:lnTo>
                    <a:pt x="111" y="639"/>
                  </a:lnTo>
                  <a:close/>
                  <a:moveTo>
                    <a:pt x="99" y="634"/>
                  </a:moveTo>
                  <a:cubicBezTo>
                    <a:pt x="95" y="631"/>
                    <a:pt x="94" y="630"/>
                    <a:pt x="95" y="632"/>
                  </a:cubicBezTo>
                  <a:cubicBezTo>
                    <a:pt x="97" y="637"/>
                    <a:pt x="97" y="637"/>
                    <a:pt x="97" y="637"/>
                  </a:cubicBezTo>
                  <a:cubicBezTo>
                    <a:pt x="102" y="637"/>
                    <a:pt x="102" y="637"/>
                    <a:pt x="99" y="634"/>
                  </a:cubicBezTo>
                  <a:close/>
                  <a:moveTo>
                    <a:pt x="90" y="628"/>
                  </a:moveTo>
                  <a:cubicBezTo>
                    <a:pt x="93" y="631"/>
                    <a:pt x="93" y="631"/>
                    <a:pt x="93" y="631"/>
                  </a:cubicBezTo>
                  <a:cubicBezTo>
                    <a:pt x="94" y="628"/>
                    <a:pt x="94" y="628"/>
                    <a:pt x="94" y="628"/>
                  </a:cubicBezTo>
                  <a:cubicBezTo>
                    <a:pt x="91" y="627"/>
                    <a:pt x="91" y="627"/>
                    <a:pt x="91" y="627"/>
                  </a:cubicBezTo>
                  <a:lnTo>
                    <a:pt x="90" y="628"/>
                  </a:lnTo>
                  <a:close/>
                  <a:moveTo>
                    <a:pt x="175" y="667"/>
                  </a:moveTo>
                  <a:cubicBezTo>
                    <a:pt x="175" y="664"/>
                    <a:pt x="175" y="664"/>
                    <a:pt x="175" y="664"/>
                  </a:cubicBezTo>
                  <a:cubicBezTo>
                    <a:pt x="170" y="666"/>
                    <a:pt x="170" y="666"/>
                    <a:pt x="170" y="666"/>
                  </a:cubicBezTo>
                  <a:lnTo>
                    <a:pt x="175" y="667"/>
                  </a:lnTo>
                  <a:close/>
                  <a:moveTo>
                    <a:pt x="74" y="466"/>
                  </a:moveTo>
                  <a:cubicBezTo>
                    <a:pt x="72" y="462"/>
                    <a:pt x="72" y="462"/>
                    <a:pt x="72" y="462"/>
                  </a:cubicBezTo>
                  <a:cubicBezTo>
                    <a:pt x="72" y="462"/>
                    <a:pt x="69" y="464"/>
                    <a:pt x="68" y="464"/>
                  </a:cubicBezTo>
                  <a:cubicBezTo>
                    <a:pt x="66" y="464"/>
                    <a:pt x="67" y="461"/>
                    <a:pt x="67" y="461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6" y="468"/>
                    <a:pt x="66" y="468"/>
                    <a:pt x="66" y="468"/>
                  </a:cubicBezTo>
                  <a:cubicBezTo>
                    <a:pt x="71" y="469"/>
                    <a:pt x="74" y="466"/>
                    <a:pt x="74" y="466"/>
                  </a:cubicBezTo>
                  <a:close/>
                  <a:moveTo>
                    <a:pt x="72" y="456"/>
                  </a:moveTo>
                  <a:cubicBezTo>
                    <a:pt x="67" y="457"/>
                    <a:pt x="67" y="457"/>
                    <a:pt x="67" y="457"/>
                  </a:cubicBezTo>
                  <a:cubicBezTo>
                    <a:pt x="70" y="460"/>
                    <a:pt x="70" y="460"/>
                    <a:pt x="70" y="460"/>
                  </a:cubicBezTo>
                  <a:lnTo>
                    <a:pt x="72" y="456"/>
                  </a:lnTo>
                  <a:close/>
                  <a:moveTo>
                    <a:pt x="93" y="452"/>
                  </a:moveTo>
                  <a:cubicBezTo>
                    <a:pt x="90" y="456"/>
                    <a:pt x="90" y="456"/>
                    <a:pt x="90" y="456"/>
                  </a:cubicBezTo>
                  <a:cubicBezTo>
                    <a:pt x="94" y="456"/>
                    <a:pt x="94" y="456"/>
                    <a:pt x="94" y="456"/>
                  </a:cubicBezTo>
                  <a:cubicBezTo>
                    <a:pt x="97" y="454"/>
                    <a:pt x="97" y="454"/>
                    <a:pt x="97" y="454"/>
                  </a:cubicBezTo>
                  <a:lnTo>
                    <a:pt x="93" y="452"/>
                  </a:lnTo>
                  <a:close/>
                  <a:moveTo>
                    <a:pt x="157" y="329"/>
                  </a:moveTo>
                  <a:cubicBezTo>
                    <a:pt x="153" y="331"/>
                    <a:pt x="153" y="331"/>
                    <a:pt x="153" y="331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45" y="331"/>
                    <a:pt x="145" y="331"/>
                    <a:pt x="145" y="331"/>
                  </a:cubicBezTo>
                  <a:cubicBezTo>
                    <a:pt x="145" y="335"/>
                    <a:pt x="145" y="335"/>
                    <a:pt x="145" y="335"/>
                  </a:cubicBezTo>
                  <a:cubicBezTo>
                    <a:pt x="145" y="336"/>
                    <a:pt x="147" y="338"/>
                    <a:pt x="147" y="338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52" y="332"/>
                    <a:pt x="152" y="332"/>
                    <a:pt x="152" y="332"/>
                  </a:cubicBezTo>
                  <a:cubicBezTo>
                    <a:pt x="157" y="331"/>
                    <a:pt x="157" y="331"/>
                    <a:pt x="157" y="331"/>
                  </a:cubicBezTo>
                  <a:lnTo>
                    <a:pt x="157" y="329"/>
                  </a:lnTo>
                  <a:close/>
                  <a:moveTo>
                    <a:pt x="244" y="634"/>
                  </a:moveTo>
                  <a:cubicBezTo>
                    <a:pt x="247" y="630"/>
                    <a:pt x="247" y="630"/>
                    <a:pt x="247" y="630"/>
                  </a:cubicBezTo>
                  <a:cubicBezTo>
                    <a:pt x="243" y="631"/>
                    <a:pt x="243" y="631"/>
                    <a:pt x="243" y="631"/>
                  </a:cubicBezTo>
                  <a:lnTo>
                    <a:pt x="244" y="634"/>
                  </a:lnTo>
                  <a:close/>
                  <a:moveTo>
                    <a:pt x="260" y="618"/>
                  </a:moveTo>
                  <a:cubicBezTo>
                    <a:pt x="265" y="619"/>
                    <a:pt x="265" y="619"/>
                    <a:pt x="265" y="619"/>
                  </a:cubicBezTo>
                  <a:cubicBezTo>
                    <a:pt x="263" y="616"/>
                    <a:pt x="263" y="616"/>
                    <a:pt x="263" y="616"/>
                  </a:cubicBezTo>
                  <a:lnTo>
                    <a:pt x="260" y="618"/>
                  </a:lnTo>
                  <a:close/>
                  <a:moveTo>
                    <a:pt x="265" y="614"/>
                  </a:moveTo>
                  <a:cubicBezTo>
                    <a:pt x="267" y="617"/>
                    <a:pt x="267" y="617"/>
                    <a:pt x="267" y="617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0" y="613"/>
                    <a:pt x="270" y="613"/>
                    <a:pt x="270" y="613"/>
                  </a:cubicBezTo>
                  <a:lnTo>
                    <a:pt x="265" y="6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Bulgarien" descr="© INSCALE GmbH, 05.05.2010&#10;http://www.presentationload.com/">
              <a:extLst>
                <a:ext uri="{FF2B5EF4-FFF2-40B4-BE49-F238E27FC236}">
                  <a16:creationId xmlns:a16="http://schemas.microsoft.com/office/drawing/2014/main" id="{FFD8B23C-3580-D242-BC2F-EAD95064FB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9023" y="5331521"/>
              <a:ext cx="717858" cy="521478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9" name="Griech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E9E8D4A-2346-0D4F-BF18-89022210D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16437" y="5724279"/>
              <a:ext cx="1150222" cy="1079262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56AD95A7-9F61-E443-A7E4-A416134BA3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30303" y="3909008"/>
              <a:ext cx="1807022" cy="1227784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I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9B613DB-BDAB-E74A-9F2D-354F7F8AC6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4193" y="1559056"/>
              <a:ext cx="679902" cy="561084"/>
            </a:xfrm>
            <a:custGeom>
              <a:avLst/>
              <a:gdLst/>
              <a:ahLst/>
              <a:cxnLst>
                <a:cxn ang="0">
                  <a:pos x="273" y="136"/>
                </a:cxn>
                <a:cxn ang="0">
                  <a:pos x="262" y="113"/>
                </a:cxn>
                <a:cxn ang="0">
                  <a:pos x="268" y="98"/>
                </a:cxn>
                <a:cxn ang="0">
                  <a:pos x="252" y="81"/>
                </a:cxn>
                <a:cxn ang="0">
                  <a:pos x="229" y="89"/>
                </a:cxn>
                <a:cxn ang="0">
                  <a:pos x="206" y="89"/>
                </a:cxn>
                <a:cxn ang="0">
                  <a:pos x="189" y="71"/>
                </a:cxn>
                <a:cxn ang="0">
                  <a:pos x="178" y="102"/>
                </a:cxn>
                <a:cxn ang="0">
                  <a:pos x="177" y="75"/>
                </a:cxn>
                <a:cxn ang="0">
                  <a:pos x="170" y="63"/>
                </a:cxn>
                <a:cxn ang="0">
                  <a:pos x="144" y="81"/>
                </a:cxn>
                <a:cxn ang="0">
                  <a:pos x="141" y="52"/>
                </a:cxn>
                <a:cxn ang="0">
                  <a:pos x="133" y="54"/>
                </a:cxn>
                <a:cxn ang="0">
                  <a:pos x="115" y="81"/>
                </a:cxn>
                <a:cxn ang="0">
                  <a:pos x="110" y="75"/>
                </a:cxn>
                <a:cxn ang="0">
                  <a:pos x="95" y="81"/>
                </a:cxn>
                <a:cxn ang="0">
                  <a:pos x="90" y="75"/>
                </a:cxn>
                <a:cxn ang="0">
                  <a:pos x="92" y="54"/>
                </a:cxn>
                <a:cxn ang="0">
                  <a:pos x="109" y="44"/>
                </a:cxn>
                <a:cxn ang="0">
                  <a:pos x="104" y="23"/>
                </a:cxn>
                <a:cxn ang="0">
                  <a:pos x="97" y="10"/>
                </a:cxn>
                <a:cxn ang="0">
                  <a:pos x="81" y="5"/>
                </a:cxn>
                <a:cxn ang="0">
                  <a:pos x="88" y="13"/>
                </a:cxn>
                <a:cxn ang="0">
                  <a:pos x="87" y="29"/>
                </a:cxn>
                <a:cxn ang="0">
                  <a:pos x="79" y="32"/>
                </a:cxn>
                <a:cxn ang="0">
                  <a:pos x="73" y="27"/>
                </a:cxn>
                <a:cxn ang="0">
                  <a:pos x="71" y="13"/>
                </a:cxn>
                <a:cxn ang="0">
                  <a:pos x="53" y="22"/>
                </a:cxn>
                <a:cxn ang="0">
                  <a:pos x="57" y="38"/>
                </a:cxn>
                <a:cxn ang="0">
                  <a:pos x="38" y="23"/>
                </a:cxn>
                <a:cxn ang="0">
                  <a:pos x="30" y="36"/>
                </a:cxn>
                <a:cxn ang="0">
                  <a:pos x="30" y="49"/>
                </a:cxn>
                <a:cxn ang="0">
                  <a:pos x="60" y="50"/>
                </a:cxn>
                <a:cxn ang="0">
                  <a:pos x="72" y="64"/>
                </a:cxn>
                <a:cxn ang="0">
                  <a:pos x="72" y="75"/>
                </a:cxn>
                <a:cxn ang="0">
                  <a:pos x="69" y="87"/>
                </a:cxn>
                <a:cxn ang="0">
                  <a:pos x="45" y="87"/>
                </a:cxn>
                <a:cxn ang="0">
                  <a:pos x="31" y="83"/>
                </a:cxn>
                <a:cxn ang="0">
                  <a:pos x="4" y="84"/>
                </a:cxn>
                <a:cxn ang="0">
                  <a:pos x="34" y="97"/>
                </a:cxn>
                <a:cxn ang="0">
                  <a:pos x="36" y="117"/>
                </a:cxn>
                <a:cxn ang="0">
                  <a:pos x="48" y="121"/>
                </a:cxn>
                <a:cxn ang="0">
                  <a:pos x="36" y="132"/>
                </a:cxn>
                <a:cxn ang="0">
                  <a:pos x="36" y="141"/>
                </a:cxn>
                <a:cxn ang="0">
                  <a:pos x="14" y="149"/>
                </a:cxn>
                <a:cxn ang="0">
                  <a:pos x="0" y="154"/>
                </a:cxn>
                <a:cxn ang="0">
                  <a:pos x="28" y="168"/>
                </a:cxn>
                <a:cxn ang="0">
                  <a:pos x="45" y="177"/>
                </a:cxn>
                <a:cxn ang="0">
                  <a:pos x="55" y="194"/>
                </a:cxn>
                <a:cxn ang="0">
                  <a:pos x="79" y="224"/>
                </a:cxn>
                <a:cxn ang="0">
                  <a:pos x="123" y="221"/>
                </a:cxn>
                <a:cxn ang="0">
                  <a:pos x="155" y="227"/>
                </a:cxn>
                <a:cxn ang="0">
                  <a:pos x="195" y="217"/>
                </a:cxn>
                <a:cxn ang="0">
                  <a:pos x="212" y="218"/>
                </a:cxn>
                <a:cxn ang="0">
                  <a:pos x="240" y="207"/>
                </a:cxn>
                <a:cxn ang="0">
                  <a:pos x="243" y="194"/>
                </a:cxn>
                <a:cxn ang="0">
                  <a:pos x="258" y="190"/>
                </a:cxn>
                <a:cxn ang="0">
                  <a:pos x="263" y="183"/>
                </a:cxn>
                <a:cxn ang="0">
                  <a:pos x="272" y="183"/>
                </a:cxn>
                <a:cxn ang="0">
                  <a:pos x="278" y="173"/>
                </a:cxn>
                <a:cxn ang="0">
                  <a:pos x="284" y="155"/>
                </a:cxn>
                <a:cxn ang="0">
                  <a:pos x="50" y="205"/>
                </a:cxn>
              </a:cxnLst>
              <a:rect l="0" t="0" r="r" b="b"/>
              <a:pathLst>
                <a:path w="285" h="235">
                  <a:moveTo>
                    <a:pt x="284" y="155"/>
                  </a:moveTo>
                  <a:cubicBezTo>
                    <a:pt x="280" y="156"/>
                    <a:pt x="280" y="156"/>
                    <a:pt x="280" y="156"/>
                  </a:cubicBezTo>
                  <a:cubicBezTo>
                    <a:pt x="280" y="153"/>
                    <a:pt x="280" y="153"/>
                    <a:pt x="280" y="153"/>
                  </a:cubicBezTo>
                  <a:cubicBezTo>
                    <a:pt x="279" y="153"/>
                    <a:pt x="279" y="153"/>
                    <a:pt x="279" y="153"/>
                  </a:cubicBezTo>
                  <a:cubicBezTo>
                    <a:pt x="281" y="150"/>
                    <a:pt x="281" y="150"/>
                    <a:pt x="281" y="150"/>
                  </a:cubicBezTo>
                  <a:cubicBezTo>
                    <a:pt x="280" y="149"/>
                    <a:pt x="280" y="149"/>
                    <a:pt x="280" y="149"/>
                  </a:cubicBezTo>
                  <a:cubicBezTo>
                    <a:pt x="280" y="149"/>
                    <a:pt x="275" y="147"/>
                    <a:pt x="272" y="143"/>
                  </a:cubicBezTo>
                  <a:cubicBezTo>
                    <a:pt x="270" y="139"/>
                    <a:pt x="273" y="136"/>
                    <a:pt x="273" y="136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59" y="130"/>
                    <a:pt x="259" y="130"/>
                    <a:pt x="259" y="130"/>
                  </a:cubicBezTo>
                  <a:cubicBezTo>
                    <a:pt x="259" y="130"/>
                    <a:pt x="260" y="128"/>
                    <a:pt x="262" y="128"/>
                  </a:cubicBezTo>
                  <a:cubicBezTo>
                    <a:pt x="264" y="127"/>
                    <a:pt x="265" y="127"/>
                    <a:pt x="269" y="124"/>
                  </a:cubicBezTo>
                  <a:cubicBezTo>
                    <a:pt x="273" y="122"/>
                    <a:pt x="272" y="116"/>
                    <a:pt x="271" y="115"/>
                  </a:cubicBezTo>
                  <a:cubicBezTo>
                    <a:pt x="270" y="113"/>
                    <a:pt x="268" y="115"/>
                    <a:pt x="265" y="115"/>
                  </a:cubicBezTo>
                  <a:cubicBezTo>
                    <a:pt x="264" y="115"/>
                    <a:pt x="262" y="113"/>
                    <a:pt x="262" y="113"/>
                  </a:cubicBezTo>
                  <a:cubicBezTo>
                    <a:pt x="262" y="113"/>
                    <a:pt x="263" y="112"/>
                    <a:pt x="263" y="110"/>
                  </a:cubicBezTo>
                  <a:cubicBezTo>
                    <a:pt x="263" y="108"/>
                    <a:pt x="260" y="107"/>
                    <a:pt x="260" y="107"/>
                  </a:cubicBezTo>
                  <a:cubicBezTo>
                    <a:pt x="260" y="107"/>
                    <a:pt x="269" y="106"/>
                    <a:pt x="270" y="105"/>
                  </a:cubicBezTo>
                  <a:cubicBezTo>
                    <a:pt x="271" y="102"/>
                    <a:pt x="271" y="99"/>
                    <a:pt x="271" y="99"/>
                  </a:cubicBezTo>
                  <a:cubicBezTo>
                    <a:pt x="284" y="97"/>
                    <a:pt x="284" y="97"/>
                    <a:pt x="284" y="97"/>
                  </a:cubicBezTo>
                  <a:cubicBezTo>
                    <a:pt x="284" y="97"/>
                    <a:pt x="280" y="96"/>
                    <a:pt x="278" y="96"/>
                  </a:cubicBezTo>
                  <a:cubicBezTo>
                    <a:pt x="277" y="95"/>
                    <a:pt x="279" y="94"/>
                    <a:pt x="276" y="93"/>
                  </a:cubicBezTo>
                  <a:cubicBezTo>
                    <a:pt x="274" y="92"/>
                    <a:pt x="270" y="97"/>
                    <a:pt x="268" y="98"/>
                  </a:cubicBezTo>
                  <a:cubicBezTo>
                    <a:pt x="264" y="99"/>
                    <a:pt x="265" y="96"/>
                    <a:pt x="262" y="97"/>
                  </a:cubicBezTo>
                  <a:cubicBezTo>
                    <a:pt x="258" y="97"/>
                    <a:pt x="259" y="101"/>
                    <a:pt x="258" y="102"/>
                  </a:cubicBezTo>
                  <a:cubicBezTo>
                    <a:pt x="257" y="102"/>
                    <a:pt x="256" y="99"/>
                    <a:pt x="256" y="97"/>
                  </a:cubicBezTo>
                  <a:cubicBezTo>
                    <a:pt x="255" y="96"/>
                    <a:pt x="253" y="95"/>
                    <a:pt x="253" y="95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92"/>
                    <a:pt x="255" y="90"/>
                    <a:pt x="256" y="86"/>
                  </a:cubicBezTo>
                  <a:cubicBezTo>
                    <a:pt x="258" y="84"/>
                    <a:pt x="252" y="81"/>
                    <a:pt x="252" y="81"/>
                  </a:cubicBezTo>
                  <a:cubicBezTo>
                    <a:pt x="252" y="81"/>
                    <a:pt x="255" y="79"/>
                    <a:pt x="253" y="74"/>
                  </a:cubicBezTo>
                  <a:cubicBezTo>
                    <a:pt x="251" y="69"/>
                    <a:pt x="245" y="74"/>
                    <a:pt x="245" y="74"/>
                  </a:cubicBezTo>
                  <a:cubicBezTo>
                    <a:pt x="245" y="74"/>
                    <a:pt x="242" y="69"/>
                    <a:pt x="240" y="69"/>
                  </a:cubicBezTo>
                  <a:cubicBezTo>
                    <a:pt x="238" y="69"/>
                    <a:pt x="238" y="75"/>
                    <a:pt x="238" y="77"/>
                  </a:cubicBezTo>
                  <a:cubicBezTo>
                    <a:pt x="238" y="79"/>
                    <a:pt x="236" y="80"/>
                    <a:pt x="236" y="80"/>
                  </a:cubicBezTo>
                  <a:cubicBezTo>
                    <a:pt x="236" y="80"/>
                    <a:pt x="236" y="86"/>
                    <a:pt x="235" y="89"/>
                  </a:cubicBezTo>
                  <a:cubicBezTo>
                    <a:pt x="232" y="90"/>
                    <a:pt x="230" y="90"/>
                    <a:pt x="230" y="90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6" y="89"/>
                    <a:pt x="226" y="89"/>
                    <a:pt x="226" y="89"/>
                  </a:cubicBezTo>
                  <a:cubicBezTo>
                    <a:pt x="226" y="89"/>
                    <a:pt x="224" y="90"/>
                    <a:pt x="223" y="91"/>
                  </a:cubicBezTo>
                  <a:cubicBezTo>
                    <a:pt x="222" y="91"/>
                    <a:pt x="219" y="89"/>
                    <a:pt x="219" y="89"/>
                  </a:cubicBezTo>
                  <a:cubicBezTo>
                    <a:pt x="220" y="84"/>
                    <a:pt x="220" y="84"/>
                    <a:pt x="220" y="84"/>
                  </a:cubicBezTo>
                  <a:cubicBezTo>
                    <a:pt x="220" y="84"/>
                    <a:pt x="217" y="81"/>
                    <a:pt x="214" y="82"/>
                  </a:cubicBezTo>
                  <a:cubicBezTo>
                    <a:pt x="210" y="82"/>
                    <a:pt x="210" y="84"/>
                    <a:pt x="210" y="86"/>
                  </a:cubicBezTo>
                  <a:cubicBezTo>
                    <a:pt x="209" y="87"/>
                    <a:pt x="206" y="87"/>
                    <a:pt x="206" y="87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3"/>
                    <a:pt x="202" y="91"/>
                    <a:pt x="199" y="90"/>
                  </a:cubicBezTo>
                  <a:cubicBezTo>
                    <a:pt x="198" y="89"/>
                    <a:pt x="197" y="90"/>
                    <a:pt x="197" y="90"/>
                  </a:cubicBezTo>
                  <a:cubicBezTo>
                    <a:pt x="196" y="80"/>
                    <a:pt x="196" y="80"/>
                    <a:pt x="196" y="80"/>
                  </a:cubicBezTo>
                  <a:cubicBezTo>
                    <a:pt x="195" y="79"/>
                    <a:pt x="195" y="79"/>
                    <a:pt x="195" y="79"/>
                  </a:cubicBezTo>
                  <a:cubicBezTo>
                    <a:pt x="195" y="76"/>
                    <a:pt x="195" y="76"/>
                    <a:pt x="195" y="76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4" y="71"/>
                    <a:pt x="183" y="78"/>
                  </a:cubicBezTo>
                  <a:cubicBezTo>
                    <a:pt x="181" y="84"/>
                    <a:pt x="183" y="85"/>
                    <a:pt x="183" y="8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1" y="87"/>
                    <a:pt x="181" y="87"/>
                    <a:pt x="181" y="87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93"/>
                    <a:pt x="182" y="93"/>
                    <a:pt x="182" y="93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7" y="98"/>
                    <a:pt x="177" y="98"/>
                    <a:pt x="177" y="98"/>
                  </a:cubicBezTo>
                  <a:cubicBezTo>
                    <a:pt x="177" y="98"/>
                    <a:pt x="177" y="96"/>
                    <a:pt x="178" y="95"/>
                  </a:cubicBezTo>
                  <a:cubicBezTo>
                    <a:pt x="179" y="94"/>
                    <a:pt x="179" y="92"/>
                    <a:pt x="179" y="92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83"/>
                    <a:pt x="175" y="81"/>
                    <a:pt x="175" y="80"/>
                  </a:cubicBezTo>
                  <a:cubicBezTo>
                    <a:pt x="175" y="78"/>
                    <a:pt x="177" y="77"/>
                    <a:pt x="177" y="75"/>
                  </a:cubicBezTo>
                  <a:cubicBezTo>
                    <a:pt x="178" y="74"/>
                    <a:pt x="177" y="71"/>
                    <a:pt x="177" y="71"/>
                  </a:cubicBezTo>
                  <a:cubicBezTo>
                    <a:pt x="178" y="69"/>
                    <a:pt x="178" y="69"/>
                    <a:pt x="178" y="69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5" y="67"/>
                    <a:pt x="175" y="67"/>
                    <a:pt x="175" y="67"/>
                  </a:cubicBezTo>
                  <a:cubicBezTo>
                    <a:pt x="176" y="65"/>
                    <a:pt x="176" y="65"/>
                    <a:pt x="176" y="65"/>
                  </a:cubicBezTo>
                  <a:cubicBezTo>
                    <a:pt x="175" y="64"/>
                    <a:pt x="175" y="64"/>
                    <a:pt x="175" y="64"/>
                  </a:cubicBezTo>
                  <a:cubicBezTo>
                    <a:pt x="172" y="66"/>
                    <a:pt x="172" y="66"/>
                    <a:pt x="172" y="66"/>
                  </a:cubicBezTo>
                  <a:cubicBezTo>
                    <a:pt x="172" y="66"/>
                    <a:pt x="173" y="63"/>
                    <a:pt x="170" y="63"/>
                  </a:cubicBezTo>
                  <a:cubicBezTo>
                    <a:pt x="167" y="62"/>
                    <a:pt x="166" y="66"/>
                    <a:pt x="164" y="66"/>
                  </a:cubicBezTo>
                  <a:cubicBezTo>
                    <a:pt x="162" y="67"/>
                    <a:pt x="161" y="65"/>
                    <a:pt x="159" y="64"/>
                  </a:cubicBezTo>
                  <a:cubicBezTo>
                    <a:pt x="156" y="64"/>
                    <a:pt x="155" y="67"/>
                    <a:pt x="155" y="68"/>
                  </a:cubicBezTo>
                  <a:cubicBezTo>
                    <a:pt x="154" y="69"/>
                    <a:pt x="153" y="68"/>
                    <a:pt x="150" y="70"/>
                  </a:cubicBezTo>
                  <a:cubicBezTo>
                    <a:pt x="149" y="73"/>
                    <a:pt x="151" y="76"/>
                    <a:pt x="150" y="79"/>
                  </a:cubicBezTo>
                  <a:cubicBezTo>
                    <a:pt x="149" y="82"/>
                    <a:pt x="145" y="83"/>
                    <a:pt x="145" y="83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3" y="75"/>
                    <a:pt x="143" y="73"/>
                  </a:cubicBezTo>
                  <a:cubicBezTo>
                    <a:pt x="144" y="71"/>
                    <a:pt x="141" y="69"/>
                    <a:pt x="141" y="69"/>
                  </a:cubicBezTo>
                  <a:cubicBezTo>
                    <a:pt x="141" y="69"/>
                    <a:pt x="141" y="66"/>
                    <a:pt x="142" y="64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2" y="59"/>
                    <a:pt x="143" y="57"/>
                    <a:pt x="143" y="54"/>
                  </a:cubicBezTo>
                  <a:cubicBezTo>
                    <a:pt x="143" y="53"/>
                    <a:pt x="141" y="52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8" y="52"/>
                    <a:pt x="138" y="52"/>
                    <a:pt x="138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0" y="63"/>
                    <a:pt x="128" y="66"/>
                  </a:cubicBezTo>
                  <a:cubicBezTo>
                    <a:pt x="126" y="70"/>
                    <a:pt x="126" y="76"/>
                    <a:pt x="126" y="76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4" y="85"/>
                    <a:pt x="112" y="85"/>
                  </a:cubicBezTo>
                  <a:cubicBezTo>
                    <a:pt x="110" y="84"/>
                    <a:pt x="113" y="79"/>
                    <a:pt x="11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4" y="75"/>
                    <a:pt x="102" y="77"/>
                    <a:pt x="102" y="77"/>
                  </a:cubicBezTo>
                  <a:cubicBezTo>
                    <a:pt x="102" y="77"/>
                    <a:pt x="101" y="78"/>
                    <a:pt x="100" y="80"/>
                  </a:cubicBezTo>
                  <a:cubicBezTo>
                    <a:pt x="99" y="82"/>
                    <a:pt x="98" y="89"/>
                    <a:pt x="98" y="89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6"/>
                    <a:pt x="92" y="89"/>
                    <a:pt x="91" y="90"/>
                  </a:cubicBezTo>
                  <a:cubicBezTo>
                    <a:pt x="90" y="91"/>
                    <a:pt x="90" y="95"/>
                    <a:pt x="90" y="95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97"/>
                    <a:pt x="88" y="92"/>
                    <a:pt x="89" y="89"/>
                  </a:cubicBezTo>
                  <a:cubicBezTo>
                    <a:pt x="89" y="85"/>
                    <a:pt x="93" y="82"/>
                    <a:pt x="93" y="82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2" y="64"/>
                    <a:pt x="91" y="62"/>
                  </a:cubicBezTo>
                  <a:cubicBezTo>
                    <a:pt x="90" y="60"/>
                    <a:pt x="91" y="60"/>
                    <a:pt x="92" y="59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9"/>
                    <a:pt x="94" y="60"/>
                  </a:cubicBezTo>
                  <a:cubicBezTo>
                    <a:pt x="94" y="62"/>
                    <a:pt x="97" y="62"/>
                    <a:pt x="98" y="62"/>
                  </a:cubicBezTo>
                  <a:cubicBezTo>
                    <a:pt x="100" y="62"/>
                    <a:pt x="99" y="59"/>
                    <a:pt x="99" y="59"/>
                  </a:cubicBezTo>
                  <a:cubicBezTo>
                    <a:pt x="99" y="59"/>
                    <a:pt x="101" y="60"/>
                    <a:pt x="107" y="54"/>
                  </a:cubicBezTo>
                  <a:cubicBezTo>
                    <a:pt x="112" y="49"/>
                    <a:pt x="101" y="47"/>
                    <a:pt x="102" y="46"/>
                  </a:cubicBezTo>
                  <a:cubicBezTo>
                    <a:pt x="102" y="44"/>
                    <a:pt x="109" y="46"/>
                    <a:pt x="109" y="46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37"/>
                    <a:pt x="105" y="35"/>
                    <a:pt x="106" y="33"/>
                  </a:cubicBezTo>
                  <a:cubicBezTo>
                    <a:pt x="107" y="30"/>
                    <a:pt x="104" y="30"/>
                    <a:pt x="102" y="28"/>
                  </a:cubicBezTo>
                  <a:cubicBezTo>
                    <a:pt x="101" y="26"/>
                    <a:pt x="104" y="23"/>
                    <a:pt x="104" y="23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9" y="17"/>
                    <a:pt x="100" y="16"/>
                  </a:cubicBezTo>
                  <a:cubicBezTo>
                    <a:pt x="102" y="14"/>
                    <a:pt x="98" y="12"/>
                    <a:pt x="98" y="12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3" y="5"/>
                    <a:pt x="81" y="5"/>
                  </a:cubicBezTo>
                  <a:cubicBezTo>
                    <a:pt x="80" y="6"/>
                    <a:pt x="79" y="3"/>
                    <a:pt x="79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7" y="6"/>
                    <a:pt x="80" y="8"/>
                  </a:cubicBezTo>
                  <a:cubicBezTo>
                    <a:pt x="83" y="11"/>
                    <a:pt x="87" y="8"/>
                    <a:pt x="87" y="8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2" y="19"/>
                    <a:pt x="91" y="18"/>
                  </a:cubicBezTo>
                  <a:cubicBezTo>
                    <a:pt x="89" y="17"/>
                    <a:pt x="87" y="17"/>
                    <a:pt x="85" y="15"/>
                  </a:cubicBezTo>
                  <a:cubicBezTo>
                    <a:pt x="84" y="13"/>
                    <a:pt x="81" y="13"/>
                    <a:pt x="79" y="14"/>
                  </a:cubicBezTo>
                  <a:cubicBezTo>
                    <a:pt x="76" y="16"/>
                    <a:pt x="81" y="22"/>
                    <a:pt x="82" y="23"/>
                  </a:cubicBezTo>
                  <a:cubicBezTo>
                    <a:pt x="83" y="24"/>
                    <a:pt x="87" y="29"/>
                    <a:pt x="87" y="29"/>
                  </a:cubicBezTo>
                  <a:cubicBezTo>
                    <a:pt x="87" y="29"/>
                    <a:pt x="84" y="30"/>
                    <a:pt x="83" y="31"/>
                  </a:cubicBezTo>
                  <a:cubicBezTo>
                    <a:pt x="82" y="32"/>
                    <a:pt x="83" y="34"/>
                    <a:pt x="82" y="37"/>
                  </a:cubicBezTo>
                  <a:cubicBezTo>
                    <a:pt x="82" y="41"/>
                    <a:pt x="78" y="43"/>
                    <a:pt x="78" y="43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80" y="38"/>
                    <a:pt x="80" y="34"/>
                  </a:cubicBezTo>
                  <a:cubicBezTo>
                    <a:pt x="80" y="31"/>
                    <a:pt x="75" y="38"/>
                    <a:pt x="75" y="38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69" y="22"/>
                    <a:pt x="68" y="21"/>
                  </a:cubicBezTo>
                  <a:cubicBezTo>
                    <a:pt x="68" y="20"/>
                    <a:pt x="72" y="19"/>
                    <a:pt x="72" y="19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68" y="10"/>
                    <a:pt x="64" y="10"/>
                  </a:cubicBezTo>
                  <a:cubicBezTo>
                    <a:pt x="60" y="11"/>
                    <a:pt x="65" y="14"/>
                    <a:pt x="65" y="14"/>
                  </a:cubicBezTo>
                  <a:cubicBezTo>
                    <a:pt x="65" y="14"/>
                    <a:pt x="63" y="13"/>
                    <a:pt x="61" y="13"/>
                  </a:cubicBezTo>
                  <a:cubicBezTo>
                    <a:pt x="60" y="13"/>
                    <a:pt x="59" y="13"/>
                    <a:pt x="61" y="16"/>
                  </a:cubicBezTo>
                  <a:cubicBezTo>
                    <a:pt x="62" y="20"/>
                    <a:pt x="63" y="21"/>
                    <a:pt x="62" y="21"/>
                  </a:cubicBezTo>
                  <a:cubicBezTo>
                    <a:pt x="61" y="22"/>
                    <a:pt x="60" y="20"/>
                    <a:pt x="59" y="18"/>
                  </a:cubicBezTo>
                  <a:cubicBezTo>
                    <a:pt x="58" y="15"/>
                    <a:pt x="56" y="13"/>
                    <a:pt x="53" y="14"/>
                  </a:cubicBezTo>
                  <a:cubicBezTo>
                    <a:pt x="50" y="16"/>
                    <a:pt x="53" y="21"/>
                    <a:pt x="53" y="22"/>
                  </a:cubicBezTo>
                  <a:cubicBezTo>
                    <a:pt x="55" y="24"/>
                    <a:pt x="52" y="24"/>
                    <a:pt x="52" y="24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0" y="23"/>
                    <a:pt x="47" y="21"/>
                  </a:cubicBezTo>
                  <a:cubicBezTo>
                    <a:pt x="45" y="20"/>
                    <a:pt x="45" y="29"/>
                    <a:pt x="48" y="32"/>
                  </a:cubicBezTo>
                  <a:cubicBezTo>
                    <a:pt x="51" y="36"/>
                    <a:pt x="58" y="36"/>
                    <a:pt x="58" y="36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5" y="41"/>
                    <a:pt x="46" y="37"/>
                  </a:cubicBezTo>
                  <a:cubicBezTo>
                    <a:pt x="46" y="34"/>
                    <a:pt x="38" y="23"/>
                    <a:pt x="38" y="23"/>
                  </a:cubicBezTo>
                  <a:cubicBezTo>
                    <a:pt x="38" y="23"/>
                    <a:pt x="35" y="26"/>
                    <a:pt x="35" y="29"/>
                  </a:cubicBezTo>
                  <a:cubicBezTo>
                    <a:pt x="35" y="32"/>
                    <a:pt x="38" y="37"/>
                    <a:pt x="38" y="3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41"/>
                    <a:pt x="36" y="43"/>
                    <a:pt x="36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3"/>
                    <a:pt x="32" y="39"/>
                    <a:pt x="32" y="38"/>
                  </a:cubicBezTo>
                  <a:cubicBezTo>
                    <a:pt x="32" y="37"/>
                    <a:pt x="30" y="38"/>
                    <a:pt x="30" y="36"/>
                  </a:cubicBezTo>
                  <a:cubicBezTo>
                    <a:pt x="30" y="34"/>
                    <a:pt x="30" y="31"/>
                    <a:pt x="27" y="30"/>
                  </a:cubicBezTo>
                  <a:cubicBezTo>
                    <a:pt x="24" y="29"/>
                    <a:pt x="23" y="33"/>
                    <a:pt x="22" y="34"/>
                  </a:cubicBezTo>
                  <a:cubicBezTo>
                    <a:pt x="20" y="35"/>
                    <a:pt x="18" y="35"/>
                    <a:pt x="17" y="36"/>
                  </a:cubicBezTo>
                  <a:cubicBezTo>
                    <a:pt x="16" y="37"/>
                    <a:pt x="19" y="37"/>
                    <a:pt x="23" y="38"/>
                  </a:cubicBezTo>
                  <a:cubicBezTo>
                    <a:pt x="25" y="38"/>
                    <a:pt x="25" y="41"/>
                    <a:pt x="26" y="42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6" y="48"/>
                    <a:pt x="30" y="49"/>
                  </a:cubicBezTo>
                  <a:cubicBezTo>
                    <a:pt x="33" y="51"/>
                    <a:pt x="36" y="48"/>
                    <a:pt x="41" y="49"/>
                  </a:cubicBezTo>
                  <a:cubicBezTo>
                    <a:pt x="45" y="50"/>
                    <a:pt x="46" y="52"/>
                    <a:pt x="48" y="52"/>
                  </a:cubicBezTo>
                  <a:cubicBezTo>
                    <a:pt x="49" y="52"/>
                    <a:pt x="51" y="48"/>
                    <a:pt x="51" y="48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6" y="66"/>
                    <a:pt x="77" y="68"/>
                  </a:cubicBezTo>
                  <a:cubicBezTo>
                    <a:pt x="78" y="70"/>
                    <a:pt x="77" y="71"/>
                    <a:pt x="77" y="7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64" y="75"/>
                    <a:pt x="58" y="76"/>
                  </a:cubicBezTo>
                  <a:cubicBezTo>
                    <a:pt x="50" y="76"/>
                    <a:pt x="56" y="79"/>
                    <a:pt x="56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8" y="86"/>
                    <a:pt x="60" y="85"/>
                    <a:pt x="60" y="85"/>
                  </a:cubicBezTo>
                  <a:cubicBezTo>
                    <a:pt x="60" y="85"/>
                    <a:pt x="61" y="90"/>
                    <a:pt x="62" y="90"/>
                  </a:cubicBezTo>
                  <a:cubicBezTo>
                    <a:pt x="64" y="90"/>
                    <a:pt x="69" y="87"/>
                    <a:pt x="69" y="87"/>
                  </a:cubicBezTo>
                  <a:cubicBezTo>
                    <a:pt x="69" y="87"/>
                    <a:pt x="72" y="86"/>
                    <a:pt x="73" y="89"/>
                  </a:cubicBezTo>
                  <a:cubicBezTo>
                    <a:pt x="74" y="92"/>
                    <a:pt x="66" y="93"/>
                    <a:pt x="66" y="93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0" y="96"/>
                    <a:pt x="59" y="92"/>
                    <a:pt x="59" y="92"/>
                  </a:cubicBezTo>
                  <a:cubicBezTo>
                    <a:pt x="59" y="92"/>
                    <a:pt x="58" y="91"/>
                    <a:pt x="57" y="92"/>
                  </a:cubicBezTo>
                  <a:cubicBezTo>
                    <a:pt x="55" y="92"/>
                    <a:pt x="55" y="89"/>
                    <a:pt x="51" y="86"/>
                  </a:cubicBezTo>
                  <a:cubicBezTo>
                    <a:pt x="48" y="84"/>
                    <a:pt x="45" y="87"/>
                    <a:pt x="45" y="87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0" y="85"/>
                    <a:pt x="38" y="85"/>
                  </a:cubicBezTo>
                  <a:cubicBezTo>
                    <a:pt x="36" y="85"/>
                    <a:pt x="36" y="84"/>
                    <a:pt x="35" y="82"/>
                  </a:cubicBezTo>
                  <a:cubicBezTo>
                    <a:pt x="34" y="81"/>
                    <a:pt x="33" y="83"/>
                    <a:pt x="31" y="85"/>
                  </a:cubicBezTo>
                  <a:cubicBezTo>
                    <a:pt x="29" y="87"/>
                    <a:pt x="30" y="83"/>
                    <a:pt x="31" y="83"/>
                  </a:cubicBezTo>
                  <a:cubicBezTo>
                    <a:pt x="32" y="82"/>
                    <a:pt x="32" y="80"/>
                    <a:pt x="30" y="80"/>
                  </a:cubicBezTo>
                  <a:cubicBezTo>
                    <a:pt x="28" y="79"/>
                    <a:pt x="28" y="83"/>
                    <a:pt x="26" y="83"/>
                  </a:cubicBezTo>
                  <a:cubicBezTo>
                    <a:pt x="24" y="83"/>
                    <a:pt x="25" y="81"/>
                    <a:pt x="25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16" y="81"/>
                    <a:pt x="14" y="81"/>
                  </a:cubicBezTo>
                  <a:cubicBezTo>
                    <a:pt x="12" y="80"/>
                    <a:pt x="13" y="76"/>
                    <a:pt x="9" y="76"/>
                  </a:cubicBezTo>
                  <a:cubicBezTo>
                    <a:pt x="4" y="76"/>
                    <a:pt x="3" y="81"/>
                    <a:pt x="4" y="84"/>
                  </a:cubicBezTo>
                  <a:cubicBezTo>
                    <a:pt x="4" y="89"/>
                    <a:pt x="8" y="90"/>
                    <a:pt x="10" y="90"/>
                  </a:cubicBezTo>
                  <a:cubicBezTo>
                    <a:pt x="12" y="90"/>
                    <a:pt x="11" y="87"/>
                    <a:pt x="13" y="86"/>
                  </a:cubicBezTo>
                  <a:cubicBezTo>
                    <a:pt x="15" y="86"/>
                    <a:pt x="16" y="89"/>
                    <a:pt x="17" y="90"/>
                  </a:cubicBezTo>
                  <a:cubicBezTo>
                    <a:pt x="18" y="90"/>
                    <a:pt x="19" y="89"/>
                    <a:pt x="19" y="89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3" y="98"/>
                    <a:pt x="33" y="97"/>
                    <a:pt x="34" y="97"/>
                  </a:cubicBezTo>
                  <a:cubicBezTo>
                    <a:pt x="36" y="98"/>
                    <a:pt x="35" y="99"/>
                    <a:pt x="36" y="100"/>
                  </a:cubicBezTo>
                  <a:cubicBezTo>
                    <a:pt x="38" y="101"/>
                    <a:pt x="40" y="99"/>
                    <a:pt x="41" y="100"/>
                  </a:cubicBezTo>
                  <a:cubicBezTo>
                    <a:pt x="43" y="102"/>
                    <a:pt x="41" y="103"/>
                    <a:pt x="41" y="103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36" y="122"/>
                    <a:pt x="36" y="124"/>
                    <a:pt x="39" y="124"/>
                  </a:cubicBezTo>
                  <a:cubicBezTo>
                    <a:pt x="40" y="124"/>
                    <a:pt x="42" y="122"/>
                    <a:pt x="42" y="122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8" y="125"/>
                    <a:pt x="48" y="125"/>
                    <a:pt x="48" y="125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2" y="125"/>
                    <a:pt x="38" y="128"/>
                    <a:pt x="38" y="128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3" y="134"/>
                    <a:pt x="33" y="134"/>
                    <a:pt x="33" y="134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3" y="136"/>
                    <a:pt x="45" y="133"/>
                    <a:pt x="49" y="136"/>
                  </a:cubicBezTo>
                  <a:cubicBezTo>
                    <a:pt x="52" y="137"/>
                    <a:pt x="50" y="140"/>
                    <a:pt x="50" y="140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7" y="137"/>
                    <a:pt x="44" y="138"/>
                    <a:pt x="41" y="138"/>
                  </a:cubicBezTo>
                  <a:cubicBezTo>
                    <a:pt x="38" y="138"/>
                    <a:pt x="36" y="138"/>
                    <a:pt x="36" y="141"/>
                  </a:cubicBezTo>
                  <a:cubicBezTo>
                    <a:pt x="35" y="143"/>
                    <a:pt x="38" y="147"/>
                    <a:pt x="38" y="147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27" y="146"/>
                    <a:pt x="27" y="146"/>
                    <a:pt x="27" y="146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0"/>
                    <a:pt x="22" y="149"/>
                    <a:pt x="19" y="149"/>
                  </a:cubicBezTo>
                  <a:cubicBezTo>
                    <a:pt x="17" y="148"/>
                    <a:pt x="15" y="149"/>
                    <a:pt x="14" y="149"/>
                  </a:cubicBezTo>
                  <a:cubicBezTo>
                    <a:pt x="12" y="149"/>
                    <a:pt x="10" y="147"/>
                    <a:pt x="10" y="147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9" y="140"/>
                    <a:pt x="9" y="140"/>
                    <a:pt x="9" y="140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2" y="159"/>
                    <a:pt x="13" y="160"/>
                  </a:cubicBezTo>
                  <a:cubicBezTo>
                    <a:pt x="14" y="161"/>
                    <a:pt x="19" y="163"/>
                    <a:pt x="19" y="163"/>
                  </a:cubicBezTo>
                  <a:cubicBezTo>
                    <a:pt x="19" y="163"/>
                    <a:pt x="24" y="163"/>
                    <a:pt x="26" y="164"/>
                  </a:cubicBezTo>
                  <a:cubicBezTo>
                    <a:pt x="28" y="165"/>
                    <a:pt x="28" y="168"/>
                    <a:pt x="28" y="168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42" y="165"/>
                    <a:pt x="44" y="166"/>
                  </a:cubicBezTo>
                  <a:cubicBezTo>
                    <a:pt x="46" y="168"/>
                    <a:pt x="41" y="169"/>
                    <a:pt x="41" y="169"/>
                  </a:cubicBezTo>
                  <a:cubicBezTo>
                    <a:pt x="41" y="169"/>
                    <a:pt x="42" y="170"/>
                    <a:pt x="43" y="172"/>
                  </a:cubicBezTo>
                  <a:cubicBezTo>
                    <a:pt x="43" y="174"/>
                    <a:pt x="43" y="175"/>
                    <a:pt x="45" y="177"/>
                  </a:cubicBezTo>
                  <a:cubicBezTo>
                    <a:pt x="47" y="178"/>
                    <a:pt x="47" y="181"/>
                    <a:pt x="47" y="181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1" y="183"/>
                    <a:pt x="50" y="183"/>
                  </a:cubicBezTo>
                  <a:cubicBezTo>
                    <a:pt x="49" y="184"/>
                    <a:pt x="49" y="184"/>
                    <a:pt x="49" y="184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1" y="189"/>
                    <a:pt x="51" y="189"/>
                    <a:pt x="51" y="189"/>
                  </a:cubicBezTo>
                  <a:cubicBezTo>
                    <a:pt x="51" y="194"/>
                    <a:pt x="51" y="194"/>
                    <a:pt x="51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53" y="196"/>
                    <a:pt x="53" y="196"/>
                    <a:pt x="53" y="196"/>
                  </a:cubicBezTo>
                  <a:cubicBezTo>
                    <a:pt x="53" y="196"/>
                    <a:pt x="55" y="202"/>
                    <a:pt x="56" y="204"/>
                  </a:cubicBezTo>
                  <a:cubicBezTo>
                    <a:pt x="58" y="206"/>
                    <a:pt x="60" y="205"/>
                    <a:pt x="61" y="205"/>
                  </a:cubicBezTo>
                  <a:cubicBezTo>
                    <a:pt x="62" y="205"/>
                    <a:pt x="64" y="208"/>
                    <a:pt x="65" y="208"/>
                  </a:cubicBezTo>
                  <a:cubicBezTo>
                    <a:pt x="66" y="209"/>
                    <a:pt x="67" y="208"/>
                    <a:pt x="67" y="208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7" y="211"/>
                    <a:pt x="72" y="216"/>
                    <a:pt x="74" y="218"/>
                  </a:cubicBezTo>
                  <a:cubicBezTo>
                    <a:pt x="76" y="220"/>
                    <a:pt x="79" y="224"/>
                    <a:pt x="79" y="224"/>
                  </a:cubicBezTo>
                  <a:cubicBezTo>
                    <a:pt x="79" y="224"/>
                    <a:pt x="83" y="224"/>
                    <a:pt x="85" y="226"/>
                  </a:cubicBezTo>
                  <a:cubicBezTo>
                    <a:pt x="89" y="229"/>
                    <a:pt x="91" y="229"/>
                    <a:pt x="91" y="229"/>
                  </a:cubicBezTo>
                  <a:cubicBezTo>
                    <a:pt x="91" y="229"/>
                    <a:pt x="99" y="232"/>
                    <a:pt x="106" y="233"/>
                  </a:cubicBezTo>
                  <a:cubicBezTo>
                    <a:pt x="112" y="235"/>
                    <a:pt x="118" y="227"/>
                    <a:pt x="118" y="227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0" y="224"/>
                    <a:pt x="120" y="224"/>
                    <a:pt x="120" y="224"/>
                  </a:cubicBezTo>
                  <a:cubicBezTo>
                    <a:pt x="120" y="224"/>
                    <a:pt x="120" y="221"/>
                    <a:pt x="123" y="221"/>
                  </a:cubicBezTo>
                  <a:cubicBezTo>
                    <a:pt x="127" y="221"/>
                    <a:pt x="126" y="224"/>
                    <a:pt x="126" y="224"/>
                  </a:cubicBezTo>
                  <a:cubicBezTo>
                    <a:pt x="133" y="223"/>
                    <a:pt x="133" y="223"/>
                    <a:pt x="133" y="223"/>
                  </a:cubicBezTo>
                  <a:cubicBezTo>
                    <a:pt x="133" y="225"/>
                    <a:pt x="133" y="225"/>
                    <a:pt x="133" y="225"/>
                  </a:cubicBezTo>
                  <a:cubicBezTo>
                    <a:pt x="142" y="225"/>
                    <a:pt x="142" y="225"/>
                    <a:pt x="142" y="225"/>
                  </a:cubicBezTo>
                  <a:cubicBezTo>
                    <a:pt x="144" y="225"/>
                    <a:pt x="148" y="228"/>
                    <a:pt x="148" y="228"/>
                  </a:cubicBezTo>
                  <a:cubicBezTo>
                    <a:pt x="153" y="224"/>
                    <a:pt x="153" y="224"/>
                    <a:pt x="153" y="224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61" y="226"/>
                    <a:pt x="161" y="226"/>
                    <a:pt x="161" y="22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9"/>
                    <a:pt x="172" y="222"/>
                    <a:pt x="177" y="220"/>
                  </a:cubicBezTo>
                  <a:cubicBezTo>
                    <a:pt x="181" y="219"/>
                    <a:pt x="193" y="218"/>
                    <a:pt x="193" y="218"/>
                  </a:cubicBezTo>
                  <a:cubicBezTo>
                    <a:pt x="192" y="216"/>
                    <a:pt x="192" y="216"/>
                    <a:pt x="192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195" y="217"/>
                    <a:pt x="195" y="217"/>
                    <a:pt x="195" y="217"/>
                  </a:cubicBezTo>
                  <a:cubicBezTo>
                    <a:pt x="200" y="217"/>
                    <a:pt x="200" y="217"/>
                    <a:pt x="200" y="217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7" y="219"/>
                    <a:pt x="207" y="219"/>
                    <a:pt x="207" y="219"/>
                  </a:cubicBezTo>
                  <a:cubicBezTo>
                    <a:pt x="203" y="216"/>
                    <a:pt x="203" y="216"/>
                    <a:pt x="203" y="216"/>
                  </a:cubicBezTo>
                  <a:cubicBezTo>
                    <a:pt x="206" y="211"/>
                    <a:pt x="206" y="211"/>
                    <a:pt x="206" y="211"/>
                  </a:cubicBezTo>
                  <a:cubicBezTo>
                    <a:pt x="206" y="211"/>
                    <a:pt x="207" y="215"/>
                    <a:pt x="209" y="216"/>
                  </a:cubicBezTo>
                  <a:cubicBezTo>
                    <a:pt x="210" y="217"/>
                    <a:pt x="208" y="218"/>
                    <a:pt x="208" y="218"/>
                  </a:cubicBezTo>
                  <a:cubicBezTo>
                    <a:pt x="208" y="218"/>
                    <a:pt x="210" y="217"/>
                    <a:pt x="212" y="218"/>
                  </a:cubicBezTo>
                  <a:cubicBezTo>
                    <a:pt x="213" y="219"/>
                    <a:pt x="212" y="222"/>
                    <a:pt x="212" y="222"/>
                  </a:cubicBezTo>
                  <a:cubicBezTo>
                    <a:pt x="214" y="222"/>
                    <a:pt x="214" y="222"/>
                    <a:pt x="214" y="222"/>
                  </a:cubicBezTo>
                  <a:cubicBezTo>
                    <a:pt x="216" y="221"/>
                    <a:pt x="216" y="219"/>
                    <a:pt x="216" y="219"/>
                  </a:cubicBezTo>
                  <a:cubicBezTo>
                    <a:pt x="216" y="219"/>
                    <a:pt x="221" y="218"/>
                    <a:pt x="223" y="217"/>
                  </a:cubicBezTo>
                  <a:cubicBezTo>
                    <a:pt x="225" y="216"/>
                    <a:pt x="226" y="212"/>
                    <a:pt x="228" y="213"/>
                  </a:cubicBezTo>
                  <a:cubicBezTo>
                    <a:pt x="229" y="213"/>
                    <a:pt x="227" y="216"/>
                    <a:pt x="227" y="216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40" y="207"/>
                    <a:pt x="240" y="207"/>
                    <a:pt x="240" y="207"/>
                  </a:cubicBezTo>
                  <a:cubicBezTo>
                    <a:pt x="236" y="208"/>
                    <a:pt x="236" y="208"/>
                    <a:pt x="236" y="208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3" y="206"/>
                    <a:pt x="243" y="206"/>
                    <a:pt x="243" y="206"/>
                  </a:cubicBezTo>
                  <a:cubicBezTo>
                    <a:pt x="245" y="204"/>
                    <a:pt x="245" y="204"/>
                    <a:pt x="245" y="204"/>
                  </a:cubicBezTo>
                  <a:cubicBezTo>
                    <a:pt x="243" y="201"/>
                    <a:pt x="243" y="201"/>
                    <a:pt x="243" y="201"/>
                  </a:cubicBezTo>
                  <a:cubicBezTo>
                    <a:pt x="243" y="201"/>
                    <a:pt x="242" y="193"/>
                    <a:pt x="243" y="194"/>
                  </a:cubicBezTo>
                  <a:cubicBezTo>
                    <a:pt x="244" y="194"/>
                    <a:pt x="244" y="199"/>
                    <a:pt x="245" y="201"/>
                  </a:cubicBezTo>
                  <a:cubicBezTo>
                    <a:pt x="245" y="204"/>
                    <a:pt x="254" y="202"/>
                    <a:pt x="254" y="202"/>
                  </a:cubicBezTo>
                  <a:cubicBezTo>
                    <a:pt x="254" y="200"/>
                    <a:pt x="254" y="200"/>
                    <a:pt x="254" y="200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258" y="195"/>
                    <a:pt x="258" y="195"/>
                    <a:pt x="258" y="195"/>
                  </a:cubicBezTo>
                  <a:cubicBezTo>
                    <a:pt x="262" y="197"/>
                    <a:pt x="262" y="197"/>
                    <a:pt x="262" y="197"/>
                  </a:cubicBezTo>
                  <a:cubicBezTo>
                    <a:pt x="264" y="195"/>
                    <a:pt x="264" y="195"/>
                    <a:pt x="264" y="195"/>
                  </a:cubicBezTo>
                  <a:cubicBezTo>
                    <a:pt x="258" y="190"/>
                    <a:pt x="258" y="190"/>
                    <a:pt x="258" y="190"/>
                  </a:cubicBezTo>
                  <a:cubicBezTo>
                    <a:pt x="259" y="189"/>
                    <a:pt x="261" y="191"/>
                    <a:pt x="262" y="192"/>
                  </a:cubicBezTo>
                  <a:cubicBezTo>
                    <a:pt x="263" y="193"/>
                    <a:pt x="268" y="193"/>
                    <a:pt x="268" y="193"/>
                  </a:cubicBezTo>
                  <a:cubicBezTo>
                    <a:pt x="268" y="191"/>
                    <a:pt x="268" y="191"/>
                    <a:pt x="268" y="191"/>
                  </a:cubicBezTo>
                  <a:cubicBezTo>
                    <a:pt x="268" y="191"/>
                    <a:pt x="265" y="191"/>
                    <a:pt x="264" y="190"/>
                  </a:cubicBezTo>
                  <a:cubicBezTo>
                    <a:pt x="263" y="190"/>
                    <a:pt x="264" y="189"/>
                    <a:pt x="263" y="187"/>
                  </a:cubicBezTo>
                  <a:cubicBezTo>
                    <a:pt x="263" y="186"/>
                    <a:pt x="257" y="181"/>
                    <a:pt x="257" y="181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63" y="183"/>
                    <a:pt x="263" y="183"/>
                    <a:pt x="263" y="183"/>
                  </a:cubicBezTo>
                  <a:cubicBezTo>
                    <a:pt x="263" y="183"/>
                    <a:pt x="265" y="189"/>
                    <a:pt x="269" y="190"/>
                  </a:cubicBezTo>
                  <a:cubicBezTo>
                    <a:pt x="273" y="191"/>
                    <a:pt x="273" y="187"/>
                    <a:pt x="273" y="187"/>
                  </a:cubicBezTo>
                  <a:cubicBezTo>
                    <a:pt x="276" y="187"/>
                    <a:pt x="276" y="187"/>
                    <a:pt x="276" y="187"/>
                  </a:cubicBezTo>
                  <a:cubicBezTo>
                    <a:pt x="276" y="184"/>
                    <a:pt x="276" y="184"/>
                    <a:pt x="276" y="184"/>
                  </a:cubicBezTo>
                  <a:cubicBezTo>
                    <a:pt x="278" y="181"/>
                    <a:pt x="278" y="181"/>
                    <a:pt x="278" y="181"/>
                  </a:cubicBezTo>
                  <a:cubicBezTo>
                    <a:pt x="277" y="180"/>
                    <a:pt x="277" y="180"/>
                    <a:pt x="277" y="180"/>
                  </a:cubicBezTo>
                  <a:cubicBezTo>
                    <a:pt x="273" y="184"/>
                    <a:pt x="273" y="184"/>
                    <a:pt x="273" y="184"/>
                  </a:cubicBezTo>
                  <a:cubicBezTo>
                    <a:pt x="272" y="183"/>
                    <a:pt x="272" y="183"/>
                    <a:pt x="272" y="183"/>
                  </a:cubicBezTo>
                  <a:cubicBezTo>
                    <a:pt x="273" y="181"/>
                    <a:pt x="273" y="181"/>
                    <a:pt x="273" y="181"/>
                  </a:cubicBezTo>
                  <a:cubicBezTo>
                    <a:pt x="272" y="180"/>
                    <a:pt x="272" y="180"/>
                    <a:pt x="272" y="180"/>
                  </a:cubicBezTo>
                  <a:cubicBezTo>
                    <a:pt x="276" y="178"/>
                    <a:pt x="276" y="178"/>
                    <a:pt x="276" y="178"/>
                  </a:cubicBezTo>
                  <a:cubicBezTo>
                    <a:pt x="276" y="177"/>
                    <a:pt x="276" y="177"/>
                    <a:pt x="276" y="177"/>
                  </a:cubicBezTo>
                  <a:cubicBezTo>
                    <a:pt x="271" y="177"/>
                    <a:pt x="271" y="177"/>
                    <a:pt x="271" y="177"/>
                  </a:cubicBezTo>
                  <a:cubicBezTo>
                    <a:pt x="269" y="174"/>
                    <a:pt x="269" y="174"/>
                    <a:pt x="269" y="174"/>
                  </a:cubicBezTo>
                  <a:cubicBezTo>
                    <a:pt x="274" y="175"/>
                    <a:pt x="274" y="175"/>
                    <a:pt x="274" y="175"/>
                  </a:cubicBezTo>
                  <a:cubicBezTo>
                    <a:pt x="274" y="175"/>
                    <a:pt x="278" y="176"/>
                    <a:pt x="278" y="173"/>
                  </a:cubicBezTo>
                  <a:cubicBezTo>
                    <a:pt x="279" y="170"/>
                    <a:pt x="269" y="170"/>
                    <a:pt x="269" y="170"/>
                  </a:cubicBezTo>
                  <a:cubicBezTo>
                    <a:pt x="268" y="169"/>
                    <a:pt x="268" y="169"/>
                    <a:pt x="268" y="169"/>
                  </a:cubicBezTo>
                  <a:cubicBezTo>
                    <a:pt x="274" y="169"/>
                    <a:pt x="274" y="169"/>
                    <a:pt x="274" y="169"/>
                  </a:cubicBezTo>
                  <a:cubicBezTo>
                    <a:pt x="276" y="169"/>
                    <a:pt x="275" y="165"/>
                    <a:pt x="275" y="165"/>
                  </a:cubicBezTo>
                  <a:cubicBezTo>
                    <a:pt x="275" y="165"/>
                    <a:pt x="277" y="166"/>
                    <a:pt x="279" y="166"/>
                  </a:cubicBezTo>
                  <a:cubicBezTo>
                    <a:pt x="281" y="166"/>
                    <a:pt x="281" y="162"/>
                    <a:pt x="281" y="162"/>
                  </a:cubicBezTo>
                  <a:cubicBezTo>
                    <a:pt x="284" y="160"/>
                    <a:pt x="284" y="160"/>
                    <a:pt x="284" y="160"/>
                  </a:cubicBezTo>
                  <a:cubicBezTo>
                    <a:pt x="285" y="160"/>
                    <a:pt x="284" y="155"/>
                    <a:pt x="284" y="155"/>
                  </a:cubicBezTo>
                  <a:close/>
                  <a:moveTo>
                    <a:pt x="61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1" y="51"/>
                  </a:lnTo>
                  <a:close/>
                  <a:moveTo>
                    <a:pt x="48" y="210"/>
                  </a:moveTo>
                  <a:cubicBezTo>
                    <a:pt x="52" y="208"/>
                    <a:pt x="52" y="208"/>
                    <a:pt x="52" y="208"/>
                  </a:cubicBezTo>
                  <a:cubicBezTo>
                    <a:pt x="50" y="205"/>
                    <a:pt x="50" y="205"/>
                    <a:pt x="50" y="205"/>
                  </a:cubicBezTo>
                  <a:lnTo>
                    <a:pt x="48" y="210"/>
                  </a:lnTo>
                  <a:close/>
                  <a:moveTo>
                    <a:pt x="122" y="222"/>
                  </a:moveTo>
                  <a:cubicBezTo>
                    <a:pt x="122" y="222"/>
                    <a:pt x="121" y="225"/>
                    <a:pt x="124" y="224"/>
                  </a:cubicBezTo>
                  <a:cubicBezTo>
                    <a:pt x="126" y="224"/>
                    <a:pt x="125" y="221"/>
                    <a:pt x="122" y="2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Färöer" descr="© INSCALE GmbH, 05.05.2010&#10;http://www.presentationload.com/">
              <a:extLst>
                <a:ext uri="{FF2B5EF4-FFF2-40B4-BE49-F238E27FC236}">
                  <a16:creationId xmlns:a16="http://schemas.microsoft.com/office/drawing/2014/main" id="{C77D21BE-99F6-E342-B64C-CD873B8C1C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13677" y="2531052"/>
              <a:ext cx="123768" cy="146871"/>
            </a:xfrm>
            <a:custGeom>
              <a:avLst/>
              <a:gdLst/>
              <a:ahLst/>
              <a:cxnLst>
                <a:cxn ang="0">
                  <a:pos x="7" y="13"/>
                </a:cxn>
                <a:cxn ang="0">
                  <a:pos x="0" y="11"/>
                </a:cxn>
                <a:cxn ang="0">
                  <a:pos x="32" y="30"/>
                </a:cxn>
                <a:cxn ang="0">
                  <a:pos x="29" y="30"/>
                </a:cxn>
                <a:cxn ang="0">
                  <a:pos x="21" y="22"/>
                </a:cxn>
                <a:cxn ang="0">
                  <a:pos x="21" y="26"/>
                </a:cxn>
                <a:cxn ang="0">
                  <a:pos x="19" y="40"/>
                </a:cxn>
                <a:cxn ang="0">
                  <a:pos x="21" y="37"/>
                </a:cxn>
                <a:cxn ang="0">
                  <a:pos x="20" y="30"/>
                </a:cxn>
                <a:cxn ang="0">
                  <a:pos x="23" y="34"/>
                </a:cxn>
                <a:cxn ang="0">
                  <a:pos x="28" y="36"/>
                </a:cxn>
                <a:cxn ang="0">
                  <a:pos x="20" y="30"/>
                </a:cxn>
                <a:cxn ang="0">
                  <a:pos x="19" y="16"/>
                </a:cxn>
                <a:cxn ang="0">
                  <a:pos x="14" y="13"/>
                </a:cxn>
                <a:cxn ang="0">
                  <a:pos x="10" y="11"/>
                </a:cxn>
                <a:cxn ang="0">
                  <a:pos x="11" y="17"/>
                </a:cxn>
                <a:cxn ang="0">
                  <a:pos x="27" y="21"/>
                </a:cxn>
                <a:cxn ang="0">
                  <a:pos x="23" y="11"/>
                </a:cxn>
                <a:cxn ang="0">
                  <a:pos x="19" y="6"/>
                </a:cxn>
                <a:cxn ang="0">
                  <a:pos x="22" y="16"/>
                </a:cxn>
                <a:cxn ang="0">
                  <a:pos x="27" y="30"/>
                </a:cxn>
                <a:cxn ang="0">
                  <a:pos x="27" y="21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4" y="14"/>
                </a:cxn>
                <a:cxn ang="0">
                  <a:pos x="32" y="9"/>
                </a:cxn>
                <a:cxn ang="0">
                  <a:pos x="28" y="6"/>
                </a:cxn>
                <a:cxn ang="0">
                  <a:pos x="29" y="2"/>
                </a:cxn>
                <a:cxn ang="0">
                  <a:pos x="24" y="10"/>
                </a:cxn>
                <a:cxn ang="0">
                  <a:pos x="31" y="14"/>
                </a:cxn>
                <a:cxn ang="0">
                  <a:pos x="30" y="20"/>
                </a:cxn>
                <a:cxn ang="0">
                  <a:pos x="35" y="18"/>
                </a:cxn>
                <a:cxn ang="0">
                  <a:pos x="31" y="14"/>
                </a:cxn>
                <a:cxn ang="0">
                  <a:pos x="38" y="10"/>
                </a:cxn>
                <a:cxn ang="0">
                  <a:pos x="37" y="14"/>
                </a:cxn>
                <a:cxn ang="0">
                  <a:pos x="42" y="13"/>
                </a:cxn>
                <a:cxn ang="0">
                  <a:pos x="38" y="5"/>
                </a:cxn>
                <a:cxn ang="0">
                  <a:pos x="44" y="9"/>
                </a:cxn>
                <a:cxn ang="0">
                  <a:pos x="42" y="1"/>
                </a:cxn>
                <a:cxn ang="0">
                  <a:pos x="38" y="1"/>
                </a:cxn>
                <a:cxn ang="0">
                  <a:pos x="36" y="8"/>
                </a:cxn>
                <a:cxn ang="0">
                  <a:pos x="38" y="1"/>
                </a:cxn>
                <a:cxn ang="0">
                  <a:pos x="32" y="2"/>
                </a:cxn>
                <a:cxn ang="0">
                  <a:pos x="34" y="2"/>
                </a:cxn>
                <a:cxn ang="0">
                  <a:pos x="45" y="14"/>
                </a:cxn>
                <a:cxn ang="0">
                  <a:pos x="47" y="11"/>
                </a:cxn>
                <a:cxn ang="0">
                  <a:pos x="48" y="9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16" y="49"/>
                </a:cxn>
                <a:cxn ang="0">
                  <a:pos x="14" y="45"/>
                </a:cxn>
                <a:cxn ang="0">
                  <a:pos x="13" y="55"/>
                </a:cxn>
                <a:cxn ang="0">
                  <a:pos x="18" y="62"/>
                </a:cxn>
                <a:cxn ang="0">
                  <a:pos x="17" y="57"/>
                </a:cxn>
                <a:cxn ang="0">
                  <a:pos x="19" y="53"/>
                </a:cxn>
              </a:cxnLst>
              <a:rect l="0" t="0" r="r" b="b"/>
              <a:pathLst>
                <a:path w="51" h="62">
                  <a:moveTo>
                    <a:pt x="0" y="11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1"/>
                  </a:lnTo>
                  <a:close/>
                  <a:moveTo>
                    <a:pt x="29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30"/>
                  </a:lnTo>
                  <a:close/>
                  <a:moveTo>
                    <a:pt x="22" y="27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2" y="27"/>
                  </a:lnTo>
                  <a:close/>
                  <a:moveTo>
                    <a:pt x="19" y="40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7"/>
                    <a:pt x="21" y="37"/>
                    <a:pt x="21" y="37"/>
                  </a:cubicBezTo>
                  <a:lnTo>
                    <a:pt x="19" y="40"/>
                  </a:lnTo>
                  <a:close/>
                  <a:moveTo>
                    <a:pt x="20" y="30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7" y="34"/>
                    <a:pt x="24" y="32"/>
                  </a:cubicBezTo>
                  <a:cubicBezTo>
                    <a:pt x="23" y="31"/>
                    <a:pt x="20" y="30"/>
                    <a:pt x="20" y="30"/>
                  </a:cubicBezTo>
                  <a:close/>
                  <a:moveTo>
                    <a:pt x="15" y="20"/>
                  </a:moveTo>
                  <a:cubicBezTo>
                    <a:pt x="18" y="19"/>
                    <a:pt x="19" y="16"/>
                    <a:pt x="19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2" y="13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2" y="20"/>
                    <a:pt x="15" y="20"/>
                  </a:cubicBezTo>
                  <a:close/>
                  <a:moveTo>
                    <a:pt x="27" y="21"/>
                  </a:moveTo>
                  <a:cubicBezTo>
                    <a:pt x="27" y="21"/>
                    <a:pt x="28" y="19"/>
                    <a:pt x="27" y="18"/>
                  </a:cubicBezTo>
                  <a:cubicBezTo>
                    <a:pt x="26" y="17"/>
                    <a:pt x="23" y="11"/>
                    <a:pt x="23" y="11"/>
                  </a:cubicBezTo>
                  <a:cubicBezTo>
                    <a:pt x="23" y="11"/>
                    <a:pt x="23" y="3"/>
                    <a:pt x="21" y="3"/>
                  </a:cubicBezTo>
                  <a:cubicBezTo>
                    <a:pt x="20" y="3"/>
                    <a:pt x="19" y="6"/>
                    <a:pt x="19" y="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4"/>
                    <a:pt x="22" y="13"/>
                    <a:pt x="22" y="16"/>
                  </a:cubicBezTo>
                  <a:cubicBezTo>
                    <a:pt x="22" y="19"/>
                    <a:pt x="23" y="25"/>
                    <a:pt x="24" y="26"/>
                  </a:cubicBezTo>
                  <a:cubicBezTo>
                    <a:pt x="26" y="26"/>
                    <a:pt x="27" y="30"/>
                    <a:pt x="27" y="30"/>
                  </a:cubicBezTo>
                  <a:cubicBezTo>
                    <a:pt x="27" y="30"/>
                    <a:pt x="29" y="26"/>
                    <a:pt x="29" y="24"/>
                  </a:cubicBezTo>
                  <a:cubicBezTo>
                    <a:pt x="28" y="22"/>
                    <a:pt x="27" y="21"/>
                    <a:pt x="27" y="21"/>
                  </a:cubicBezTo>
                  <a:close/>
                  <a:moveTo>
                    <a:pt x="28" y="13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28" y="13"/>
                  </a:lnTo>
                  <a:close/>
                  <a:moveTo>
                    <a:pt x="31" y="14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1" y="14"/>
                  </a:lnTo>
                  <a:close/>
                  <a:moveTo>
                    <a:pt x="38" y="5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9" y="5"/>
                    <a:pt x="39" y="5"/>
                    <a:pt x="39" y="5"/>
                  </a:cubicBezTo>
                  <a:lnTo>
                    <a:pt x="38" y="5"/>
                  </a:lnTo>
                  <a:close/>
                  <a:moveTo>
                    <a:pt x="43" y="8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1"/>
                    <a:pt x="42" y="1"/>
                    <a:pt x="42" y="1"/>
                  </a:cubicBezTo>
                  <a:lnTo>
                    <a:pt x="43" y="8"/>
                  </a:lnTo>
                  <a:close/>
                  <a:moveTo>
                    <a:pt x="38" y="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8" y="1"/>
                  </a:lnTo>
                  <a:close/>
                  <a:moveTo>
                    <a:pt x="34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4" y="9"/>
                    <a:pt x="34" y="9"/>
                    <a:pt x="34" y="9"/>
                  </a:cubicBezTo>
                  <a:lnTo>
                    <a:pt x="34" y="2"/>
                  </a:lnTo>
                  <a:close/>
                  <a:moveTo>
                    <a:pt x="45" y="11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45" y="11"/>
                  </a:lnTo>
                  <a:close/>
                  <a:moveTo>
                    <a:pt x="48" y="5"/>
                  </a:moveTo>
                  <a:cubicBezTo>
                    <a:pt x="45" y="6"/>
                    <a:pt x="48" y="7"/>
                    <a:pt x="48" y="7"/>
                  </a:cubicBezTo>
                  <a:cubicBezTo>
                    <a:pt x="50" y="7"/>
                    <a:pt x="51" y="4"/>
                    <a:pt x="48" y="5"/>
                  </a:cubicBezTo>
                  <a:close/>
                  <a:moveTo>
                    <a:pt x="20" y="51"/>
                  </a:moveTo>
                  <a:cubicBezTo>
                    <a:pt x="18" y="50"/>
                    <a:pt x="16" y="50"/>
                    <a:pt x="16" y="49"/>
                  </a:cubicBezTo>
                  <a:cubicBezTo>
                    <a:pt x="16" y="48"/>
                    <a:pt x="17" y="47"/>
                    <a:pt x="17" y="46"/>
                  </a:cubicBezTo>
                  <a:cubicBezTo>
                    <a:pt x="17" y="45"/>
                    <a:pt x="15" y="42"/>
                    <a:pt x="14" y="45"/>
                  </a:cubicBezTo>
                  <a:cubicBezTo>
                    <a:pt x="13" y="47"/>
                    <a:pt x="14" y="53"/>
                    <a:pt x="14" y="53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1" y="53"/>
                    <a:pt x="20" y="5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" name="Georgien" descr="© INSCALE GmbH, 05.05.2010&#10;http://www.presentationload.com/">
              <a:extLst>
                <a:ext uri="{FF2B5EF4-FFF2-40B4-BE49-F238E27FC236}">
                  <a16:creationId xmlns:a16="http://schemas.microsoft.com/office/drawing/2014/main" id="{956358CE-417E-9643-A5AF-F3643670F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1069" y="4836447"/>
              <a:ext cx="872980" cy="364705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" name="Armenien" descr="© INSCALE GmbH, 05.05.2010&#10;http://www.presentationload.com/">
              <a:extLst>
                <a:ext uri="{FF2B5EF4-FFF2-40B4-BE49-F238E27FC236}">
                  <a16:creationId xmlns:a16="http://schemas.microsoft.com/office/drawing/2014/main" id="{57C09820-4D4F-3E41-AF2B-78E21DF7BB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44295" y="5046029"/>
              <a:ext cx="506627" cy="282191"/>
            </a:xfrm>
            <a:custGeom>
              <a:avLst/>
              <a:gdLst/>
              <a:ahLst/>
              <a:cxnLst>
                <a:cxn ang="0">
                  <a:pos x="103" y="103"/>
                </a:cxn>
                <a:cxn ang="0">
                  <a:pos x="0" y="47"/>
                </a:cxn>
                <a:cxn ang="0">
                  <a:pos x="207" y="104"/>
                </a:cxn>
                <a:cxn ang="0">
                  <a:pos x="196" y="91"/>
                </a:cxn>
                <a:cxn ang="0">
                  <a:pos x="198" y="83"/>
                </a:cxn>
                <a:cxn ang="0">
                  <a:pos x="190" y="74"/>
                </a:cxn>
                <a:cxn ang="0">
                  <a:pos x="174" y="74"/>
                </a:cxn>
                <a:cxn ang="0">
                  <a:pos x="149" y="70"/>
                </a:cxn>
                <a:cxn ang="0">
                  <a:pos x="133" y="66"/>
                </a:cxn>
                <a:cxn ang="0">
                  <a:pos x="142" y="41"/>
                </a:cxn>
                <a:cxn ang="0">
                  <a:pos x="104" y="35"/>
                </a:cxn>
                <a:cxn ang="0">
                  <a:pos x="109" y="13"/>
                </a:cxn>
                <a:cxn ang="0">
                  <a:pos x="96" y="9"/>
                </a:cxn>
                <a:cxn ang="0">
                  <a:pos x="88" y="13"/>
                </a:cxn>
                <a:cxn ang="0">
                  <a:pos x="82" y="11"/>
                </a:cxn>
                <a:cxn ang="0">
                  <a:pos x="81" y="5"/>
                </a:cxn>
                <a:cxn ang="0">
                  <a:pos x="66" y="5"/>
                </a:cxn>
                <a:cxn ang="0">
                  <a:pos x="57" y="8"/>
                </a:cxn>
                <a:cxn ang="0">
                  <a:pos x="43" y="24"/>
                </a:cxn>
                <a:cxn ang="0">
                  <a:pos x="28" y="29"/>
                </a:cxn>
                <a:cxn ang="0">
                  <a:pos x="16" y="40"/>
                </a:cxn>
                <a:cxn ang="0">
                  <a:pos x="1" y="49"/>
                </a:cxn>
                <a:cxn ang="0">
                  <a:pos x="22" y="60"/>
                </a:cxn>
                <a:cxn ang="0">
                  <a:pos x="59" y="103"/>
                </a:cxn>
                <a:cxn ang="0">
                  <a:pos x="103" y="103"/>
                </a:cxn>
                <a:cxn ang="0">
                  <a:pos x="125" y="101"/>
                </a:cxn>
                <a:cxn ang="0">
                  <a:pos x="130" y="97"/>
                </a:cxn>
                <a:cxn ang="0">
                  <a:pos x="144" y="97"/>
                </a:cxn>
                <a:cxn ang="0">
                  <a:pos x="161" y="99"/>
                </a:cxn>
                <a:cxn ang="0">
                  <a:pos x="177" y="105"/>
                </a:cxn>
                <a:cxn ang="0">
                  <a:pos x="201" y="112"/>
                </a:cxn>
                <a:cxn ang="0">
                  <a:pos x="212" y="106"/>
                </a:cxn>
              </a:cxnLst>
              <a:rect l="0" t="0" r="r" b="b"/>
              <a:pathLst>
                <a:path w="212" h="119">
                  <a:moveTo>
                    <a:pt x="103" y="103"/>
                  </a:moveTo>
                  <a:cubicBezTo>
                    <a:pt x="103" y="103"/>
                    <a:pt x="103" y="103"/>
                    <a:pt x="103" y="103"/>
                  </a:cubicBezTo>
                  <a:moveTo>
                    <a:pt x="1" y="49"/>
                  </a:moveTo>
                  <a:cubicBezTo>
                    <a:pt x="1" y="48"/>
                    <a:pt x="1" y="48"/>
                    <a:pt x="0" y="47"/>
                  </a:cubicBezTo>
                  <a:cubicBezTo>
                    <a:pt x="1" y="48"/>
                    <a:pt x="1" y="48"/>
                    <a:pt x="1" y="49"/>
                  </a:cubicBezTo>
                  <a:close/>
                  <a:moveTo>
                    <a:pt x="207" y="104"/>
                  </a:moveTo>
                  <a:cubicBezTo>
                    <a:pt x="207" y="104"/>
                    <a:pt x="206" y="99"/>
                    <a:pt x="205" y="96"/>
                  </a:cubicBezTo>
                  <a:cubicBezTo>
                    <a:pt x="205" y="92"/>
                    <a:pt x="196" y="94"/>
                    <a:pt x="196" y="91"/>
                  </a:cubicBezTo>
                  <a:cubicBezTo>
                    <a:pt x="196" y="88"/>
                    <a:pt x="200" y="90"/>
                    <a:pt x="203" y="88"/>
                  </a:cubicBezTo>
                  <a:cubicBezTo>
                    <a:pt x="207" y="86"/>
                    <a:pt x="203" y="85"/>
                    <a:pt x="198" y="83"/>
                  </a:cubicBezTo>
                  <a:cubicBezTo>
                    <a:pt x="193" y="82"/>
                    <a:pt x="189" y="83"/>
                    <a:pt x="186" y="81"/>
                  </a:cubicBezTo>
                  <a:cubicBezTo>
                    <a:pt x="185" y="77"/>
                    <a:pt x="188" y="75"/>
                    <a:pt x="190" y="74"/>
                  </a:cubicBezTo>
                  <a:cubicBezTo>
                    <a:pt x="192" y="73"/>
                    <a:pt x="191" y="69"/>
                    <a:pt x="183" y="69"/>
                  </a:cubicBezTo>
                  <a:cubicBezTo>
                    <a:pt x="176" y="69"/>
                    <a:pt x="176" y="73"/>
                    <a:pt x="174" y="74"/>
                  </a:cubicBezTo>
                  <a:cubicBezTo>
                    <a:pt x="170" y="75"/>
                    <a:pt x="163" y="70"/>
                    <a:pt x="160" y="68"/>
                  </a:cubicBezTo>
                  <a:cubicBezTo>
                    <a:pt x="157" y="67"/>
                    <a:pt x="151" y="70"/>
                    <a:pt x="149" y="70"/>
                  </a:cubicBezTo>
                  <a:cubicBezTo>
                    <a:pt x="147" y="70"/>
                    <a:pt x="148" y="67"/>
                    <a:pt x="146" y="66"/>
                  </a:cubicBezTo>
                  <a:cubicBezTo>
                    <a:pt x="144" y="65"/>
                    <a:pt x="136" y="68"/>
                    <a:pt x="133" y="66"/>
                  </a:cubicBezTo>
                  <a:cubicBezTo>
                    <a:pt x="130" y="64"/>
                    <a:pt x="144" y="59"/>
                    <a:pt x="146" y="56"/>
                  </a:cubicBezTo>
                  <a:cubicBezTo>
                    <a:pt x="148" y="53"/>
                    <a:pt x="146" y="43"/>
                    <a:pt x="142" y="41"/>
                  </a:cubicBezTo>
                  <a:cubicBezTo>
                    <a:pt x="139" y="38"/>
                    <a:pt x="131" y="43"/>
                    <a:pt x="123" y="41"/>
                  </a:cubicBezTo>
                  <a:cubicBezTo>
                    <a:pt x="114" y="39"/>
                    <a:pt x="104" y="35"/>
                    <a:pt x="104" y="35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4" y="23"/>
                    <a:pt x="111" y="20"/>
                    <a:pt x="109" y="13"/>
                  </a:cubicBezTo>
                  <a:cubicBezTo>
                    <a:pt x="107" y="8"/>
                    <a:pt x="96" y="13"/>
                    <a:pt x="96" y="1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12"/>
                    <a:pt x="88" y="13"/>
                  </a:cubicBezTo>
                  <a:cubicBezTo>
                    <a:pt x="84" y="13"/>
                    <a:pt x="87" y="19"/>
                    <a:pt x="84" y="19"/>
                  </a:cubicBezTo>
                  <a:cubicBezTo>
                    <a:pt x="81" y="19"/>
                    <a:pt x="84" y="12"/>
                    <a:pt x="82" y="11"/>
                  </a:cubicBezTo>
                  <a:cubicBezTo>
                    <a:pt x="80" y="10"/>
                    <a:pt x="77" y="17"/>
                    <a:pt x="74" y="17"/>
                  </a:cubicBezTo>
                  <a:cubicBezTo>
                    <a:pt x="70" y="16"/>
                    <a:pt x="82" y="10"/>
                    <a:pt x="81" y="5"/>
                  </a:cubicBezTo>
                  <a:cubicBezTo>
                    <a:pt x="80" y="0"/>
                    <a:pt x="74" y="5"/>
                    <a:pt x="71" y="6"/>
                  </a:cubicBezTo>
                  <a:cubicBezTo>
                    <a:pt x="70" y="6"/>
                    <a:pt x="68" y="5"/>
                    <a:pt x="66" y="5"/>
                  </a:cubicBezTo>
                  <a:cubicBezTo>
                    <a:pt x="66" y="6"/>
                    <a:pt x="66" y="6"/>
                    <a:pt x="65" y="7"/>
                  </a:cubicBezTo>
                  <a:cubicBezTo>
                    <a:pt x="62" y="10"/>
                    <a:pt x="57" y="8"/>
                    <a:pt x="57" y="8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48" y="22"/>
                    <a:pt x="43" y="24"/>
                  </a:cubicBezTo>
                  <a:cubicBezTo>
                    <a:pt x="36" y="27"/>
                    <a:pt x="31" y="22"/>
                    <a:pt x="31" y="22"/>
                  </a:cubicBezTo>
                  <a:cubicBezTo>
                    <a:pt x="31" y="22"/>
                    <a:pt x="30" y="27"/>
                    <a:pt x="28" y="29"/>
                  </a:cubicBezTo>
                  <a:cubicBezTo>
                    <a:pt x="26" y="31"/>
                    <a:pt x="17" y="36"/>
                    <a:pt x="17" y="36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0" y="43"/>
                    <a:pt x="6" y="43"/>
                  </a:cubicBezTo>
                  <a:cubicBezTo>
                    <a:pt x="5" y="43"/>
                    <a:pt x="3" y="45"/>
                    <a:pt x="1" y="49"/>
                  </a:cubicBezTo>
                  <a:cubicBezTo>
                    <a:pt x="1" y="50"/>
                    <a:pt x="1" y="52"/>
                    <a:pt x="4" y="52"/>
                  </a:cubicBezTo>
                  <a:cubicBezTo>
                    <a:pt x="10" y="52"/>
                    <a:pt x="19" y="51"/>
                    <a:pt x="22" y="60"/>
                  </a:cubicBezTo>
                  <a:cubicBezTo>
                    <a:pt x="25" y="71"/>
                    <a:pt x="22" y="84"/>
                    <a:pt x="32" y="94"/>
                  </a:cubicBezTo>
                  <a:cubicBezTo>
                    <a:pt x="43" y="103"/>
                    <a:pt x="51" y="108"/>
                    <a:pt x="59" y="103"/>
                  </a:cubicBezTo>
                  <a:cubicBezTo>
                    <a:pt x="67" y="97"/>
                    <a:pt x="71" y="90"/>
                    <a:pt x="83" y="94"/>
                  </a:cubicBezTo>
                  <a:cubicBezTo>
                    <a:pt x="95" y="96"/>
                    <a:pt x="103" y="103"/>
                    <a:pt x="103" y="103"/>
                  </a:cubicBezTo>
                  <a:cubicBezTo>
                    <a:pt x="103" y="103"/>
                    <a:pt x="110" y="91"/>
                    <a:pt x="115" y="90"/>
                  </a:cubicBezTo>
                  <a:cubicBezTo>
                    <a:pt x="121" y="89"/>
                    <a:pt x="125" y="101"/>
                    <a:pt x="125" y="101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4" y="97"/>
                    <a:pt x="150" y="86"/>
                    <a:pt x="155" y="86"/>
                  </a:cubicBezTo>
                  <a:cubicBezTo>
                    <a:pt x="160" y="86"/>
                    <a:pt x="161" y="99"/>
                    <a:pt x="161" y="99"/>
                  </a:cubicBezTo>
                  <a:cubicBezTo>
                    <a:pt x="161" y="99"/>
                    <a:pt x="169" y="97"/>
                    <a:pt x="173" y="97"/>
                  </a:cubicBezTo>
                  <a:cubicBezTo>
                    <a:pt x="177" y="98"/>
                    <a:pt x="177" y="105"/>
                    <a:pt x="177" y="105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01" y="112"/>
                    <a:pt x="201" y="112"/>
                    <a:pt x="201" y="112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12" y="106"/>
                    <a:pt x="212" y="106"/>
                    <a:pt x="212" y="106"/>
                  </a:cubicBezTo>
                  <a:lnTo>
                    <a:pt x="207" y="1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" name="Türkei" descr="© INSCALE GmbH, 05.05.2010&#10;http://www.presentationload.com/">
              <a:extLst>
                <a:ext uri="{FF2B5EF4-FFF2-40B4-BE49-F238E27FC236}">
                  <a16:creationId xmlns:a16="http://schemas.microsoft.com/office/drawing/2014/main" id="{B45B3F96-2873-B042-BF63-AC5FC2A442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39245" y="5128541"/>
              <a:ext cx="2440715" cy="1366405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" name="Li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051CAE99-3A6A-294A-8FCF-1890FAB22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4370" y="6452040"/>
              <a:ext cx="151823" cy="306945"/>
            </a:xfrm>
            <a:custGeom>
              <a:avLst/>
              <a:gdLst/>
              <a:ahLst/>
              <a:cxnLst>
                <a:cxn ang="0">
                  <a:pos x="26" y="106"/>
                </a:cxn>
                <a:cxn ang="0">
                  <a:pos x="37" y="87"/>
                </a:cxn>
                <a:cxn ang="0">
                  <a:pos x="36" y="83"/>
                </a:cxn>
                <a:cxn ang="0">
                  <a:pos x="43" y="75"/>
                </a:cxn>
                <a:cxn ang="0">
                  <a:pos x="29" y="74"/>
                </a:cxn>
                <a:cxn ang="0">
                  <a:pos x="31" y="67"/>
                </a:cxn>
                <a:cxn ang="0">
                  <a:pos x="35" y="64"/>
                </a:cxn>
                <a:cxn ang="0">
                  <a:pos x="54" y="56"/>
                </a:cxn>
                <a:cxn ang="0">
                  <a:pos x="48" y="51"/>
                </a:cxn>
                <a:cxn ang="0">
                  <a:pos x="46" y="47"/>
                </a:cxn>
                <a:cxn ang="0">
                  <a:pos x="58" y="45"/>
                </a:cxn>
                <a:cxn ang="0">
                  <a:pos x="48" y="42"/>
                </a:cxn>
                <a:cxn ang="0">
                  <a:pos x="61" y="27"/>
                </a:cxn>
                <a:cxn ang="0">
                  <a:pos x="48" y="17"/>
                </a:cxn>
                <a:cxn ang="0">
                  <a:pos x="48" y="11"/>
                </a:cxn>
                <a:cxn ang="0">
                  <a:pos x="35" y="10"/>
                </a:cxn>
                <a:cxn ang="0">
                  <a:pos x="38" y="0"/>
                </a:cxn>
                <a:cxn ang="0">
                  <a:pos x="29" y="1"/>
                </a:cxn>
                <a:cxn ang="0">
                  <a:pos x="28" y="6"/>
                </a:cxn>
                <a:cxn ang="0">
                  <a:pos x="20" y="7"/>
                </a:cxn>
                <a:cxn ang="0">
                  <a:pos x="14" y="12"/>
                </a:cxn>
                <a:cxn ang="0">
                  <a:pos x="15" y="20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1" y="38"/>
                </a:cxn>
                <a:cxn ang="0">
                  <a:pos x="2" y="49"/>
                </a:cxn>
                <a:cxn ang="0">
                  <a:pos x="10" y="56"/>
                </a:cxn>
                <a:cxn ang="0">
                  <a:pos x="6" y="63"/>
                </a:cxn>
                <a:cxn ang="0">
                  <a:pos x="3" y="77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3" y="109"/>
                </a:cxn>
                <a:cxn ang="0">
                  <a:pos x="0" y="112"/>
                </a:cxn>
                <a:cxn ang="0">
                  <a:pos x="0" y="115"/>
                </a:cxn>
                <a:cxn ang="0">
                  <a:pos x="3" y="115"/>
                </a:cxn>
                <a:cxn ang="0">
                  <a:pos x="2" y="126"/>
                </a:cxn>
                <a:cxn ang="0">
                  <a:pos x="8" y="125"/>
                </a:cxn>
                <a:cxn ang="0">
                  <a:pos x="12" y="121"/>
                </a:cxn>
                <a:cxn ang="0">
                  <a:pos x="19" y="122"/>
                </a:cxn>
                <a:cxn ang="0">
                  <a:pos x="19" y="112"/>
                </a:cxn>
                <a:cxn ang="0">
                  <a:pos x="19" y="106"/>
                </a:cxn>
                <a:cxn ang="0">
                  <a:pos x="26" y="106"/>
                </a:cxn>
              </a:cxnLst>
              <a:rect l="0" t="0" r="r" b="b"/>
              <a:pathLst>
                <a:path w="63" h="129">
                  <a:moveTo>
                    <a:pt x="26" y="106"/>
                  </a:moveTo>
                  <a:cubicBezTo>
                    <a:pt x="37" y="87"/>
                    <a:pt x="37" y="87"/>
                    <a:pt x="37" y="87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3"/>
                    <a:pt x="43" y="79"/>
                    <a:pt x="43" y="75"/>
                  </a:cubicBezTo>
                  <a:cubicBezTo>
                    <a:pt x="44" y="72"/>
                    <a:pt x="29" y="74"/>
                    <a:pt x="29" y="74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5" y="66"/>
                    <a:pt x="35" y="64"/>
                  </a:cubicBezTo>
                  <a:cubicBezTo>
                    <a:pt x="35" y="61"/>
                    <a:pt x="54" y="56"/>
                    <a:pt x="54" y="56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58" y="32"/>
                    <a:pt x="61" y="27"/>
                  </a:cubicBezTo>
                  <a:cubicBezTo>
                    <a:pt x="63" y="22"/>
                    <a:pt x="48" y="17"/>
                    <a:pt x="48" y="1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9" y="24"/>
                    <a:pt x="6" y="28"/>
                  </a:cubicBezTo>
                  <a:cubicBezTo>
                    <a:pt x="4" y="31"/>
                    <a:pt x="6" y="33"/>
                    <a:pt x="5" y="36"/>
                  </a:cubicBezTo>
                  <a:cubicBezTo>
                    <a:pt x="3" y="38"/>
                    <a:pt x="1" y="38"/>
                    <a:pt x="1" y="3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0" y="52"/>
                    <a:pt x="10" y="56"/>
                  </a:cubicBezTo>
                  <a:cubicBezTo>
                    <a:pt x="10" y="60"/>
                    <a:pt x="6" y="63"/>
                    <a:pt x="6" y="63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5"/>
                    <a:pt x="3" y="115"/>
                    <a:pt x="3" y="115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2" y="126"/>
                    <a:pt x="5" y="126"/>
                    <a:pt x="8" y="125"/>
                  </a:cubicBezTo>
                  <a:cubicBezTo>
                    <a:pt x="10" y="123"/>
                    <a:pt x="12" y="121"/>
                    <a:pt x="12" y="121"/>
                  </a:cubicBezTo>
                  <a:cubicBezTo>
                    <a:pt x="12" y="121"/>
                    <a:pt x="15" y="129"/>
                    <a:pt x="19" y="122"/>
                  </a:cubicBezTo>
                  <a:cubicBezTo>
                    <a:pt x="25" y="115"/>
                    <a:pt x="19" y="112"/>
                    <a:pt x="19" y="112"/>
                  </a:cubicBezTo>
                  <a:cubicBezTo>
                    <a:pt x="19" y="106"/>
                    <a:pt x="19" y="106"/>
                    <a:pt x="19" y="106"/>
                  </a:cubicBezTo>
                  <a:lnTo>
                    <a:pt x="26" y="10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" name="Syrien" descr="© INSCALE GmbH, 05.05.2010&#10;http://www.presentationload.com/">
              <a:extLst>
                <a:ext uri="{FF2B5EF4-FFF2-40B4-BE49-F238E27FC236}">
                  <a16:creationId xmlns:a16="http://schemas.microsoft.com/office/drawing/2014/main" id="{00529286-D76C-1F42-B6E2-D487CC64237A}"/>
                </a:ext>
              </a:extLst>
            </p:cNvPr>
            <p:cNvSpPr>
              <a:spLocks/>
            </p:cNvSpPr>
            <p:nvPr/>
          </p:nvSpPr>
          <p:spPr bwMode="gray">
            <a:xfrm>
              <a:off x="7879910" y="5773786"/>
              <a:ext cx="736010" cy="1028105"/>
            </a:xfrm>
            <a:custGeom>
              <a:avLst/>
              <a:gdLst/>
              <a:ahLst/>
              <a:cxnLst>
                <a:cxn ang="0">
                  <a:pos x="294" y="149"/>
                </a:cxn>
                <a:cxn ang="0">
                  <a:pos x="274" y="96"/>
                </a:cxn>
                <a:cxn ang="0">
                  <a:pos x="287" y="50"/>
                </a:cxn>
                <a:cxn ang="0">
                  <a:pos x="302" y="18"/>
                </a:cxn>
                <a:cxn ang="0">
                  <a:pos x="297" y="1"/>
                </a:cxn>
                <a:cxn ang="0">
                  <a:pos x="262" y="26"/>
                </a:cxn>
                <a:cxn ang="0">
                  <a:pos x="178" y="89"/>
                </a:cxn>
                <a:cxn ang="0">
                  <a:pos x="129" y="111"/>
                </a:cxn>
                <a:cxn ang="0">
                  <a:pos x="81" y="127"/>
                </a:cxn>
                <a:cxn ang="0">
                  <a:pos x="72" y="136"/>
                </a:cxn>
                <a:cxn ang="0">
                  <a:pos x="42" y="142"/>
                </a:cxn>
                <a:cxn ang="0">
                  <a:pos x="22" y="168"/>
                </a:cxn>
                <a:cxn ang="0">
                  <a:pos x="21" y="188"/>
                </a:cxn>
                <a:cxn ang="0">
                  <a:pos x="20" y="218"/>
                </a:cxn>
                <a:cxn ang="0">
                  <a:pos x="0" y="224"/>
                </a:cxn>
                <a:cxn ang="0">
                  <a:pos x="4" y="236"/>
                </a:cxn>
                <a:cxn ang="0">
                  <a:pos x="3" y="243"/>
                </a:cxn>
                <a:cxn ang="0">
                  <a:pos x="16" y="254"/>
                </a:cxn>
                <a:cxn ang="0">
                  <a:pos x="22" y="280"/>
                </a:cxn>
                <a:cxn ang="0">
                  <a:pos x="34" y="297"/>
                </a:cxn>
                <a:cxn ang="0">
                  <a:pos x="51" y="290"/>
                </a:cxn>
                <a:cxn ang="0">
                  <a:pos x="61" y="284"/>
                </a:cxn>
                <a:cxn ang="0">
                  <a:pos x="71" y="295"/>
                </a:cxn>
                <a:cxn ang="0">
                  <a:pos x="84" y="311"/>
                </a:cxn>
                <a:cxn ang="0">
                  <a:pos x="81" y="329"/>
                </a:cxn>
                <a:cxn ang="0">
                  <a:pos x="71" y="335"/>
                </a:cxn>
                <a:cxn ang="0">
                  <a:pos x="58" y="348"/>
                </a:cxn>
                <a:cxn ang="0">
                  <a:pos x="52" y="358"/>
                </a:cxn>
                <a:cxn ang="0">
                  <a:pos x="59" y="367"/>
                </a:cxn>
                <a:cxn ang="0">
                  <a:pos x="49" y="390"/>
                </a:cxn>
                <a:cxn ang="0">
                  <a:pos x="54" y="409"/>
                </a:cxn>
                <a:cxn ang="0">
                  <a:pos x="77" y="419"/>
                </a:cxn>
                <a:cxn ang="0">
                  <a:pos x="93" y="429"/>
                </a:cxn>
                <a:cxn ang="0">
                  <a:pos x="108" y="430"/>
                </a:cxn>
                <a:cxn ang="0">
                  <a:pos x="304" y="206"/>
                </a:cxn>
                <a:cxn ang="0">
                  <a:pos x="305" y="189"/>
                </a:cxn>
                <a:cxn ang="0">
                  <a:pos x="307" y="175"/>
                </a:cxn>
              </a:cxnLst>
              <a:rect l="0" t="0" r="r" b="b"/>
              <a:pathLst>
                <a:path w="308" h="430">
                  <a:moveTo>
                    <a:pt x="307" y="175"/>
                  </a:moveTo>
                  <a:cubicBezTo>
                    <a:pt x="307" y="175"/>
                    <a:pt x="297" y="164"/>
                    <a:pt x="294" y="149"/>
                  </a:cubicBezTo>
                  <a:cubicBezTo>
                    <a:pt x="290" y="133"/>
                    <a:pt x="295" y="121"/>
                    <a:pt x="289" y="113"/>
                  </a:cubicBezTo>
                  <a:cubicBezTo>
                    <a:pt x="285" y="105"/>
                    <a:pt x="278" y="106"/>
                    <a:pt x="274" y="96"/>
                  </a:cubicBezTo>
                  <a:cubicBezTo>
                    <a:pt x="270" y="88"/>
                    <a:pt x="264" y="74"/>
                    <a:pt x="268" y="66"/>
                  </a:cubicBezTo>
                  <a:cubicBezTo>
                    <a:pt x="273" y="60"/>
                    <a:pt x="282" y="62"/>
                    <a:pt x="287" y="50"/>
                  </a:cubicBezTo>
                  <a:cubicBezTo>
                    <a:pt x="294" y="39"/>
                    <a:pt x="296" y="26"/>
                    <a:pt x="296" y="26"/>
                  </a:cubicBezTo>
                  <a:cubicBezTo>
                    <a:pt x="296" y="26"/>
                    <a:pt x="302" y="21"/>
                    <a:pt x="302" y="18"/>
                  </a:cubicBezTo>
                  <a:cubicBezTo>
                    <a:pt x="302" y="14"/>
                    <a:pt x="301" y="5"/>
                    <a:pt x="301" y="5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2" y="17"/>
                    <a:pt x="262" y="26"/>
                  </a:cubicBezTo>
                  <a:cubicBezTo>
                    <a:pt x="242" y="34"/>
                    <a:pt x="222" y="42"/>
                    <a:pt x="222" y="42"/>
                  </a:cubicBezTo>
                  <a:cubicBezTo>
                    <a:pt x="222" y="42"/>
                    <a:pt x="193" y="77"/>
                    <a:pt x="178" y="89"/>
                  </a:cubicBezTo>
                  <a:cubicBezTo>
                    <a:pt x="163" y="100"/>
                    <a:pt x="148" y="102"/>
                    <a:pt x="148" y="102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11" y="101"/>
                    <a:pt x="104" y="106"/>
                  </a:cubicBezTo>
                  <a:cubicBezTo>
                    <a:pt x="95" y="109"/>
                    <a:pt x="81" y="127"/>
                    <a:pt x="81" y="127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2" y="142"/>
                    <a:pt x="42" y="142"/>
                    <a:pt x="42" y="142"/>
                  </a:cubicBezTo>
                  <a:cubicBezTo>
                    <a:pt x="42" y="142"/>
                    <a:pt x="23" y="139"/>
                    <a:pt x="23" y="145"/>
                  </a:cubicBezTo>
                  <a:cubicBezTo>
                    <a:pt x="22" y="152"/>
                    <a:pt x="22" y="168"/>
                    <a:pt x="22" y="168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" y="225"/>
                    <a:pt x="6" y="225"/>
                    <a:pt x="6" y="225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3" y="243"/>
                    <a:pt x="3" y="243"/>
                    <a:pt x="3" y="243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248"/>
                    <a:pt x="12" y="250"/>
                    <a:pt x="16" y="254"/>
                  </a:cubicBezTo>
                  <a:cubicBezTo>
                    <a:pt x="18" y="258"/>
                    <a:pt x="22" y="259"/>
                    <a:pt x="22" y="264"/>
                  </a:cubicBezTo>
                  <a:cubicBezTo>
                    <a:pt x="22" y="280"/>
                    <a:pt x="22" y="280"/>
                    <a:pt x="22" y="280"/>
                  </a:cubicBezTo>
                  <a:cubicBezTo>
                    <a:pt x="28" y="283"/>
                    <a:pt x="28" y="283"/>
                    <a:pt x="28" y="283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1" y="290"/>
                    <a:pt x="51" y="290"/>
                    <a:pt x="51" y="290"/>
                  </a:cubicBezTo>
                  <a:cubicBezTo>
                    <a:pt x="52" y="285"/>
                    <a:pt x="52" y="285"/>
                    <a:pt x="52" y="285"/>
                  </a:cubicBezTo>
                  <a:cubicBezTo>
                    <a:pt x="61" y="284"/>
                    <a:pt x="61" y="284"/>
                    <a:pt x="61" y="284"/>
                  </a:cubicBezTo>
                  <a:cubicBezTo>
                    <a:pt x="58" y="294"/>
                    <a:pt x="58" y="294"/>
                    <a:pt x="58" y="294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86" y="306"/>
                    <a:pt x="84" y="311"/>
                  </a:cubicBezTo>
                  <a:cubicBezTo>
                    <a:pt x="81" y="316"/>
                    <a:pt x="71" y="326"/>
                    <a:pt x="71" y="326"/>
                  </a:cubicBezTo>
                  <a:cubicBezTo>
                    <a:pt x="81" y="329"/>
                    <a:pt x="81" y="329"/>
                    <a:pt x="81" y="329"/>
                  </a:cubicBezTo>
                  <a:cubicBezTo>
                    <a:pt x="69" y="331"/>
                    <a:pt x="69" y="331"/>
                    <a:pt x="69" y="331"/>
                  </a:cubicBezTo>
                  <a:cubicBezTo>
                    <a:pt x="71" y="335"/>
                    <a:pt x="71" y="335"/>
                    <a:pt x="71" y="335"/>
                  </a:cubicBezTo>
                  <a:cubicBezTo>
                    <a:pt x="77" y="340"/>
                    <a:pt x="77" y="340"/>
                    <a:pt x="77" y="340"/>
                  </a:cubicBezTo>
                  <a:cubicBezTo>
                    <a:pt x="77" y="340"/>
                    <a:pt x="58" y="345"/>
                    <a:pt x="58" y="348"/>
                  </a:cubicBezTo>
                  <a:cubicBezTo>
                    <a:pt x="58" y="350"/>
                    <a:pt x="54" y="351"/>
                    <a:pt x="54" y="351"/>
                  </a:cubicBezTo>
                  <a:cubicBezTo>
                    <a:pt x="52" y="358"/>
                    <a:pt x="52" y="358"/>
                    <a:pt x="52" y="358"/>
                  </a:cubicBezTo>
                  <a:cubicBezTo>
                    <a:pt x="52" y="358"/>
                    <a:pt x="67" y="356"/>
                    <a:pt x="66" y="359"/>
                  </a:cubicBezTo>
                  <a:cubicBezTo>
                    <a:pt x="66" y="363"/>
                    <a:pt x="59" y="367"/>
                    <a:pt x="59" y="367"/>
                  </a:cubicBezTo>
                  <a:cubicBezTo>
                    <a:pt x="60" y="371"/>
                    <a:pt x="60" y="371"/>
                    <a:pt x="60" y="371"/>
                  </a:cubicBezTo>
                  <a:cubicBezTo>
                    <a:pt x="49" y="390"/>
                    <a:pt x="49" y="390"/>
                    <a:pt x="49" y="390"/>
                  </a:cubicBezTo>
                  <a:cubicBezTo>
                    <a:pt x="54" y="392"/>
                    <a:pt x="54" y="392"/>
                    <a:pt x="54" y="392"/>
                  </a:cubicBezTo>
                  <a:cubicBezTo>
                    <a:pt x="54" y="409"/>
                    <a:pt x="54" y="409"/>
                    <a:pt x="54" y="409"/>
                  </a:cubicBezTo>
                  <a:cubicBezTo>
                    <a:pt x="64" y="427"/>
                    <a:pt x="64" y="427"/>
                    <a:pt x="64" y="427"/>
                  </a:cubicBezTo>
                  <a:cubicBezTo>
                    <a:pt x="64" y="427"/>
                    <a:pt x="69" y="419"/>
                    <a:pt x="77" y="419"/>
                  </a:cubicBezTo>
                  <a:cubicBezTo>
                    <a:pt x="85" y="420"/>
                    <a:pt x="89" y="429"/>
                    <a:pt x="89" y="429"/>
                  </a:cubicBezTo>
                  <a:cubicBezTo>
                    <a:pt x="93" y="429"/>
                    <a:pt x="93" y="429"/>
                    <a:pt x="93" y="429"/>
                  </a:cubicBezTo>
                  <a:cubicBezTo>
                    <a:pt x="93" y="429"/>
                    <a:pt x="94" y="425"/>
                    <a:pt x="101" y="425"/>
                  </a:cubicBezTo>
                  <a:cubicBezTo>
                    <a:pt x="107" y="426"/>
                    <a:pt x="108" y="430"/>
                    <a:pt x="108" y="430"/>
                  </a:cubicBezTo>
                  <a:cubicBezTo>
                    <a:pt x="135" y="429"/>
                    <a:pt x="135" y="429"/>
                    <a:pt x="135" y="429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6" y="205"/>
                    <a:pt x="306" y="205"/>
                    <a:pt x="306" y="205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7" y="17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8" name="Kasac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11672C6-B181-004B-91A4-67E75729AB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168705" y="2215855"/>
              <a:ext cx="975295" cy="2222884"/>
            </a:xfrm>
            <a:custGeom>
              <a:avLst/>
              <a:gdLst/>
              <a:ahLst/>
              <a:cxnLst>
                <a:cxn ang="0">
                  <a:pos x="291" y="856"/>
                </a:cxn>
                <a:cxn ang="0">
                  <a:pos x="395" y="19"/>
                </a:cxn>
                <a:cxn ang="0">
                  <a:pos x="377" y="43"/>
                </a:cxn>
                <a:cxn ang="0">
                  <a:pos x="362" y="71"/>
                </a:cxn>
                <a:cxn ang="0">
                  <a:pos x="341" y="94"/>
                </a:cxn>
                <a:cxn ang="0">
                  <a:pos x="322" y="113"/>
                </a:cxn>
                <a:cxn ang="0">
                  <a:pos x="342" y="125"/>
                </a:cxn>
                <a:cxn ang="0">
                  <a:pos x="358" y="139"/>
                </a:cxn>
                <a:cxn ang="0">
                  <a:pos x="393" y="125"/>
                </a:cxn>
                <a:cxn ang="0">
                  <a:pos x="372" y="151"/>
                </a:cxn>
                <a:cxn ang="0">
                  <a:pos x="378" y="186"/>
                </a:cxn>
                <a:cxn ang="0">
                  <a:pos x="385" y="211"/>
                </a:cxn>
                <a:cxn ang="0">
                  <a:pos x="398" y="240"/>
                </a:cxn>
                <a:cxn ang="0">
                  <a:pos x="379" y="327"/>
                </a:cxn>
                <a:cxn ang="0">
                  <a:pos x="336" y="337"/>
                </a:cxn>
                <a:cxn ang="0">
                  <a:pos x="318" y="353"/>
                </a:cxn>
                <a:cxn ang="0">
                  <a:pos x="297" y="382"/>
                </a:cxn>
                <a:cxn ang="0">
                  <a:pos x="258" y="417"/>
                </a:cxn>
                <a:cxn ang="0">
                  <a:pos x="234" y="423"/>
                </a:cxn>
                <a:cxn ang="0">
                  <a:pos x="239" y="433"/>
                </a:cxn>
                <a:cxn ang="0">
                  <a:pos x="194" y="426"/>
                </a:cxn>
                <a:cxn ang="0">
                  <a:pos x="151" y="437"/>
                </a:cxn>
                <a:cxn ang="0">
                  <a:pos x="116" y="441"/>
                </a:cxn>
                <a:cxn ang="0">
                  <a:pos x="102" y="454"/>
                </a:cxn>
                <a:cxn ang="0">
                  <a:pos x="77" y="471"/>
                </a:cxn>
                <a:cxn ang="0">
                  <a:pos x="65" y="507"/>
                </a:cxn>
                <a:cxn ang="0">
                  <a:pos x="59" y="537"/>
                </a:cxn>
                <a:cxn ang="0">
                  <a:pos x="35" y="572"/>
                </a:cxn>
                <a:cxn ang="0">
                  <a:pos x="67" y="596"/>
                </a:cxn>
                <a:cxn ang="0">
                  <a:pos x="1" y="614"/>
                </a:cxn>
                <a:cxn ang="0">
                  <a:pos x="25" y="685"/>
                </a:cxn>
                <a:cxn ang="0">
                  <a:pos x="60" y="742"/>
                </a:cxn>
                <a:cxn ang="0">
                  <a:pos x="82" y="754"/>
                </a:cxn>
                <a:cxn ang="0">
                  <a:pos x="139" y="754"/>
                </a:cxn>
                <a:cxn ang="0">
                  <a:pos x="166" y="801"/>
                </a:cxn>
                <a:cxn ang="0">
                  <a:pos x="202" y="791"/>
                </a:cxn>
                <a:cxn ang="0">
                  <a:pos x="195" y="782"/>
                </a:cxn>
                <a:cxn ang="0">
                  <a:pos x="209" y="778"/>
                </a:cxn>
                <a:cxn ang="0">
                  <a:pos x="224" y="756"/>
                </a:cxn>
                <a:cxn ang="0">
                  <a:pos x="235" y="733"/>
                </a:cxn>
                <a:cxn ang="0">
                  <a:pos x="266" y="705"/>
                </a:cxn>
                <a:cxn ang="0">
                  <a:pos x="281" y="707"/>
                </a:cxn>
                <a:cxn ang="0">
                  <a:pos x="296" y="707"/>
                </a:cxn>
                <a:cxn ang="0">
                  <a:pos x="309" y="688"/>
                </a:cxn>
                <a:cxn ang="0">
                  <a:pos x="332" y="678"/>
                </a:cxn>
                <a:cxn ang="0">
                  <a:pos x="338" y="696"/>
                </a:cxn>
                <a:cxn ang="0">
                  <a:pos x="352" y="706"/>
                </a:cxn>
                <a:cxn ang="0">
                  <a:pos x="359" y="718"/>
                </a:cxn>
                <a:cxn ang="0">
                  <a:pos x="391" y="756"/>
                </a:cxn>
                <a:cxn ang="0">
                  <a:pos x="331" y="789"/>
                </a:cxn>
                <a:cxn ang="0">
                  <a:pos x="326" y="823"/>
                </a:cxn>
                <a:cxn ang="0">
                  <a:pos x="314" y="838"/>
                </a:cxn>
                <a:cxn ang="0">
                  <a:pos x="328" y="842"/>
                </a:cxn>
                <a:cxn ang="0">
                  <a:pos x="345" y="850"/>
                </a:cxn>
                <a:cxn ang="0">
                  <a:pos x="301" y="879"/>
                </a:cxn>
                <a:cxn ang="0">
                  <a:pos x="385" y="913"/>
                </a:cxn>
                <a:cxn ang="0">
                  <a:pos x="402" y="925"/>
                </a:cxn>
                <a:cxn ang="0">
                  <a:pos x="379" y="327"/>
                </a:cxn>
              </a:cxnLst>
              <a:rect l="0" t="0" r="r" b="b"/>
              <a:pathLst>
                <a:path w="408" h="931">
                  <a:moveTo>
                    <a:pt x="290" y="844"/>
                  </a:moveTo>
                  <a:cubicBezTo>
                    <a:pt x="285" y="844"/>
                    <a:pt x="285" y="844"/>
                    <a:pt x="285" y="844"/>
                  </a:cubicBezTo>
                  <a:cubicBezTo>
                    <a:pt x="287" y="851"/>
                    <a:pt x="287" y="851"/>
                    <a:pt x="287" y="851"/>
                  </a:cubicBezTo>
                  <a:cubicBezTo>
                    <a:pt x="291" y="856"/>
                    <a:pt x="291" y="856"/>
                    <a:pt x="291" y="856"/>
                  </a:cubicBezTo>
                  <a:cubicBezTo>
                    <a:pt x="293" y="855"/>
                    <a:pt x="293" y="855"/>
                    <a:pt x="293" y="855"/>
                  </a:cubicBezTo>
                  <a:cubicBezTo>
                    <a:pt x="291" y="851"/>
                    <a:pt x="291" y="851"/>
                    <a:pt x="291" y="851"/>
                  </a:cubicBezTo>
                  <a:lnTo>
                    <a:pt x="290" y="844"/>
                  </a:lnTo>
                  <a:close/>
                  <a:moveTo>
                    <a:pt x="395" y="19"/>
                  </a:moveTo>
                  <a:cubicBezTo>
                    <a:pt x="395" y="19"/>
                    <a:pt x="400" y="22"/>
                    <a:pt x="398" y="25"/>
                  </a:cubicBezTo>
                  <a:cubicBezTo>
                    <a:pt x="397" y="28"/>
                    <a:pt x="391" y="28"/>
                    <a:pt x="391" y="28"/>
                  </a:cubicBezTo>
                  <a:cubicBezTo>
                    <a:pt x="385" y="40"/>
                    <a:pt x="385" y="40"/>
                    <a:pt x="385" y="40"/>
                  </a:cubicBezTo>
                  <a:cubicBezTo>
                    <a:pt x="377" y="43"/>
                    <a:pt x="377" y="43"/>
                    <a:pt x="377" y="43"/>
                  </a:cubicBezTo>
                  <a:cubicBezTo>
                    <a:pt x="381" y="50"/>
                    <a:pt x="381" y="50"/>
                    <a:pt x="381" y="50"/>
                  </a:cubicBezTo>
                  <a:cubicBezTo>
                    <a:pt x="366" y="63"/>
                    <a:pt x="366" y="63"/>
                    <a:pt x="366" y="63"/>
                  </a:cubicBezTo>
                  <a:cubicBezTo>
                    <a:pt x="366" y="63"/>
                    <a:pt x="376" y="75"/>
                    <a:pt x="371" y="77"/>
                  </a:cubicBezTo>
                  <a:cubicBezTo>
                    <a:pt x="365" y="80"/>
                    <a:pt x="362" y="71"/>
                    <a:pt x="362" y="7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2" y="90"/>
                    <a:pt x="352" y="90"/>
                    <a:pt x="352" y="90"/>
                  </a:cubicBezTo>
                  <a:cubicBezTo>
                    <a:pt x="343" y="88"/>
                    <a:pt x="343" y="88"/>
                    <a:pt x="343" y="88"/>
                  </a:cubicBezTo>
                  <a:cubicBezTo>
                    <a:pt x="341" y="94"/>
                    <a:pt x="341" y="94"/>
                    <a:pt x="341" y="94"/>
                  </a:cubicBezTo>
                  <a:cubicBezTo>
                    <a:pt x="328" y="94"/>
                    <a:pt x="328" y="94"/>
                    <a:pt x="328" y="94"/>
                  </a:cubicBezTo>
                  <a:cubicBezTo>
                    <a:pt x="327" y="102"/>
                    <a:pt x="327" y="102"/>
                    <a:pt x="327" y="102"/>
                  </a:cubicBezTo>
                  <a:cubicBezTo>
                    <a:pt x="331" y="104"/>
                    <a:pt x="331" y="104"/>
                    <a:pt x="331" y="104"/>
                  </a:cubicBezTo>
                  <a:cubicBezTo>
                    <a:pt x="322" y="113"/>
                    <a:pt x="322" y="113"/>
                    <a:pt x="322" y="113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6" y="123"/>
                    <a:pt x="336" y="123"/>
                    <a:pt x="336" y="123"/>
                  </a:cubicBezTo>
                  <a:cubicBezTo>
                    <a:pt x="333" y="129"/>
                    <a:pt x="333" y="129"/>
                    <a:pt x="333" y="129"/>
                  </a:cubicBezTo>
                  <a:cubicBezTo>
                    <a:pt x="342" y="125"/>
                    <a:pt x="342" y="125"/>
                    <a:pt x="342" y="125"/>
                  </a:cubicBezTo>
                  <a:cubicBezTo>
                    <a:pt x="348" y="126"/>
                    <a:pt x="348" y="126"/>
                    <a:pt x="348" y="126"/>
                  </a:cubicBezTo>
                  <a:cubicBezTo>
                    <a:pt x="348" y="126"/>
                    <a:pt x="354" y="114"/>
                    <a:pt x="359" y="118"/>
                  </a:cubicBezTo>
                  <a:cubicBezTo>
                    <a:pt x="364" y="121"/>
                    <a:pt x="354" y="126"/>
                    <a:pt x="354" y="126"/>
                  </a:cubicBezTo>
                  <a:cubicBezTo>
                    <a:pt x="358" y="139"/>
                    <a:pt x="358" y="139"/>
                    <a:pt x="358" y="139"/>
                  </a:cubicBezTo>
                  <a:cubicBezTo>
                    <a:pt x="374" y="134"/>
                    <a:pt x="374" y="134"/>
                    <a:pt x="374" y="134"/>
                  </a:cubicBezTo>
                  <a:cubicBezTo>
                    <a:pt x="373" y="130"/>
                    <a:pt x="373" y="130"/>
                    <a:pt x="373" y="130"/>
                  </a:cubicBezTo>
                  <a:cubicBezTo>
                    <a:pt x="373" y="130"/>
                    <a:pt x="379" y="130"/>
                    <a:pt x="382" y="129"/>
                  </a:cubicBezTo>
                  <a:cubicBezTo>
                    <a:pt x="387" y="127"/>
                    <a:pt x="389" y="121"/>
                    <a:pt x="393" y="125"/>
                  </a:cubicBezTo>
                  <a:cubicBezTo>
                    <a:pt x="398" y="129"/>
                    <a:pt x="400" y="132"/>
                    <a:pt x="396" y="134"/>
                  </a:cubicBezTo>
                  <a:cubicBezTo>
                    <a:pt x="392" y="136"/>
                    <a:pt x="386" y="145"/>
                    <a:pt x="386" y="145"/>
                  </a:cubicBezTo>
                  <a:cubicBezTo>
                    <a:pt x="377" y="146"/>
                    <a:pt x="377" y="146"/>
                    <a:pt x="377" y="146"/>
                  </a:cubicBezTo>
                  <a:cubicBezTo>
                    <a:pt x="372" y="151"/>
                    <a:pt x="372" y="151"/>
                    <a:pt x="372" y="151"/>
                  </a:cubicBezTo>
                  <a:cubicBezTo>
                    <a:pt x="361" y="159"/>
                    <a:pt x="361" y="159"/>
                    <a:pt x="361" y="159"/>
                  </a:cubicBezTo>
                  <a:cubicBezTo>
                    <a:pt x="361" y="159"/>
                    <a:pt x="367" y="161"/>
                    <a:pt x="367" y="162"/>
                  </a:cubicBezTo>
                  <a:cubicBezTo>
                    <a:pt x="367" y="164"/>
                    <a:pt x="364" y="181"/>
                    <a:pt x="364" y="181"/>
                  </a:cubicBezTo>
                  <a:cubicBezTo>
                    <a:pt x="378" y="186"/>
                    <a:pt x="378" y="186"/>
                    <a:pt x="378" y="186"/>
                  </a:cubicBezTo>
                  <a:cubicBezTo>
                    <a:pt x="383" y="184"/>
                    <a:pt x="383" y="184"/>
                    <a:pt x="383" y="184"/>
                  </a:cubicBezTo>
                  <a:cubicBezTo>
                    <a:pt x="393" y="187"/>
                    <a:pt x="393" y="187"/>
                    <a:pt x="393" y="187"/>
                  </a:cubicBezTo>
                  <a:cubicBezTo>
                    <a:pt x="391" y="209"/>
                    <a:pt x="391" y="209"/>
                    <a:pt x="391" y="209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77" y="234"/>
                    <a:pt x="377" y="234"/>
                    <a:pt x="377" y="234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80" y="239"/>
                    <a:pt x="396" y="229"/>
                    <a:pt x="398" y="232"/>
                  </a:cubicBezTo>
                  <a:cubicBezTo>
                    <a:pt x="402" y="236"/>
                    <a:pt x="398" y="240"/>
                    <a:pt x="398" y="240"/>
                  </a:cubicBezTo>
                  <a:cubicBezTo>
                    <a:pt x="408" y="239"/>
                    <a:pt x="408" y="239"/>
                    <a:pt x="408" y="23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395" y="19"/>
                  </a:lnTo>
                  <a:close/>
                  <a:moveTo>
                    <a:pt x="379" y="327"/>
                  </a:moveTo>
                  <a:cubicBezTo>
                    <a:pt x="370" y="322"/>
                    <a:pt x="370" y="316"/>
                    <a:pt x="364" y="316"/>
                  </a:cubicBezTo>
                  <a:cubicBezTo>
                    <a:pt x="359" y="318"/>
                    <a:pt x="354" y="319"/>
                    <a:pt x="354" y="319"/>
                  </a:cubicBezTo>
                  <a:cubicBezTo>
                    <a:pt x="354" y="319"/>
                    <a:pt x="358" y="326"/>
                    <a:pt x="355" y="328"/>
                  </a:cubicBezTo>
                  <a:cubicBezTo>
                    <a:pt x="353" y="330"/>
                    <a:pt x="336" y="337"/>
                    <a:pt x="336" y="337"/>
                  </a:cubicBezTo>
                  <a:cubicBezTo>
                    <a:pt x="345" y="346"/>
                    <a:pt x="345" y="346"/>
                    <a:pt x="345" y="346"/>
                  </a:cubicBezTo>
                  <a:cubicBezTo>
                    <a:pt x="345" y="346"/>
                    <a:pt x="338" y="346"/>
                    <a:pt x="337" y="347"/>
                  </a:cubicBezTo>
                  <a:cubicBezTo>
                    <a:pt x="336" y="350"/>
                    <a:pt x="340" y="354"/>
                    <a:pt x="337" y="356"/>
                  </a:cubicBezTo>
                  <a:cubicBezTo>
                    <a:pt x="332" y="358"/>
                    <a:pt x="318" y="353"/>
                    <a:pt x="318" y="353"/>
                  </a:cubicBezTo>
                  <a:cubicBezTo>
                    <a:pt x="306" y="362"/>
                    <a:pt x="306" y="362"/>
                    <a:pt x="306" y="362"/>
                  </a:cubicBezTo>
                  <a:cubicBezTo>
                    <a:pt x="306" y="362"/>
                    <a:pt x="311" y="370"/>
                    <a:pt x="307" y="371"/>
                  </a:cubicBezTo>
                  <a:cubicBezTo>
                    <a:pt x="303" y="371"/>
                    <a:pt x="296" y="367"/>
                    <a:pt x="296" y="367"/>
                  </a:cubicBezTo>
                  <a:cubicBezTo>
                    <a:pt x="297" y="382"/>
                    <a:pt x="297" y="382"/>
                    <a:pt x="297" y="382"/>
                  </a:cubicBezTo>
                  <a:cubicBezTo>
                    <a:pt x="292" y="384"/>
                    <a:pt x="292" y="384"/>
                    <a:pt x="292" y="384"/>
                  </a:cubicBezTo>
                  <a:cubicBezTo>
                    <a:pt x="292" y="384"/>
                    <a:pt x="298" y="390"/>
                    <a:pt x="296" y="397"/>
                  </a:cubicBezTo>
                  <a:cubicBezTo>
                    <a:pt x="294" y="402"/>
                    <a:pt x="290" y="414"/>
                    <a:pt x="290" y="414"/>
                  </a:cubicBezTo>
                  <a:cubicBezTo>
                    <a:pt x="258" y="417"/>
                    <a:pt x="258" y="417"/>
                    <a:pt x="258" y="417"/>
                  </a:cubicBezTo>
                  <a:cubicBezTo>
                    <a:pt x="258" y="417"/>
                    <a:pt x="258" y="414"/>
                    <a:pt x="255" y="413"/>
                  </a:cubicBezTo>
                  <a:cubicBezTo>
                    <a:pt x="251" y="413"/>
                    <a:pt x="248" y="415"/>
                    <a:pt x="248" y="415"/>
                  </a:cubicBezTo>
                  <a:cubicBezTo>
                    <a:pt x="248" y="415"/>
                    <a:pt x="236" y="410"/>
                    <a:pt x="234" y="415"/>
                  </a:cubicBezTo>
                  <a:cubicBezTo>
                    <a:pt x="232" y="419"/>
                    <a:pt x="232" y="422"/>
                    <a:pt x="234" y="423"/>
                  </a:cubicBezTo>
                  <a:cubicBezTo>
                    <a:pt x="238" y="423"/>
                    <a:pt x="243" y="422"/>
                    <a:pt x="245" y="428"/>
                  </a:cubicBezTo>
                  <a:cubicBezTo>
                    <a:pt x="247" y="432"/>
                    <a:pt x="255" y="432"/>
                    <a:pt x="254" y="436"/>
                  </a:cubicBezTo>
                  <a:cubicBezTo>
                    <a:pt x="252" y="440"/>
                    <a:pt x="251" y="448"/>
                    <a:pt x="246" y="445"/>
                  </a:cubicBezTo>
                  <a:cubicBezTo>
                    <a:pt x="242" y="442"/>
                    <a:pt x="239" y="436"/>
                    <a:pt x="239" y="433"/>
                  </a:cubicBezTo>
                  <a:cubicBezTo>
                    <a:pt x="239" y="429"/>
                    <a:pt x="238" y="428"/>
                    <a:pt x="232" y="428"/>
                  </a:cubicBezTo>
                  <a:cubicBezTo>
                    <a:pt x="227" y="428"/>
                    <a:pt x="221" y="429"/>
                    <a:pt x="215" y="424"/>
                  </a:cubicBezTo>
                  <a:cubicBezTo>
                    <a:pt x="210" y="420"/>
                    <a:pt x="205" y="419"/>
                    <a:pt x="202" y="422"/>
                  </a:cubicBezTo>
                  <a:cubicBezTo>
                    <a:pt x="199" y="426"/>
                    <a:pt x="198" y="428"/>
                    <a:pt x="194" y="426"/>
                  </a:cubicBezTo>
                  <a:cubicBezTo>
                    <a:pt x="189" y="425"/>
                    <a:pt x="191" y="417"/>
                    <a:pt x="182" y="418"/>
                  </a:cubicBezTo>
                  <a:cubicBezTo>
                    <a:pt x="174" y="419"/>
                    <a:pt x="161" y="431"/>
                    <a:pt x="161" y="431"/>
                  </a:cubicBezTo>
                  <a:cubicBezTo>
                    <a:pt x="153" y="431"/>
                    <a:pt x="153" y="431"/>
                    <a:pt x="153" y="431"/>
                  </a:cubicBezTo>
                  <a:cubicBezTo>
                    <a:pt x="153" y="431"/>
                    <a:pt x="157" y="437"/>
                    <a:pt x="151" y="437"/>
                  </a:cubicBezTo>
                  <a:cubicBezTo>
                    <a:pt x="145" y="438"/>
                    <a:pt x="129" y="428"/>
                    <a:pt x="129" y="428"/>
                  </a:cubicBezTo>
                  <a:cubicBezTo>
                    <a:pt x="125" y="430"/>
                    <a:pt x="125" y="430"/>
                    <a:pt x="125" y="430"/>
                  </a:cubicBezTo>
                  <a:cubicBezTo>
                    <a:pt x="127" y="437"/>
                    <a:pt x="127" y="437"/>
                    <a:pt x="127" y="437"/>
                  </a:cubicBezTo>
                  <a:cubicBezTo>
                    <a:pt x="127" y="437"/>
                    <a:pt x="118" y="437"/>
                    <a:pt x="116" y="441"/>
                  </a:cubicBezTo>
                  <a:cubicBezTo>
                    <a:pt x="114" y="446"/>
                    <a:pt x="123" y="452"/>
                    <a:pt x="119" y="454"/>
                  </a:cubicBezTo>
                  <a:cubicBezTo>
                    <a:pt x="116" y="456"/>
                    <a:pt x="111" y="455"/>
                    <a:pt x="111" y="455"/>
                  </a:cubicBezTo>
                  <a:cubicBezTo>
                    <a:pt x="111" y="455"/>
                    <a:pt x="110" y="468"/>
                    <a:pt x="104" y="466"/>
                  </a:cubicBezTo>
                  <a:cubicBezTo>
                    <a:pt x="99" y="465"/>
                    <a:pt x="105" y="455"/>
                    <a:pt x="102" y="454"/>
                  </a:cubicBezTo>
                  <a:cubicBezTo>
                    <a:pt x="99" y="453"/>
                    <a:pt x="88" y="460"/>
                    <a:pt x="88" y="460"/>
                  </a:cubicBezTo>
                  <a:cubicBezTo>
                    <a:pt x="77" y="460"/>
                    <a:pt x="77" y="460"/>
                    <a:pt x="77" y="460"/>
                  </a:cubicBezTo>
                  <a:cubicBezTo>
                    <a:pt x="84" y="466"/>
                    <a:pt x="84" y="466"/>
                    <a:pt x="84" y="466"/>
                  </a:cubicBezTo>
                  <a:cubicBezTo>
                    <a:pt x="84" y="466"/>
                    <a:pt x="79" y="469"/>
                    <a:pt x="77" y="471"/>
                  </a:cubicBezTo>
                  <a:cubicBezTo>
                    <a:pt x="75" y="473"/>
                    <a:pt x="80" y="480"/>
                    <a:pt x="80" y="482"/>
                  </a:cubicBezTo>
                  <a:cubicBezTo>
                    <a:pt x="80" y="485"/>
                    <a:pt x="70" y="487"/>
                    <a:pt x="71" y="489"/>
                  </a:cubicBezTo>
                  <a:cubicBezTo>
                    <a:pt x="72" y="493"/>
                    <a:pt x="79" y="492"/>
                    <a:pt x="78" y="496"/>
                  </a:cubicBezTo>
                  <a:cubicBezTo>
                    <a:pt x="78" y="499"/>
                    <a:pt x="65" y="507"/>
                    <a:pt x="65" y="507"/>
                  </a:cubicBezTo>
                  <a:cubicBezTo>
                    <a:pt x="59" y="518"/>
                    <a:pt x="59" y="518"/>
                    <a:pt x="59" y="518"/>
                  </a:cubicBezTo>
                  <a:cubicBezTo>
                    <a:pt x="49" y="524"/>
                    <a:pt x="49" y="524"/>
                    <a:pt x="49" y="524"/>
                  </a:cubicBezTo>
                  <a:cubicBezTo>
                    <a:pt x="51" y="534"/>
                    <a:pt x="51" y="534"/>
                    <a:pt x="51" y="534"/>
                  </a:cubicBezTo>
                  <a:cubicBezTo>
                    <a:pt x="51" y="534"/>
                    <a:pt x="61" y="533"/>
                    <a:pt x="59" y="537"/>
                  </a:cubicBezTo>
                  <a:cubicBezTo>
                    <a:pt x="58" y="543"/>
                    <a:pt x="51" y="548"/>
                    <a:pt x="51" y="548"/>
                  </a:cubicBezTo>
                  <a:cubicBezTo>
                    <a:pt x="51" y="548"/>
                    <a:pt x="53" y="564"/>
                    <a:pt x="47" y="565"/>
                  </a:cubicBezTo>
                  <a:cubicBezTo>
                    <a:pt x="41" y="566"/>
                    <a:pt x="36" y="568"/>
                    <a:pt x="36" y="568"/>
                  </a:cubicBezTo>
                  <a:cubicBezTo>
                    <a:pt x="35" y="572"/>
                    <a:pt x="35" y="572"/>
                    <a:pt x="35" y="572"/>
                  </a:cubicBezTo>
                  <a:cubicBezTo>
                    <a:pt x="39" y="572"/>
                    <a:pt x="39" y="572"/>
                    <a:pt x="39" y="572"/>
                  </a:cubicBezTo>
                  <a:cubicBezTo>
                    <a:pt x="39" y="572"/>
                    <a:pt x="49" y="584"/>
                    <a:pt x="53" y="588"/>
                  </a:cubicBezTo>
                  <a:cubicBezTo>
                    <a:pt x="58" y="590"/>
                    <a:pt x="61" y="595"/>
                    <a:pt x="61" y="595"/>
                  </a:cubicBezTo>
                  <a:cubicBezTo>
                    <a:pt x="61" y="595"/>
                    <a:pt x="68" y="587"/>
                    <a:pt x="67" y="596"/>
                  </a:cubicBezTo>
                  <a:cubicBezTo>
                    <a:pt x="66" y="606"/>
                    <a:pt x="60" y="620"/>
                    <a:pt x="54" y="620"/>
                  </a:cubicBezTo>
                  <a:cubicBezTo>
                    <a:pt x="48" y="620"/>
                    <a:pt x="41" y="621"/>
                    <a:pt x="37" y="614"/>
                  </a:cubicBezTo>
                  <a:cubicBezTo>
                    <a:pt x="34" y="609"/>
                    <a:pt x="22" y="600"/>
                    <a:pt x="14" y="600"/>
                  </a:cubicBezTo>
                  <a:cubicBezTo>
                    <a:pt x="4" y="600"/>
                    <a:pt x="0" y="607"/>
                    <a:pt x="1" y="614"/>
                  </a:cubicBezTo>
                  <a:cubicBezTo>
                    <a:pt x="1" y="622"/>
                    <a:pt x="10" y="623"/>
                    <a:pt x="9" y="628"/>
                  </a:cubicBezTo>
                  <a:cubicBezTo>
                    <a:pt x="0" y="643"/>
                    <a:pt x="0" y="643"/>
                    <a:pt x="0" y="643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22" y="676"/>
                    <a:pt x="25" y="685"/>
                  </a:cubicBezTo>
                  <a:cubicBezTo>
                    <a:pt x="28" y="693"/>
                    <a:pt x="22" y="703"/>
                    <a:pt x="22" y="703"/>
                  </a:cubicBezTo>
                  <a:cubicBezTo>
                    <a:pt x="28" y="742"/>
                    <a:pt x="28" y="742"/>
                    <a:pt x="28" y="742"/>
                  </a:cubicBezTo>
                  <a:cubicBezTo>
                    <a:pt x="57" y="736"/>
                    <a:pt x="57" y="736"/>
                    <a:pt x="57" y="736"/>
                  </a:cubicBezTo>
                  <a:cubicBezTo>
                    <a:pt x="57" y="736"/>
                    <a:pt x="57" y="740"/>
                    <a:pt x="60" y="742"/>
                  </a:cubicBezTo>
                  <a:cubicBezTo>
                    <a:pt x="62" y="745"/>
                    <a:pt x="67" y="747"/>
                    <a:pt x="65" y="750"/>
                  </a:cubicBezTo>
                  <a:cubicBezTo>
                    <a:pt x="64" y="752"/>
                    <a:pt x="63" y="759"/>
                    <a:pt x="68" y="760"/>
                  </a:cubicBezTo>
                  <a:cubicBezTo>
                    <a:pt x="74" y="762"/>
                    <a:pt x="86" y="762"/>
                    <a:pt x="86" y="762"/>
                  </a:cubicBezTo>
                  <a:cubicBezTo>
                    <a:pt x="82" y="754"/>
                    <a:pt x="82" y="754"/>
                    <a:pt x="82" y="754"/>
                  </a:cubicBezTo>
                  <a:cubicBezTo>
                    <a:pt x="82" y="754"/>
                    <a:pt x="87" y="755"/>
                    <a:pt x="94" y="753"/>
                  </a:cubicBezTo>
                  <a:cubicBezTo>
                    <a:pt x="101" y="751"/>
                    <a:pt x="98" y="739"/>
                    <a:pt x="108" y="742"/>
                  </a:cubicBezTo>
                  <a:cubicBezTo>
                    <a:pt x="117" y="745"/>
                    <a:pt x="118" y="756"/>
                    <a:pt x="125" y="756"/>
                  </a:cubicBezTo>
                  <a:cubicBezTo>
                    <a:pt x="132" y="756"/>
                    <a:pt x="133" y="752"/>
                    <a:pt x="139" y="754"/>
                  </a:cubicBezTo>
                  <a:cubicBezTo>
                    <a:pt x="144" y="757"/>
                    <a:pt x="149" y="768"/>
                    <a:pt x="157" y="770"/>
                  </a:cubicBezTo>
                  <a:cubicBezTo>
                    <a:pt x="164" y="772"/>
                    <a:pt x="183" y="779"/>
                    <a:pt x="178" y="784"/>
                  </a:cubicBezTo>
                  <a:cubicBezTo>
                    <a:pt x="174" y="788"/>
                    <a:pt x="164" y="782"/>
                    <a:pt x="160" y="787"/>
                  </a:cubicBezTo>
                  <a:cubicBezTo>
                    <a:pt x="156" y="794"/>
                    <a:pt x="157" y="800"/>
                    <a:pt x="166" y="801"/>
                  </a:cubicBezTo>
                  <a:cubicBezTo>
                    <a:pt x="177" y="802"/>
                    <a:pt x="200" y="798"/>
                    <a:pt x="200" y="798"/>
                  </a:cubicBezTo>
                  <a:cubicBezTo>
                    <a:pt x="199" y="794"/>
                    <a:pt x="199" y="794"/>
                    <a:pt x="199" y="794"/>
                  </a:cubicBezTo>
                  <a:cubicBezTo>
                    <a:pt x="196" y="793"/>
                    <a:pt x="196" y="793"/>
                    <a:pt x="196" y="793"/>
                  </a:cubicBezTo>
                  <a:cubicBezTo>
                    <a:pt x="202" y="791"/>
                    <a:pt x="202" y="791"/>
                    <a:pt x="202" y="791"/>
                  </a:cubicBezTo>
                  <a:cubicBezTo>
                    <a:pt x="202" y="788"/>
                    <a:pt x="202" y="788"/>
                    <a:pt x="202" y="788"/>
                  </a:cubicBezTo>
                  <a:cubicBezTo>
                    <a:pt x="198" y="789"/>
                    <a:pt x="198" y="789"/>
                    <a:pt x="198" y="789"/>
                  </a:cubicBezTo>
                  <a:cubicBezTo>
                    <a:pt x="198" y="785"/>
                    <a:pt x="198" y="785"/>
                    <a:pt x="198" y="785"/>
                  </a:cubicBezTo>
                  <a:cubicBezTo>
                    <a:pt x="195" y="782"/>
                    <a:pt x="195" y="782"/>
                    <a:pt x="195" y="782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5" y="779"/>
                    <a:pt x="205" y="779"/>
                    <a:pt x="205" y="779"/>
                  </a:cubicBezTo>
                  <a:cubicBezTo>
                    <a:pt x="209" y="784"/>
                    <a:pt x="209" y="784"/>
                    <a:pt x="209" y="784"/>
                  </a:cubicBezTo>
                  <a:cubicBezTo>
                    <a:pt x="209" y="778"/>
                    <a:pt x="209" y="778"/>
                    <a:pt x="209" y="778"/>
                  </a:cubicBezTo>
                  <a:cubicBezTo>
                    <a:pt x="209" y="778"/>
                    <a:pt x="212" y="780"/>
                    <a:pt x="215" y="775"/>
                  </a:cubicBezTo>
                  <a:cubicBezTo>
                    <a:pt x="219" y="770"/>
                    <a:pt x="218" y="765"/>
                    <a:pt x="218" y="765"/>
                  </a:cubicBezTo>
                  <a:cubicBezTo>
                    <a:pt x="218" y="765"/>
                    <a:pt x="222" y="768"/>
                    <a:pt x="223" y="765"/>
                  </a:cubicBezTo>
                  <a:cubicBezTo>
                    <a:pt x="225" y="763"/>
                    <a:pt x="224" y="756"/>
                    <a:pt x="224" y="756"/>
                  </a:cubicBezTo>
                  <a:cubicBezTo>
                    <a:pt x="228" y="754"/>
                    <a:pt x="228" y="754"/>
                    <a:pt x="228" y="754"/>
                  </a:cubicBezTo>
                  <a:cubicBezTo>
                    <a:pt x="228" y="740"/>
                    <a:pt x="228" y="740"/>
                    <a:pt x="228" y="740"/>
                  </a:cubicBezTo>
                  <a:cubicBezTo>
                    <a:pt x="236" y="740"/>
                    <a:pt x="236" y="740"/>
                    <a:pt x="236" y="740"/>
                  </a:cubicBezTo>
                  <a:cubicBezTo>
                    <a:pt x="235" y="733"/>
                    <a:pt x="235" y="733"/>
                    <a:pt x="235" y="733"/>
                  </a:cubicBezTo>
                  <a:cubicBezTo>
                    <a:pt x="243" y="732"/>
                    <a:pt x="243" y="732"/>
                    <a:pt x="243" y="732"/>
                  </a:cubicBezTo>
                  <a:cubicBezTo>
                    <a:pt x="243" y="732"/>
                    <a:pt x="239" y="722"/>
                    <a:pt x="247" y="714"/>
                  </a:cubicBezTo>
                  <a:cubicBezTo>
                    <a:pt x="256" y="705"/>
                    <a:pt x="262" y="707"/>
                    <a:pt x="262" y="707"/>
                  </a:cubicBezTo>
                  <a:cubicBezTo>
                    <a:pt x="266" y="705"/>
                    <a:pt x="266" y="705"/>
                    <a:pt x="266" y="705"/>
                  </a:cubicBezTo>
                  <a:cubicBezTo>
                    <a:pt x="268" y="707"/>
                    <a:pt x="268" y="707"/>
                    <a:pt x="268" y="707"/>
                  </a:cubicBezTo>
                  <a:cubicBezTo>
                    <a:pt x="270" y="703"/>
                    <a:pt x="270" y="703"/>
                    <a:pt x="270" y="703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81" y="707"/>
                    <a:pt x="281" y="707"/>
                    <a:pt x="281" y="707"/>
                  </a:cubicBezTo>
                  <a:cubicBezTo>
                    <a:pt x="283" y="702"/>
                    <a:pt x="283" y="702"/>
                    <a:pt x="283" y="702"/>
                  </a:cubicBezTo>
                  <a:cubicBezTo>
                    <a:pt x="285" y="708"/>
                    <a:pt x="285" y="708"/>
                    <a:pt x="285" y="708"/>
                  </a:cubicBezTo>
                  <a:cubicBezTo>
                    <a:pt x="290" y="703"/>
                    <a:pt x="290" y="703"/>
                    <a:pt x="290" y="703"/>
                  </a:cubicBezTo>
                  <a:cubicBezTo>
                    <a:pt x="290" y="703"/>
                    <a:pt x="293" y="708"/>
                    <a:pt x="296" y="707"/>
                  </a:cubicBezTo>
                  <a:cubicBezTo>
                    <a:pt x="299" y="706"/>
                    <a:pt x="298" y="699"/>
                    <a:pt x="298" y="699"/>
                  </a:cubicBezTo>
                  <a:cubicBezTo>
                    <a:pt x="304" y="696"/>
                    <a:pt x="304" y="696"/>
                    <a:pt x="304" y="696"/>
                  </a:cubicBezTo>
                  <a:cubicBezTo>
                    <a:pt x="304" y="696"/>
                    <a:pt x="301" y="687"/>
                    <a:pt x="304" y="685"/>
                  </a:cubicBezTo>
                  <a:cubicBezTo>
                    <a:pt x="307" y="683"/>
                    <a:pt x="309" y="688"/>
                    <a:pt x="309" y="688"/>
                  </a:cubicBezTo>
                  <a:cubicBezTo>
                    <a:pt x="318" y="683"/>
                    <a:pt x="318" y="683"/>
                    <a:pt x="318" y="683"/>
                  </a:cubicBezTo>
                  <a:cubicBezTo>
                    <a:pt x="318" y="683"/>
                    <a:pt x="318" y="677"/>
                    <a:pt x="322" y="677"/>
                  </a:cubicBezTo>
                  <a:cubicBezTo>
                    <a:pt x="326" y="677"/>
                    <a:pt x="326" y="679"/>
                    <a:pt x="326" y="679"/>
                  </a:cubicBezTo>
                  <a:cubicBezTo>
                    <a:pt x="332" y="678"/>
                    <a:pt x="332" y="678"/>
                    <a:pt x="332" y="678"/>
                  </a:cubicBezTo>
                  <a:cubicBezTo>
                    <a:pt x="332" y="678"/>
                    <a:pt x="333" y="684"/>
                    <a:pt x="337" y="685"/>
                  </a:cubicBezTo>
                  <a:cubicBezTo>
                    <a:pt x="340" y="685"/>
                    <a:pt x="345" y="682"/>
                    <a:pt x="345" y="685"/>
                  </a:cubicBezTo>
                  <a:cubicBezTo>
                    <a:pt x="345" y="689"/>
                    <a:pt x="337" y="691"/>
                    <a:pt x="337" y="691"/>
                  </a:cubicBezTo>
                  <a:cubicBezTo>
                    <a:pt x="338" y="696"/>
                    <a:pt x="338" y="696"/>
                    <a:pt x="338" y="696"/>
                  </a:cubicBezTo>
                  <a:cubicBezTo>
                    <a:pt x="341" y="694"/>
                    <a:pt x="341" y="694"/>
                    <a:pt x="341" y="694"/>
                  </a:cubicBezTo>
                  <a:cubicBezTo>
                    <a:pt x="342" y="701"/>
                    <a:pt x="342" y="701"/>
                    <a:pt x="342" y="701"/>
                  </a:cubicBezTo>
                  <a:cubicBezTo>
                    <a:pt x="352" y="703"/>
                    <a:pt x="352" y="703"/>
                    <a:pt x="352" y="703"/>
                  </a:cubicBezTo>
                  <a:cubicBezTo>
                    <a:pt x="352" y="706"/>
                    <a:pt x="352" y="706"/>
                    <a:pt x="352" y="706"/>
                  </a:cubicBezTo>
                  <a:cubicBezTo>
                    <a:pt x="346" y="706"/>
                    <a:pt x="346" y="706"/>
                    <a:pt x="346" y="706"/>
                  </a:cubicBezTo>
                  <a:cubicBezTo>
                    <a:pt x="348" y="713"/>
                    <a:pt x="348" y="713"/>
                    <a:pt x="348" y="713"/>
                  </a:cubicBezTo>
                  <a:cubicBezTo>
                    <a:pt x="357" y="709"/>
                    <a:pt x="357" y="709"/>
                    <a:pt x="357" y="709"/>
                  </a:cubicBezTo>
                  <a:cubicBezTo>
                    <a:pt x="357" y="709"/>
                    <a:pt x="357" y="716"/>
                    <a:pt x="359" y="718"/>
                  </a:cubicBezTo>
                  <a:cubicBezTo>
                    <a:pt x="361" y="720"/>
                    <a:pt x="364" y="725"/>
                    <a:pt x="363" y="732"/>
                  </a:cubicBezTo>
                  <a:cubicBezTo>
                    <a:pt x="363" y="738"/>
                    <a:pt x="361" y="741"/>
                    <a:pt x="361" y="748"/>
                  </a:cubicBezTo>
                  <a:cubicBezTo>
                    <a:pt x="361" y="753"/>
                    <a:pt x="367" y="760"/>
                    <a:pt x="367" y="760"/>
                  </a:cubicBezTo>
                  <a:cubicBezTo>
                    <a:pt x="391" y="756"/>
                    <a:pt x="391" y="756"/>
                    <a:pt x="391" y="756"/>
                  </a:cubicBezTo>
                  <a:cubicBezTo>
                    <a:pt x="391" y="756"/>
                    <a:pt x="388" y="767"/>
                    <a:pt x="381" y="768"/>
                  </a:cubicBezTo>
                  <a:cubicBezTo>
                    <a:pt x="374" y="770"/>
                    <a:pt x="366" y="769"/>
                    <a:pt x="362" y="772"/>
                  </a:cubicBezTo>
                  <a:cubicBezTo>
                    <a:pt x="358" y="776"/>
                    <a:pt x="350" y="784"/>
                    <a:pt x="346" y="786"/>
                  </a:cubicBezTo>
                  <a:cubicBezTo>
                    <a:pt x="342" y="788"/>
                    <a:pt x="331" y="789"/>
                    <a:pt x="331" y="789"/>
                  </a:cubicBezTo>
                  <a:cubicBezTo>
                    <a:pt x="330" y="799"/>
                    <a:pt x="330" y="799"/>
                    <a:pt x="330" y="799"/>
                  </a:cubicBezTo>
                  <a:cubicBezTo>
                    <a:pt x="323" y="801"/>
                    <a:pt x="323" y="801"/>
                    <a:pt x="323" y="801"/>
                  </a:cubicBezTo>
                  <a:cubicBezTo>
                    <a:pt x="323" y="801"/>
                    <a:pt x="321" y="810"/>
                    <a:pt x="321" y="814"/>
                  </a:cubicBezTo>
                  <a:cubicBezTo>
                    <a:pt x="321" y="818"/>
                    <a:pt x="326" y="823"/>
                    <a:pt x="326" y="823"/>
                  </a:cubicBezTo>
                  <a:cubicBezTo>
                    <a:pt x="326" y="823"/>
                    <a:pt x="323" y="823"/>
                    <a:pt x="321" y="825"/>
                  </a:cubicBezTo>
                  <a:cubicBezTo>
                    <a:pt x="318" y="827"/>
                    <a:pt x="317" y="831"/>
                    <a:pt x="317" y="831"/>
                  </a:cubicBezTo>
                  <a:cubicBezTo>
                    <a:pt x="313" y="834"/>
                    <a:pt x="313" y="834"/>
                    <a:pt x="313" y="834"/>
                  </a:cubicBezTo>
                  <a:cubicBezTo>
                    <a:pt x="314" y="838"/>
                    <a:pt x="314" y="838"/>
                    <a:pt x="314" y="838"/>
                  </a:cubicBezTo>
                  <a:cubicBezTo>
                    <a:pt x="322" y="836"/>
                    <a:pt x="322" y="836"/>
                    <a:pt x="322" y="836"/>
                  </a:cubicBezTo>
                  <a:cubicBezTo>
                    <a:pt x="321" y="842"/>
                    <a:pt x="321" y="842"/>
                    <a:pt x="321" y="842"/>
                  </a:cubicBezTo>
                  <a:cubicBezTo>
                    <a:pt x="327" y="840"/>
                    <a:pt x="327" y="840"/>
                    <a:pt x="327" y="840"/>
                  </a:cubicBezTo>
                  <a:cubicBezTo>
                    <a:pt x="328" y="842"/>
                    <a:pt x="328" y="842"/>
                    <a:pt x="328" y="842"/>
                  </a:cubicBezTo>
                  <a:cubicBezTo>
                    <a:pt x="337" y="842"/>
                    <a:pt x="337" y="842"/>
                    <a:pt x="337" y="842"/>
                  </a:cubicBezTo>
                  <a:cubicBezTo>
                    <a:pt x="337" y="842"/>
                    <a:pt x="339" y="846"/>
                    <a:pt x="342" y="846"/>
                  </a:cubicBezTo>
                  <a:cubicBezTo>
                    <a:pt x="346" y="845"/>
                    <a:pt x="349" y="840"/>
                    <a:pt x="352" y="843"/>
                  </a:cubicBezTo>
                  <a:cubicBezTo>
                    <a:pt x="355" y="847"/>
                    <a:pt x="345" y="850"/>
                    <a:pt x="345" y="850"/>
                  </a:cubicBezTo>
                  <a:cubicBezTo>
                    <a:pt x="345" y="850"/>
                    <a:pt x="344" y="860"/>
                    <a:pt x="340" y="859"/>
                  </a:cubicBezTo>
                  <a:cubicBezTo>
                    <a:pt x="336" y="858"/>
                    <a:pt x="323" y="857"/>
                    <a:pt x="323" y="857"/>
                  </a:cubicBezTo>
                  <a:cubicBezTo>
                    <a:pt x="323" y="857"/>
                    <a:pt x="316" y="863"/>
                    <a:pt x="312" y="864"/>
                  </a:cubicBezTo>
                  <a:cubicBezTo>
                    <a:pt x="309" y="865"/>
                    <a:pt x="297" y="866"/>
                    <a:pt x="301" y="879"/>
                  </a:cubicBezTo>
                  <a:cubicBezTo>
                    <a:pt x="306" y="891"/>
                    <a:pt x="314" y="889"/>
                    <a:pt x="321" y="886"/>
                  </a:cubicBezTo>
                  <a:cubicBezTo>
                    <a:pt x="328" y="883"/>
                    <a:pt x="336" y="879"/>
                    <a:pt x="341" y="886"/>
                  </a:cubicBezTo>
                  <a:cubicBezTo>
                    <a:pt x="346" y="891"/>
                    <a:pt x="363" y="907"/>
                    <a:pt x="367" y="906"/>
                  </a:cubicBezTo>
                  <a:cubicBezTo>
                    <a:pt x="373" y="906"/>
                    <a:pt x="378" y="904"/>
                    <a:pt x="385" y="913"/>
                  </a:cubicBezTo>
                  <a:cubicBezTo>
                    <a:pt x="391" y="922"/>
                    <a:pt x="390" y="931"/>
                    <a:pt x="390" y="931"/>
                  </a:cubicBezTo>
                  <a:cubicBezTo>
                    <a:pt x="393" y="931"/>
                    <a:pt x="393" y="931"/>
                    <a:pt x="393" y="931"/>
                  </a:cubicBezTo>
                  <a:cubicBezTo>
                    <a:pt x="397" y="925"/>
                    <a:pt x="397" y="925"/>
                    <a:pt x="397" y="925"/>
                  </a:cubicBezTo>
                  <a:cubicBezTo>
                    <a:pt x="402" y="925"/>
                    <a:pt x="402" y="925"/>
                    <a:pt x="402" y="925"/>
                  </a:cubicBezTo>
                  <a:cubicBezTo>
                    <a:pt x="402" y="925"/>
                    <a:pt x="402" y="921"/>
                    <a:pt x="406" y="920"/>
                  </a:cubicBezTo>
                  <a:cubicBezTo>
                    <a:pt x="408" y="920"/>
                    <a:pt x="408" y="920"/>
                    <a:pt x="408" y="920"/>
                  </a:cubicBezTo>
                  <a:cubicBezTo>
                    <a:pt x="408" y="320"/>
                    <a:pt x="408" y="320"/>
                    <a:pt x="408" y="320"/>
                  </a:cubicBezTo>
                  <a:cubicBezTo>
                    <a:pt x="399" y="324"/>
                    <a:pt x="387" y="331"/>
                    <a:pt x="379" y="32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9" name="Aserbaidschan" descr="© INSCALE GmbH, 05.05.2010&#10;http://www.presentationload.com/">
              <a:extLst>
                <a:ext uri="{FF2B5EF4-FFF2-40B4-BE49-F238E27FC236}">
                  <a16:creationId xmlns:a16="http://schemas.microsoft.com/office/drawing/2014/main" id="{5529BB09-426F-5E45-9E22-E62931A758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01070" y="4768787"/>
              <a:ext cx="542930" cy="584187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0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BFDF641-D34A-5444-AC30-FB96ABFD25A0}"/>
                </a:ext>
              </a:extLst>
            </p:cNvPr>
            <p:cNvSpPr>
              <a:spLocks/>
            </p:cNvSpPr>
            <p:nvPr/>
          </p:nvSpPr>
          <p:spPr bwMode="gray">
            <a:xfrm>
              <a:off x="8635723" y="5098836"/>
              <a:ext cx="508277" cy="696405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Irak" descr="© INSCALE GmbH, 05.05.2010&#10;http://www.presentationload.com/">
              <a:extLst>
                <a:ext uri="{FF2B5EF4-FFF2-40B4-BE49-F238E27FC236}">
                  <a16:creationId xmlns:a16="http://schemas.microsoft.com/office/drawing/2014/main" id="{9C4718FA-0804-CE45-8B48-D61ECC20E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98088" y="5654970"/>
              <a:ext cx="745912" cy="1082562"/>
            </a:xfrm>
            <a:custGeom>
              <a:avLst/>
              <a:gdLst/>
              <a:ahLst/>
              <a:cxnLst>
                <a:cxn ang="0">
                  <a:pos x="312" y="46"/>
                </a:cxn>
                <a:cxn ang="0">
                  <a:pos x="312" y="47"/>
                </a:cxn>
                <a:cxn ang="0">
                  <a:pos x="306" y="42"/>
                </a:cxn>
                <a:cxn ang="0">
                  <a:pos x="292" y="55"/>
                </a:cxn>
                <a:cxn ang="0">
                  <a:pos x="276" y="50"/>
                </a:cxn>
                <a:cxn ang="0">
                  <a:pos x="264" y="60"/>
                </a:cxn>
                <a:cxn ang="0">
                  <a:pos x="264" y="49"/>
                </a:cxn>
                <a:cxn ang="0">
                  <a:pos x="253" y="44"/>
                </a:cxn>
                <a:cxn ang="0">
                  <a:pos x="245" y="31"/>
                </a:cxn>
                <a:cxn ang="0">
                  <a:pos x="234" y="35"/>
                </a:cxn>
                <a:cxn ang="0">
                  <a:pos x="227" y="20"/>
                </a:cxn>
                <a:cxn ang="0">
                  <a:pos x="213" y="21"/>
                </a:cxn>
                <a:cxn ang="0">
                  <a:pos x="211" y="18"/>
                </a:cxn>
                <a:cxn ang="0">
                  <a:pos x="214" y="8"/>
                </a:cxn>
                <a:cxn ang="0">
                  <a:pos x="203" y="7"/>
                </a:cxn>
                <a:cxn ang="0">
                  <a:pos x="200" y="2"/>
                </a:cxn>
                <a:cxn ang="0">
                  <a:pos x="191" y="3"/>
                </a:cxn>
                <a:cxn ang="0">
                  <a:pos x="182" y="22"/>
                </a:cxn>
                <a:cxn ang="0">
                  <a:pos x="175" y="20"/>
                </a:cxn>
                <a:cxn ang="0">
                  <a:pos x="168" y="5"/>
                </a:cxn>
                <a:cxn ang="0">
                  <a:pos x="155" y="18"/>
                </a:cxn>
                <a:cxn ang="0">
                  <a:pos x="126" y="22"/>
                </a:cxn>
                <a:cxn ang="0">
                  <a:pos x="126" y="26"/>
                </a:cxn>
                <a:cxn ang="0">
                  <a:pos x="113" y="26"/>
                </a:cxn>
                <a:cxn ang="0">
                  <a:pos x="110" y="33"/>
                </a:cxn>
                <a:cxn ang="0">
                  <a:pos x="90" y="33"/>
                </a:cxn>
                <a:cxn ang="0">
                  <a:pos x="96" y="50"/>
                </a:cxn>
                <a:cxn ang="0">
                  <a:pos x="84" y="56"/>
                </a:cxn>
                <a:cxn ang="0">
                  <a:pos x="85" y="69"/>
                </a:cxn>
                <a:cxn ang="0">
                  <a:pos x="79" y="77"/>
                </a:cxn>
                <a:cxn ang="0">
                  <a:pos x="70" y="101"/>
                </a:cxn>
                <a:cxn ang="0">
                  <a:pos x="51" y="117"/>
                </a:cxn>
                <a:cxn ang="0">
                  <a:pos x="57" y="147"/>
                </a:cxn>
                <a:cxn ang="0">
                  <a:pos x="72" y="164"/>
                </a:cxn>
                <a:cxn ang="0">
                  <a:pos x="77" y="200"/>
                </a:cxn>
                <a:cxn ang="0">
                  <a:pos x="90" y="226"/>
                </a:cxn>
                <a:cxn ang="0">
                  <a:pos x="91" y="239"/>
                </a:cxn>
                <a:cxn ang="0">
                  <a:pos x="88" y="240"/>
                </a:cxn>
                <a:cxn ang="0">
                  <a:pos x="89" y="256"/>
                </a:cxn>
                <a:cxn ang="0">
                  <a:pos x="87" y="257"/>
                </a:cxn>
                <a:cxn ang="0">
                  <a:pos x="0" y="371"/>
                </a:cxn>
                <a:cxn ang="0">
                  <a:pos x="57" y="432"/>
                </a:cxn>
                <a:cxn ang="0">
                  <a:pos x="101" y="425"/>
                </a:cxn>
                <a:cxn ang="0">
                  <a:pos x="203" y="436"/>
                </a:cxn>
                <a:cxn ang="0">
                  <a:pos x="298" y="438"/>
                </a:cxn>
                <a:cxn ang="0">
                  <a:pos x="312" y="455"/>
                </a:cxn>
                <a:cxn ang="0">
                  <a:pos x="312" y="46"/>
                </a:cxn>
              </a:cxnLst>
              <a:rect l="0" t="0" r="r" b="b"/>
              <a:pathLst>
                <a:path w="312" h="455">
                  <a:moveTo>
                    <a:pt x="312" y="46"/>
                  </a:moveTo>
                  <a:cubicBezTo>
                    <a:pt x="312" y="47"/>
                    <a:pt x="312" y="47"/>
                    <a:pt x="312" y="47"/>
                  </a:cubicBezTo>
                  <a:cubicBezTo>
                    <a:pt x="306" y="42"/>
                    <a:pt x="306" y="42"/>
                    <a:pt x="306" y="42"/>
                  </a:cubicBezTo>
                  <a:cubicBezTo>
                    <a:pt x="306" y="42"/>
                    <a:pt x="297" y="52"/>
                    <a:pt x="292" y="55"/>
                  </a:cubicBezTo>
                  <a:cubicBezTo>
                    <a:pt x="286" y="57"/>
                    <a:pt x="281" y="51"/>
                    <a:pt x="276" y="50"/>
                  </a:cubicBezTo>
                  <a:cubicBezTo>
                    <a:pt x="271" y="49"/>
                    <a:pt x="264" y="60"/>
                    <a:pt x="264" y="6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4" y="49"/>
                    <a:pt x="258" y="48"/>
                    <a:pt x="253" y="44"/>
                  </a:cubicBezTo>
                  <a:cubicBezTo>
                    <a:pt x="250" y="39"/>
                    <a:pt x="245" y="31"/>
                    <a:pt x="245" y="31"/>
                  </a:cubicBezTo>
                  <a:cubicBezTo>
                    <a:pt x="245" y="31"/>
                    <a:pt x="242" y="36"/>
                    <a:pt x="234" y="35"/>
                  </a:cubicBezTo>
                  <a:cubicBezTo>
                    <a:pt x="227" y="34"/>
                    <a:pt x="230" y="22"/>
                    <a:pt x="227" y="20"/>
                  </a:cubicBezTo>
                  <a:cubicBezTo>
                    <a:pt x="222" y="18"/>
                    <a:pt x="213" y="21"/>
                    <a:pt x="213" y="21"/>
                  </a:cubicBezTo>
                  <a:cubicBezTo>
                    <a:pt x="211" y="18"/>
                    <a:pt x="211" y="18"/>
                    <a:pt x="211" y="18"/>
                  </a:cubicBezTo>
                  <a:cubicBezTo>
                    <a:pt x="211" y="18"/>
                    <a:pt x="214" y="14"/>
                    <a:pt x="214" y="8"/>
                  </a:cubicBezTo>
                  <a:cubicBezTo>
                    <a:pt x="213" y="4"/>
                    <a:pt x="203" y="7"/>
                    <a:pt x="203" y="7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2"/>
                    <a:pt x="193" y="0"/>
                    <a:pt x="191" y="3"/>
                  </a:cubicBezTo>
                  <a:cubicBezTo>
                    <a:pt x="188" y="7"/>
                    <a:pt x="182" y="22"/>
                    <a:pt x="182" y="22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75" y="20"/>
                    <a:pt x="180" y="5"/>
                    <a:pt x="168" y="5"/>
                  </a:cubicBezTo>
                  <a:cubicBezTo>
                    <a:pt x="156" y="5"/>
                    <a:pt x="155" y="18"/>
                    <a:pt x="155" y="18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5" y="65"/>
                    <a:pt x="85" y="69"/>
                  </a:cubicBezTo>
                  <a:cubicBezTo>
                    <a:pt x="85" y="72"/>
                    <a:pt x="79" y="77"/>
                    <a:pt x="79" y="77"/>
                  </a:cubicBezTo>
                  <a:cubicBezTo>
                    <a:pt x="79" y="77"/>
                    <a:pt x="77" y="90"/>
                    <a:pt x="70" y="101"/>
                  </a:cubicBezTo>
                  <a:cubicBezTo>
                    <a:pt x="65" y="113"/>
                    <a:pt x="56" y="111"/>
                    <a:pt x="51" y="117"/>
                  </a:cubicBezTo>
                  <a:cubicBezTo>
                    <a:pt x="47" y="125"/>
                    <a:pt x="53" y="139"/>
                    <a:pt x="57" y="147"/>
                  </a:cubicBezTo>
                  <a:cubicBezTo>
                    <a:pt x="61" y="157"/>
                    <a:pt x="68" y="156"/>
                    <a:pt x="72" y="164"/>
                  </a:cubicBezTo>
                  <a:cubicBezTo>
                    <a:pt x="78" y="172"/>
                    <a:pt x="73" y="184"/>
                    <a:pt x="77" y="200"/>
                  </a:cubicBezTo>
                  <a:cubicBezTo>
                    <a:pt x="80" y="215"/>
                    <a:pt x="90" y="226"/>
                    <a:pt x="90" y="226"/>
                  </a:cubicBezTo>
                  <a:cubicBezTo>
                    <a:pt x="91" y="239"/>
                    <a:pt x="91" y="239"/>
                    <a:pt x="91" y="239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57" y="432"/>
                    <a:pt x="57" y="432"/>
                    <a:pt x="57" y="432"/>
                  </a:cubicBezTo>
                  <a:cubicBezTo>
                    <a:pt x="57" y="432"/>
                    <a:pt x="87" y="425"/>
                    <a:pt x="101" y="425"/>
                  </a:cubicBezTo>
                  <a:cubicBezTo>
                    <a:pt x="114" y="425"/>
                    <a:pt x="176" y="436"/>
                    <a:pt x="203" y="436"/>
                  </a:cubicBezTo>
                  <a:cubicBezTo>
                    <a:pt x="230" y="438"/>
                    <a:pt x="298" y="438"/>
                    <a:pt x="298" y="438"/>
                  </a:cubicBezTo>
                  <a:cubicBezTo>
                    <a:pt x="312" y="455"/>
                    <a:pt x="312" y="455"/>
                    <a:pt x="312" y="455"/>
                  </a:cubicBezTo>
                  <a:lnTo>
                    <a:pt x="312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2" name="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34E1E18-0A34-5041-93BF-BF8328D2C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85402" y="889056"/>
              <a:ext cx="3658598" cy="4107465"/>
            </a:xfrm>
            <a:custGeom>
              <a:avLst/>
              <a:gdLst/>
              <a:ahLst/>
              <a:cxnLst>
                <a:cxn ang="0">
                  <a:pos x="24" y="1219"/>
                </a:cxn>
                <a:cxn ang="0">
                  <a:pos x="8" y="1240"/>
                </a:cxn>
                <a:cxn ang="0">
                  <a:pos x="229" y="230"/>
                </a:cxn>
                <a:cxn ang="0">
                  <a:pos x="352" y="472"/>
                </a:cxn>
                <a:cxn ang="0">
                  <a:pos x="677" y="24"/>
                </a:cxn>
                <a:cxn ang="0">
                  <a:pos x="626" y="78"/>
                </a:cxn>
                <a:cxn ang="0">
                  <a:pos x="603" y="203"/>
                </a:cxn>
                <a:cxn ang="0">
                  <a:pos x="448" y="151"/>
                </a:cxn>
                <a:cxn ang="0">
                  <a:pos x="531" y="298"/>
                </a:cxn>
                <a:cxn ang="0">
                  <a:pos x="472" y="442"/>
                </a:cxn>
                <a:cxn ang="0">
                  <a:pos x="434" y="468"/>
                </a:cxn>
                <a:cxn ang="0">
                  <a:pos x="423" y="504"/>
                </a:cxn>
                <a:cxn ang="0">
                  <a:pos x="396" y="529"/>
                </a:cxn>
                <a:cxn ang="0">
                  <a:pos x="342" y="498"/>
                </a:cxn>
                <a:cxn ang="0">
                  <a:pos x="275" y="414"/>
                </a:cxn>
                <a:cxn ang="0">
                  <a:pos x="257" y="401"/>
                </a:cxn>
                <a:cxn ang="0">
                  <a:pos x="215" y="380"/>
                </a:cxn>
                <a:cxn ang="0">
                  <a:pos x="297" y="390"/>
                </a:cxn>
                <a:cxn ang="0">
                  <a:pos x="444" y="343"/>
                </a:cxn>
                <a:cxn ang="0">
                  <a:pos x="386" y="262"/>
                </a:cxn>
                <a:cxn ang="0">
                  <a:pos x="269" y="230"/>
                </a:cxn>
                <a:cxn ang="0">
                  <a:pos x="212" y="247"/>
                </a:cxn>
                <a:cxn ang="0">
                  <a:pos x="186" y="232"/>
                </a:cxn>
                <a:cxn ang="0">
                  <a:pos x="188" y="225"/>
                </a:cxn>
                <a:cxn ang="0">
                  <a:pos x="143" y="237"/>
                </a:cxn>
                <a:cxn ang="0">
                  <a:pos x="160" y="363"/>
                </a:cxn>
                <a:cxn ang="0">
                  <a:pos x="216" y="541"/>
                </a:cxn>
                <a:cxn ang="0">
                  <a:pos x="237" y="775"/>
                </a:cxn>
                <a:cxn ang="0">
                  <a:pos x="246" y="825"/>
                </a:cxn>
                <a:cxn ang="0">
                  <a:pos x="239" y="876"/>
                </a:cxn>
                <a:cxn ang="0">
                  <a:pos x="242" y="1006"/>
                </a:cxn>
                <a:cxn ang="0">
                  <a:pos x="289" y="1074"/>
                </a:cxn>
                <a:cxn ang="0">
                  <a:pos x="413" y="1136"/>
                </a:cxn>
                <a:cxn ang="0">
                  <a:pos x="490" y="1247"/>
                </a:cxn>
                <a:cxn ang="0">
                  <a:pos x="560" y="1265"/>
                </a:cxn>
                <a:cxn ang="0">
                  <a:pos x="648" y="1333"/>
                </a:cxn>
                <a:cxn ang="0">
                  <a:pos x="764" y="1354"/>
                </a:cxn>
                <a:cxn ang="0">
                  <a:pos x="862" y="1350"/>
                </a:cxn>
                <a:cxn ang="0">
                  <a:pos x="900" y="1455"/>
                </a:cxn>
                <a:cxn ang="0">
                  <a:pos x="871" y="1537"/>
                </a:cxn>
                <a:cxn ang="0">
                  <a:pos x="862" y="1623"/>
                </a:cxn>
                <a:cxn ang="0">
                  <a:pos x="903" y="1684"/>
                </a:cxn>
                <a:cxn ang="0">
                  <a:pos x="1047" y="1703"/>
                </a:cxn>
                <a:cxn ang="0">
                  <a:pos x="1233" y="1674"/>
                </a:cxn>
                <a:cxn ang="0">
                  <a:pos x="1408" y="1689"/>
                </a:cxn>
                <a:cxn ang="0">
                  <a:pos x="1341" y="1543"/>
                </a:cxn>
                <a:cxn ang="0">
                  <a:pos x="1283" y="1465"/>
                </a:cxn>
                <a:cxn ang="0">
                  <a:pos x="1320" y="1398"/>
                </a:cxn>
                <a:cxn ang="0">
                  <a:pos x="1281" y="1326"/>
                </a:cxn>
                <a:cxn ang="0">
                  <a:pos x="1133" y="1184"/>
                </a:cxn>
                <a:cxn ang="0">
                  <a:pos x="1183" y="1074"/>
                </a:cxn>
                <a:cxn ang="0">
                  <a:pos x="1253" y="984"/>
                </a:cxn>
                <a:cxn ang="0">
                  <a:pos x="1379" y="969"/>
                </a:cxn>
                <a:cxn ang="0">
                  <a:pos x="1488" y="872"/>
                </a:cxn>
                <a:cxn ang="0">
                  <a:pos x="1496" y="707"/>
                </a:cxn>
                <a:cxn ang="0">
                  <a:pos x="1446" y="669"/>
                </a:cxn>
                <a:cxn ang="0">
                  <a:pos x="1519" y="575"/>
                </a:cxn>
                <a:cxn ang="0">
                  <a:pos x="266" y="764"/>
                </a:cxn>
                <a:cxn ang="0">
                  <a:pos x="356" y="755"/>
                </a:cxn>
                <a:cxn ang="0">
                  <a:pos x="381" y="658"/>
                </a:cxn>
                <a:cxn ang="0">
                  <a:pos x="422" y="650"/>
                </a:cxn>
                <a:cxn ang="0">
                  <a:pos x="464" y="712"/>
                </a:cxn>
              </a:cxnLst>
              <a:rect l="0" t="0" r="r" b="b"/>
              <a:pathLst>
                <a:path w="1532" h="1721">
                  <a:moveTo>
                    <a:pt x="113" y="1210"/>
                  </a:moveTo>
                  <a:cubicBezTo>
                    <a:pt x="110" y="1208"/>
                    <a:pt x="101" y="1201"/>
                    <a:pt x="101" y="1201"/>
                  </a:cubicBezTo>
                  <a:cubicBezTo>
                    <a:pt x="90" y="1201"/>
                    <a:pt x="90" y="1201"/>
                    <a:pt x="90" y="1201"/>
                  </a:cubicBezTo>
                  <a:cubicBezTo>
                    <a:pt x="80" y="1205"/>
                    <a:pt x="80" y="1205"/>
                    <a:pt x="80" y="1205"/>
                  </a:cubicBezTo>
                  <a:cubicBezTo>
                    <a:pt x="79" y="1201"/>
                    <a:pt x="79" y="1201"/>
                    <a:pt x="79" y="1201"/>
                  </a:cubicBezTo>
                  <a:cubicBezTo>
                    <a:pt x="79" y="1201"/>
                    <a:pt x="73" y="1203"/>
                    <a:pt x="69" y="1200"/>
                  </a:cubicBezTo>
                  <a:cubicBezTo>
                    <a:pt x="64" y="1198"/>
                    <a:pt x="62" y="1197"/>
                    <a:pt x="62" y="1197"/>
                  </a:cubicBezTo>
                  <a:cubicBezTo>
                    <a:pt x="56" y="1198"/>
                    <a:pt x="56" y="1198"/>
                    <a:pt x="56" y="1198"/>
                  </a:cubicBezTo>
                  <a:cubicBezTo>
                    <a:pt x="51" y="1194"/>
                    <a:pt x="51" y="1194"/>
                    <a:pt x="51" y="1194"/>
                  </a:cubicBezTo>
                  <a:cubicBezTo>
                    <a:pt x="49" y="1199"/>
                    <a:pt x="49" y="1199"/>
                    <a:pt x="49" y="1199"/>
                  </a:cubicBezTo>
                  <a:cubicBezTo>
                    <a:pt x="46" y="1199"/>
                    <a:pt x="46" y="1199"/>
                    <a:pt x="46" y="1199"/>
                  </a:cubicBezTo>
                  <a:cubicBezTo>
                    <a:pt x="51" y="1215"/>
                    <a:pt x="51" y="1215"/>
                    <a:pt x="51" y="1215"/>
                  </a:cubicBezTo>
                  <a:cubicBezTo>
                    <a:pt x="44" y="1219"/>
                    <a:pt x="44" y="1219"/>
                    <a:pt x="44" y="1219"/>
                  </a:cubicBezTo>
                  <a:cubicBezTo>
                    <a:pt x="37" y="1219"/>
                    <a:pt x="37" y="1219"/>
                    <a:pt x="37" y="1219"/>
                  </a:cubicBezTo>
                  <a:cubicBezTo>
                    <a:pt x="37" y="1219"/>
                    <a:pt x="33" y="1218"/>
                    <a:pt x="32" y="1218"/>
                  </a:cubicBezTo>
                  <a:cubicBezTo>
                    <a:pt x="31" y="1218"/>
                    <a:pt x="24" y="1219"/>
                    <a:pt x="24" y="1219"/>
                  </a:cubicBezTo>
                  <a:cubicBezTo>
                    <a:pt x="36" y="1202"/>
                    <a:pt x="36" y="1202"/>
                    <a:pt x="36" y="1202"/>
                  </a:cubicBezTo>
                  <a:cubicBezTo>
                    <a:pt x="36" y="1198"/>
                    <a:pt x="36" y="1198"/>
                    <a:pt x="36" y="1198"/>
                  </a:cubicBezTo>
                  <a:cubicBezTo>
                    <a:pt x="41" y="1193"/>
                    <a:pt x="41" y="1193"/>
                    <a:pt x="41" y="1193"/>
                  </a:cubicBezTo>
                  <a:cubicBezTo>
                    <a:pt x="39" y="1191"/>
                    <a:pt x="39" y="1191"/>
                    <a:pt x="39" y="1191"/>
                  </a:cubicBezTo>
                  <a:cubicBezTo>
                    <a:pt x="37" y="1192"/>
                    <a:pt x="37" y="1192"/>
                    <a:pt x="37" y="1192"/>
                  </a:cubicBezTo>
                  <a:cubicBezTo>
                    <a:pt x="32" y="1202"/>
                    <a:pt x="32" y="1202"/>
                    <a:pt x="32" y="1202"/>
                  </a:cubicBezTo>
                  <a:cubicBezTo>
                    <a:pt x="23" y="1215"/>
                    <a:pt x="23" y="1215"/>
                    <a:pt x="23" y="1215"/>
                  </a:cubicBezTo>
                  <a:cubicBezTo>
                    <a:pt x="20" y="1218"/>
                    <a:pt x="20" y="1218"/>
                    <a:pt x="20" y="1218"/>
                  </a:cubicBezTo>
                  <a:cubicBezTo>
                    <a:pt x="2" y="1221"/>
                    <a:pt x="2" y="1221"/>
                    <a:pt x="2" y="1221"/>
                  </a:cubicBezTo>
                  <a:cubicBezTo>
                    <a:pt x="0" y="1226"/>
                    <a:pt x="0" y="1226"/>
                    <a:pt x="0" y="1226"/>
                  </a:cubicBezTo>
                  <a:cubicBezTo>
                    <a:pt x="3" y="1230"/>
                    <a:pt x="3" y="1230"/>
                    <a:pt x="3" y="1230"/>
                  </a:cubicBezTo>
                  <a:cubicBezTo>
                    <a:pt x="0" y="1241"/>
                    <a:pt x="0" y="1241"/>
                    <a:pt x="0" y="1241"/>
                  </a:cubicBezTo>
                  <a:cubicBezTo>
                    <a:pt x="3" y="1242"/>
                    <a:pt x="3" y="1242"/>
                    <a:pt x="3" y="1242"/>
                  </a:cubicBezTo>
                  <a:cubicBezTo>
                    <a:pt x="4" y="1239"/>
                    <a:pt x="4" y="1239"/>
                    <a:pt x="4" y="1239"/>
                  </a:cubicBezTo>
                  <a:cubicBezTo>
                    <a:pt x="6" y="1237"/>
                    <a:pt x="6" y="1237"/>
                    <a:pt x="6" y="1237"/>
                  </a:cubicBezTo>
                  <a:cubicBezTo>
                    <a:pt x="8" y="1240"/>
                    <a:pt x="8" y="1240"/>
                    <a:pt x="8" y="1240"/>
                  </a:cubicBezTo>
                  <a:cubicBezTo>
                    <a:pt x="13" y="1235"/>
                    <a:pt x="13" y="1235"/>
                    <a:pt x="13" y="1235"/>
                  </a:cubicBezTo>
                  <a:cubicBezTo>
                    <a:pt x="21" y="1237"/>
                    <a:pt x="21" y="1237"/>
                    <a:pt x="21" y="1237"/>
                  </a:cubicBezTo>
                  <a:cubicBezTo>
                    <a:pt x="16" y="1239"/>
                    <a:pt x="16" y="1239"/>
                    <a:pt x="16" y="1239"/>
                  </a:cubicBezTo>
                  <a:cubicBezTo>
                    <a:pt x="16" y="1241"/>
                    <a:pt x="16" y="1241"/>
                    <a:pt x="16" y="1241"/>
                  </a:cubicBezTo>
                  <a:cubicBezTo>
                    <a:pt x="8" y="1246"/>
                    <a:pt x="8" y="1246"/>
                    <a:pt x="8" y="1246"/>
                  </a:cubicBezTo>
                  <a:cubicBezTo>
                    <a:pt x="6" y="1245"/>
                    <a:pt x="6" y="1245"/>
                    <a:pt x="6" y="1245"/>
                  </a:cubicBezTo>
                  <a:cubicBezTo>
                    <a:pt x="3" y="1253"/>
                    <a:pt x="3" y="1253"/>
                    <a:pt x="3" y="1253"/>
                  </a:cubicBezTo>
                  <a:cubicBezTo>
                    <a:pt x="11" y="1253"/>
                    <a:pt x="45" y="1255"/>
                    <a:pt x="58" y="1254"/>
                  </a:cubicBezTo>
                  <a:cubicBezTo>
                    <a:pt x="74" y="1254"/>
                    <a:pt x="113" y="1244"/>
                    <a:pt x="113" y="1244"/>
                  </a:cubicBezTo>
                  <a:cubicBezTo>
                    <a:pt x="113" y="1244"/>
                    <a:pt x="106" y="1237"/>
                    <a:pt x="107" y="1229"/>
                  </a:cubicBezTo>
                  <a:cubicBezTo>
                    <a:pt x="107" y="1223"/>
                    <a:pt x="109" y="1218"/>
                    <a:pt x="109" y="1218"/>
                  </a:cubicBezTo>
                  <a:cubicBezTo>
                    <a:pt x="109" y="1218"/>
                    <a:pt x="117" y="1213"/>
                    <a:pt x="113" y="1210"/>
                  </a:cubicBezTo>
                  <a:close/>
                  <a:moveTo>
                    <a:pt x="229" y="228"/>
                  </a:moveTo>
                  <a:cubicBezTo>
                    <a:pt x="222" y="228"/>
                    <a:pt x="222" y="228"/>
                    <a:pt x="222" y="228"/>
                  </a:cubicBezTo>
                  <a:cubicBezTo>
                    <a:pt x="219" y="232"/>
                    <a:pt x="219" y="232"/>
                    <a:pt x="219" y="232"/>
                  </a:cubicBezTo>
                  <a:cubicBezTo>
                    <a:pt x="229" y="230"/>
                    <a:pt x="229" y="230"/>
                    <a:pt x="229" y="230"/>
                  </a:cubicBezTo>
                  <a:lnTo>
                    <a:pt x="229" y="228"/>
                  </a:lnTo>
                  <a:close/>
                  <a:moveTo>
                    <a:pt x="246" y="829"/>
                  </a:moveTo>
                  <a:cubicBezTo>
                    <a:pt x="238" y="825"/>
                    <a:pt x="238" y="825"/>
                    <a:pt x="238" y="825"/>
                  </a:cubicBezTo>
                  <a:cubicBezTo>
                    <a:pt x="239" y="830"/>
                    <a:pt x="239" y="830"/>
                    <a:pt x="239" y="830"/>
                  </a:cubicBezTo>
                  <a:cubicBezTo>
                    <a:pt x="244" y="832"/>
                    <a:pt x="244" y="832"/>
                    <a:pt x="244" y="832"/>
                  </a:cubicBezTo>
                  <a:lnTo>
                    <a:pt x="246" y="829"/>
                  </a:lnTo>
                  <a:close/>
                  <a:moveTo>
                    <a:pt x="363" y="466"/>
                  </a:moveTo>
                  <a:cubicBezTo>
                    <a:pt x="365" y="470"/>
                    <a:pt x="365" y="470"/>
                    <a:pt x="365" y="470"/>
                  </a:cubicBezTo>
                  <a:cubicBezTo>
                    <a:pt x="372" y="462"/>
                    <a:pt x="372" y="462"/>
                    <a:pt x="372" y="462"/>
                  </a:cubicBezTo>
                  <a:lnTo>
                    <a:pt x="363" y="466"/>
                  </a:lnTo>
                  <a:close/>
                  <a:moveTo>
                    <a:pt x="352" y="472"/>
                  </a:moveTo>
                  <a:cubicBezTo>
                    <a:pt x="351" y="476"/>
                    <a:pt x="351" y="476"/>
                    <a:pt x="351" y="476"/>
                  </a:cubicBezTo>
                  <a:cubicBezTo>
                    <a:pt x="356" y="478"/>
                    <a:pt x="356" y="478"/>
                    <a:pt x="356" y="478"/>
                  </a:cubicBezTo>
                  <a:cubicBezTo>
                    <a:pt x="363" y="473"/>
                    <a:pt x="363" y="473"/>
                    <a:pt x="363" y="473"/>
                  </a:cubicBezTo>
                  <a:cubicBezTo>
                    <a:pt x="357" y="468"/>
                    <a:pt x="357" y="468"/>
                    <a:pt x="357" y="468"/>
                  </a:cubicBezTo>
                  <a:lnTo>
                    <a:pt x="352" y="472"/>
                  </a:lnTo>
                  <a:close/>
                  <a:moveTo>
                    <a:pt x="365" y="482"/>
                  </a:moveTo>
                  <a:cubicBezTo>
                    <a:pt x="369" y="478"/>
                    <a:pt x="367" y="475"/>
                    <a:pt x="360" y="480"/>
                  </a:cubicBezTo>
                  <a:cubicBezTo>
                    <a:pt x="360" y="480"/>
                    <a:pt x="362" y="485"/>
                    <a:pt x="365" y="482"/>
                  </a:cubicBezTo>
                  <a:close/>
                  <a:moveTo>
                    <a:pt x="1532" y="0"/>
                  </a:moveTo>
                  <a:cubicBezTo>
                    <a:pt x="716" y="0"/>
                    <a:pt x="716" y="0"/>
                    <a:pt x="716" y="0"/>
                  </a:cubicBezTo>
                  <a:cubicBezTo>
                    <a:pt x="712" y="19"/>
                    <a:pt x="712" y="19"/>
                    <a:pt x="712" y="19"/>
                  </a:cubicBezTo>
                  <a:cubicBezTo>
                    <a:pt x="712" y="19"/>
                    <a:pt x="721" y="31"/>
                    <a:pt x="720" y="35"/>
                  </a:cubicBezTo>
                  <a:cubicBezTo>
                    <a:pt x="719" y="39"/>
                    <a:pt x="708" y="33"/>
                    <a:pt x="708" y="33"/>
                  </a:cubicBezTo>
                  <a:cubicBezTo>
                    <a:pt x="699" y="34"/>
                    <a:pt x="699" y="34"/>
                    <a:pt x="699" y="34"/>
                  </a:cubicBezTo>
                  <a:cubicBezTo>
                    <a:pt x="699" y="34"/>
                    <a:pt x="698" y="39"/>
                    <a:pt x="698" y="42"/>
                  </a:cubicBezTo>
                  <a:cubicBezTo>
                    <a:pt x="698" y="46"/>
                    <a:pt x="694" y="46"/>
                    <a:pt x="690" y="46"/>
                  </a:cubicBezTo>
                  <a:cubicBezTo>
                    <a:pt x="684" y="47"/>
                    <a:pt x="681" y="55"/>
                    <a:pt x="681" y="55"/>
                  </a:cubicBezTo>
                  <a:cubicBezTo>
                    <a:pt x="681" y="55"/>
                    <a:pt x="678" y="50"/>
                    <a:pt x="679" y="46"/>
                  </a:cubicBezTo>
                  <a:cubicBezTo>
                    <a:pt x="681" y="41"/>
                    <a:pt x="693" y="39"/>
                    <a:pt x="693" y="39"/>
                  </a:cubicBezTo>
                  <a:cubicBezTo>
                    <a:pt x="693" y="39"/>
                    <a:pt x="691" y="30"/>
                    <a:pt x="686" y="29"/>
                  </a:cubicBezTo>
                  <a:cubicBezTo>
                    <a:pt x="683" y="28"/>
                    <a:pt x="677" y="24"/>
                    <a:pt x="677" y="24"/>
                  </a:cubicBezTo>
                  <a:cubicBezTo>
                    <a:pt x="677" y="16"/>
                    <a:pt x="677" y="16"/>
                    <a:pt x="677" y="16"/>
                  </a:cubicBezTo>
                  <a:cubicBezTo>
                    <a:pt x="675" y="15"/>
                    <a:pt x="675" y="15"/>
                    <a:pt x="675" y="15"/>
                  </a:cubicBezTo>
                  <a:cubicBezTo>
                    <a:pt x="675" y="15"/>
                    <a:pt x="676" y="9"/>
                    <a:pt x="672" y="9"/>
                  </a:cubicBezTo>
                  <a:cubicBezTo>
                    <a:pt x="669" y="9"/>
                    <a:pt x="667" y="14"/>
                    <a:pt x="667" y="14"/>
                  </a:cubicBezTo>
                  <a:cubicBezTo>
                    <a:pt x="667" y="14"/>
                    <a:pt x="665" y="10"/>
                    <a:pt x="663" y="10"/>
                  </a:cubicBezTo>
                  <a:cubicBezTo>
                    <a:pt x="661" y="10"/>
                    <a:pt x="654" y="18"/>
                    <a:pt x="652" y="27"/>
                  </a:cubicBezTo>
                  <a:cubicBezTo>
                    <a:pt x="650" y="34"/>
                    <a:pt x="651" y="41"/>
                    <a:pt x="651" y="41"/>
                  </a:cubicBezTo>
                  <a:cubicBezTo>
                    <a:pt x="651" y="41"/>
                    <a:pt x="655" y="43"/>
                    <a:pt x="660" y="47"/>
                  </a:cubicBezTo>
                  <a:cubicBezTo>
                    <a:pt x="664" y="50"/>
                    <a:pt x="664" y="57"/>
                    <a:pt x="660" y="62"/>
                  </a:cubicBezTo>
                  <a:cubicBezTo>
                    <a:pt x="657" y="67"/>
                    <a:pt x="651" y="53"/>
                    <a:pt x="651" y="53"/>
                  </a:cubicBezTo>
                  <a:cubicBezTo>
                    <a:pt x="647" y="53"/>
                    <a:pt x="647" y="53"/>
                    <a:pt x="647" y="53"/>
                  </a:cubicBezTo>
                  <a:cubicBezTo>
                    <a:pt x="649" y="45"/>
                    <a:pt x="649" y="45"/>
                    <a:pt x="649" y="45"/>
                  </a:cubicBezTo>
                  <a:cubicBezTo>
                    <a:pt x="649" y="45"/>
                    <a:pt x="644" y="51"/>
                    <a:pt x="643" y="55"/>
                  </a:cubicBezTo>
                  <a:cubicBezTo>
                    <a:pt x="642" y="58"/>
                    <a:pt x="637" y="62"/>
                    <a:pt x="632" y="63"/>
                  </a:cubicBezTo>
                  <a:cubicBezTo>
                    <a:pt x="627" y="63"/>
                    <a:pt x="625" y="71"/>
                    <a:pt x="625" y="71"/>
                  </a:cubicBezTo>
                  <a:cubicBezTo>
                    <a:pt x="626" y="78"/>
                    <a:pt x="626" y="78"/>
                    <a:pt x="626" y="78"/>
                  </a:cubicBezTo>
                  <a:cubicBezTo>
                    <a:pt x="626" y="78"/>
                    <a:pt x="627" y="72"/>
                    <a:pt x="630" y="70"/>
                  </a:cubicBezTo>
                  <a:cubicBezTo>
                    <a:pt x="633" y="67"/>
                    <a:pt x="635" y="65"/>
                    <a:pt x="637" y="66"/>
                  </a:cubicBezTo>
                  <a:cubicBezTo>
                    <a:pt x="641" y="66"/>
                    <a:pt x="637" y="71"/>
                    <a:pt x="634" y="74"/>
                  </a:cubicBezTo>
                  <a:cubicBezTo>
                    <a:pt x="630" y="77"/>
                    <a:pt x="623" y="81"/>
                    <a:pt x="620" y="89"/>
                  </a:cubicBezTo>
                  <a:cubicBezTo>
                    <a:pt x="618" y="96"/>
                    <a:pt x="619" y="112"/>
                    <a:pt x="619" y="112"/>
                  </a:cubicBezTo>
                  <a:cubicBezTo>
                    <a:pt x="615" y="113"/>
                    <a:pt x="615" y="113"/>
                    <a:pt x="615" y="113"/>
                  </a:cubicBezTo>
                  <a:cubicBezTo>
                    <a:pt x="602" y="133"/>
                    <a:pt x="602" y="133"/>
                    <a:pt x="602" y="133"/>
                  </a:cubicBezTo>
                  <a:cubicBezTo>
                    <a:pt x="593" y="135"/>
                    <a:pt x="593" y="135"/>
                    <a:pt x="593" y="135"/>
                  </a:cubicBezTo>
                  <a:cubicBezTo>
                    <a:pt x="602" y="143"/>
                    <a:pt x="602" y="143"/>
                    <a:pt x="602" y="143"/>
                  </a:cubicBezTo>
                  <a:cubicBezTo>
                    <a:pt x="609" y="142"/>
                    <a:pt x="609" y="142"/>
                    <a:pt x="609" y="142"/>
                  </a:cubicBezTo>
                  <a:cubicBezTo>
                    <a:pt x="612" y="146"/>
                    <a:pt x="612" y="146"/>
                    <a:pt x="612" y="146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47"/>
                    <a:pt x="587" y="155"/>
                    <a:pt x="586" y="161"/>
                  </a:cubicBezTo>
                  <a:cubicBezTo>
                    <a:pt x="584" y="168"/>
                    <a:pt x="596" y="184"/>
                    <a:pt x="596" y="184"/>
                  </a:cubicBezTo>
                  <a:cubicBezTo>
                    <a:pt x="594" y="187"/>
                    <a:pt x="594" y="187"/>
                    <a:pt x="594" y="187"/>
                  </a:cubicBezTo>
                  <a:cubicBezTo>
                    <a:pt x="594" y="187"/>
                    <a:pt x="604" y="198"/>
                    <a:pt x="603" y="203"/>
                  </a:cubicBezTo>
                  <a:cubicBezTo>
                    <a:pt x="602" y="209"/>
                    <a:pt x="596" y="208"/>
                    <a:pt x="596" y="208"/>
                  </a:cubicBezTo>
                  <a:cubicBezTo>
                    <a:pt x="596" y="208"/>
                    <a:pt x="593" y="215"/>
                    <a:pt x="590" y="218"/>
                  </a:cubicBezTo>
                  <a:cubicBezTo>
                    <a:pt x="588" y="221"/>
                    <a:pt x="576" y="224"/>
                    <a:pt x="576" y="224"/>
                  </a:cubicBezTo>
                  <a:cubicBezTo>
                    <a:pt x="576" y="224"/>
                    <a:pt x="571" y="232"/>
                    <a:pt x="566" y="232"/>
                  </a:cubicBezTo>
                  <a:cubicBezTo>
                    <a:pt x="561" y="233"/>
                    <a:pt x="547" y="216"/>
                    <a:pt x="547" y="216"/>
                  </a:cubicBezTo>
                  <a:cubicBezTo>
                    <a:pt x="526" y="214"/>
                    <a:pt x="526" y="214"/>
                    <a:pt x="526" y="214"/>
                  </a:cubicBezTo>
                  <a:cubicBezTo>
                    <a:pt x="528" y="192"/>
                    <a:pt x="528" y="192"/>
                    <a:pt x="528" y="192"/>
                  </a:cubicBezTo>
                  <a:cubicBezTo>
                    <a:pt x="521" y="186"/>
                    <a:pt x="521" y="186"/>
                    <a:pt x="521" y="186"/>
                  </a:cubicBezTo>
                  <a:cubicBezTo>
                    <a:pt x="535" y="174"/>
                    <a:pt x="535" y="174"/>
                    <a:pt x="535" y="174"/>
                  </a:cubicBezTo>
                  <a:cubicBezTo>
                    <a:pt x="551" y="162"/>
                    <a:pt x="551" y="162"/>
                    <a:pt x="551" y="162"/>
                  </a:cubicBezTo>
                  <a:cubicBezTo>
                    <a:pt x="551" y="162"/>
                    <a:pt x="543" y="150"/>
                    <a:pt x="538" y="146"/>
                  </a:cubicBezTo>
                  <a:cubicBezTo>
                    <a:pt x="534" y="144"/>
                    <a:pt x="517" y="140"/>
                    <a:pt x="517" y="140"/>
                  </a:cubicBezTo>
                  <a:cubicBezTo>
                    <a:pt x="511" y="133"/>
                    <a:pt x="511" y="133"/>
                    <a:pt x="511" y="133"/>
                  </a:cubicBezTo>
                  <a:cubicBezTo>
                    <a:pt x="511" y="133"/>
                    <a:pt x="499" y="136"/>
                    <a:pt x="490" y="138"/>
                  </a:cubicBezTo>
                  <a:cubicBezTo>
                    <a:pt x="481" y="141"/>
                    <a:pt x="473" y="150"/>
                    <a:pt x="473" y="150"/>
                  </a:cubicBezTo>
                  <a:cubicBezTo>
                    <a:pt x="448" y="151"/>
                    <a:pt x="448" y="151"/>
                    <a:pt x="448" y="151"/>
                  </a:cubicBezTo>
                  <a:cubicBezTo>
                    <a:pt x="448" y="151"/>
                    <a:pt x="452" y="154"/>
                    <a:pt x="457" y="156"/>
                  </a:cubicBezTo>
                  <a:cubicBezTo>
                    <a:pt x="463" y="157"/>
                    <a:pt x="471" y="158"/>
                    <a:pt x="471" y="158"/>
                  </a:cubicBezTo>
                  <a:cubicBezTo>
                    <a:pt x="482" y="168"/>
                    <a:pt x="482" y="168"/>
                    <a:pt x="482" y="168"/>
                  </a:cubicBezTo>
                  <a:cubicBezTo>
                    <a:pt x="482" y="172"/>
                    <a:pt x="482" y="172"/>
                    <a:pt x="482" y="172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91" y="188"/>
                    <a:pt x="491" y="188"/>
                    <a:pt x="491" y="188"/>
                  </a:cubicBezTo>
                  <a:cubicBezTo>
                    <a:pt x="490" y="192"/>
                    <a:pt x="490" y="192"/>
                    <a:pt x="490" y="192"/>
                  </a:cubicBezTo>
                  <a:cubicBezTo>
                    <a:pt x="497" y="204"/>
                    <a:pt x="497" y="204"/>
                    <a:pt x="497" y="204"/>
                  </a:cubicBezTo>
                  <a:cubicBezTo>
                    <a:pt x="497" y="204"/>
                    <a:pt x="498" y="235"/>
                    <a:pt x="503" y="240"/>
                  </a:cubicBezTo>
                  <a:cubicBezTo>
                    <a:pt x="508" y="246"/>
                    <a:pt x="522" y="240"/>
                    <a:pt x="522" y="240"/>
                  </a:cubicBezTo>
                  <a:cubicBezTo>
                    <a:pt x="531" y="249"/>
                    <a:pt x="531" y="249"/>
                    <a:pt x="531" y="249"/>
                  </a:cubicBezTo>
                  <a:cubicBezTo>
                    <a:pt x="529" y="252"/>
                    <a:pt x="529" y="252"/>
                    <a:pt x="529" y="252"/>
                  </a:cubicBezTo>
                  <a:cubicBezTo>
                    <a:pt x="537" y="262"/>
                    <a:pt x="537" y="262"/>
                    <a:pt x="537" y="262"/>
                  </a:cubicBezTo>
                  <a:cubicBezTo>
                    <a:pt x="538" y="292"/>
                    <a:pt x="538" y="292"/>
                    <a:pt x="538" y="292"/>
                  </a:cubicBezTo>
                  <a:cubicBezTo>
                    <a:pt x="538" y="292"/>
                    <a:pt x="549" y="305"/>
                    <a:pt x="547" y="308"/>
                  </a:cubicBezTo>
                  <a:cubicBezTo>
                    <a:pt x="546" y="311"/>
                    <a:pt x="533" y="297"/>
                    <a:pt x="531" y="298"/>
                  </a:cubicBezTo>
                  <a:cubicBezTo>
                    <a:pt x="528" y="298"/>
                    <a:pt x="523" y="311"/>
                    <a:pt x="523" y="311"/>
                  </a:cubicBezTo>
                  <a:cubicBezTo>
                    <a:pt x="526" y="299"/>
                    <a:pt x="526" y="299"/>
                    <a:pt x="526" y="299"/>
                  </a:cubicBezTo>
                  <a:cubicBezTo>
                    <a:pt x="526" y="299"/>
                    <a:pt x="522" y="296"/>
                    <a:pt x="514" y="296"/>
                  </a:cubicBezTo>
                  <a:cubicBezTo>
                    <a:pt x="504" y="295"/>
                    <a:pt x="499" y="303"/>
                    <a:pt x="499" y="303"/>
                  </a:cubicBezTo>
                  <a:cubicBezTo>
                    <a:pt x="499" y="303"/>
                    <a:pt x="494" y="299"/>
                    <a:pt x="488" y="298"/>
                  </a:cubicBezTo>
                  <a:cubicBezTo>
                    <a:pt x="483" y="298"/>
                    <a:pt x="478" y="308"/>
                    <a:pt x="478" y="308"/>
                  </a:cubicBezTo>
                  <a:cubicBezTo>
                    <a:pt x="478" y="308"/>
                    <a:pt x="480" y="325"/>
                    <a:pt x="474" y="334"/>
                  </a:cubicBezTo>
                  <a:cubicBezTo>
                    <a:pt x="468" y="343"/>
                    <a:pt x="459" y="343"/>
                    <a:pt x="459" y="343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59" y="356"/>
                    <a:pt x="457" y="363"/>
                  </a:cubicBezTo>
                  <a:cubicBezTo>
                    <a:pt x="455" y="371"/>
                    <a:pt x="446" y="381"/>
                    <a:pt x="447" y="383"/>
                  </a:cubicBezTo>
                  <a:cubicBezTo>
                    <a:pt x="447" y="387"/>
                    <a:pt x="451" y="383"/>
                    <a:pt x="451" y="383"/>
                  </a:cubicBezTo>
                  <a:cubicBezTo>
                    <a:pt x="451" y="383"/>
                    <a:pt x="452" y="386"/>
                    <a:pt x="452" y="394"/>
                  </a:cubicBezTo>
                  <a:cubicBezTo>
                    <a:pt x="452" y="403"/>
                    <a:pt x="475" y="409"/>
                    <a:pt x="484" y="418"/>
                  </a:cubicBezTo>
                  <a:cubicBezTo>
                    <a:pt x="493" y="426"/>
                    <a:pt x="488" y="426"/>
                    <a:pt x="479" y="427"/>
                  </a:cubicBezTo>
                  <a:cubicBezTo>
                    <a:pt x="470" y="428"/>
                    <a:pt x="472" y="442"/>
                    <a:pt x="472" y="442"/>
                  </a:cubicBezTo>
                  <a:cubicBezTo>
                    <a:pt x="472" y="442"/>
                    <a:pt x="475" y="454"/>
                    <a:pt x="475" y="458"/>
                  </a:cubicBezTo>
                  <a:cubicBezTo>
                    <a:pt x="475" y="462"/>
                    <a:pt x="459" y="462"/>
                    <a:pt x="459" y="462"/>
                  </a:cubicBezTo>
                  <a:cubicBezTo>
                    <a:pt x="451" y="462"/>
                    <a:pt x="451" y="462"/>
                    <a:pt x="451" y="462"/>
                  </a:cubicBezTo>
                  <a:cubicBezTo>
                    <a:pt x="445" y="462"/>
                    <a:pt x="446" y="464"/>
                    <a:pt x="446" y="464"/>
                  </a:cubicBezTo>
                  <a:cubicBezTo>
                    <a:pt x="446" y="464"/>
                    <a:pt x="440" y="462"/>
                    <a:pt x="440" y="464"/>
                  </a:cubicBezTo>
                  <a:cubicBezTo>
                    <a:pt x="439" y="465"/>
                    <a:pt x="442" y="467"/>
                    <a:pt x="442" y="467"/>
                  </a:cubicBezTo>
                  <a:cubicBezTo>
                    <a:pt x="442" y="467"/>
                    <a:pt x="439" y="469"/>
                    <a:pt x="437" y="470"/>
                  </a:cubicBezTo>
                  <a:cubicBezTo>
                    <a:pt x="435" y="471"/>
                    <a:pt x="436" y="475"/>
                    <a:pt x="436" y="475"/>
                  </a:cubicBezTo>
                  <a:cubicBezTo>
                    <a:pt x="436" y="475"/>
                    <a:pt x="437" y="481"/>
                    <a:pt x="435" y="480"/>
                  </a:cubicBezTo>
                  <a:cubicBezTo>
                    <a:pt x="433" y="480"/>
                    <a:pt x="434" y="475"/>
                    <a:pt x="434" y="475"/>
                  </a:cubicBezTo>
                  <a:cubicBezTo>
                    <a:pt x="434" y="475"/>
                    <a:pt x="431" y="472"/>
                    <a:pt x="429" y="471"/>
                  </a:cubicBezTo>
                  <a:cubicBezTo>
                    <a:pt x="428" y="469"/>
                    <a:pt x="432" y="468"/>
                    <a:pt x="432" y="468"/>
                  </a:cubicBezTo>
                  <a:cubicBezTo>
                    <a:pt x="429" y="468"/>
                    <a:pt x="429" y="468"/>
                    <a:pt x="429" y="468"/>
                  </a:cubicBezTo>
                  <a:cubicBezTo>
                    <a:pt x="429" y="467"/>
                    <a:pt x="429" y="467"/>
                    <a:pt x="429" y="467"/>
                  </a:cubicBezTo>
                  <a:cubicBezTo>
                    <a:pt x="429" y="467"/>
                    <a:pt x="430" y="466"/>
                    <a:pt x="432" y="466"/>
                  </a:cubicBezTo>
                  <a:cubicBezTo>
                    <a:pt x="433" y="466"/>
                    <a:pt x="434" y="468"/>
                    <a:pt x="434" y="468"/>
                  </a:cubicBezTo>
                  <a:cubicBezTo>
                    <a:pt x="436" y="467"/>
                    <a:pt x="436" y="467"/>
                    <a:pt x="436" y="467"/>
                  </a:cubicBezTo>
                  <a:cubicBezTo>
                    <a:pt x="435" y="465"/>
                    <a:pt x="435" y="465"/>
                    <a:pt x="435" y="465"/>
                  </a:cubicBezTo>
                  <a:cubicBezTo>
                    <a:pt x="438" y="465"/>
                    <a:pt x="438" y="465"/>
                    <a:pt x="438" y="465"/>
                  </a:cubicBezTo>
                  <a:cubicBezTo>
                    <a:pt x="437" y="461"/>
                    <a:pt x="437" y="461"/>
                    <a:pt x="437" y="461"/>
                  </a:cubicBezTo>
                  <a:cubicBezTo>
                    <a:pt x="437" y="461"/>
                    <a:pt x="425" y="464"/>
                    <a:pt x="422" y="464"/>
                  </a:cubicBezTo>
                  <a:cubicBezTo>
                    <a:pt x="418" y="462"/>
                    <a:pt x="416" y="458"/>
                    <a:pt x="416" y="458"/>
                  </a:cubicBezTo>
                  <a:cubicBezTo>
                    <a:pt x="416" y="458"/>
                    <a:pt x="393" y="456"/>
                    <a:pt x="390" y="458"/>
                  </a:cubicBezTo>
                  <a:cubicBezTo>
                    <a:pt x="387" y="460"/>
                    <a:pt x="393" y="465"/>
                    <a:pt x="393" y="469"/>
                  </a:cubicBezTo>
                  <a:cubicBezTo>
                    <a:pt x="395" y="472"/>
                    <a:pt x="389" y="474"/>
                    <a:pt x="389" y="474"/>
                  </a:cubicBezTo>
                  <a:cubicBezTo>
                    <a:pt x="389" y="476"/>
                    <a:pt x="389" y="476"/>
                    <a:pt x="389" y="476"/>
                  </a:cubicBezTo>
                  <a:cubicBezTo>
                    <a:pt x="389" y="476"/>
                    <a:pt x="386" y="475"/>
                    <a:pt x="385" y="477"/>
                  </a:cubicBezTo>
                  <a:cubicBezTo>
                    <a:pt x="384" y="480"/>
                    <a:pt x="389" y="483"/>
                    <a:pt x="389" y="483"/>
                  </a:cubicBezTo>
                  <a:cubicBezTo>
                    <a:pt x="392" y="487"/>
                    <a:pt x="392" y="487"/>
                    <a:pt x="392" y="487"/>
                  </a:cubicBezTo>
                  <a:cubicBezTo>
                    <a:pt x="392" y="487"/>
                    <a:pt x="395" y="486"/>
                    <a:pt x="397" y="487"/>
                  </a:cubicBezTo>
                  <a:cubicBezTo>
                    <a:pt x="399" y="487"/>
                    <a:pt x="403" y="491"/>
                    <a:pt x="408" y="494"/>
                  </a:cubicBezTo>
                  <a:cubicBezTo>
                    <a:pt x="413" y="499"/>
                    <a:pt x="423" y="504"/>
                    <a:pt x="423" y="504"/>
                  </a:cubicBezTo>
                  <a:cubicBezTo>
                    <a:pt x="425" y="498"/>
                    <a:pt x="425" y="498"/>
                    <a:pt x="425" y="498"/>
                  </a:cubicBezTo>
                  <a:cubicBezTo>
                    <a:pt x="430" y="498"/>
                    <a:pt x="430" y="498"/>
                    <a:pt x="430" y="498"/>
                  </a:cubicBezTo>
                  <a:cubicBezTo>
                    <a:pt x="430" y="498"/>
                    <a:pt x="428" y="496"/>
                    <a:pt x="429" y="494"/>
                  </a:cubicBezTo>
                  <a:cubicBezTo>
                    <a:pt x="429" y="492"/>
                    <a:pt x="433" y="491"/>
                    <a:pt x="433" y="491"/>
                  </a:cubicBezTo>
                  <a:cubicBezTo>
                    <a:pt x="433" y="496"/>
                    <a:pt x="433" y="496"/>
                    <a:pt x="433" y="496"/>
                  </a:cubicBezTo>
                  <a:cubicBezTo>
                    <a:pt x="439" y="496"/>
                    <a:pt x="439" y="496"/>
                    <a:pt x="439" y="496"/>
                  </a:cubicBezTo>
                  <a:cubicBezTo>
                    <a:pt x="442" y="496"/>
                    <a:pt x="441" y="499"/>
                    <a:pt x="441" y="499"/>
                  </a:cubicBezTo>
                  <a:cubicBezTo>
                    <a:pt x="441" y="505"/>
                    <a:pt x="441" y="505"/>
                    <a:pt x="441" y="505"/>
                  </a:cubicBezTo>
                  <a:cubicBezTo>
                    <a:pt x="441" y="505"/>
                    <a:pt x="449" y="508"/>
                    <a:pt x="451" y="516"/>
                  </a:cubicBezTo>
                  <a:cubicBezTo>
                    <a:pt x="454" y="523"/>
                    <a:pt x="444" y="525"/>
                    <a:pt x="444" y="525"/>
                  </a:cubicBezTo>
                  <a:cubicBezTo>
                    <a:pt x="444" y="525"/>
                    <a:pt x="444" y="531"/>
                    <a:pt x="439" y="534"/>
                  </a:cubicBezTo>
                  <a:cubicBezTo>
                    <a:pt x="435" y="537"/>
                    <a:pt x="433" y="532"/>
                    <a:pt x="429" y="531"/>
                  </a:cubicBezTo>
                  <a:cubicBezTo>
                    <a:pt x="425" y="531"/>
                    <a:pt x="422" y="534"/>
                    <a:pt x="420" y="534"/>
                  </a:cubicBezTo>
                  <a:cubicBezTo>
                    <a:pt x="419" y="534"/>
                    <a:pt x="416" y="534"/>
                    <a:pt x="413" y="533"/>
                  </a:cubicBezTo>
                  <a:cubicBezTo>
                    <a:pt x="409" y="533"/>
                    <a:pt x="412" y="535"/>
                    <a:pt x="404" y="534"/>
                  </a:cubicBezTo>
                  <a:cubicBezTo>
                    <a:pt x="396" y="534"/>
                    <a:pt x="396" y="529"/>
                    <a:pt x="396" y="529"/>
                  </a:cubicBezTo>
                  <a:cubicBezTo>
                    <a:pt x="397" y="524"/>
                    <a:pt x="397" y="524"/>
                    <a:pt x="397" y="524"/>
                  </a:cubicBezTo>
                  <a:cubicBezTo>
                    <a:pt x="388" y="523"/>
                    <a:pt x="388" y="523"/>
                    <a:pt x="388" y="523"/>
                  </a:cubicBezTo>
                  <a:cubicBezTo>
                    <a:pt x="388" y="523"/>
                    <a:pt x="386" y="525"/>
                    <a:pt x="384" y="523"/>
                  </a:cubicBezTo>
                  <a:cubicBezTo>
                    <a:pt x="382" y="522"/>
                    <a:pt x="382" y="520"/>
                    <a:pt x="379" y="518"/>
                  </a:cubicBezTo>
                  <a:cubicBezTo>
                    <a:pt x="374" y="515"/>
                    <a:pt x="370" y="518"/>
                    <a:pt x="370" y="518"/>
                  </a:cubicBezTo>
                  <a:cubicBezTo>
                    <a:pt x="370" y="518"/>
                    <a:pt x="371" y="521"/>
                    <a:pt x="370" y="523"/>
                  </a:cubicBezTo>
                  <a:cubicBezTo>
                    <a:pt x="368" y="525"/>
                    <a:pt x="365" y="525"/>
                    <a:pt x="365" y="525"/>
                  </a:cubicBezTo>
                  <a:cubicBezTo>
                    <a:pt x="364" y="523"/>
                    <a:pt x="364" y="523"/>
                    <a:pt x="364" y="523"/>
                  </a:cubicBezTo>
                  <a:cubicBezTo>
                    <a:pt x="360" y="523"/>
                    <a:pt x="360" y="523"/>
                    <a:pt x="360" y="523"/>
                  </a:cubicBezTo>
                  <a:cubicBezTo>
                    <a:pt x="360" y="525"/>
                    <a:pt x="360" y="525"/>
                    <a:pt x="360" y="525"/>
                  </a:cubicBezTo>
                  <a:cubicBezTo>
                    <a:pt x="355" y="519"/>
                    <a:pt x="355" y="519"/>
                    <a:pt x="355" y="519"/>
                  </a:cubicBezTo>
                  <a:cubicBezTo>
                    <a:pt x="354" y="522"/>
                    <a:pt x="354" y="522"/>
                    <a:pt x="354" y="522"/>
                  </a:cubicBezTo>
                  <a:cubicBezTo>
                    <a:pt x="344" y="516"/>
                    <a:pt x="344" y="516"/>
                    <a:pt x="344" y="516"/>
                  </a:cubicBezTo>
                  <a:cubicBezTo>
                    <a:pt x="344" y="516"/>
                    <a:pt x="347" y="512"/>
                    <a:pt x="346" y="509"/>
                  </a:cubicBezTo>
                  <a:cubicBezTo>
                    <a:pt x="344" y="506"/>
                    <a:pt x="340" y="502"/>
                    <a:pt x="340" y="502"/>
                  </a:cubicBezTo>
                  <a:cubicBezTo>
                    <a:pt x="342" y="498"/>
                    <a:pt x="342" y="498"/>
                    <a:pt x="342" y="498"/>
                  </a:cubicBezTo>
                  <a:cubicBezTo>
                    <a:pt x="339" y="492"/>
                    <a:pt x="339" y="492"/>
                    <a:pt x="339" y="492"/>
                  </a:cubicBezTo>
                  <a:cubicBezTo>
                    <a:pt x="333" y="490"/>
                    <a:pt x="333" y="490"/>
                    <a:pt x="333" y="490"/>
                  </a:cubicBezTo>
                  <a:cubicBezTo>
                    <a:pt x="333" y="490"/>
                    <a:pt x="336" y="487"/>
                    <a:pt x="334" y="483"/>
                  </a:cubicBezTo>
                  <a:cubicBezTo>
                    <a:pt x="331" y="478"/>
                    <a:pt x="314" y="469"/>
                    <a:pt x="314" y="469"/>
                  </a:cubicBezTo>
                  <a:cubicBezTo>
                    <a:pt x="314" y="469"/>
                    <a:pt x="321" y="460"/>
                    <a:pt x="321" y="456"/>
                  </a:cubicBezTo>
                  <a:cubicBezTo>
                    <a:pt x="322" y="451"/>
                    <a:pt x="313" y="439"/>
                    <a:pt x="313" y="439"/>
                  </a:cubicBezTo>
                  <a:cubicBezTo>
                    <a:pt x="313" y="439"/>
                    <a:pt x="315" y="438"/>
                    <a:pt x="315" y="437"/>
                  </a:cubicBezTo>
                  <a:cubicBezTo>
                    <a:pt x="316" y="436"/>
                    <a:pt x="317" y="433"/>
                    <a:pt x="317" y="433"/>
                  </a:cubicBezTo>
                  <a:cubicBezTo>
                    <a:pt x="317" y="433"/>
                    <a:pt x="314" y="434"/>
                    <a:pt x="313" y="434"/>
                  </a:cubicBezTo>
                  <a:cubicBezTo>
                    <a:pt x="310" y="433"/>
                    <a:pt x="311" y="427"/>
                    <a:pt x="311" y="427"/>
                  </a:cubicBezTo>
                  <a:cubicBezTo>
                    <a:pt x="311" y="427"/>
                    <a:pt x="293" y="420"/>
                    <a:pt x="290" y="419"/>
                  </a:cubicBezTo>
                  <a:cubicBezTo>
                    <a:pt x="286" y="418"/>
                    <a:pt x="285" y="421"/>
                    <a:pt x="285" y="421"/>
                  </a:cubicBezTo>
                  <a:cubicBezTo>
                    <a:pt x="285" y="421"/>
                    <a:pt x="274" y="419"/>
                    <a:pt x="271" y="419"/>
                  </a:cubicBezTo>
                  <a:cubicBezTo>
                    <a:pt x="268" y="419"/>
                    <a:pt x="264" y="423"/>
                    <a:pt x="264" y="423"/>
                  </a:cubicBezTo>
                  <a:cubicBezTo>
                    <a:pt x="264" y="420"/>
                    <a:pt x="264" y="420"/>
                    <a:pt x="264" y="420"/>
                  </a:cubicBezTo>
                  <a:cubicBezTo>
                    <a:pt x="275" y="414"/>
                    <a:pt x="275" y="414"/>
                    <a:pt x="275" y="414"/>
                  </a:cubicBezTo>
                  <a:cubicBezTo>
                    <a:pt x="270" y="413"/>
                    <a:pt x="270" y="413"/>
                    <a:pt x="270" y="413"/>
                  </a:cubicBezTo>
                  <a:cubicBezTo>
                    <a:pt x="274" y="411"/>
                    <a:pt x="274" y="411"/>
                    <a:pt x="274" y="411"/>
                  </a:cubicBezTo>
                  <a:cubicBezTo>
                    <a:pt x="274" y="409"/>
                    <a:pt x="274" y="409"/>
                    <a:pt x="274" y="409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72" y="406"/>
                    <a:pt x="272" y="406"/>
                    <a:pt x="272" y="406"/>
                  </a:cubicBezTo>
                  <a:cubicBezTo>
                    <a:pt x="270" y="406"/>
                    <a:pt x="270" y="406"/>
                    <a:pt x="270" y="406"/>
                  </a:cubicBezTo>
                  <a:cubicBezTo>
                    <a:pt x="269" y="410"/>
                    <a:pt x="269" y="410"/>
                    <a:pt x="269" y="410"/>
                  </a:cubicBezTo>
                  <a:cubicBezTo>
                    <a:pt x="262" y="411"/>
                    <a:pt x="262" y="411"/>
                    <a:pt x="262" y="411"/>
                  </a:cubicBezTo>
                  <a:cubicBezTo>
                    <a:pt x="259" y="407"/>
                    <a:pt x="259" y="407"/>
                    <a:pt x="259" y="407"/>
                  </a:cubicBezTo>
                  <a:cubicBezTo>
                    <a:pt x="258" y="410"/>
                    <a:pt x="258" y="410"/>
                    <a:pt x="258" y="410"/>
                  </a:cubicBezTo>
                  <a:cubicBezTo>
                    <a:pt x="254" y="409"/>
                    <a:pt x="254" y="409"/>
                    <a:pt x="254" y="409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56" y="406"/>
                    <a:pt x="249" y="406"/>
                    <a:pt x="249" y="405"/>
                  </a:cubicBezTo>
                  <a:cubicBezTo>
                    <a:pt x="249" y="404"/>
                    <a:pt x="254" y="405"/>
                    <a:pt x="254" y="40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1" y="402"/>
                    <a:pt x="261" y="402"/>
                    <a:pt x="261" y="402"/>
                  </a:cubicBezTo>
                  <a:cubicBezTo>
                    <a:pt x="261" y="399"/>
                    <a:pt x="261" y="399"/>
                    <a:pt x="261" y="399"/>
                  </a:cubicBezTo>
                  <a:cubicBezTo>
                    <a:pt x="251" y="399"/>
                    <a:pt x="251" y="399"/>
                    <a:pt x="251" y="399"/>
                  </a:cubicBezTo>
                  <a:cubicBezTo>
                    <a:pt x="248" y="401"/>
                    <a:pt x="244" y="398"/>
                    <a:pt x="244" y="398"/>
                  </a:cubicBezTo>
                  <a:cubicBezTo>
                    <a:pt x="244" y="397"/>
                    <a:pt x="244" y="397"/>
                    <a:pt x="244" y="397"/>
                  </a:cubicBezTo>
                  <a:cubicBezTo>
                    <a:pt x="244" y="396"/>
                    <a:pt x="244" y="396"/>
                    <a:pt x="244" y="396"/>
                  </a:cubicBezTo>
                  <a:cubicBezTo>
                    <a:pt x="246" y="398"/>
                    <a:pt x="246" y="398"/>
                    <a:pt x="246" y="398"/>
                  </a:cubicBezTo>
                  <a:cubicBezTo>
                    <a:pt x="250" y="396"/>
                    <a:pt x="250" y="396"/>
                    <a:pt x="250" y="396"/>
                  </a:cubicBezTo>
                  <a:cubicBezTo>
                    <a:pt x="241" y="394"/>
                    <a:pt x="241" y="394"/>
                    <a:pt x="241" y="394"/>
                  </a:cubicBezTo>
                  <a:cubicBezTo>
                    <a:pt x="234" y="393"/>
                    <a:pt x="234" y="393"/>
                    <a:pt x="234" y="393"/>
                  </a:cubicBezTo>
                  <a:cubicBezTo>
                    <a:pt x="234" y="393"/>
                    <a:pt x="236" y="386"/>
                    <a:pt x="235" y="383"/>
                  </a:cubicBezTo>
                  <a:cubicBezTo>
                    <a:pt x="235" y="382"/>
                    <a:pt x="226" y="382"/>
                    <a:pt x="226" y="382"/>
                  </a:cubicBezTo>
                  <a:cubicBezTo>
                    <a:pt x="226" y="380"/>
                    <a:pt x="226" y="380"/>
                    <a:pt x="226" y="380"/>
                  </a:cubicBezTo>
                  <a:cubicBezTo>
                    <a:pt x="223" y="379"/>
                    <a:pt x="223" y="379"/>
                    <a:pt x="223" y="379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15" y="380"/>
                    <a:pt x="215" y="380"/>
                    <a:pt x="215" y="380"/>
                  </a:cubicBezTo>
                  <a:cubicBezTo>
                    <a:pt x="221" y="378"/>
                    <a:pt x="221" y="378"/>
                    <a:pt x="221" y="378"/>
                  </a:cubicBezTo>
                  <a:cubicBezTo>
                    <a:pt x="221" y="378"/>
                    <a:pt x="221" y="376"/>
                    <a:pt x="227" y="376"/>
                  </a:cubicBezTo>
                  <a:cubicBezTo>
                    <a:pt x="233" y="375"/>
                    <a:pt x="240" y="377"/>
                    <a:pt x="240" y="377"/>
                  </a:cubicBezTo>
                  <a:cubicBezTo>
                    <a:pt x="239" y="381"/>
                    <a:pt x="239" y="381"/>
                    <a:pt x="239" y="381"/>
                  </a:cubicBezTo>
                  <a:cubicBezTo>
                    <a:pt x="239" y="381"/>
                    <a:pt x="244" y="384"/>
                    <a:pt x="251" y="388"/>
                  </a:cubicBezTo>
                  <a:cubicBezTo>
                    <a:pt x="256" y="391"/>
                    <a:pt x="265" y="393"/>
                    <a:pt x="265" y="393"/>
                  </a:cubicBezTo>
                  <a:cubicBezTo>
                    <a:pt x="262" y="387"/>
                    <a:pt x="262" y="387"/>
                    <a:pt x="262" y="387"/>
                  </a:cubicBezTo>
                  <a:cubicBezTo>
                    <a:pt x="264" y="386"/>
                    <a:pt x="264" y="386"/>
                    <a:pt x="264" y="386"/>
                  </a:cubicBezTo>
                  <a:cubicBezTo>
                    <a:pt x="264" y="386"/>
                    <a:pt x="270" y="391"/>
                    <a:pt x="273" y="392"/>
                  </a:cubicBezTo>
                  <a:cubicBezTo>
                    <a:pt x="276" y="393"/>
                    <a:pt x="279" y="390"/>
                    <a:pt x="279" y="390"/>
                  </a:cubicBezTo>
                  <a:cubicBezTo>
                    <a:pt x="281" y="384"/>
                    <a:pt x="281" y="384"/>
                    <a:pt x="281" y="384"/>
                  </a:cubicBezTo>
                  <a:cubicBezTo>
                    <a:pt x="281" y="390"/>
                    <a:pt x="281" y="390"/>
                    <a:pt x="281" y="390"/>
                  </a:cubicBezTo>
                  <a:cubicBezTo>
                    <a:pt x="288" y="390"/>
                    <a:pt x="288" y="390"/>
                    <a:pt x="288" y="390"/>
                  </a:cubicBezTo>
                  <a:cubicBezTo>
                    <a:pt x="288" y="390"/>
                    <a:pt x="288" y="391"/>
                    <a:pt x="289" y="393"/>
                  </a:cubicBezTo>
                  <a:cubicBezTo>
                    <a:pt x="291" y="395"/>
                    <a:pt x="292" y="395"/>
                    <a:pt x="292" y="395"/>
                  </a:cubicBezTo>
                  <a:cubicBezTo>
                    <a:pt x="297" y="390"/>
                    <a:pt x="297" y="390"/>
                    <a:pt x="297" y="39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304" y="391"/>
                    <a:pt x="311" y="394"/>
                    <a:pt x="311" y="394"/>
                  </a:cubicBezTo>
                  <a:cubicBezTo>
                    <a:pt x="314" y="393"/>
                    <a:pt x="314" y="393"/>
                    <a:pt x="314" y="393"/>
                  </a:cubicBezTo>
                  <a:cubicBezTo>
                    <a:pt x="316" y="395"/>
                    <a:pt x="316" y="395"/>
                    <a:pt x="316" y="395"/>
                  </a:cubicBezTo>
                  <a:cubicBezTo>
                    <a:pt x="335" y="395"/>
                    <a:pt x="335" y="395"/>
                    <a:pt x="335" y="395"/>
                  </a:cubicBezTo>
                  <a:cubicBezTo>
                    <a:pt x="349" y="395"/>
                    <a:pt x="355" y="390"/>
                    <a:pt x="364" y="390"/>
                  </a:cubicBezTo>
                  <a:cubicBezTo>
                    <a:pt x="371" y="390"/>
                    <a:pt x="383" y="395"/>
                    <a:pt x="383" y="395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91" y="393"/>
                    <a:pt x="400" y="392"/>
                  </a:cubicBezTo>
                  <a:cubicBezTo>
                    <a:pt x="408" y="391"/>
                    <a:pt x="413" y="381"/>
                    <a:pt x="413" y="381"/>
                  </a:cubicBezTo>
                  <a:cubicBezTo>
                    <a:pt x="417" y="381"/>
                    <a:pt x="417" y="381"/>
                    <a:pt x="417" y="381"/>
                  </a:cubicBezTo>
                  <a:cubicBezTo>
                    <a:pt x="419" y="381"/>
                    <a:pt x="420" y="377"/>
                    <a:pt x="420" y="377"/>
                  </a:cubicBezTo>
                  <a:cubicBezTo>
                    <a:pt x="420" y="377"/>
                    <a:pt x="428" y="371"/>
                    <a:pt x="430" y="368"/>
                  </a:cubicBezTo>
                  <a:cubicBezTo>
                    <a:pt x="432" y="366"/>
                    <a:pt x="439" y="351"/>
                    <a:pt x="439" y="351"/>
                  </a:cubicBezTo>
                  <a:cubicBezTo>
                    <a:pt x="439" y="351"/>
                    <a:pt x="441" y="351"/>
                    <a:pt x="444" y="349"/>
                  </a:cubicBezTo>
                  <a:cubicBezTo>
                    <a:pt x="445" y="346"/>
                    <a:pt x="444" y="343"/>
                    <a:pt x="444" y="343"/>
                  </a:cubicBezTo>
                  <a:cubicBezTo>
                    <a:pt x="444" y="343"/>
                    <a:pt x="444" y="340"/>
                    <a:pt x="446" y="334"/>
                  </a:cubicBezTo>
                  <a:cubicBezTo>
                    <a:pt x="447" y="329"/>
                    <a:pt x="448" y="304"/>
                    <a:pt x="448" y="304"/>
                  </a:cubicBezTo>
                  <a:cubicBezTo>
                    <a:pt x="444" y="300"/>
                    <a:pt x="444" y="300"/>
                    <a:pt x="444" y="300"/>
                  </a:cubicBezTo>
                  <a:cubicBezTo>
                    <a:pt x="439" y="294"/>
                    <a:pt x="439" y="294"/>
                    <a:pt x="439" y="294"/>
                  </a:cubicBezTo>
                  <a:cubicBezTo>
                    <a:pt x="439" y="294"/>
                    <a:pt x="435" y="295"/>
                    <a:pt x="433" y="294"/>
                  </a:cubicBezTo>
                  <a:cubicBezTo>
                    <a:pt x="430" y="293"/>
                    <a:pt x="428" y="283"/>
                    <a:pt x="428" y="283"/>
                  </a:cubicBezTo>
                  <a:cubicBezTo>
                    <a:pt x="424" y="283"/>
                    <a:pt x="424" y="283"/>
                    <a:pt x="424" y="283"/>
                  </a:cubicBezTo>
                  <a:cubicBezTo>
                    <a:pt x="422" y="278"/>
                    <a:pt x="422" y="278"/>
                    <a:pt x="422" y="278"/>
                  </a:cubicBezTo>
                  <a:cubicBezTo>
                    <a:pt x="423" y="275"/>
                    <a:pt x="423" y="275"/>
                    <a:pt x="423" y="275"/>
                  </a:cubicBezTo>
                  <a:cubicBezTo>
                    <a:pt x="415" y="268"/>
                    <a:pt x="415" y="268"/>
                    <a:pt x="415" y="268"/>
                  </a:cubicBezTo>
                  <a:cubicBezTo>
                    <a:pt x="413" y="270"/>
                    <a:pt x="413" y="270"/>
                    <a:pt x="413" y="270"/>
                  </a:cubicBezTo>
                  <a:cubicBezTo>
                    <a:pt x="407" y="268"/>
                    <a:pt x="407" y="268"/>
                    <a:pt x="407" y="268"/>
                  </a:cubicBezTo>
                  <a:cubicBezTo>
                    <a:pt x="407" y="268"/>
                    <a:pt x="407" y="272"/>
                    <a:pt x="405" y="272"/>
                  </a:cubicBezTo>
                  <a:cubicBezTo>
                    <a:pt x="403" y="272"/>
                    <a:pt x="400" y="269"/>
                    <a:pt x="400" y="269"/>
                  </a:cubicBezTo>
                  <a:cubicBezTo>
                    <a:pt x="399" y="265"/>
                    <a:pt x="399" y="265"/>
                    <a:pt x="399" y="265"/>
                  </a:cubicBezTo>
                  <a:cubicBezTo>
                    <a:pt x="386" y="262"/>
                    <a:pt x="386" y="262"/>
                    <a:pt x="386" y="262"/>
                  </a:cubicBezTo>
                  <a:cubicBezTo>
                    <a:pt x="380" y="256"/>
                    <a:pt x="380" y="256"/>
                    <a:pt x="380" y="256"/>
                  </a:cubicBezTo>
                  <a:cubicBezTo>
                    <a:pt x="379" y="257"/>
                    <a:pt x="379" y="257"/>
                    <a:pt x="379" y="257"/>
                  </a:cubicBezTo>
                  <a:cubicBezTo>
                    <a:pt x="379" y="257"/>
                    <a:pt x="384" y="261"/>
                    <a:pt x="381" y="263"/>
                  </a:cubicBezTo>
                  <a:cubicBezTo>
                    <a:pt x="377" y="264"/>
                    <a:pt x="364" y="257"/>
                    <a:pt x="364" y="257"/>
                  </a:cubicBezTo>
                  <a:cubicBezTo>
                    <a:pt x="363" y="260"/>
                    <a:pt x="363" y="260"/>
                    <a:pt x="363" y="260"/>
                  </a:cubicBezTo>
                  <a:cubicBezTo>
                    <a:pt x="356" y="256"/>
                    <a:pt x="356" y="256"/>
                    <a:pt x="356" y="256"/>
                  </a:cubicBezTo>
                  <a:cubicBezTo>
                    <a:pt x="356" y="256"/>
                    <a:pt x="357" y="254"/>
                    <a:pt x="355" y="254"/>
                  </a:cubicBezTo>
                  <a:cubicBezTo>
                    <a:pt x="353" y="254"/>
                    <a:pt x="347" y="253"/>
                    <a:pt x="347" y="253"/>
                  </a:cubicBezTo>
                  <a:cubicBezTo>
                    <a:pt x="348" y="255"/>
                    <a:pt x="348" y="255"/>
                    <a:pt x="348" y="255"/>
                  </a:cubicBezTo>
                  <a:cubicBezTo>
                    <a:pt x="348" y="255"/>
                    <a:pt x="353" y="257"/>
                    <a:pt x="352" y="259"/>
                  </a:cubicBezTo>
                  <a:cubicBezTo>
                    <a:pt x="352" y="261"/>
                    <a:pt x="344" y="257"/>
                    <a:pt x="344" y="257"/>
                  </a:cubicBezTo>
                  <a:cubicBezTo>
                    <a:pt x="344" y="257"/>
                    <a:pt x="331" y="250"/>
                    <a:pt x="325" y="247"/>
                  </a:cubicBezTo>
                  <a:cubicBezTo>
                    <a:pt x="321" y="244"/>
                    <a:pt x="310" y="241"/>
                    <a:pt x="306" y="240"/>
                  </a:cubicBezTo>
                  <a:cubicBezTo>
                    <a:pt x="302" y="239"/>
                    <a:pt x="295" y="235"/>
                    <a:pt x="289" y="233"/>
                  </a:cubicBezTo>
                  <a:cubicBezTo>
                    <a:pt x="282" y="230"/>
                    <a:pt x="270" y="230"/>
                    <a:pt x="270" y="230"/>
                  </a:cubicBezTo>
                  <a:cubicBezTo>
                    <a:pt x="269" y="230"/>
                    <a:pt x="269" y="230"/>
                    <a:pt x="269" y="230"/>
                  </a:cubicBezTo>
                  <a:cubicBezTo>
                    <a:pt x="269" y="230"/>
                    <a:pt x="266" y="228"/>
                    <a:pt x="265" y="226"/>
                  </a:cubicBezTo>
                  <a:cubicBezTo>
                    <a:pt x="264" y="226"/>
                    <a:pt x="262" y="229"/>
                    <a:pt x="262" y="229"/>
                  </a:cubicBezTo>
                  <a:cubicBezTo>
                    <a:pt x="256" y="229"/>
                    <a:pt x="256" y="229"/>
                    <a:pt x="256" y="229"/>
                  </a:cubicBezTo>
                  <a:cubicBezTo>
                    <a:pt x="256" y="228"/>
                    <a:pt x="256" y="228"/>
                    <a:pt x="256" y="228"/>
                  </a:cubicBezTo>
                  <a:cubicBezTo>
                    <a:pt x="248" y="230"/>
                    <a:pt x="248" y="230"/>
                    <a:pt x="248" y="230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8" y="233"/>
                    <a:pt x="246" y="233"/>
                  </a:cubicBezTo>
                  <a:cubicBezTo>
                    <a:pt x="244" y="233"/>
                    <a:pt x="244" y="235"/>
                    <a:pt x="244" y="235"/>
                  </a:cubicBezTo>
                  <a:cubicBezTo>
                    <a:pt x="244" y="235"/>
                    <a:pt x="242" y="234"/>
                    <a:pt x="240" y="233"/>
                  </a:cubicBezTo>
                  <a:cubicBezTo>
                    <a:pt x="238" y="233"/>
                    <a:pt x="231" y="234"/>
                    <a:pt x="231" y="234"/>
                  </a:cubicBezTo>
                  <a:cubicBezTo>
                    <a:pt x="229" y="232"/>
                    <a:pt x="229" y="232"/>
                    <a:pt x="229" y="232"/>
                  </a:cubicBezTo>
                  <a:cubicBezTo>
                    <a:pt x="217" y="234"/>
                    <a:pt x="217" y="234"/>
                    <a:pt x="217" y="234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7" y="236"/>
                    <a:pt x="211" y="234"/>
                    <a:pt x="210" y="236"/>
                  </a:cubicBezTo>
                  <a:cubicBezTo>
                    <a:pt x="209" y="239"/>
                    <a:pt x="212" y="247"/>
                    <a:pt x="212" y="247"/>
                  </a:cubicBezTo>
                  <a:cubicBezTo>
                    <a:pt x="212" y="247"/>
                    <a:pt x="211" y="250"/>
                    <a:pt x="209" y="251"/>
                  </a:cubicBezTo>
                  <a:cubicBezTo>
                    <a:pt x="208" y="253"/>
                    <a:pt x="205" y="255"/>
                    <a:pt x="203" y="254"/>
                  </a:cubicBezTo>
                  <a:cubicBezTo>
                    <a:pt x="202" y="253"/>
                    <a:pt x="207" y="249"/>
                    <a:pt x="208" y="247"/>
                  </a:cubicBezTo>
                  <a:cubicBezTo>
                    <a:pt x="210" y="246"/>
                    <a:pt x="210" y="244"/>
                    <a:pt x="210" y="244"/>
                  </a:cubicBezTo>
                  <a:cubicBezTo>
                    <a:pt x="206" y="241"/>
                    <a:pt x="206" y="241"/>
                    <a:pt x="206" y="241"/>
                  </a:cubicBezTo>
                  <a:cubicBezTo>
                    <a:pt x="207" y="239"/>
                    <a:pt x="207" y="239"/>
                    <a:pt x="207" y="239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241"/>
                    <a:pt x="208" y="234"/>
                    <a:pt x="205" y="231"/>
                  </a:cubicBezTo>
                  <a:cubicBezTo>
                    <a:pt x="201" y="228"/>
                    <a:pt x="194" y="236"/>
                    <a:pt x="194" y="236"/>
                  </a:cubicBezTo>
                  <a:cubicBezTo>
                    <a:pt x="193" y="240"/>
                    <a:pt x="193" y="240"/>
                    <a:pt x="193" y="240"/>
                  </a:cubicBezTo>
                  <a:cubicBezTo>
                    <a:pt x="190" y="240"/>
                    <a:pt x="190" y="240"/>
                    <a:pt x="190" y="240"/>
                  </a:cubicBezTo>
                  <a:cubicBezTo>
                    <a:pt x="193" y="236"/>
                    <a:pt x="193" y="236"/>
                    <a:pt x="193" y="236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1" y="234"/>
                    <a:pt x="191" y="234"/>
                    <a:pt x="191" y="234"/>
                  </a:cubicBezTo>
                  <a:cubicBezTo>
                    <a:pt x="190" y="232"/>
                    <a:pt x="190" y="232"/>
                    <a:pt x="190" y="232"/>
                  </a:cubicBezTo>
                  <a:cubicBezTo>
                    <a:pt x="186" y="232"/>
                    <a:pt x="186" y="232"/>
                    <a:pt x="186" y="232"/>
                  </a:cubicBezTo>
                  <a:cubicBezTo>
                    <a:pt x="186" y="234"/>
                    <a:pt x="186" y="234"/>
                    <a:pt x="186" y="234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6"/>
                    <a:pt x="182" y="236"/>
                    <a:pt x="182" y="236"/>
                  </a:cubicBezTo>
                  <a:cubicBezTo>
                    <a:pt x="177" y="237"/>
                    <a:pt x="177" y="237"/>
                    <a:pt x="177" y="237"/>
                  </a:cubicBezTo>
                  <a:cubicBezTo>
                    <a:pt x="180" y="231"/>
                    <a:pt x="180" y="231"/>
                    <a:pt x="180" y="231"/>
                  </a:cubicBezTo>
                  <a:cubicBezTo>
                    <a:pt x="178" y="231"/>
                    <a:pt x="178" y="231"/>
                    <a:pt x="178" y="231"/>
                  </a:cubicBezTo>
                  <a:cubicBezTo>
                    <a:pt x="178" y="231"/>
                    <a:pt x="178" y="229"/>
                    <a:pt x="175" y="229"/>
                  </a:cubicBezTo>
                  <a:cubicBezTo>
                    <a:pt x="172" y="229"/>
                    <a:pt x="169" y="232"/>
                    <a:pt x="169" y="232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6" y="226"/>
                    <a:pt x="166" y="226"/>
                    <a:pt x="166" y="226"/>
                  </a:cubicBezTo>
                  <a:cubicBezTo>
                    <a:pt x="168" y="223"/>
                    <a:pt x="168" y="223"/>
                    <a:pt x="168" y="223"/>
                  </a:cubicBezTo>
                  <a:cubicBezTo>
                    <a:pt x="167" y="222"/>
                    <a:pt x="167" y="222"/>
                    <a:pt x="167" y="222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71" y="222"/>
                    <a:pt x="169" y="223"/>
                    <a:pt x="171" y="225"/>
                  </a:cubicBezTo>
                  <a:cubicBezTo>
                    <a:pt x="174" y="228"/>
                    <a:pt x="188" y="225"/>
                    <a:pt x="188" y="225"/>
                  </a:cubicBezTo>
                  <a:cubicBezTo>
                    <a:pt x="188" y="225"/>
                    <a:pt x="190" y="223"/>
                    <a:pt x="190" y="221"/>
                  </a:cubicBezTo>
                  <a:cubicBezTo>
                    <a:pt x="190" y="213"/>
                    <a:pt x="190" y="213"/>
                    <a:pt x="190" y="213"/>
                  </a:cubicBezTo>
                  <a:cubicBezTo>
                    <a:pt x="190" y="213"/>
                    <a:pt x="177" y="215"/>
                    <a:pt x="175" y="213"/>
                  </a:cubicBezTo>
                  <a:cubicBezTo>
                    <a:pt x="173" y="212"/>
                    <a:pt x="161" y="207"/>
                    <a:pt x="159" y="208"/>
                  </a:cubicBezTo>
                  <a:cubicBezTo>
                    <a:pt x="158" y="210"/>
                    <a:pt x="161" y="213"/>
                    <a:pt x="161" y="213"/>
                  </a:cubicBezTo>
                  <a:cubicBezTo>
                    <a:pt x="161" y="215"/>
                    <a:pt x="161" y="215"/>
                    <a:pt x="161" y="215"/>
                  </a:cubicBezTo>
                  <a:cubicBezTo>
                    <a:pt x="161" y="215"/>
                    <a:pt x="167" y="217"/>
                    <a:pt x="166" y="219"/>
                  </a:cubicBezTo>
                  <a:cubicBezTo>
                    <a:pt x="164" y="220"/>
                    <a:pt x="160" y="216"/>
                    <a:pt x="157" y="217"/>
                  </a:cubicBezTo>
                  <a:cubicBezTo>
                    <a:pt x="155" y="219"/>
                    <a:pt x="158" y="224"/>
                    <a:pt x="158" y="224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60" y="225"/>
                    <a:pt x="158" y="226"/>
                    <a:pt x="155" y="228"/>
                  </a:cubicBezTo>
                  <a:cubicBezTo>
                    <a:pt x="153" y="228"/>
                    <a:pt x="153" y="231"/>
                    <a:pt x="153" y="231"/>
                  </a:cubicBezTo>
                  <a:cubicBezTo>
                    <a:pt x="153" y="231"/>
                    <a:pt x="151" y="225"/>
                    <a:pt x="145" y="224"/>
                  </a:cubicBezTo>
                  <a:cubicBezTo>
                    <a:pt x="144" y="224"/>
                    <a:pt x="142" y="224"/>
                    <a:pt x="141" y="225"/>
                  </a:cubicBezTo>
                  <a:cubicBezTo>
                    <a:pt x="141" y="228"/>
                    <a:pt x="141" y="228"/>
                    <a:pt x="141" y="228"/>
                  </a:cubicBezTo>
                  <a:cubicBezTo>
                    <a:pt x="141" y="228"/>
                    <a:pt x="146" y="231"/>
                    <a:pt x="143" y="237"/>
                  </a:cubicBezTo>
                  <a:cubicBezTo>
                    <a:pt x="141" y="244"/>
                    <a:pt x="134" y="236"/>
                    <a:pt x="131" y="236"/>
                  </a:cubicBezTo>
                  <a:cubicBezTo>
                    <a:pt x="129" y="235"/>
                    <a:pt x="125" y="235"/>
                    <a:pt x="125" y="235"/>
                  </a:cubicBezTo>
                  <a:cubicBezTo>
                    <a:pt x="125" y="235"/>
                    <a:pt x="130" y="242"/>
                    <a:pt x="130" y="247"/>
                  </a:cubicBezTo>
                  <a:cubicBezTo>
                    <a:pt x="130" y="251"/>
                    <a:pt x="124" y="249"/>
                    <a:pt x="122" y="250"/>
                  </a:cubicBezTo>
                  <a:cubicBezTo>
                    <a:pt x="121" y="250"/>
                    <a:pt x="122" y="255"/>
                    <a:pt x="119" y="257"/>
                  </a:cubicBezTo>
                  <a:cubicBezTo>
                    <a:pt x="117" y="259"/>
                    <a:pt x="113" y="259"/>
                    <a:pt x="112" y="262"/>
                  </a:cubicBezTo>
                  <a:cubicBezTo>
                    <a:pt x="111" y="265"/>
                    <a:pt x="114" y="264"/>
                    <a:pt x="114" y="264"/>
                  </a:cubicBezTo>
                  <a:cubicBezTo>
                    <a:pt x="114" y="264"/>
                    <a:pt x="115" y="278"/>
                    <a:pt x="112" y="280"/>
                  </a:cubicBezTo>
                  <a:cubicBezTo>
                    <a:pt x="110" y="282"/>
                    <a:pt x="106" y="278"/>
                    <a:pt x="106" y="278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108" y="291"/>
                    <a:pt x="108" y="291"/>
                    <a:pt x="108" y="291"/>
                  </a:cubicBezTo>
                  <a:cubicBezTo>
                    <a:pt x="105" y="311"/>
                    <a:pt x="105" y="311"/>
                    <a:pt x="105" y="311"/>
                  </a:cubicBezTo>
                  <a:cubicBezTo>
                    <a:pt x="114" y="334"/>
                    <a:pt x="114" y="334"/>
                    <a:pt x="114" y="334"/>
                  </a:cubicBezTo>
                  <a:cubicBezTo>
                    <a:pt x="135" y="338"/>
                    <a:pt x="135" y="338"/>
                    <a:pt x="135" y="338"/>
                  </a:cubicBezTo>
                  <a:cubicBezTo>
                    <a:pt x="147" y="354"/>
                    <a:pt x="147" y="354"/>
                    <a:pt x="147" y="354"/>
                  </a:cubicBezTo>
                  <a:cubicBezTo>
                    <a:pt x="147" y="354"/>
                    <a:pt x="159" y="354"/>
                    <a:pt x="160" y="363"/>
                  </a:cubicBezTo>
                  <a:cubicBezTo>
                    <a:pt x="161" y="373"/>
                    <a:pt x="146" y="408"/>
                    <a:pt x="146" y="408"/>
                  </a:cubicBezTo>
                  <a:cubicBezTo>
                    <a:pt x="146" y="408"/>
                    <a:pt x="157" y="425"/>
                    <a:pt x="163" y="429"/>
                  </a:cubicBezTo>
                  <a:cubicBezTo>
                    <a:pt x="171" y="435"/>
                    <a:pt x="170" y="444"/>
                    <a:pt x="173" y="446"/>
                  </a:cubicBezTo>
                  <a:cubicBezTo>
                    <a:pt x="173" y="446"/>
                    <a:pt x="186" y="453"/>
                    <a:pt x="190" y="461"/>
                  </a:cubicBezTo>
                  <a:cubicBezTo>
                    <a:pt x="195" y="470"/>
                    <a:pt x="197" y="480"/>
                    <a:pt x="197" y="480"/>
                  </a:cubicBezTo>
                  <a:cubicBezTo>
                    <a:pt x="186" y="486"/>
                    <a:pt x="186" y="486"/>
                    <a:pt x="186" y="486"/>
                  </a:cubicBezTo>
                  <a:cubicBezTo>
                    <a:pt x="193" y="488"/>
                    <a:pt x="193" y="488"/>
                    <a:pt x="193" y="488"/>
                  </a:cubicBezTo>
                  <a:cubicBezTo>
                    <a:pt x="189" y="493"/>
                    <a:pt x="189" y="493"/>
                    <a:pt x="189" y="493"/>
                  </a:cubicBezTo>
                  <a:cubicBezTo>
                    <a:pt x="192" y="502"/>
                    <a:pt x="192" y="502"/>
                    <a:pt x="192" y="502"/>
                  </a:cubicBezTo>
                  <a:cubicBezTo>
                    <a:pt x="189" y="514"/>
                    <a:pt x="189" y="514"/>
                    <a:pt x="189" y="514"/>
                  </a:cubicBezTo>
                  <a:cubicBezTo>
                    <a:pt x="200" y="512"/>
                    <a:pt x="200" y="512"/>
                    <a:pt x="200" y="512"/>
                  </a:cubicBezTo>
                  <a:cubicBezTo>
                    <a:pt x="201" y="517"/>
                    <a:pt x="201" y="517"/>
                    <a:pt x="201" y="517"/>
                  </a:cubicBezTo>
                  <a:cubicBezTo>
                    <a:pt x="194" y="522"/>
                    <a:pt x="194" y="522"/>
                    <a:pt x="194" y="522"/>
                  </a:cubicBezTo>
                  <a:cubicBezTo>
                    <a:pt x="201" y="538"/>
                    <a:pt x="201" y="538"/>
                    <a:pt x="201" y="538"/>
                  </a:cubicBezTo>
                  <a:cubicBezTo>
                    <a:pt x="211" y="533"/>
                    <a:pt x="211" y="533"/>
                    <a:pt x="211" y="533"/>
                  </a:cubicBezTo>
                  <a:cubicBezTo>
                    <a:pt x="216" y="541"/>
                    <a:pt x="216" y="541"/>
                    <a:pt x="216" y="541"/>
                  </a:cubicBezTo>
                  <a:cubicBezTo>
                    <a:pt x="216" y="541"/>
                    <a:pt x="210" y="547"/>
                    <a:pt x="217" y="556"/>
                  </a:cubicBezTo>
                  <a:cubicBezTo>
                    <a:pt x="222" y="565"/>
                    <a:pt x="232" y="559"/>
                    <a:pt x="236" y="567"/>
                  </a:cubicBezTo>
                  <a:cubicBezTo>
                    <a:pt x="240" y="576"/>
                    <a:pt x="235" y="591"/>
                    <a:pt x="235" y="591"/>
                  </a:cubicBezTo>
                  <a:cubicBezTo>
                    <a:pt x="236" y="595"/>
                    <a:pt x="236" y="595"/>
                    <a:pt x="236" y="595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48" y="615"/>
                    <a:pt x="248" y="615"/>
                    <a:pt x="248" y="615"/>
                  </a:cubicBezTo>
                  <a:cubicBezTo>
                    <a:pt x="259" y="617"/>
                    <a:pt x="259" y="617"/>
                    <a:pt x="259" y="617"/>
                  </a:cubicBezTo>
                  <a:cubicBezTo>
                    <a:pt x="275" y="625"/>
                    <a:pt x="275" y="625"/>
                    <a:pt x="275" y="625"/>
                  </a:cubicBezTo>
                  <a:cubicBezTo>
                    <a:pt x="278" y="633"/>
                    <a:pt x="278" y="633"/>
                    <a:pt x="278" y="633"/>
                  </a:cubicBezTo>
                  <a:cubicBezTo>
                    <a:pt x="278" y="633"/>
                    <a:pt x="290" y="633"/>
                    <a:pt x="291" y="639"/>
                  </a:cubicBezTo>
                  <a:cubicBezTo>
                    <a:pt x="291" y="645"/>
                    <a:pt x="289" y="669"/>
                    <a:pt x="287" y="673"/>
                  </a:cubicBezTo>
                  <a:cubicBezTo>
                    <a:pt x="284" y="681"/>
                    <a:pt x="284" y="681"/>
                    <a:pt x="284" y="681"/>
                  </a:cubicBezTo>
                  <a:cubicBezTo>
                    <a:pt x="284" y="681"/>
                    <a:pt x="275" y="694"/>
                    <a:pt x="272" y="706"/>
                  </a:cubicBezTo>
                  <a:cubicBezTo>
                    <a:pt x="269" y="717"/>
                    <a:pt x="261" y="737"/>
                    <a:pt x="258" y="742"/>
                  </a:cubicBezTo>
                  <a:cubicBezTo>
                    <a:pt x="255" y="748"/>
                    <a:pt x="250" y="761"/>
                    <a:pt x="250" y="761"/>
                  </a:cubicBezTo>
                  <a:cubicBezTo>
                    <a:pt x="237" y="775"/>
                    <a:pt x="237" y="775"/>
                    <a:pt x="237" y="775"/>
                  </a:cubicBezTo>
                  <a:cubicBezTo>
                    <a:pt x="236" y="784"/>
                    <a:pt x="236" y="784"/>
                    <a:pt x="236" y="784"/>
                  </a:cubicBezTo>
                  <a:cubicBezTo>
                    <a:pt x="232" y="787"/>
                    <a:pt x="232" y="787"/>
                    <a:pt x="232" y="787"/>
                  </a:cubicBezTo>
                  <a:cubicBezTo>
                    <a:pt x="221" y="802"/>
                    <a:pt x="221" y="802"/>
                    <a:pt x="221" y="802"/>
                  </a:cubicBezTo>
                  <a:cubicBezTo>
                    <a:pt x="213" y="818"/>
                    <a:pt x="213" y="818"/>
                    <a:pt x="213" y="818"/>
                  </a:cubicBezTo>
                  <a:cubicBezTo>
                    <a:pt x="213" y="819"/>
                    <a:pt x="213" y="819"/>
                    <a:pt x="213" y="819"/>
                  </a:cubicBezTo>
                  <a:cubicBezTo>
                    <a:pt x="216" y="820"/>
                    <a:pt x="216" y="820"/>
                    <a:pt x="216" y="820"/>
                  </a:cubicBezTo>
                  <a:cubicBezTo>
                    <a:pt x="225" y="818"/>
                    <a:pt x="225" y="818"/>
                    <a:pt x="225" y="818"/>
                  </a:cubicBezTo>
                  <a:cubicBezTo>
                    <a:pt x="231" y="809"/>
                    <a:pt x="231" y="809"/>
                    <a:pt x="231" y="809"/>
                  </a:cubicBezTo>
                  <a:cubicBezTo>
                    <a:pt x="235" y="805"/>
                    <a:pt x="235" y="805"/>
                    <a:pt x="235" y="805"/>
                  </a:cubicBezTo>
                  <a:cubicBezTo>
                    <a:pt x="235" y="805"/>
                    <a:pt x="236" y="800"/>
                    <a:pt x="238" y="801"/>
                  </a:cubicBezTo>
                  <a:cubicBezTo>
                    <a:pt x="241" y="802"/>
                    <a:pt x="239" y="805"/>
                    <a:pt x="239" y="805"/>
                  </a:cubicBezTo>
                  <a:cubicBezTo>
                    <a:pt x="242" y="819"/>
                    <a:pt x="242" y="819"/>
                    <a:pt x="242" y="819"/>
                  </a:cubicBezTo>
                  <a:cubicBezTo>
                    <a:pt x="235" y="814"/>
                    <a:pt x="235" y="814"/>
                    <a:pt x="235" y="814"/>
                  </a:cubicBezTo>
                  <a:cubicBezTo>
                    <a:pt x="234" y="815"/>
                    <a:pt x="234" y="815"/>
                    <a:pt x="234" y="815"/>
                  </a:cubicBezTo>
                  <a:cubicBezTo>
                    <a:pt x="241" y="823"/>
                    <a:pt x="241" y="823"/>
                    <a:pt x="241" y="823"/>
                  </a:cubicBezTo>
                  <a:cubicBezTo>
                    <a:pt x="246" y="825"/>
                    <a:pt x="246" y="825"/>
                    <a:pt x="246" y="825"/>
                  </a:cubicBezTo>
                  <a:cubicBezTo>
                    <a:pt x="256" y="833"/>
                    <a:pt x="256" y="833"/>
                    <a:pt x="256" y="833"/>
                  </a:cubicBezTo>
                  <a:cubicBezTo>
                    <a:pt x="256" y="833"/>
                    <a:pt x="260" y="835"/>
                    <a:pt x="269" y="832"/>
                  </a:cubicBezTo>
                  <a:cubicBezTo>
                    <a:pt x="276" y="828"/>
                    <a:pt x="281" y="823"/>
                    <a:pt x="286" y="827"/>
                  </a:cubicBezTo>
                  <a:cubicBezTo>
                    <a:pt x="291" y="831"/>
                    <a:pt x="292" y="835"/>
                    <a:pt x="292" y="835"/>
                  </a:cubicBezTo>
                  <a:cubicBezTo>
                    <a:pt x="301" y="836"/>
                    <a:pt x="301" y="836"/>
                    <a:pt x="301" y="836"/>
                  </a:cubicBezTo>
                  <a:cubicBezTo>
                    <a:pt x="299" y="844"/>
                    <a:pt x="299" y="844"/>
                    <a:pt x="299" y="844"/>
                  </a:cubicBezTo>
                  <a:cubicBezTo>
                    <a:pt x="267" y="841"/>
                    <a:pt x="267" y="841"/>
                    <a:pt x="267" y="841"/>
                  </a:cubicBezTo>
                  <a:cubicBezTo>
                    <a:pt x="261" y="847"/>
                    <a:pt x="261" y="847"/>
                    <a:pt x="261" y="847"/>
                  </a:cubicBezTo>
                  <a:cubicBezTo>
                    <a:pt x="261" y="847"/>
                    <a:pt x="270" y="853"/>
                    <a:pt x="262" y="856"/>
                  </a:cubicBezTo>
                  <a:cubicBezTo>
                    <a:pt x="255" y="860"/>
                    <a:pt x="249" y="856"/>
                    <a:pt x="249" y="856"/>
                  </a:cubicBezTo>
                  <a:cubicBezTo>
                    <a:pt x="243" y="860"/>
                    <a:pt x="243" y="860"/>
                    <a:pt x="243" y="860"/>
                  </a:cubicBezTo>
                  <a:cubicBezTo>
                    <a:pt x="243" y="860"/>
                    <a:pt x="251" y="866"/>
                    <a:pt x="245" y="868"/>
                  </a:cubicBezTo>
                  <a:cubicBezTo>
                    <a:pt x="240" y="869"/>
                    <a:pt x="236" y="862"/>
                    <a:pt x="236" y="862"/>
                  </a:cubicBezTo>
                  <a:cubicBezTo>
                    <a:pt x="234" y="865"/>
                    <a:pt x="234" y="865"/>
                    <a:pt x="234" y="865"/>
                  </a:cubicBezTo>
                  <a:cubicBezTo>
                    <a:pt x="234" y="870"/>
                    <a:pt x="234" y="870"/>
                    <a:pt x="234" y="870"/>
                  </a:cubicBezTo>
                  <a:cubicBezTo>
                    <a:pt x="239" y="876"/>
                    <a:pt x="239" y="876"/>
                    <a:pt x="239" y="876"/>
                  </a:cubicBezTo>
                  <a:cubicBezTo>
                    <a:pt x="238" y="883"/>
                    <a:pt x="238" y="883"/>
                    <a:pt x="238" y="883"/>
                  </a:cubicBezTo>
                  <a:cubicBezTo>
                    <a:pt x="244" y="888"/>
                    <a:pt x="244" y="888"/>
                    <a:pt x="244" y="888"/>
                  </a:cubicBezTo>
                  <a:cubicBezTo>
                    <a:pt x="244" y="888"/>
                    <a:pt x="238" y="892"/>
                    <a:pt x="238" y="894"/>
                  </a:cubicBezTo>
                  <a:cubicBezTo>
                    <a:pt x="238" y="895"/>
                    <a:pt x="240" y="897"/>
                    <a:pt x="240" y="897"/>
                  </a:cubicBezTo>
                  <a:cubicBezTo>
                    <a:pt x="237" y="913"/>
                    <a:pt x="237" y="913"/>
                    <a:pt x="237" y="913"/>
                  </a:cubicBezTo>
                  <a:cubicBezTo>
                    <a:pt x="237" y="913"/>
                    <a:pt x="233" y="923"/>
                    <a:pt x="232" y="925"/>
                  </a:cubicBezTo>
                  <a:cubicBezTo>
                    <a:pt x="229" y="927"/>
                    <a:pt x="226" y="930"/>
                    <a:pt x="226" y="930"/>
                  </a:cubicBezTo>
                  <a:cubicBezTo>
                    <a:pt x="226" y="930"/>
                    <a:pt x="232" y="942"/>
                    <a:pt x="235" y="948"/>
                  </a:cubicBezTo>
                  <a:cubicBezTo>
                    <a:pt x="238" y="955"/>
                    <a:pt x="239" y="965"/>
                    <a:pt x="239" y="965"/>
                  </a:cubicBezTo>
                  <a:cubicBezTo>
                    <a:pt x="239" y="965"/>
                    <a:pt x="244" y="969"/>
                    <a:pt x="244" y="972"/>
                  </a:cubicBezTo>
                  <a:cubicBezTo>
                    <a:pt x="245" y="976"/>
                    <a:pt x="245" y="979"/>
                    <a:pt x="245" y="979"/>
                  </a:cubicBezTo>
                  <a:cubicBezTo>
                    <a:pt x="245" y="979"/>
                    <a:pt x="255" y="985"/>
                    <a:pt x="255" y="987"/>
                  </a:cubicBezTo>
                  <a:cubicBezTo>
                    <a:pt x="254" y="989"/>
                    <a:pt x="245" y="991"/>
                    <a:pt x="245" y="991"/>
                  </a:cubicBezTo>
                  <a:cubicBezTo>
                    <a:pt x="245" y="991"/>
                    <a:pt x="248" y="995"/>
                    <a:pt x="248" y="997"/>
                  </a:cubicBezTo>
                  <a:cubicBezTo>
                    <a:pt x="246" y="1000"/>
                    <a:pt x="243" y="1000"/>
                    <a:pt x="243" y="1000"/>
                  </a:cubicBezTo>
                  <a:cubicBezTo>
                    <a:pt x="242" y="1006"/>
                    <a:pt x="242" y="1006"/>
                    <a:pt x="242" y="1006"/>
                  </a:cubicBezTo>
                  <a:cubicBezTo>
                    <a:pt x="243" y="1010"/>
                    <a:pt x="243" y="1010"/>
                    <a:pt x="243" y="1010"/>
                  </a:cubicBezTo>
                  <a:cubicBezTo>
                    <a:pt x="246" y="1009"/>
                    <a:pt x="250" y="1009"/>
                    <a:pt x="250" y="1009"/>
                  </a:cubicBezTo>
                  <a:cubicBezTo>
                    <a:pt x="252" y="1016"/>
                    <a:pt x="252" y="1016"/>
                    <a:pt x="252" y="1016"/>
                  </a:cubicBezTo>
                  <a:cubicBezTo>
                    <a:pt x="252" y="1016"/>
                    <a:pt x="259" y="1017"/>
                    <a:pt x="261" y="1018"/>
                  </a:cubicBezTo>
                  <a:cubicBezTo>
                    <a:pt x="264" y="1019"/>
                    <a:pt x="267" y="1022"/>
                    <a:pt x="267" y="1022"/>
                  </a:cubicBezTo>
                  <a:cubicBezTo>
                    <a:pt x="267" y="1033"/>
                    <a:pt x="267" y="1033"/>
                    <a:pt x="267" y="1033"/>
                  </a:cubicBezTo>
                  <a:cubicBezTo>
                    <a:pt x="264" y="1037"/>
                    <a:pt x="264" y="1037"/>
                    <a:pt x="264" y="1037"/>
                  </a:cubicBezTo>
                  <a:cubicBezTo>
                    <a:pt x="266" y="1041"/>
                    <a:pt x="266" y="1041"/>
                    <a:pt x="266" y="1041"/>
                  </a:cubicBezTo>
                  <a:cubicBezTo>
                    <a:pt x="264" y="1052"/>
                    <a:pt x="264" y="1052"/>
                    <a:pt x="264" y="1052"/>
                  </a:cubicBezTo>
                  <a:cubicBezTo>
                    <a:pt x="264" y="1052"/>
                    <a:pt x="269" y="1049"/>
                    <a:pt x="272" y="1049"/>
                  </a:cubicBezTo>
                  <a:cubicBezTo>
                    <a:pt x="274" y="1049"/>
                    <a:pt x="276" y="1052"/>
                    <a:pt x="276" y="1052"/>
                  </a:cubicBezTo>
                  <a:cubicBezTo>
                    <a:pt x="274" y="1057"/>
                    <a:pt x="274" y="1057"/>
                    <a:pt x="274" y="1057"/>
                  </a:cubicBezTo>
                  <a:cubicBezTo>
                    <a:pt x="282" y="1059"/>
                    <a:pt x="282" y="1059"/>
                    <a:pt x="282" y="1059"/>
                  </a:cubicBezTo>
                  <a:cubicBezTo>
                    <a:pt x="283" y="1064"/>
                    <a:pt x="283" y="1064"/>
                    <a:pt x="283" y="1064"/>
                  </a:cubicBezTo>
                  <a:cubicBezTo>
                    <a:pt x="286" y="1065"/>
                    <a:pt x="286" y="1065"/>
                    <a:pt x="286" y="1065"/>
                  </a:cubicBezTo>
                  <a:cubicBezTo>
                    <a:pt x="289" y="1074"/>
                    <a:pt x="289" y="1074"/>
                    <a:pt x="289" y="1074"/>
                  </a:cubicBezTo>
                  <a:cubicBezTo>
                    <a:pt x="291" y="1080"/>
                    <a:pt x="291" y="1080"/>
                    <a:pt x="291" y="1080"/>
                  </a:cubicBezTo>
                  <a:cubicBezTo>
                    <a:pt x="293" y="1081"/>
                    <a:pt x="293" y="1081"/>
                    <a:pt x="293" y="1081"/>
                  </a:cubicBezTo>
                  <a:cubicBezTo>
                    <a:pt x="293" y="1081"/>
                    <a:pt x="294" y="1088"/>
                    <a:pt x="292" y="1092"/>
                  </a:cubicBezTo>
                  <a:cubicBezTo>
                    <a:pt x="291" y="1092"/>
                    <a:pt x="291" y="1092"/>
                    <a:pt x="291" y="1093"/>
                  </a:cubicBezTo>
                  <a:cubicBezTo>
                    <a:pt x="293" y="1093"/>
                    <a:pt x="295" y="1095"/>
                    <a:pt x="298" y="1095"/>
                  </a:cubicBezTo>
                  <a:cubicBezTo>
                    <a:pt x="301" y="1095"/>
                    <a:pt x="307" y="1090"/>
                    <a:pt x="313" y="1091"/>
                  </a:cubicBezTo>
                  <a:cubicBezTo>
                    <a:pt x="318" y="1092"/>
                    <a:pt x="310" y="1100"/>
                    <a:pt x="317" y="1101"/>
                  </a:cubicBezTo>
                  <a:cubicBezTo>
                    <a:pt x="322" y="1102"/>
                    <a:pt x="321" y="1096"/>
                    <a:pt x="323" y="1095"/>
                  </a:cubicBezTo>
                  <a:cubicBezTo>
                    <a:pt x="324" y="1092"/>
                    <a:pt x="338" y="1090"/>
                    <a:pt x="343" y="1095"/>
                  </a:cubicBezTo>
                  <a:cubicBezTo>
                    <a:pt x="349" y="1099"/>
                    <a:pt x="337" y="1108"/>
                    <a:pt x="348" y="1110"/>
                  </a:cubicBezTo>
                  <a:cubicBezTo>
                    <a:pt x="357" y="1110"/>
                    <a:pt x="351" y="1102"/>
                    <a:pt x="351" y="1102"/>
                  </a:cubicBezTo>
                  <a:cubicBezTo>
                    <a:pt x="351" y="1102"/>
                    <a:pt x="357" y="1100"/>
                    <a:pt x="365" y="1097"/>
                  </a:cubicBezTo>
                  <a:cubicBezTo>
                    <a:pt x="371" y="1093"/>
                    <a:pt x="379" y="1093"/>
                    <a:pt x="384" y="1098"/>
                  </a:cubicBezTo>
                  <a:cubicBezTo>
                    <a:pt x="390" y="1101"/>
                    <a:pt x="396" y="1098"/>
                    <a:pt x="402" y="1104"/>
                  </a:cubicBezTo>
                  <a:cubicBezTo>
                    <a:pt x="409" y="1111"/>
                    <a:pt x="401" y="1120"/>
                    <a:pt x="401" y="1120"/>
                  </a:cubicBezTo>
                  <a:cubicBezTo>
                    <a:pt x="413" y="1136"/>
                    <a:pt x="413" y="1136"/>
                    <a:pt x="413" y="1136"/>
                  </a:cubicBezTo>
                  <a:cubicBezTo>
                    <a:pt x="411" y="1154"/>
                    <a:pt x="411" y="1154"/>
                    <a:pt x="411" y="1154"/>
                  </a:cubicBezTo>
                  <a:cubicBezTo>
                    <a:pt x="411" y="1154"/>
                    <a:pt x="422" y="1156"/>
                    <a:pt x="429" y="1160"/>
                  </a:cubicBezTo>
                  <a:cubicBezTo>
                    <a:pt x="435" y="1163"/>
                    <a:pt x="426" y="1170"/>
                    <a:pt x="426" y="1170"/>
                  </a:cubicBezTo>
                  <a:cubicBezTo>
                    <a:pt x="434" y="1172"/>
                    <a:pt x="434" y="1172"/>
                    <a:pt x="434" y="1172"/>
                  </a:cubicBezTo>
                  <a:cubicBezTo>
                    <a:pt x="434" y="1172"/>
                    <a:pt x="435" y="1177"/>
                    <a:pt x="437" y="1181"/>
                  </a:cubicBezTo>
                  <a:cubicBezTo>
                    <a:pt x="438" y="1185"/>
                    <a:pt x="456" y="1186"/>
                    <a:pt x="456" y="1186"/>
                  </a:cubicBezTo>
                  <a:cubicBezTo>
                    <a:pt x="456" y="1186"/>
                    <a:pt x="462" y="1187"/>
                    <a:pt x="465" y="1191"/>
                  </a:cubicBezTo>
                  <a:cubicBezTo>
                    <a:pt x="468" y="1194"/>
                    <a:pt x="466" y="1207"/>
                    <a:pt x="466" y="1207"/>
                  </a:cubicBezTo>
                  <a:cubicBezTo>
                    <a:pt x="479" y="1203"/>
                    <a:pt x="479" y="1203"/>
                    <a:pt x="479" y="1203"/>
                  </a:cubicBezTo>
                  <a:cubicBezTo>
                    <a:pt x="495" y="1205"/>
                    <a:pt x="495" y="1205"/>
                    <a:pt x="495" y="1205"/>
                  </a:cubicBezTo>
                  <a:cubicBezTo>
                    <a:pt x="490" y="1212"/>
                    <a:pt x="490" y="1212"/>
                    <a:pt x="490" y="1212"/>
                  </a:cubicBezTo>
                  <a:cubicBezTo>
                    <a:pt x="510" y="1221"/>
                    <a:pt x="510" y="1221"/>
                    <a:pt x="510" y="1221"/>
                  </a:cubicBezTo>
                  <a:cubicBezTo>
                    <a:pt x="511" y="1226"/>
                    <a:pt x="511" y="1226"/>
                    <a:pt x="511" y="1226"/>
                  </a:cubicBezTo>
                  <a:cubicBezTo>
                    <a:pt x="500" y="1230"/>
                    <a:pt x="500" y="1230"/>
                    <a:pt x="500" y="1230"/>
                  </a:cubicBezTo>
                  <a:cubicBezTo>
                    <a:pt x="502" y="1235"/>
                    <a:pt x="502" y="1235"/>
                    <a:pt x="502" y="1235"/>
                  </a:cubicBezTo>
                  <a:cubicBezTo>
                    <a:pt x="502" y="1235"/>
                    <a:pt x="499" y="1243"/>
                    <a:pt x="490" y="1247"/>
                  </a:cubicBezTo>
                  <a:cubicBezTo>
                    <a:pt x="481" y="1253"/>
                    <a:pt x="472" y="1245"/>
                    <a:pt x="472" y="1245"/>
                  </a:cubicBezTo>
                  <a:cubicBezTo>
                    <a:pt x="461" y="1248"/>
                    <a:pt x="461" y="1248"/>
                    <a:pt x="461" y="1248"/>
                  </a:cubicBezTo>
                  <a:cubicBezTo>
                    <a:pt x="462" y="1256"/>
                    <a:pt x="462" y="1256"/>
                    <a:pt x="462" y="1256"/>
                  </a:cubicBezTo>
                  <a:cubicBezTo>
                    <a:pt x="459" y="1263"/>
                    <a:pt x="459" y="1263"/>
                    <a:pt x="459" y="1263"/>
                  </a:cubicBezTo>
                  <a:cubicBezTo>
                    <a:pt x="459" y="1263"/>
                    <a:pt x="467" y="1265"/>
                    <a:pt x="472" y="1270"/>
                  </a:cubicBezTo>
                  <a:cubicBezTo>
                    <a:pt x="479" y="1275"/>
                    <a:pt x="477" y="1281"/>
                    <a:pt x="477" y="1281"/>
                  </a:cubicBezTo>
                  <a:cubicBezTo>
                    <a:pt x="477" y="1281"/>
                    <a:pt x="479" y="1282"/>
                    <a:pt x="481" y="1286"/>
                  </a:cubicBezTo>
                  <a:cubicBezTo>
                    <a:pt x="484" y="1290"/>
                    <a:pt x="485" y="1302"/>
                    <a:pt x="485" y="1302"/>
                  </a:cubicBezTo>
                  <a:cubicBezTo>
                    <a:pt x="489" y="1305"/>
                    <a:pt x="489" y="1305"/>
                    <a:pt x="489" y="1305"/>
                  </a:cubicBezTo>
                  <a:cubicBezTo>
                    <a:pt x="493" y="1305"/>
                    <a:pt x="500" y="1306"/>
                    <a:pt x="503" y="1303"/>
                  </a:cubicBezTo>
                  <a:cubicBezTo>
                    <a:pt x="508" y="1300"/>
                    <a:pt x="507" y="1285"/>
                    <a:pt x="507" y="1285"/>
                  </a:cubicBezTo>
                  <a:cubicBezTo>
                    <a:pt x="526" y="1285"/>
                    <a:pt x="526" y="1285"/>
                    <a:pt x="526" y="1285"/>
                  </a:cubicBezTo>
                  <a:cubicBezTo>
                    <a:pt x="529" y="1285"/>
                    <a:pt x="529" y="1285"/>
                    <a:pt x="529" y="1285"/>
                  </a:cubicBezTo>
                  <a:cubicBezTo>
                    <a:pt x="533" y="1284"/>
                    <a:pt x="539" y="1272"/>
                    <a:pt x="539" y="1272"/>
                  </a:cubicBezTo>
                  <a:cubicBezTo>
                    <a:pt x="552" y="1272"/>
                    <a:pt x="552" y="1272"/>
                    <a:pt x="552" y="1272"/>
                  </a:cubicBezTo>
                  <a:cubicBezTo>
                    <a:pt x="552" y="1272"/>
                    <a:pt x="552" y="1266"/>
                    <a:pt x="560" y="1265"/>
                  </a:cubicBezTo>
                  <a:cubicBezTo>
                    <a:pt x="568" y="1265"/>
                    <a:pt x="567" y="1271"/>
                    <a:pt x="567" y="1271"/>
                  </a:cubicBezTo>
                  <a:cubicBezTo>
                    <a:pt x="576" y="1272"/>
                    <a:pt x="576" y="1272"/>
                    <a:pt x="576" y="1272"/>
                  </a:cubicBezTo>
                  <a:cubicBezTo>
                    <a:pt x="576" y="1272"/>
                    <a:pt x="576" y="1279"/>
                    <a:pt x="580" y="1285"/>
                  </a:cubicBezTo>
                  <a:cubicBezTo>
                    <a:pt x="584" y="1290"/>
                    <a:pt x="596" y="1291"/>
                    <a:pt x="599" y="1295"/>
                  </a:cubicBezTo>
                  <a:cubicBezTo>
                    <a:pt x="602" y="1301"/>
                    <a:pt x="584" y="1305"/>
                    <a:pt x="584" y="1305"/>
                  </a:cubicBezTo>
                  <a:cubicBezTo>
                    <a:pt x="584" y="1305"/>
                    <a:pt x="587" y="1306"/>
                    <a:pt x="592" y="1310"/>
                  </a:cubicBezTo>
                  <a:cubicBezTo>
                    <a:pt x="597" y="1313"/>
                    <a:pt x="595" y="1321"/>
                    <a:pt x="595" y="1321"/>
                  </a:cubicBezTo>
                  <a:cubicBezTo>
                    <a:pt x="600" y="1321"/>
                    <a:pt x="600" y="1321"/>
                    <a:pt x="600" y="1321"/>
                  </a:cubicBezTo>
                  <a:cubicBezTo>
                    <a:pt x="599" y="1328"/>
                    <a:pt x="599" y="1328"/>
                    <a:pt x="599" y="1328"/>
                  </a:cubicBezTo>
                  <a:cubicBezTo>
                    <a:pt x="613" y="1325"/>
                    <a:pt x="613" y="1325"/>
                    <a:pt x="613" y="1325"/>
                  </a:cubicBezTo>
                  <a:cubicBezTo>
                    <a:pt x="619" y="1329"/>
                    <a:pt x="619" y="1329"/>
                    <a:pt x="619" y="1329"/>
                  </a:cubicBezTo>
                  <a:cubicBezTo>
                    <a:pt x="619" y="1329"/>
                    <a:pt x="629" y="1319"/>
                    <a:pt x="634" y="1319"/>
                  </a:cubicBezTo>
                  <a:cubicBezTo>
                    <a:pt x="639" y="1319"/>
                    <a:pt x="639" y="1328"/>
                    <a:pt x="639" y="1328"/>
                  </a:cubicBezTo>
                  <a:cubicBezTo>
                    <a:pt x="645" y="1324"/>
                    <a:pt x="645" y="1324"/>
                    <a:pt x="645" y="1324"/>
                  </a:cubicBezTo>
                  <a:cubicBezTo>
                    <a:pt x="645" y="1324"/>
                    <a:pt x="649" y="1325"/>
                    <a:pt x="650" y="1325"/>
                  </a:cubicBezTo>
                  <a:cubicBezTo>
                    <a:pt x="651" y="1325"/>
                    <a:pt x="648" y="1333"/>
                    <a:pt x="648" y="1333"/>
                  </a:cubicBezTo>
                  <a:cubicBezTo>
                    <a:pt x="661" y="1349"/>
                    <a:pt x="661" y="1349"/>
                    <a:pt x="661" y="1349"/>
                  </a:cubicBezTo>
                  <a:cubicBezTo>
                    <a:pt x="659" y="1354"/>
                    <a:pt x="659" y="1354"/>
                    <a:pt x="659" y="1354"/>
                  </a:cubicBezTo>
                  <a:cubicBezTo>
                    <a:pt x="659" y="1354"/>
                    <a:pt x="675" y="1366"/>
                    <a:pt x="680" y="1361"/>
                  </a:cubicBezTo>
                  <a:cubicBezTo>
                    <a:pt x="686" y="1357"/>
                    <a:pt x="687" y="1355"/>
                    <a:pt x="693" y="1354"/>
                  </a:cubicBezTo>
                  <a:cubicBezTo>
                    <a:pt x="698" y="1353"/>
                    <a:pt x="698" y="1360"/>
                    <a:pt x="701" y="1360"/>
                  </a:cubicBezTo>
                  <a:cubicBezTo>
                    <a:pt x="704" y="1360"/>
                    <a:pt x="704" y="1356"/>
                    <a:pt x="704" y="1356"/>
                  </a:cubicBezTo>
                  <a:cubicBezTo>
                    <a:pt x="711" y="1356"/>
                    <a:pt x="711" y="1356"/>
                    <a:pt x="711" y="1356"/>
                  </a:cubicBezTo>
                  <a:cubicBezTo>
                    <a:pt x="712" y="1361"/>
                    <a:pt x="712" y="1361"/>
                    <a:pt x="712" y="1361"/>
                  </a:cubicBezTo>
                  <a:cubicBezTo>
                    <a:pt x="717" y="1363"/>
                    <a:pt x="717" y="1363"/>
                    <a:pt x="717" y="1363"/>
                  </a:cubicBezTo>
                  <a:cubicBezTo>
                    <a:pt x="717" y="1363"/>
                    <a:pt x="720" y="1356"/>
                    <a:pt x="721" y="1352"/>
                  </a:cubicBezTo>
                  <a:cubicBezTo>
                    <a:pt x="723" y="1349"/>
                    <a:pt x="734" y="1345"/>
                    <a:pt x="734" y="1345"/>
                  </a:cubicBezTo>
                  <a:cubicBezTo>
                    <a:pt x="744" y="1334"/>
                    <a:pt x="744" y="1334"/>
                    <a:pt x="744" y="1334"/>
                  </a:cubicBezTo>
                  <a:cubicBezTo>
                    <a:pt x="748" y="1339"/>
                    <a:pt x="748" y="1339"/>
                    <a:pt x="748" y="1339"/>
                  </a:cubicBezTo>
                  <a:cubicBezTo>
                    <a:pt x="753" y="1340"/>
                    <a:pt x="753" y="1340"/>
                    <a:pt x="753" y="1340"/>
                  </a:cubicBezTo>
                  <a:cubicBezTo>
                    <a:pt x="754" y="1344"/>
                    <a:pt x="754" y="1344"/>
                    <a:pt x="754" y="1344"/>
                  </a:cubicBezTo>
                  <a:cubicBezTo>
                    <a:pt x="764" y="1354"/>
                    <a:pt x="764" y="1354"/>
                    <a:pt x="764" y="1354"/>
                  </a:cubicBezTo>
                  <a:cubicBezTo>
                    <a:pt x="774" y="1354"/>
                    <a:pt x="774" y="1354"/>
                    <a:pt x="774" y="1354"/>
                  </a:cubicBezTo>
                  <a:cubicBezTo>
                    <a:pt x="779" y="1357"/>
                    <a:pt x="779" y="1357"/>
                    <a:pt x="779" y="1357"/>
                  </a:cubicBezTo>
                  <a:cubicBezTo>
                    <a:pt x="782" y="1354"/>
                    <a:pt x="782" y="1354"/>
                    <a:pt x="782" y="1354"/>
                  </a:cubicBezTo>
                  <a:cubicBezTo>
                    <a:pt x="782" y="1344"/>
                    <a:pt x="782" y="1344"/>
                    <a:pt x="782" y="1344"/>
                  </a:cubicBezTo>
                  <a:cubicBezTo>
                    <a:pt x="797" y="1349"/>
                    <a:pt x="797" y="1349"/>
                    <a:pt x="797" y="1349"/>
                  </a:cubicBezTo>
                  <a:cubicBezTo>
                    <a:pt x="801" y="1343"/>
                    <a:pt x="801" y="1343"/>
                    <a:pt x="801" y="1343"/>
                  </a:cubicBezTo>
                  <a:cubicBezTo>
                    <a:pt x="811" y="1349"/>
                    <a:pt x="811" y="1349"/>
                    <a:pt x="811" y="1349"/>
                  </a:cubicBezTo>
                  <a:cubicBezTo>
                    <a:pt x="819" y="1349"/>
                    <a:pt x="819" y="1349"/>
                    <a:pt x="819" y="1349"/>
                  </a:cubicBezTo>
                  <a:cubicBezTo>
                    <a:pt x="821" y="1341"/>
                    <a:pt x="821" y="1341"/>
                    <a:pt x="821" y="1341"/>
                  </a:cubicBezTo>
                  <a:cubicBezTo>
                    <a:pt x="826" y="1340"/>
                    <a:pt x="826" y="1340"/>
                    <a:pt x="826" y="1340"/>
                  </a:cubicBezTo>
                  <a:cubicBezTo>
                    <a:pt x="826" y="1340"/>
                    <a:pt x="829" y="1344"/>
                    <a:pt x="830" y="1347"/>
                  </a:cubicBezTo>
                  <a:cubicBezTo>
                    <a:pt x="831" y="1349"/>
                    <a:pt x="836" y="1348"/>
                    <a:pt x="836" y="1348"/>
                  </a:cubicBezTo>
                  <a:cubicBezTo>
                    <a:pt x="838" y="1344"/>
                    <a:pt x="838" y="1344"/>
                    <a:pt x="838" y="1344"/>
                  </a:cubicBezTo>
                  <a:cubicBezTo>
                    <a:pt x="845" y="1344"/>
                    <a:pt x="845" y="1344"/>
                    <a:pt x="845" y="1344"/>
                  </a:cubicBezTo>
                  <a:cubicBezTo>
                    <a:pt x="845" y="1344"/>
                    <a:pt x="847" y="1348"/>
                    <a:pt x="851" y="1350"/>
                  </a:cubicBezTo>
                  <a:cubicBezTo>
                    <a:pt x="856" y="1352"/>
                    <a:pt x="862" y="1350"/>
                    <a:pt x="862" y="1350"/>
                  </a:cubicBezTo>
                  <a:cubicBezTo>
                    <a:pt x="864" y="1343"/>
                    <a:pt x="864" y="1343"/>
                    <a:pt x="864" y="1343"/>
                  </a:cubicBezTo>
                  <a:cubicBezTo>
                    <a:pt x="870" y="1343"/>
                    <a:pt x="870" y="1343"/>
                    <a:pt x="870" y="1343"/>
                  </a:cubicBezTo>
                  <a:cubicBezTo>
                    <a:pt x="870" y="1354"/>
                    <a:pt x="870" y="1354"/>
                    <a:pt x="870" y="1354"/>
                  </a:cubicBezTo>
                  <a:cubicBezTo>
                    <a:pt x="870" y="1354"/>
                    <a:pt x="876" y="1357"/>
                    <a:pt x="879" y="1366"/>
                  </a:cubicBezTo>
                  <a:cubicBezTo>
                    <a:pt x="881" y="1374"/>
                    <a:pt x="868" y="1384"/>
                    <a:pt x="868" y="1384"/>
                  </a:cubicBezTo>
                  <a:cubicBezTo>
                    <a:pt x="868" y="1390"/>
                    <a:pt x="868" y="1390"/>
                    <a:pt x="868" y="1390"/>
                  </a:cubicBezTo>
                  <a:cubicBezTo>
                    <a:pt x="885" y="1389"/>
                    <a:pt x="885" y="1389"/>
                    <a:pt x="885" y="1389"/>
                  </a:cubicBezTo>
                  <a:cubicBezTo>
                    <a:pt x="885" y="1394"/>
                    <a:pt x="885" y="1394"/>
                    <a:pt x="885" y="1394"/>
                  </a:cubicBezTo>
                  <a:cubicBezTo>
                    <a:pt x="876" y="1397"/>
                    <a:pt x="876" y="1397"/>
                    <a:pt x="876" y="1397"/>
                  </a:cubicBezTo>
                  <a:cubicBezTo>
                    <a:pt x="876" y="1412"/>
                    <a:pt x="876" y="1412"/>
                    <a:pt x="876" y="1412"/>
                  </a:cubicBezTo>
                  <a:cubicBezTo>
                    <a:pt x="876" y="1412"/>
                    <a:pt x="882" y="1411"/>
                    <a:pt x="889" y="1415"/>
                  </a:cubicBezTo>
                  <a:cubicBezTo>
                    <a:pt x="896" y="1419"/>
                    <a:pt x="892" y="1427"/>
                    <a:pt x="892" y="1427"/>
                  </a:cubicBezTo>
                  <a:cubicBezTo>
                    <a:pt x="897" y="1428"/>
                    <a:pt x="897" y="1428"/>
                    <a:pt x="897" y="1428"/>
                  </a:cubicBezTo>
                  <a:cubicBezTo>
                    <a:pt x="898" y="1442"/>
                    <a:pt x="898" y="1442"/>
                    <a:pt x="898" y="1442"/>
                  </a:cubicBezTo>
                  <a:cubicBezTo>
                    <a:pt x="895" y="1445"/>
                    <a:pt x="895" y="1445"/>
                    <a:pt x="895" y="1445"/>
                  </a:cubicBezTo>
                  <a:cubicBezTo>
                    <a:pt x="895" y="1445"/>
                    <a:pt x="900" y="1449"/>
                    <a:pt x="900" y="1455"/>
                  </a:cubicBezTo>
                  <a:cubicBezTo>
                    <a:pt x="901" y="1462"/>
                    <a:pt x="874" y="1465"/>
                    <a:pt x="866" y="1467"/>
                  </a:cubicBezTo>
                  <a:cubicBezTo>
                    <a:pt x="859" y="1470"/>
                    <a:pt x="860" y="1475"/>
                    <a:pt x="861" y="1479"/>
                  </a:cubicBezTo>
                  <a:cubicBezTo>
                    <a:pt x="861" y="1482"/>
                    <a:pt x="856" y="1485"/>
                    <a:pt x="849" y="1489"/>
                  </a:cubicBezTo>
                  <a:cubicBezTo>
                    <a:pt x="843" y="1492"/>
                    <a:pt x="843" y="1505"/>
                    <a:pt x="847" y="1511"/>
                  </a:cubicBezTo>
                  <a:cubicBezTo>
                    <a:pt x="850" y="1516"/>
                    <a:pt x="852" y="1521"/>
                    <a:pt x="852" y="1524"/>
                  </a:cubicBezTo>
                  <a:cubicBezTo>
                    <a:pt x="870" y="1520"/>
                    <a:pt x="870" y="1520"/>
                    <a:pt x="870" y="1520"/>
                  </a:cubicBezTo>
                  <a:cubicBezTo>
                    <a:pt x="870" y="1511"/>
                    <a:pt x="870" y="1511"/>
                    <a:pt x="870" y="1511"/>
                  </a:cubicBezTo>
                  <a:cubicBezTo>
                    <a:pt x="881" y="1511"/>
                    <a:pt x="881" y="1511"/>
                    <a:pt x="881" y="1511"/>
                  </a:cubicBezTo>
                  <a:cubicBezTo>
                    <a:pt x="880" y="1506"/>
                    <a:pt x="880" y="1506"/>
                    <a:pt x="880" y="1506"/>
                  </a:cubicBezTo>
                  <a:cubicBezTo>
                    <a:pt x="884" y="1500"/>
                    <a:pt x="884" y="1500"/>
                    <a:pt x="884" y="1500"/>
                  </a:cubicBezTo>
                  <a:cubicBezTo>
                    <a:pt x="894" y="1500"/>
                    <a:pt x="894" y="1500"/>
                    <a:pt x="894" y="1500"/>
                  </a:cubicBezTo>
                  <a:cubicBezTo>
                    <a:pt x="893" y="1506"/>
                    <a:pt x="893" y="1506"/>
                    <a:pt x="893" y="1506"/>
                  </a:cubicBezTo>
                  <a:cubicBezTo>
                    <a:pt x="900" y="1515"/>
                    <a:pt x="900" y="1515"/>
                    <a:pt x="900" y="1515"/>
                  </a:cubicBezTo>
                  <a:cubicBezTo>
                    <a:pt x="891" y="1514"/>
                    <a:pt x="891" y="1514"/>
                    <a:pt x="891" y="1514"/>
                  </a:cubicBezTo>
                  <a:cubicBezTo>
                    <a:pt x="891" y="1514"/>
                    <a:pt x="887" y="1521"/>
                    <a:pt x="883" y="1530"/>
                  </a:cubicBezTo>
                  <a:cubicBezTo>
                    <a:pt x="880" y="1540"/>
                    <a:pt x="871" y="1537"/>
                    <a:pt x="871" y="1537"/>
                  </a:cubicBezTo>
                  <a:cubicBezTo>
                    <a:pt x="870" y="1544"/>
                    <a:pt x="870" y="1544"/>
                    <a:pt x="870" y="1544"/>
                  </a:cubicBezTo>
                  <a:cubicBezTo>
                    <a:pt x="878" y="1543"/>
                    <a:pt x="878" y="1543"/>
                    <a:pt x="878" y="1543"/>
                  </a:cubicBezTo>
                  <a:cubicBezTo>
                    <a:pt x="876" y="1549"/>
                    <a:pt x="876" y="1549"/>
                    <a:pt x="876" y="1549"/>
                  </a:cubicBezTo>
                  <a:cubicBezTo>
                    <a:pt x="866" y="1549"/>
                    <a:pt x="866" y="1549"/>
                    <a:pt x="866" y="1549"/>
                  </a:cubicBezTo>
                  <a:cubicBezTo>
                    <a:pt x="858" y="1558"/>
                    <a:pt x="858" y="1558"/>
                    <a:pt x="858" y="1558"/>
                  </a:cubicBezTo>
                  <a:cubicBezTo>
                    <a:pt x="843" y="1558"/>
                    <a:pt x="843" y="1558"/>
                    <a:pt x="843" y="1558"/>
                  </a:cubicBezTo>
                  <a:cubicBezTo>
                    <a:pt x="855" y="1575"/>
                    <a:pt x="855" y="1575"/>
                    <a:pt x="855" y="1575"/>
                  </a:cubicBezTo>
                  <a:cubicBezTo>
                    <a:pt x="855" y="1575"/>
                    <a:pt x="862" y="1571"/>
                    <a:pt x="867" y="1571"/>
                  </a:cubicBezTo>
                  <a:cubicBezTo>
                    <a:pt x="874" y="1571"/>
                    <a:pt x="876" y="1580"/>
                    <a:pt x="876" y="1580"/>
                  </a:cubicBezTo>
                  <a:cubicBezTo>
                    <a:pt x="876" y="1580"/>
                    <a:pt x="893" y="1578"/>
                    <a:pt x="894" y="1586"/>
                  </a:cubicBezTo>
                  <a:cubicBezTo>
                    <a:pt x="895" y="1592"/>
                    <a:pt x="880" y="1585"/>
                    <a:pt x="880" y="1585"/>
                  </a:cubicBezTo>
                  <a:cubicBezTo>
                    <a:pt x="877" y="1599"/>
                    <a:pt x="877" y="1599"/>
                    <a:pt x="877" y="1599"/>
                  </a:cubicBezTo>
                  <a:cubicBezTo>
                    <a:pt x="873" y="1591"/>
                    <a:pt x="873" y="1591"/>
                    <a:pt x="873" y="1591"/>
                  </a:cubicBezTo>
                  <a:cubicBezTo>
                    <a:pt x="867" y="1594"/>
                    <a:pt x="867" y="1594"/>
                    <a:pt x="867" y="1594"/>
                  </a:cubicBezTo>
                  <a:cubicBezTo>
                    <a:pt x="867" y="1594"/>
                    <a:pt x="871" y="1610"/>
                    <a:pt x="871" y="1615"/>
                  </a:cubicBezTo>
                  <a:cubicBezTo>
                    <a:pt x="871" y="1619"/>
                    <a:pt x="865" y="1619"/>
                    <a:pt x="862" y="1623"/>
                  </a:cubicBezTo>
                  <a:cubicBezTo>
                    <a:pt x="859" y="1626"/>
                    <a:pt x="868" y="1634"/>
                    <a:pt x="866" y="1639"/>
                  </a:cubicBezTo>
                  <a:cubicBezTo>
                    <a:pt x="864" y="1646"/>
                    <a:pt x="859" y="1657"/>
                    <a:pt x="852" y="1658"/>
                  </a:cubicBezTo>
                  <a:cubicBezTo>
                    <a:pt x="846" y="1658"/>
                    <a:pt x="844" y="1650"/>
                    <a:pt x="844" y="1650"/>
                  </a:cubicBezTo>
                  <a:cubicBezTo>
                    <a:pt x="830" y="1651"/>
                    <a:pt x="830" y="1651"/>
                    <a:pt x="830" y="1651"/>
                  </a:cubicBezTo>
                  <a:cubicBezTo>
                    <a:pt x="831" y="1656"/>
                    <a:pt x="831" y="1656"/>
                    <a:pt x="831" y="1656"/>
                  </a:cubicBezTo>
                  <a:cubicBezTo>
                    <a:pt x="831" y="1656"/>
                    <a:pt x="841" y="1657"/>
                    <a:pt x="842" y="1659"/>
                  </a:cubicBezTo>
                  <a:cubicBezTo>
                    <a:pt x="842" y="1662"/>
                    <a:pt x="830" y="1669"/>
                    <a:pt x="830" y="1669"/>
                  </a:cubicBezTo>
                  <a:cubicBezTo>
                    <a:pt x="833" y="1674"/>
                    <a:pt x="833" y="1674"/>
                    <a:pt x="833" y="1674"/>
                  </a:cubicBezTo>
                  <a:cubicBezTo>
                    <a:pt x="847" y="1669"/>
                    <a:pt x="847" y="1669"/>
                    <a:pt x="847" y="1669"/>
                  </a:cubicBezTo>
                  <a:cubicBezTo>
                    <a:pt x="847" y="1669"/>
                    <a:pt x="841" y="1664"/>
                    <a:pt x="851" y="1663"/>
                  </a:cubicBezTo>
                  <a:cubicBezTo>
                    <a:pt x="862" y="1663"/>
                    <a:pt x="852" y="1670"/>
                    <a:pt x="852" y="1670"/>
                  </a:cubicBezTo>
                  <a:cubicBezTo>
                    <a:pt x="865" y="1673"/>
                    <a:pt x="865" y="1673"/>
                    <a:pt x="865" y="1673"/>
                  </a:cubicBezTo>
                  <a:cubicBezTo>
                    <a:pt x="873" y="1686"/>
                    <a:pt x="873" y="1686"/>
                    <a:pt x="873" y="1686"/>
                  </a:cubicBezTo>
                  <a:cubicBezTo>
                    <a:pt x="894" y="1684"/>
                    <a:pt x="894" y="1684"/>
                    <a:pt x="894" y="1684"/>
                  </a:cubicBezTo>
                  <a:cubicBezTo>
                    <a:pt x="895" y="1678"/>
                    <a:pt x="895" y="1678"/>
                    <a:pt x="895" y="1678"/>
                  </a:cubicBezTo>
                  <a:cubicBezTo>
                    <a:pt x="903" y="1684"/>
                    <a:pt x="903" y="1684"/>
                    <a:pt x="903" y="1684"/>
                  </a:cubicBezTo>
                  <a:cubicBezTo>
                    <a:pt x="908" y="1684"/>
                    <a:pt x="908" y="1684"/>
                    <a:pt x="908" y="1684"/>
                  </a:cubicBezTo>
                  <a:cubicBezTo>
                    <a:pt x="911" y="1689"/>
                    <a:pt x="911" y="1689"/>
                    <a:pt x="911" y="1689"/>
                  </a:cubicBezTo>
                  <a:cubicBezTo>
                    <a:pt x="917" y="1688"/>
                    <a:pt x="917" y="1688"/>
                    <a:pt x="917" y="1688"/>
                  </a:cubicBezTo>
                  <a:cubicBezTo>
                    <a:pt x="926" y="1691"/>
                    <a:pt x="926" y="1691"/>
                    <a:pt x="926" y="1691"/>
                  </a:cubicBezTo>
                  <a:cubicBezTo>
                    <a:pt x="929" y="1688"/>
                    <a:pt x="929" y="1688"/>
                    <a:pt x="929" y="1688"/>
                  </a:cubicBezTo>
                  <a:cubicBezTo>
                    <a:pt x="943" y="1687"/>
                    <a:pt x="943" y="1687"/>
                    <a:pt x="943" y="1687"/>
                  </a:cubicBezTo>
                  <a:cubicBezTo>
                    <a:pt x="949" y="1694"/>
                    <a:pt x="949" y="1694"/>
                    <a:pt x="949" y="1694"/>
                  </a:cubicBezTo>
                  <a:cubicBezTo>
                    <a:pt x="949" y="1694"/>
                    <a:pt x="970" y="1696"/>
                    <a:pt x="976" y="1699"/>
                  </a:cubicBezTo>
                  <a:cubicBezTo>
                    <a:pt x="982" y="1702"/>
                    <a:pt x="998" y="1713"/>
                    <a:pt x="998" y="1713"/>
                  </a:cubicBezTo>
                  <a:cubicBezTo>
                    <a:pt x="1003" y="1712"/>
                    <a:pt x="1003" y="1712"/>
                    <a:pt x="1003" y="1712"/>
                  </a:cubicBezTo>
                  <a:cubicBezTo>
                    <a:pt x="1007" y="1716"/>
                    <a:pt x="1007" y="1716"/>
                    <a:pt x="1007" y="1716"/>
                  </a:cubicBezTo>
                  <a:cubicBezTo>
                    <a:pt x="1016" y="1717"/>
                    <a:pt x="1016" y="1717"/>
                    <a:pt x="1016" y="1717"/>
                  </a:cubicBezTo>
                  <a:cubicBezTo>
                    <a:pt x="1019" y="1721"/>
                    <a:pt x="1019" y="1721"/>
                    <a:pt x="1019" y="1721"/>
                  </a:cubicBezTo>
                  <a:cubicBezTo>
                    <a:pt x="1024" y="1720"/>
                    <a:pt x="1024" y="1720"/>
                    <a:pt x="1024" y="1720"/>
                  </a:cubicBezTo>
                  <a:cubicBezTo>
                    <a:pt x="1024" y="1720"/>
                    <a:pt x="1024" y="1710"/>
                    <a:pt x="1028" y="1705"/>
                  </a:cubicBezTo>
                  <a:cubicBezTo>
                    <a:pt x="1031" y="1701"/>
                    <a:pt x="1047" y="1703"/>
                    <a:pt x="1047" y="1703"/>
                  </a:cubicBezTo>
                  <a:cubicBezTo>
                    <a:pt x="1050" y="1698"/>
                    <a:pt x="1050" y="1698"/>
                    <a:pt x="1050" y="1698"/>
                  </a:cubicBezTo>
                  <a:cubicBezTo>
                    <a:pt x="1072" y="1701"/>
                    <a:pt x="1072" y="1701"/>
                    <a:pt x="1072" y="1701"/>
                  </a:cubicBezTo>
                  <a:cubicBezTo>
                    <a:pt x="1073" y="1700"/>
                    <a:pt x="1073" y="1700"/>
                    <a:pt x="1073" y="1700"/>
                  </a:cubicBezTo>
                  <a:cubicBezTo>
                    <a:pt x="1080" y="1700"/>
                    <a:pt x="1080" y="1700"/>
                    <a:pt x="1080" y="1700"/>
                  </a:cubicBezTo>
                  <a:cubicBezTo>
                    <a:pt x="1085" y="1696"/>
                    <a:pt x="1085" y="1696"/>
                    <a:pt x="1085" y="1696"/>
                  </a:cubicBezTo>
                  <a:cubicBezTo>
                    <a:pt x="1085" y="1696"/>
                    <a:pt x="1095" y="1702"/>
                    <a:pt x="1107" y="1699"/>
                  </a:cubicBezTo>
                  <a:cubicBezTo>
                    <a:pt x="1120" y="1697"/>
                    <a:pt x="1137" y="1683"/>
                    <a:pt x="1137" y="1683"/>
                  </a:cubicBezTo>
                  <a:cubicBezTo>
                    <a:pt x="1143" y="1684"/>
                    <a:pt x="1143" y="1684"/>
                    <a:pt x="1143" y="1684"/>
                  </a:cubicBezTo>
                  <a:cubicBezTo>
                    <a:pt x="1143" y="1684"/>
                    <a:pt x="1146" y="1679"/>
                    <a:pt x="1154" y="1679"/>
                  </a:cubicBezTo>
                  <a:cubicBezTo>
                    <a:pt x="1161" y="1678"/>
                    <a:pt x="1162" y="1683"/>
                    <a:pt x="1169" y="1685"/>
                  </a:cubicBezTo>
                  <a:cubicBezTo>
                    <a:pt x="1175" y="1688"/>
                    <a:pt x="1192" y="1683"/>
                    <a:pt x="1192" y="1683"/>
                  </a:cubicBezTo>
                  <a:cubicBezTo>
                    <a:pt x="1210" y="1683"/>
                    <a:pt x="1210" y="1683"/>
                    <a:pt x="1210" y="1683"/>
                  </a:cubicBezTo>
                  <a:cubicBezTo>
                    <a:pt x="1208" y="1689"/>
                    <a:pt x="1208" y="1689"/>
                    <a:pt x="1208" y="1689"/>
                  </a:cubicBezTo>
                  <a:cubicBezTo>
                    <a:pt x="1208" y="1689"/>
                    <a:pt x="1215" y="1691"/>
                    <a:pt x="1221" y="1690"/>
                  </a:cubicBezTo>
                  <a:cubicBezTo>
                    <a:pt x="1227" y="1690"/>
                    <a:pt x="1233" y="1681"/>
                    <a:pt x="1233" y="1681"/>
                  </a:cubicBezTo>
                  <a:cubicBezTo>
                    <a:pt x="1233" y="1674"/>
                    <a:pt x="1233" y="1674"/>
                    <a:pt x="1233" y="1674"/>
                  </a:cubicBezTo>
                  <a:cubicBezTo>
                    <a:pt x="1233" y="1674"/>
                    <a:pt x="1239" y="1669"/>
                    <a:pt x="1243" y="1666"/>
                  </a:cubicBezTo>
                  <a:cubicBezTo>
                    <a:pt x="1248" y="1664"/>
                    <a:pt x="1259" y="1669"/>
                    <a:pt x="1259" y="1669"/>
                  </a:cubicBezTo>
                  <a:cubicBezTo>
                    <a:pt x="1259" y="1659"/>
                    <a:pt x="1259" y="1659"/>
                    <a:pt x="1259" y="1659"/>
                  </a:cubicBezTo>
                  <a:cubicBezTo>
                    <a:pt x="1266" y="1660"/>
                    <a:pt x="1266" y="1660"/>
                    <a:pt x="1266" y="1660"/>
                  </a:cubicBezTo>
                  <a:cubicBezTo>
                    <a:pt x="1274" y="1656"/>
                    <a:pt x="1274" y="1656"/>
                    <a:pt x="1274" y="1656"/>
                  </a:cubicBezTo>
                  <a:cubicBezTo>
                    <a:pt x="1285" y="1663"/>
                    <a:pt x="1285" y="1663"/>
                    <a:pt x="1285" y="1663"/>
                  </a:cubicBezTo>
                  <a:cubicBezTo>
                    <a:pt x="1291" y="1657"/>
                    <a:pt x="1291" y="1657"/>
                    <a:pt x="1291" y="1657"/>
                  </a:cubicBezTo>
                  <a:cubicBezTo>
                    <a:pt x="1302" y="1654"/>
                    <a:pt x="1302" y="1654"/>
                    <a:pt x="1302" y="1654"/>
                  </a:cubicBezTo>
                  <a:cubicBezTo>
                    <a:pt x="1302" y="1654"/>
                    <a:pt x="1305" y="1671"/>
                    <a:pt x="1309" y="1675"/>
                  </a:cubicBezTo>
                  <a:cubicBezTo>
                    <a:pt x="1315" y="1679"/>
                    <a:pt x="1337" y="1674"/>
                    <a:pt x="1347" y="1674"/>
                  </a:cubicBezTo>
                  <a:cubicBezTo>
                    <a:pt x="1357" y="1673"/>
                    <a:pt x="1359" y="1675"/>
                    <a:pt x="1359" y="1675"/>
                  </a:cubicBezTo>
                  <a:cubicBezTo>
                    <a:pt x="1367" y="1671"/>
                    <a:pt x="1367" y="1671"/>
                    <a:pt x="1367" y="1671"/>
                  </a:cubicBezTo>
                  <a:cubicBezTo>
                    <a:pt x="1367" y="1671"/>
                    <a:pt x="1371" y="1672"/>
                    <a:pt x="1378" y="1672"/>
                  </a:cubicBezTo>
                  <a:cubicBezTo>
                    <a:pt x="1383" y="1672"/>
                    <a:pt x="1388" y="1681"/>
                    <a:pt x="1388" y="1681"/>
                  </a:cubicBezTo>
                  <a:cubicBezTo>
                    <a:pt x="1390" y="1678"/>
                    <a:pt x="1390" y="1678"/>
                    <a:pt x="1390" y="1678"/>
                  </a:cubicBezTo>
                  <a:cubicBezTo>
                    <a:pt x="1390" y="1678"/>
                    <a:pt x="1407" y="1689"/>
                    <a:pt x="1408" y="1689"/>
                  </a:cubicBezTo>
                  <a:cubicBezTo>
                    <a:pt x="1411" y="1689"/>
                    <a:pt x="1417" y="1687"/>
                    <a:pt x="1429" y="1686"/>
                  </a:cubicBezTo>
                  <a:cubicBezTo>
                    <a:pt x="1440" y="1685"/>
                    <a:pt x="1435" y="1674"/>
                    <a:pt x="1435" y="1674"/>
                  </a:cubicBezTo>
                  <a:cubicBezTo>
                    <a:pt x="1438" y="1668"/>
                    <a:pt x="1438" y="1668"/>
                    <a:pt x="1438" y="1668"/>
                  </a:cubicBezTo>
                  <a:cubicBezTo>
                    <a:pt x="1437" y="1657"/>
                    <a:pt x="1437" y="1657"/>
                    <a:pt x="1437" y="1657"/>
                  </a:cubicBezTo>
                  <a:cubicBezTo>
                    <a:pt x="1446" y="1644"/>
                    <a:pt x="1446" y="1644"/>
                    <a:pt x="1446" y="1644"/>
                  </a:cubicBezTo>
                  <a:cubicBezTo>
                    <a:pt x="1445" y="1626"/>
                    <a:pt x="1445" y="1626"/>
                    <a:pt x="1445" y="1626"/>
                  </a:cubicBezTo>
                  <a:cubicBezTo>
                    <a:pt x="1434" y="1626"/>
                    <a:pt x="1434" y="1626"/>
                    <a:pt x="1434" y="1626"/>
                  </a:cubicBezTo>
                  <a:cubicBezTo>
                    <a:pt x="1417" y="1613"/>
                    <a:pt x="1417" y="1613"/>
                    <a:pt x="1417" y="1613"/>
                  </a:cubicBezTo>
                  <a:cubicBezTo>
                    <a:pt x="1417" y="1613"/>
                    <a:pt x="1406" y="1612"/>
                    <a:pt x="1404" y="1611"/>
                  </a:cubicBezTo>
                  <a:cubicBezTo>
                    <a:pt x="1402" y="1611"/>
                    <a:pt x="1391" y="1604"/>
                    <a:pt x="1391" y="1604"/>
                  </a:cubicBezTo>
                  <a:cubicBezTo>
                    <a:pt x="1391" y="1604"/>
                    <a:pt x="1387" y="1604"/>
                    <a:pt x="1382" y="1602"/>
                  </a:cubicBezTo>
                  <a:cubicBezTo>
                    <a:pt x="1378" y="1601"/>
                    <a:pt x="1380" y="1599"/>
                    <a:pt x="1376" y="1592"/>
                  </a:cubicBezTo>
                  <a:cubicBezTo>
                    <a:pt x="1372" y="1586"/>
                    <a:pt x="1365" y="1590"/>
                    <a:pt x="1358" y="1584"/>
                  </a:cubicBezTo>
                  <a:cubicBezTo>
                    <a:pt x="1352" y="1578"/>
                    <a:pt x="1356" y="1565"/>
                    <a:pt x="1356" y="1565"/>
                  </a:cubicBezTo>
                  <a:cubicBezTo>
                    <a:pt x="1350" y="1565"/>
                    <a:pt x="1350" y="1565"/>
                    <a:pt x="1350" y="1565"/>
                  </a:cubicBezTo>
                  <a:cubicBezTo>
                    <a:pt x="1341" y="1543"/>
                    <a:pt x="1341" y="1543"/>
                    <a:pt x="1341" y="1543"/>
                  </a:cubicBezTo>
                  <a:cubicBezTo>
                    <a:pt x="1341" y="1530"/>
                    <a:pt x="1341" y="1530"/>
                    <a:pt x="1341" y="1530"/>
                  </a:cubicBezTo>
                  <a:cubicBezTo>
                    <a:pt x="1343" y="1527"/>
                    <a:pt x="1343" y="1527"/>
                    <a:pt x="1343" y="1527"/>
                  </a:cubicBezTo>
                  <a:cubicBezTo>
                    <a:pt x="1343" y="1527"/>
                    <a:pt x="1342" y="1525"/>
                    <a:pt x="1339" y="1525"/>
                  </a:cubicBezTo>
                  <a:cubicBezTo>
                    <a:pt x="1335" y="1526"/>
                    <a:pt x="1338" y="1538"/>
                    <a:pt x="1338" y="1538"/>
                  </a:cubicBezTo>
                  <a:cubicBezTo>
                    <a:pt x="1342" y="1559"/>
                    <a:pt x="1342" y="1559"/>
                    <a:pt x="1342" y="1559"/>
                  </a:cubicBezTo>
                  <a:cubicBezTo>
                    <a:pt x="1339" y="1558"/>
                    <a:pt x="1339" y="1558"/>
                    <a:pt x="1339" y="1558"/>
                  </a:cubicBezTo>
                  <a:cubicBezTo>
                    <a:pt x="1337" y="1540"/>
                    <a:pt x="1337" y="1540"/>
                    <a:pt x="1337" y="1540"/>
                  </a:cubicBezTo>
                  <a:cubicBezTo>
                    <a:pt x="1333" y="1539"/>
                    <a:pt x="1333" y="1539"/>
                    <a:pt x="1333" y="1539"/>
                  </a:cubicBezTo>
                  <a:cubicBezTo>
                    <a:pt x="1313" y="1523"/>
                    <a:pt x="1313" y="1523"/>
                    <a:pt x="1313" y="1523"/>
                  </a:cubicBezTo>
                  <a:cubicBezTo>
                    <a:pt x="1313" y="1523"/>
                    <a:pt x="1310" y="1526"/>
                    <a:pt x="1308" y="1526"/>
                  </a:cubicBezTo>
                  <a:cubicBezTo>
                    <a:pt x="1306" y="1526"/>
                    <a:pt x="1304" y="1521"/>
                    <a:pt x="1301" y="1518"/>
                  </a:cubicBezTo>
                  <a:cubicBezTo>
                    <a:pt x="1297" y="1516"/>
                    <a:pt x="1286" y="1522"/>
                    <a:pt x="1286" y="1522"/>
                  </a:cubicBezTo>
                  <a:cubicBezTo>
                    <a:pt x="1286" y="1522"/>
                    <a:pt x="1277" y="1512"/>
                    <a:pt x="1275" y="1508"/>
                  </a:cubicBezTo>
                  <a:cubicBezTo>
                    <a:pt x="1273" y="1502"/>
                    <a:pt x="1281" y="1496"/>
                    <a:pt x="1285" y="1490"/>
                  </a:cubicBezTo>
                  <a:cubicBezTo>
                    <a:pt x="1290" y="1483"/>
                    <a:pt x="1287" y="1468"/>
                    <a:pt x="1287" y="1468"/>
                  </a:cubicBezTo>
                  <a:cubicBezTo>
                    <a:pt x="1283" y="1465"/>
                    <a:pt x="1283" y="1465"/>
                    <a:pt x="1283" y="1465"/>
                  </a:cubicBezTo>
                  <a:cubicBezTo>
                    <a:pt x="1287" y="1460"/>
                    <a:pt x="1287" y="1460"/>
                    <a:pt x="1287" y="1460"/>
                  </a:cubicBezTo>
                  <a:cubicBezTo>
                    <a:pt x="1284" y="1459"/>
                    <a:pt x="1284" y="1459"/>
                    <a:pt x="1284" y="1459"/>
                  </a:cubicBezTo>
                  <a:cubicBezTo>
                    <a:pt x="1283" y="1443"/>
                    <a:pt x="1283" y="1443"/>
                    <a:pt x="1283" y="1443"/>
                  </a:cubicBezTo>
                  <a:cubicBezTo>
                    <a:pt x="1286" y="1436"/>
                    <a:pt x="1286" y="1436"/>
                    <a:pt x="1286" y="1436"/>
                  </a:cubicBezTo>
                  <a:cubicBezTo>
                    <a:pt x="1286" y="1436"/>
                    <a:pt x="1280" y="1431"/>
                    <a:pt x="1281" y="1428"/>
                  </a:cubicBezTo>
                  <a:cubicBezTo>
                    <a:pt x="1282" y="1424"/>
                    <a:pt x="1291" y="1430"/>
                    <a:pt x="1296" y="1431"/>
                  </a:cubicBezTo>
                  <a:cubicBezTo>
                    <a:pt x="1300" y="1431"/>
                    <a:pt x="1299" y="1428"/>
                    <a:pt x="1299" y="1428"/>
                  </a:cubicBezTo>
                  <a:cubicBezTo>
                    <a:pt x="1299" y="1428"/>
                    <a:pt x="1291" y="1422"/>
                    <a:pt x="1293" y="1419"/>
                  </a:cubicBezTo>
                  <a:cubicBezTo>
                    <a:pt x="1296" y="1416"/>
                    <a:pt x="1306" y="1410"/>
                    <a:pt x="1306" y="1410"/>
                  </a:cubicBezTo>
                  <a:cubicBezTo>
                    <a:pt x="1313" y="1412"/>
                    <a:pt x="1313" y="1412"/>
                    <a:pt x="1313" y="1412"/>
                  </a:cubicBezTo>
                  <a:cubicBezTo>
                    <a:pt x="1317" y="1411"/>
                    <a:pt x="1317" y="1411"/>
                    <a:pt x="1317" y="1411"/>
                  </a:cubicBezTo>
                  <a:cubicBezTo>
                    <a:pt x="1305" y="1402"/>
                    <a:pt x="1305" y="1402"/>
                    <a:pt x="1305" y="1402"/>
                  </a:cubicBezTo>
                  <a:cubicBezTo>
                    <a:pt x="1308" y="1397"/>
                    <a:pt x="1308" y="1397"/>
                    <a:pt x="1308" y="1397"/>
                  </a:cubicBezTo>
                  <a:cubicBezTo>
                    <a:pt x="1322" y="1404"/>
                    <a:pt x="1322" y="1404"/>
                    <a:pt x="1322" y="1404"/>
                  </a:cubicBezTo>
                  <a:cubicBezTo>
                    <a:pt x="1327" y="1402"/>
                    <a:pt x="1327" y="1402"/>
                    <a:pt x="1327" y="1402"/>
                  </a:cubicBezTo>
                  <a:cubicBezTo>
                    <a:pt x="1320" y="1398"/>
                    <a:pt x="1320" y="1398"/>
                    <a:pt x="1320" y="1398"/>
                  </a:cubicBezTo>
                  <a:cubicBezTo>
                    <a:pt x="1323" y="1391"/>
                    <a:pt x="1323" y="1391"/>
                    <a:pt x="1323" y="1391"/>
                  </a:cubicBezTo>
                  <a:cubicBezTo>
                    <a:pt x="1313" y="1386"/>
                    <a:pt x="1313" y="1386"/>
                    <a:pt x="1313" y="1386"/>
                  </a:cubicBezTo>
                  <a:cubicBezTo>
                    <a:pt x="1314" y="1381"/>
                    <a:pt x="1314" y="1381"/>
                    <a:pt x="1314" y="1381"/>
                  </a:cubicBezTo>
                  <a:cubicBezTo>
                    <a:pt x="1322" y="1383"/>
                    <a:pt x="1322" y="1383"/>
                    <a:pt x="1322" y="1383"/>
                  </a:cubicBezTo>
                  <a:cubicBezTo>
                    <a:pt x="1325" y="1383"/>
                    <a:pt x="1325" y="1383"/>
                    <a:pt x="1325" y="1383"/>
                  </a:cubicBezTo>
                  <a:cubicBezTo>
                    <a:pt x="1318" y="1378"/>
                    <a:pt x="1318" y="1378"/>
                    <a:pt x="1318" y="1378"/>
                  </a:cubicBezTo>
                  <a:cubicBezTo>
                    <a:pt x="1323" y="1375"/>
                    <a:pt x="1323" y="1375"/>
                    <a:pt x="1323" y="1375"/>
                  </a:cubicBezTo>
                  <a:cubicBezTo>
                    <a:pt x="1331" y="1379"/>
                    <a:pt x="1331" y="1379"/>
                    <a:pt x="1331" y="1379"/>
                  </a:cubicBezTo>
                  <a:cubicBezTo>
                    <a:pt x="1331" y="1379"/>
                    <a:pt x="1331" y="1372"/>
                    <a:pt x="1329" y="1369"/>
                  </a:cubicBezTo>
                  <a:cubicBezTo>
                    <a:pt x="1326" y="1366"/>
                    <a:pt x="1319" y="1367"/>
                    <a:pt x="1320" y="1363"/>
                  </a:cubicBezTo>
                  <a:cubicBezTo>
                    <a:pt x="1321" y="1357"/>
                    <a:pt x="1332" y="1358"/>
                    <a:pt x="1332" y="1358"/>
                  </a:cubicBezTo>
                  <a:cubicBezTo>
                    <a:pt x="1324" y="1354"/>
                    <a:pt x="1324" y="1354"/>
                    <a:pt x="1324" y="1354"/>
                  </a:cubicBezTo>
                  <a:cubicBezTo>
                    <a:pt x="1324" y="1354"/>
                    <a:pt x="1301" y="1358"/>
                    <a:pt x="1290" y="1357"/>
                  </a:cubicBezTo>
                  <a:cubicBezTo>
                    <a:pt x="1281" y="1356"/>
                    <a:pt x="1280" y="1350"/>
                    <a:pt x="1284" y="1343"/>
                  </a:cubicBezTo>
                  <a:cubicBezTo>
                    <a:pt x="1288" y="1338"/>
                    <a:pt x="1298" y="1344"/>
                    <a:pt x="1302" y="1340"/>
                  </a:cubicBezTo>
                  <a:cubicBezTo>
                    <a:pt x="1307" y="1335"/>
                    <a:pt x="1288" y="1328"/>
                    <a:pt x="1281" y="1326"/>
                  </a:cubicBezTo>
                  <a:cubicBezTo>
                    <a:pt x="1273" y="1324"/>
                    <a:pt x="1268" y="1313"/>
                    <a:pt x="1263" y="1310"/>
                  </a:cubicBezTo>
                  <a:cubicBezTo>
                    <a:pt x="1257" y="1308"/>
                    <a:pt x="1256" y="1312"/>
                    <a:pt x="1249" y="1312"/>
                  </a:cubicBezTo>
                  <a:cubicBezTo>
                    <a:pt x="1242" y="1312"/>
                    <a:pt x="1241" y="1301"/>
                    <a:pt x="1232" y="1298"/>
                  </a:cubicBezTo>
                  <a:cubicBezTo>
                    <a:pt x="1222" y="1295"/>
                    <a:pt x="1225" y="1307"/>
                    <a:pt x="1218" y="1309"/>
                  </a:cubicBezTo>
                  <a:cubicBezTo>
                    <a:pt x="1211" y="1311"/>
                    <a:pt x="1206" y="1310"/>
                    <a:pt x="1206" y="1310"/>
                  </a:cubicBezTo>
                  <a:cubicBezTo>
                    <a:pt x="1210" y="1318"/>
                    <a:pt x="1210" y="1318"/>
                    <a:pt x="1210" y="1318"/>
                  </a:cubicBezTo>
                  <a:cubicBezTo>
                    <a:pt x="1210" y="1318"/>
                    <a:pt x="1198" y="1318"/>
                    <a:pt x="1192" y="1316"/>
                  </a:cubicBezTo>
                  <a:cubicBezTo>
                    <a:pt x="1187" y="1315"/>
                    <a:pt x="1188" y="1308"/>
                    <a:pt x="1189" y="1306"/>
                  </a:cubicBezTo>
                  <a:cubicBezTo>
                    <a:pt x="1191" y="1303"/>
                    <a:pt x="1186" y="1301"/>
                    <a:pt x="1184" y="1298"/>
                  </a:cubicBezTo>
                  <a:cubicBezTo>
                    <a:pt x="1181" y="1296"/>
                    <a:pt x="1181" y="1292"/>
                    <a:pt x="1181" y="1292"/>
                  </a:cubicBezTo>
                  <a:cubicBezTo>
                    <a:pt x="1152" y="1298"/>
                    <a:pt x="1152" y="1298"/>
                    <a:pt x="1152" y="1298"/>
                  </a:cubicBezTo>
                  <a:cubicBezTo>
                    <a:pt x="1146" y="1259"/>
                    <a:pt x="1146" y="1259"/>
                    <a:pt x="1146" y="1259"/>
                  </a:cubicBezTo>
                  <a:cubicBezTo>
                    <a:pt x="1146" y="1259"/>
                    <a:pt x="1152" y="1249"/>
                    <a:pt x="1149" y="1241"/>
                  </a:cubicBezTo>
                  <a:cubicBezTo>
                    <a:pt x="1146" y="1232"/>
                    <a:pt x="1136" y="1234"/>
                    <a:pt x="1136" y="1234"/>
                  </a:cubicBezTo>
                  <a:cubicBezTo>
                    <a:pt x="1124" y="1199"/>
                    <a:pt x="1124" y="1199"/>
                    <a:pt x="1124" y="1199"/>
                  </a:cubicBezTo>
                  <a:cubicBezTo>
                    <a:pt x="1133" y="1184"/>
                    <a:pt x="1133" y="1184"/>
                    <a:pt x="1133" y="1184"/>
                  </a:cubicBezTo>
                  <a:cubicBezTo>
                    <a:pt x="1134" y="1179"/>
                    <a:pt x="1125" y="1178"/>
                    <a:pt x="1125" y="1170"/>
                  </a:cubicBezTo>
                  <a:cubicBezTo>
                    <a:pt x="1124" y="1163"/>
                    <a:pt x="1128" y="1156"/>
                    <a:pt x="1138" y="1156"/>
                  </a:cubicBezTo>
                  <a:cubicBezTo>
                    <a:pt x="1146" y="1156"/>
                    <a:pt x="1158" y="1165"/>
                    <a:pt x="1161" y="1170"/>
                  </a:cubicBezTo>
                  <a:cubicBezTo>
                    <a:pt x="1165" y="1177"/>
                    <a:pt x="1172" y="1176"/>
                    <a:pt x="1178" y="1176"/>
                  </a:cubicBezTo>
                  <a:cubicBezTo>
                    <a:pt x="1184" y="1176"/>
                    <a:pt x="1190" y="1162"/>
                    <a:pt x="1191" y="1152"/>
                  </a:cubicBezTo>
                  <a:cubicBezTo>
                    <a:pt x="1192" y="1143"/>
                    <a:pt x="1185" y="1151"/>
                    <a:pt x="1185" y="1151"/>
                  </a:cubicBezTo>
                  <a:cubicBezTo>
                    <a:pt x="1185" y="1151"/>
                    <a:pt x="1182" y="1146"/>
                    <a:pt x="1177" y="1144"/>
                  </a:cubicBezTo>
                  <a:cubicBezTo>
                    <a:pt x="1173" y="1140"/>
                    <a:pt x="1163" y="1128"/>
                    <a:pt x="1163" y="1128"/>
                  </a:cubicBezTo>
                  <a:cubicBezTo>
                    <a:pt x="1159" y="1128"/>
                    <a:pt x="1159" y="1128"/>
                    <a:pt x="1159" y="1128"/>
                  </a:cubicBezTo>
                  <a:cubicBezTo>
                    <a:pt x="1160" y="1124"/>
                    <a:pt x="1160" y="1124"/>
                    <a:pt x="1160" y="1124"/>
                  </a:cubicBezTo>
                  <a:cubicBezTo>
                    <a:pt x="1160" y="1124"/>
                    <a:pt x="1165" y="1122"/>
                    <a:pt x="1171" y="1121"/>
                  </a:cubicBezTo>
                  <a:cubicBezTo>
                    <a:pt x="1177" y="1120"/>
                    <a:pt x="1175" y="1104"/>
                    <a:pt x="1175" y="1104"/>
                  </a:cubicBezTo>
                  <a:cubicBezTo>
                    <a:pt x="1175" y="1104"/>
                    <a:pt x="1182" y="1099"/>
                    <a:pt x="1183" y="1093"/>
                  </a:cubicBezTo>
                  <a:cubicBezTo>
                    <a:pt x="1185" y="1089"/>
                    <a:pt x="1175" y="1090"/>
                    <a:pt x="1175" y="1090"/>
                  </a:cubicBezTo>
                  <a:cubicBezTo>
                    <a:pt x="1173" y="1080"/>
                    <a:pt x="1173" y="1080"/>
                    <a:pt x="1173" y="1080"/>
                  </a:cubicBezTo>
                  <a:cubicBezTo>
                    <a:pt x="1183" y="1074"/>
                    <a:pt x="1183" y="1074"/>
                    <a:pt x="1183" y="1074"/>
                  </a:cubicBezTo>
                  <a:cubicBezTo>
                    <a:pt x="1189" y="1063"/>
                    <a:pt x="1189" y="1063"/>
                    <a:pt x="1189" y="1063"/>
                  </a:cubicBezTo>
                  <a:cubicBezTo>
                    <a:pt x="1189" y="1063"/>
                    <a:pt x="1202" y="1055"/>
                    <a:pt x="1202" y="1052"/>
                  </a:cubicBezTo>
                  <a:cubicBezTo>
                    <a:pt x="1203" y="1048"/>
                    <a:pt x="1196" y="1049"/>
                    <a:pt x="1195" y="1045"/>
                  </a:cubicBezTo>
                  <a:cubicBezTo>
                    <a:pt x="1194" y="1043"/>
                    <a:pt x="1204" y="1041"/>
                    <a:pt x="1204" y="1038"/>
                  </a:cubicBezTo>
                  <a:cubicBezTo>
                    <a:pt x="1204" y="1036"/>
                    <a:pt x="1199" y="1029"/>
                    <a:pt x="1201" y="1027"/>
                  </a:cubicBezTo>
                  <a:cubicBezTo>
                    <a:pt x="1203" y="1025"/>
                    <a:pt x="1208" y="1022"/>
                    <a:pt x="1208" y="1022"/>
                  </a:cubicBezTo>
                  <a:cubicBezTo>
                    <a:pt x="1201" y="1016"/>
                    <a:pt x="1201" y="1016"/>
                    <a:pt x="1201" y="1016"/>
                  </a:cubicBezTo>
                  <a:cubicBezTo>
                    <a:pt x="1212" y="1016"/>
                    <a:pt x="1212" y="1016"/>
                    <a:pt x="1212" y="1016"/>
                  </a:cubicBezTo>
                  <a:cubicBezTo>
                    <a:pt x="1212" y="1016"/>
                    <a:pt x="1223" y="1009"/>
                    <a:pt x="1226" y="1010"/>
                  </a:cubicBezTo>
                  <a:cubicBezTo>
                    <a:pt x="1229" y="1011"/>
                    <a:pt x="1223" y="1021"/>
                    <a:pt x="1228" y="1022"/>
                  </a:cubicBezTo>
                  <a:cubicBezTo>
                    <a:pt x="1234" y="1024"/>
                    <a:pt x="1235" y="1011"/>
                    <a:pt x="1235" y="1011"/>
                  </a:cubicBezTo>
                  <a:cubicBezTo>
                    <a:pt x="1235" y="1011"/>
                    <a:pt x="1240" y="1012"/>
                    <a:pt x="1243" y="1010"/>
                  </a:cubicBezTo>
                  <a:cubicBezTo>
                    <a:pt x="1247" y="1008"/>
                    <a:pt x="1238" y="1002"/>
                    <a:pt x="1240" y="997"/>
                  </a:cubicBezTo>
                  <a:cubicBezTo>
                    <a:pt x="1242" y="993"/>
                    <a:pt x="1251" y="993"/>
                    <a:pt x="1251" y="993"/>
                  </a:cubicBezTo>
                  <a:cubicBezTo>
                    <a:pt x="1249" y="986"/>
                    <a:pt x="1249" y="986"/>
                    <a:pt x="1249" y="986"/>
                  </a:cubicBezTo>
                  <a:cubicBezTo>
                    <a:pt x="1253" y="984"/>
                    <a:pt x="1253" y="984"/>
                    <a:pt x="1253" y="984"/>
                  </a:cubicBezTo>
                  <a:cubicBezTo>
                    <a:pt x="1253" y="984"/>
                    <a:pt x="1269" y="994"/>
                    <a:pt x="1275" y="993"/>
                  </a:cubicBezTo>
                  <a:cubicBezTo>
                    <a:pt x="1281" y="993"/>
                    <a:pt x="1277" y="987"/>
                    <a:pt x="1277" y="987"/>
                  </a:cubicBezTo>
                  <a:cubicBezTo>
                    <a:pt x="1285" y="987"/>
                    <a:pt x="1285" y="987"/>
                    <a:pt x="1285" y="987"/>
                  </a:cubicBezTo>
                  <a:cubicBezTo>
                    <a:pt x="1285" y="987"/>
                    <a:pt x="1298" y="975"/>
                    <a:pt x="1306" y="974"/>
                  </a:cubicBezTo>
                  <a:cubicBezTo>
                    <a:pt x="1315" y="973"/>
                    <a:pt x="1313" y="981"/>
                    <a:pt x="1318" y="982"/>
                  </a:cubicBezTo>
                  <a:cubicBezTo>
                    <a:pt x="1322" y="984"/>
                    <a:pt x="1323" y="982"/>
                    <a:pt x="1326" y="978"/>
                  </a:cubicBezTo>
                  <a:cubicBezTo>
                    <a:pt x="1329" y="975"/>
                    <a:pt x="1334" y="976"/>
                    <a:pt x="1339" y="980"/>
                  </a:cubicBezTo>
                  <a:cubicBezTo>
                    <a:pt x="1345" y="985"/>
                    <a:pt x="1351" y="984"/>
                    <a:pt x="1356" y="984"/>
                  </a:cubicBezTo>
                  <a:cubicBezTo>
                    <a:pt x="1362" y="984"/>
                    <a:pt x="1363" y="985"/>
                    <a:pt x="1363" y="989"/>
                  </a:cubicBezTo>
                  <a:cubicBezTo>
                    <a:pt x="1363" y="992"/>
                    <a:pt x="1366" y="998"/>
                    <a:pt x="1370" y="1001"/>
                  </a:cubicBezTo>
                  <a:cubicBezTo>
                    <a:pt x="1375" y="1004"/>
                    <a:pt x="1376" y="996"/>
                    <a:pt x="1378" y="992"/>
                  </a:cubicBezTo>
                  <a:cubicBezTo>
                    <a:pt x="1379" y="988"/>
                    <a:pt x="1371" y="988"/>
                    <a:pt x="1369" y="984"/>
                  </a:cubicBezTo>
                  <a:cubicBezTo>
                    <a:pt x="1367" y="978"/>
                    <a:pt x="1362" y="979"/>
                    <a:pt x="1358" y="979"/>
                  </a:cubicBezTo>
                  <a:cubicBezTo>
                    <a:pt x="1356" y="978"/>
                    <a:pt x="1356" y="975"/>
                    <a:pt x="1358" y="971"/>
                  </a:cubicBezTo>
                  <a:cubicBezTo>
                    <a:pt x="1360" y="966"/>
                    <a:pt x="1372" y="971"/>
                    <a:pt x="1372" y="971"/>
                  </a:cubicBezTo>
                  <a:cubicBezTo>
                    <a:pt x="1372" y="971"/>
                    <a:pt x="1375" y="969"/>
                    <a:pt x="1379" y="969"/>
                  </a:cubicBezTo>
                  <a:cubicBezTo>
                    <a:pt x="1382" y="970"/>
                    <a:pt x="1382" y="973"/>
                    <a:pt x="1382" y="973"/>
                  </a:cubicBezTo>
                  <a:cubicBezTo>
                    <a:pt x="1414" y="970"/>
                    <a:pt x="1414" y="970"/>
                    <a:pt x="1414" y="970"/>
                  </a:cubicBezTo>
                  <a:cubicBezTo>
                    <a:pt x="1414" y="970"/>
                    <a:pt x="1418" y="958"/>
                    <a:pt x="1420" y="953"/>
                  </a:cubicBezTo>
                  <a:cubicBezTo>
                    <a:pt x="1422" y="946"/>
                    <a:pt x="1416" y="940"/>
                    <a:pt x="1416" y="940"/>
                  </a:cubicBezTo>
                  <a:cubicBezTo>
                    <a:pt x="1421" y="938"/>
                    <a:pt x="1421" y="938"/>
                    <a:pt x="1421" y="938"/>
                  </a:cubicBezTo>
                  <a:cubicBezTo>
                    <a:pt x="1420" y="923"/>
                    <a:pt x="1420" y="923"/>
                    <a:pt x="1420" y="923"/>
                  </a:cubicBezTo>
                  <a:cubicBezTo>
                    <a:pt x="1420" y="923"/>
                    <a:pt x="1427" y="927"/>
                    <a:pt x="1431" y="927"/>
                  </a:cubicBezTo>
                  <a:cubicBezTo>
                    <a:pt x="1435" y="926"/>
                    <a:pt x="1430" y="918"/>
                    <a:pt x="1430" y="918"/>
                  </a:cubicBezTo>
                  <a:cubicBezTo>
                    <a:pt x="1442" y="909"/>
                    <a:pt x="1442" y="909"/>
                    <a:pt x="1442" y="909"/>
                  </a:cubicBezTo>
                  <a:cubicBezTo>
                    <a:pt x="1442" y="909"/>
                    <a:pt x="1456" y="914"/>
                    <a:pt x="1461" y="912"/>
                  </a:cubicBezTo>
                  <a:cubicBezTo>
                    <a:pt x="1464" y="910"/>
                    <a:pt x="1460" y="906"/>
                    <a:pt x="1461" y="903"/>
                  </a:cubicBezTo>
                  <a:cubicBezTo>
                    <a:pt x="1462" y="902"/>
                    <a:pt x="1469" y="902"/>
                    <a:pt x="1469" y="902"/>
                  </a:cubicBezTo>
                  <a:cubicBezTo>
                    <a:pt x="1460" y="893"/>
                    <a:pt x="1460" y="893"/>
                    <a:pt x="1460" y="893"/>
                  </a:cubicBezTo>
                  <a:cubicBezTo>
                    <a:pt x="1460" y="893"/>
                    <a:pt x="1477" y="886"/>
                    <a:pt x="1479" y="884"/>
                  </a:cubicBezTo>
                  <a:cubicBezTo>
                    <a:pt x="1482" y="882"/>
                    <a:pt x="1478" y="875"/>
                    <a:pt x="1478" y="875"/>
                  </a:cubicBezTo>
                  <a:cubicBezTo>
                    <a:pt x="1478" y="875"/>
                    <a:pt x="1483" y="874"/>
                    <a:pt x="1488" y="872"/>
                  </a:cubicBezTo>
                  <a:cubicBezTo>
                    <a:pt x="1494" y="872"/>
                    <a:pt x="1494" y="878"/>
                    <a:pt x="1503" y="883"/>
                  </a:cubicBezTo>
                  <a:cubicBezTo>
                    <a:pt x="1511" y="887"/>
                    <a:pt x="1523" y="880"/>
                    <a:pt x="1532" y="876"/>
                  </a:cubicBezTo>
                  <a:cubicBezTo>
                    <a:pt x="1532" y="795"/>
                    <a:pt x="1532" y="795"/>
                    <a:pt x="1532" y="795"/>
                  </a:cubicBezTo>
                  <a:cubicBezTo>
                    <a:pt x="1522" y="796"/>
                    <a:pt x="1522" y="796"/>
                    <a:pt x="1522" y="796"/>
                  </a:cubicBezTo>
                  <a:cubicBezTo>
                    <a:pt x="1522" y="796"/>
                    <a:pt x="1526" y="792"/>
                    <a:pt x="1522" y="788"/>
                  </a:cubicBezTo>
                  <a:cubicBezTo>
                    <a:pt x="1520" y="785"/>
                    <a:pt x="1504" y="795"/>
                    <a:pt x="1504" y="795"/>
                  </a:cubicBezTo>
                  <a:cubicBezTo>
                    <a:pt x="1501" y="790"/>
                    <a:pt x="1501" y="790"/>
                    <a:pt x="1501" y="790"/>
                  </a:cubicBezTo>
                  <a:cubicBezTo>
                    <a:pt x="1509" y="767"/>
                    <a:pt x="1509" y="767"/>
                    <a:pt x="1509" y="767"/>
                  </a:cubicBezTo>
                  <a:cubicBezTo>
                    <a:pt x="1515" y="765"/>
                    <a:pt x="1515" y="765"/>
                    <a:pt x="1515" y="765"/>
                  </a:cubicBezTo>
                  <a:cubicBezTo>
                    <a:pt x="1517" y="743"/>
                    <a:pt x="1517" y="743"/>
                    <a:pt x="1517" y="743"/>
                  </a:cubicBezTo>
                  <a:cubicBezTo>
                    <a:pt x="1507" y="740"/>
                    <a:pt x="1507" y="740"/>
                    <a:pt x="1507" y="740"/>
                  </a:cubicBezTo>
                  <a:cubicBezTo>
                    <a:pt x="1502" y="742"/>
                    <a:pt x="1502" y="742"/>
                    <a:pt x="1502" y="742"/>
                  </a:cubicBezTo>
                  <a:cubicBezTo>
                    <a:pt x="1488" y="737"/>
                    <a:pt x="1488" y="737"/>
                    <a:pt x="1488" y="737"/>
                  </a:cubicBezTo>
                  <a:cubicBezTo>
                    <a:pt x="1488" y="737"/>
                    <a:pt x="1491" y="720"/>
                    <a:pt x="1491" y="718"/>
                  </a:cubicBezTo>
                  <a:cubicBezTo>
                    <a:pt x="1491" y="717"/>
                    <a:pt x="1485" y="715"/>
                    <a:pt x="1485" y="715"/>
                  </a:cubicBezTo>
                  <a:cubicBezTo>
                    <a:pt x="1496" y="707"/>
                    <a:pt x="1496" y="707"/>
                    <a:pt x="1496" y="707"/>
                  </a:cubicBezTo>
                  <a:cubicBezTo>
                    <a:pt x="1501" y="702"/>
                    <a:pt x="1501" y="702"/>
                    <a:pt x="1501" y="702"/>
                  </a:cubicBezTo>
                  <a:cubicBezTo>
                    <a:pt x="1510" y="701"/>
                    <a:pt x="1510" y="701"/>
                    <a:pt x="1510" y="701"/>
                  </a:cubicBezTo>
                  <a:cubicBezTo>
                    <a:pt x="1510" y="701"/>
                    <a:pt x="1516" y="692"/>
                    <a:pt x="1520" y="690"/>
                  </a:cubicBezTo>
                  <a:cubicBezTo>
                    <a:pt x="1524" y="688"/>
                    <a:pt x="1522" y="685"/>
                    <a:pt x="1517" y="681"/>
                  </a:cubicBezTo>
                  <a:cubicBezTo>
                    <a:pt x="1513" y="677"/>
                    <a:pt x="1511" y="683"/>
                    <a:pt x="1506" y="685"/>
                  </a:cubicBezTo>
                  <a:cubicBezTo>
                    <a:pt x="1503" y="686"/>
                    <a:pt x="1497" y="686"/>
                    <a:pt x="1497" y="686"/>
                  </a:cubicBezTo>
                  <a:cubicBezTo>
                    <a:pt x="1498" y="690"/>
                    <a:pt x="1498" y="690"/>
                    <a:pt x="1498" y="690"/>
                  </a:cubicBezTo>
                  <a:cubicBezTo>
                    <a:pt x="1482" y="695"/>
                    <a:pt x="1482" y="695"/>
                    <a:pt x="1482" y="695"/>
                  </a:cubicBezTo>
                  <a:cubicBezTo>
                    <a:pt x="1478" y="682"/>
                    <a:pt x="1478" y="682"/>
                    <a:pt x="1478" y="682"/>
                  </a:cubicBezTo>
                  <a:cubicBezTo>
                    <a:pt x="1478" y="682"/>
                    <a:pt x="1488" y="677"/>
                    <a:pt x="1483" y="674"/>
                  </a:cubicBezTo>
                  <a:cubicBezTo>
                    <a:pt x="1478" y="670"/>
                    <a:pt x="1472" y="682"/>
                    <a:pt x="1472" y="682"/>
                  </a:cubicBezTo>
                  <a:cubicBezTo>
                    <a:pt x="1466" y="681"/>
                    <a:pt x="1466" y="681"/>
                    <a:pt x="1466" y="681"/>
                  </a:cubicBezTo>
                  <a:cubicBezTo>
                    <a:pt x="1457" y="685"/>
                    <a:pt x="1457" y="685"/>
                    <a:pt x="1457" y="685"/>
                  </a:cubicBezTo>
                  <a:cubicBezTo>
                    <a:pt x="1460" y="679"/>
                    <a:pt x="1460" y="679"/>
                    <a:pt x="1460" y="679"/>
                  </a:cubicBezTo>
                  <a:cubicBezTo>
                    <a:pt x="1458" y="667"/>
                    <a:pt x="1458" y="667"/>
                    <a:pt x="1458" y="667"/>
                  </a:cubicBezTo>
                  <a:cubicBezTo>
                    <a:pt x="1446" y="669"/>
                    <a:pt x="1446" y="669"/>
                    <a:pt x="1446" y="669"/>
                  </a:cubicBezTo>
                  <a:cubicBezTo>
                    <a:pt x="1455" y="660"/>
                    <a:pt x="1455" y="660"/>
                    <a:pt x="1455" y="660"/>
                  </a:cubicBezTo>
                  <a:cubicBezTo>
                    <a:pt x="1451" y="658"/>
                    <a:pt x="1451" y="658"/>
                    <a:pt x="1451" y="658"/>
                  </a:cubicBezTo>
                  <a:cubicBezTo>
                    <a:pt x="1452" y="650"/>
                    <a:pt x="1452" y="650"/>
                    <a:pt x="1452" y="650"/>
                  </a:cubicBezTo>
                  <a:cubicBezTo>
                    <a:pt x="1465" y="650"/>
                    <a:pt x="1465" y="650"/>
                    <a:pt x="1465" y="650"/>
                  </a:cubicBezTo>
                  <a:cubicBezTo>
                    <a:pt x="1467" y="644"/>
                    <a:pt x="1467" y="644"/>
                    <a:pt x="1467" y="644"/>
                  </a:cubicBezTo>
                  <a:cubicBezTo>
                    <a:pt x="1476" y="646"/>
                    <a:pt x="1476" y="646"/>
                    <a:pt x="1476" y="646"/>
                  </a:cubicBezTo>
                  <a:cubicBezTo>
                    <a:pt x="1478" y="639"/>
                    <a:pt x="1478" y="639"/>
                    <a:pt x="1478" y="639"/>
                  </a:cubicBezTo>
                  <a:cubicBezTo>
                    <a:pt x="1486" y="627"/>
                    <a:pt x="1486" y="627"/>
                    <a:pt x="1486" y="627"/>
                  </a:cubicBezTo>
                  <a:cubicBezTo>
                    <a:pt x="1486" y="627"/>
                    <a:pt x="1489" y="636"/>
                    <a:pt x="1495" y="633"/>
                  </a:cubicBezTo>
                  <a:cubicBezTo>
                    <a:pt x="1500" y="631"/>
                    <a:pt x="1490" y="619"/>
                    <a:pt x="1490" y="619"/>
                  </a:cubicBezTo>
                  <a:cubicBezTo>
                    <a:pt x="1505" y="606"/>
                    <a:pt x="1505" y="606"/>
                    <a:pt x="1505" y="606"/>
                  </a:cubicBezTo>
                  <a:cubicBezTo>
                    <a:pt x="1501" y="599"/>
                    <a:pt x="1501" y="599"/>
                    <a:pt x="1501" y="599"/>
                  </a:cubicBezTo>
                  <a:cubicBezTo>
                    <a:pt x="1509" y="596"/>
                    <a:pt x="1509" y="596"/>
                    <a:pt x="1509" y="596"/>
                  </a:cubicBezTo>
                  <a:cubicBezTo>
                    <a:pt x="1515" y="584"/>
                    <a:pt x="1515" y="584"/>
                    <a:pt x="1515" y="584"/>
                  </a:cubicBezTo>
                  <a:cubicBezTo>
                    <a:pt x="1515" y="584"/>
                    <a:pt x="1521" y="584"/>
                    <a:pt x="1522" y="581"/>
                  </a:cubicBezTo>
                  <a:cubicBezTo>
                    <a:pt x="1524" y="578"/>
                    <a:pt x="1519" y="575"/>
                    <a:pt x="1519" y="575"/>
                  </a:cubicBezTo>
                  <a:cubicBezTo>
                    <a:pt x="1532" y="556"/>
                    <a:pt x="1532" y="556"/>
                    <a:pt x="1532" y="556"/>
                  </a:cubicBezTo>
                  <a:lnTo>
                    <a:pt x="1532" y="0"/>
                  </a:lnTo>
                  <a:close/>
                  <a:moveTo>
                    <a:pt x="375" y="778"/>
                  </a:moveTo>
                  <a:cubicBezTo>
                    <a:pt x="373" y="786"/>
                    <a:pt x="367" y="785"/>
                    <a:pt x="367" y="785"/>
                  </a:cubicBezTo>
                  <a:cubicBezTo>
                    <a:pt x="367" y="785"/>
                    <a:pt x="377" y="803"/>
                    <a:pt x="372" y="806"/>
                  </a:cubicBezTo>
                  <a:cubicBezTo>
                    <a:pt x="366" y="809"/>
                    <a:pt x="357" y="806"/>
                    <a:pt x="357" y="806"/>
                  </a:cubicBezTo>
                  <a:cubicBezTo>
                    <a:pt x="346" y="807"/>
                    <a:pt x="346" y="807"/>
                    <a:pt x="346" y="807"/>
                  </a:cubicBezTo>
                  <a:cubicBezTo>
                    <a:pt x="340" y="816"/>
                    <a:pt x="340" y="816"/>
                    <a:pt x="340" y="816"/>
                  </a:cubicBezTo>
                  <a:cubicBezTo>
                    <a:pt x="340" y="816"/>
                    <a:pt x="350" y="830"/>
                    <a:pt x="341" y="830"/>
                  </a:cubicBezTo>
                  <a:cubicBezTo>
                    <a:pt x="334" y="831"/>
                    <a:pt x="324" y="830"/>
                    <a:pt x="324" y="830"/>
                  </a:cubicBezTo>
                  <a:cubicBezTo>
                    <a:pt x="324" y="818"/>
                    <a:pt x="324" y="818"/>
                    <a:pt x="324" y="818"/>
                  </a:cubicBezTo>
                  <a:cubicBezTo>
                    <a:pt x="316" y="814"/>
                    <a:pt x="316" y="814"/>
                    <a:pt x="316" y="814"/>
                  </a:cubicBezTo>
                  <a:cubicBezTo>
                    <a:pt x="316" y="814"/>
                    <a:pt x="319" y="808"/>
                    <a:pt x="313" y="803"/>
                  </a:cubicBezTo>
                  <a:cubicBezTo>
                    <a:pt x="307" y="798"/>
                    <a:pt x="299" y="792"/>
                    <a:pt x="299" y="792"/>
                  </a:cubicBezTo>
                  <a:cubicBezTo>
                    <a:pt x="299" y="792"/>
                    <a:pt x="299" y="786"/>
                    <a:pt x="295" y="781"/>
                  </a:cubicBezTo>
                  <a:cubicBezTo>
                    <a:pt x="291" y="775"/>
                    <a:pt x="266" y="769"/>
                    <a:pt x="266" y="764"/>
                  </a:cubicBezTo>
                  <a:cubicBezTo>
                    <a:pt x="267" y="758"/>
                    <a:pt x="277" y="754"/>
                    <a:pt x="277" y="754"/>
                  </a:cubicBezTo>
                  <a:cubicBezTo>
                    <a:pt x="275" y="744"/>
                    <a:pt x="275" y="744"/>
                    <a:pt x="275" y="744"/>
                  </a:cubicBezTo>
                  <a:cubicBezTo>
                    <a:pt x="275" y="744"/>
                    <a:pt x="285" y="740"/>
                    <a:pt x="285" y="736"/>
                  </a:cubicBezTo>
                  <a:cubicBezTo>
                    <a:pt x="285" y="730"/>
                    <a:pt x="286" y="722"/>
                    <a:pt x="286" y="722"/>
                  </a:cubicBezTo>
                  <a:cubicBezTo>
                    <a:pt x="291" y="723"/>
                    <a:pt x="297" y="724"/>
                    <a:pt x="297" y="724"/>
                  </a:cubicBezTo>
                  <a:cubicBezTo>
                    <a:pt x="301" y="729"/>
                    <a:pt x="301" y="729"/>
                    <a:pt x="301" y="729"/>
                  </a:cubicBezTo>
                  <a:cubicBezTo>
                    <a:pt x="302" y="726"/>
                    <a:pt x="302" y="726"/>
                    <a:pt x="302" y="726"/>
                  </a:cubicBezTo>
                  <a:cubicBezTo>
                    <a:pt x="310" y="726"/>
                    <a:pt x="310" y="726"/>
                    <a:pt x="310" y="726"/>
                  </a:cubicBezTo>
                  <a:cubicBezTo>
                    <a:pt x="316" y="735"/>
                    <a:pt x="316" y="735"/>
                    <a:pt x="316" y="735"/>
                  </a:cubicBezTo>
                  <a:cubicBezTo>
                    <a:pt x="319" y="732"/>
                    <a:pt x="319" y="732"/>
                    <a:pt x="319" y="732"/>
                  </a:cubicBezTo>
                  <a:cubicBezTo>
                    <a:pt x="325" y="739"/>
                    <a:pt x="325" y="739"/>
                    <a:pt x="325" y="739"/>
                  </a:cubicBezTo>
                  <a:cubicBezTo>
                    <a:pt x="315" y="739"/>
                    <a:pt x="315" y="739"/>
                    <a:pt x="315" y="739"/>
                  </a:cubicBezTo>
                  <a:cubicBezTo>
                    <a:pt x="315" y="739"/>
                    <a:pt x="313" y="742"/>
                    <a:pt x="316" y="743"/>
                  </a:cubicBezTo>
                  <a:cubicBezTo>
                    <a:pt x="319" y="744"/>
                    <a:pt x="321" y="741"/>
                    <a:pt x="321" y="741"/>
                  </a:cubicBezTo>
                  <a:cubicBezTo>
                    <a:pt x="321" y="741"/>
                    <a:pt x="341" y="739"/>
                    <a:pt x="349" y="744"/>
                  </a:cubicBezTo>
                  <a:cubicBezTo>
                    <a:pt x="355" y="751"/>
                    <a:pt x="356" y="755"/>
                    <a:pt x="356" y="755"/>
                  </a:cubicBezTo>
                  <a:cubicBezTo>
                    <a:pt x="366" y="760"/>
                    <a:pt x="366" y="760"/>
                    <a:pt x="366" y="760"/>
                  </a:cubicBezTo>
                  <a:cubicBezTo>
                    <a:pt x="369" y="770"/>
                    <a:pt x="369" y="770"/>
                    <a:pt x="369" y="770"/>
                  </a:cubicBezTo>
                  <a:cubicBezTo>
                    <a:pt x="369" y="770"/>
                    <a:pt x="376" y="771"/>
                    <a:pt x="375" y="778"/>
                  </a:cubicBezTo>
                  <a:close/>
                  <a:moveTo>
                    <a:pt x="464" y="712"/>
                  </a:moveTo>
                  <a:cubicBezTo>
                    <a:pt x="462" y="717"/>
                    <a:pt x="462" y="724"/>
                    <a:pt x="462" y="724"/>
                  </a:cubicBezTo>
                  <a:cubicBezTo>
                    <a:pt x="449" y="726"/>
                    <a:pt x="449" y="726"/>
                    <a:pt x="449" y="726"/>
                  </a:cubicBezTo>
                  <a:cubicBezTo>
                    <a:pt x="449" y="726"/>
                    <a:pt x="454" y="717"/>
                    <a:pt x="446" y="708"/>
                  </a:cubicBezTo>
                  <a:cubicBezTo>
                    <a:pt x="437" y="698"/>
                    <a:pt x="425" y="697"/>
                    <a:pt x="425" y="697"/>
                  </a:cubicBezTo>
                  <a:cubicBezTo>
                    <a:pt x="408" y="694"/>
                    <a:pt x="408" y="694"/>
                    <a:pt x="408" y="694"/>
                  </a:cubicBezTo>
                  <a:cubicBezTo>
                    <a:pt x="388" y="677"/>
                    <a:pt x="388" y="677"/>
                    <a:pt x="388" y="677"/>
                  </a:cubicBezTo>
                  <a:cubicBezTo>
                    <a:pt x="398" y="683"/>
                    <a:pt x="398" y="683"/>
                    <a:pt x="398" y="683"/>
                  </a:cubicBezTo>
                  <a:cubicBezTo>
                    <a:pt x="401" y="683"/>
                    <a:pt x="401" y="683"/>
                    <a:pt x="401" y="683"/>
                  </a:cubicBezTo>
                  <a:cubicBezTo>
                    <a:pt x="401" y="674"/>
                    <a:pt x="401" y="674"/>
                    <a:pt x="401" y="674"/>
                  </a:cubicBezTo>
                  <a:cubicBezTo>
                    <a:pt x="392" y="669"/>
                    <a:pt x="392" y="669"/>
                    <a:pt x="392" y="669"/>
                  </a:cubicBezTo>
                  <a:cubicBezTo>
                    <a:pt x="389" y="667"/>
                    <a:pt x="389" y="667"/>
                    <a:pt x="389" y="667"/>
                  </a:cubicBezTo>
                  <a:cubicBezTo>
                    <a:pt x="381" y="658"/>
                    <a:pt x="381" y="658"/>
                    <a:pt x="381" y="658"/>
                  </a:cubicBezTo>
                  <a:cubicBezTo>
                    <a:pt x="373" y="650"/>
                    <a:pt x="373" y="650"/>
                    <a:pt x="373" y="650"/>
                  </a:cubicBezTo>
                  <a:cubicBezTo>
                    <a:pt x="375" y="650"/>
                    <a:pt x="375" y="650"/>
                    <a:pt x="375" y="650"/>
                  </a:cubicBezTo>
                  <a:cubicBezTo>
                    <a:pt x="384" y="656"/>
                    <a:pt x="384" y="656"/>
                    <a:pt x="384" y="656"/>
                  </a:cubicBezTo>
                  <a:cubicBezTo>
                    <a:pt x="386" y="661"/>
                    <a:pt x="386" y="661"/>
                    <a:pt x="386" y="661"/>
                  </a:cubicBezTo>
                  <a:cubicBezTo>
                    <a:pt x="401" y="669"/>
                    <a:pt x="401" y="669"/>
                    <a:pt x="401" y="669"/>
                  </a:cubicBezTo>
                  <a:cubicBezTo>
                    <a:pt x="401" y="666"/>
                    <a:pt x="401" y="666"/>
                    <a:pt x="401" y="666"/>
                  </a:cubicBezTo>
                  <a:cubicBezTo>
                    <a:pt x="395" y="658"/>
                    <a:pt x="395" y="658"/>
                    <a:pt x="395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85" y="646"/>
                    <a:pt x="385" y="646"/>
                    <a:pt x="385" y="646"/>
                  </a:cubicBezTo>
                  <a:cubicBezTo>
                    <a:pt x="398" y="653"/>
                    <a:pt x="398" y="653"/>
                    <a:pt x="398" y="653"/>
                  </a:cubicBezTo>
                  <a:cubicBezTo>
                    <a:pt x="385" y="638"/>
                    <a:pt x="385" y="638"/>
                    <a:pt x="385" y="638"/>
                  </a:cubicBezTo>
                  <a:cubicBezTo>
                    <a:pt x="385" y="638"/>
                    <a:pt x="401" y="649"/>
                    <a:pt x="402" y="653"/>
                  </a:cubicBezTo>
                  <a:cubicBezTo>
                    <a:pt x="404" y="656"/>
                    <a:pt x="411" y="662"/>
                    <a:pt x="413" y="663"/>
                  </a:cubicBezTo>
                  <a:cubicBezTo>
                    <a:pt x="414" y="663"/>
                    <a:pt x="414" y="660"/>
                    <a:pt x="414" y="660"/>
                  </a:cubicBezTo>
                  <a:cubicBezTo>
                    <a:pt x="414" y="660"/>
                    <a:pt x="407" y="656"/>
                    <a:pt x="408" y="654"/>
                  </a:cubicBezTo>
                  <a:cubicBezTo>
                    <a:pt x="409" y="651"/>
                    <a:pt x="422" y="660"/>
                    <a:pt x="422" y="650"/>
                  </a:cubicBezTo>
                  <a:cubicBezTo>
                    <a:pt x="423" y="641"/>
                    <a:pt x="411" y="632"/>
                    <a:pt x="411" y="632"/>
                  </a:cubicBezTo>
                  <a:cubicBezTo>
                    <a:pt x="405" y="632"/>
                    <a:pt x="405" y="632"/>
                    <a:pt x="405" y="632"/>
                  </a:cubicBezTo>
                  <a:cubicBezTo>
                    <a:pt x="397" y="629"/>
                    <a:pt x="397" y="629"/>
                    <a:pt x="397" y="629"/>
                  </a:cubicBezTo>
                  <a:cubicBezTo>
                    <a:pt x="393" y="629"/>
                    <a:pt x="393" y="629"/>
                    <a:pt x="393" y="629"/>
                  </a:cubicBezTo>
                  <a:cubicBezTo>
                    <a:pt x="404" y="643"/>
                    <a:pt x="404" y="643"/>
                    <a:pt x="404" y="643"/>
                  </a:cubicBezTo>
                  <a:cubicBezTo>
                    <a:pt x="404" y="643"/>
                    <a:pt x="374" y="620"/>
                    <a:pt x="376" y="618"/>
                  </a:cubicBezTo>
                  <a:cubicBezTo>
                    <a:pt x="379" y="615"/>
                    <a:pt x="385" y="620"/>
                    <a:pt x="385" y="620"/>
                  </a:cubicBezTo>
                  <a:cubicBezTo>
                    <a:pt x="385" y="620"/>
                    <a:pt x="390" y="618"/>
                    <a:pt x="393" y="619"/>
                  </a:cubicBezTo>
                  <a:cubicBezTo>
                    <a:pt x="397" y="619"/>
                    <a:pt x="407" y="625"/>
                    <a:pt x="407" y="625"/>
                  </a:cubicBezTo>
                  <a:cubicBezTo>
                    <a:pt x="407" y="625"/>
                    <a:pt x="421" y="622"/>
                    <a:pt x="426" y="632"/>
                  </a:cubicBezTo>
                  <a:cubicBezTo>
                    <a:pt x="433" y="642"/>
                    <a:pt x="424" y="654"/>
                    <a:pt x="429" y="657"/>
                  </a:cubicBezTo>
                  <a:cubicBezTo>
                    <a:pt x="433" y="660"/>
                    <a:pt x="440" y="670"/>
                    <a:pt x="440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8" y="677"/>
                    <a:pt x="448" y="677"/>
                    <a:pt x="448" y="677"/>
                  </a:cubicBezTo>
                  <a:cubicBezTo>
                    <a:pt x="448" y="677"/>
                    <a:pt x="466" y="682"/>
                    <a:pt x="468" y="692"/>
                  </a:cubicBezTo>
                  <a:cubicBezTo>
                    <a:pt x="470" y="702"/>
                    <a:pt x="467" y="707"/>
                    <a:pt x="464" y="71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3" name="Litauen" descr="© INSCALE GmbH, 05.05.2010&#10;http://www.presentationload.com/">
              <a:extLst>
                <a:ext uri="{FF2B5EF4-FFF2-40B4-BE49-F238E27FC236}">
                  <a16:creationId xmlns:a16="http://schemas.microsoft.com/office/drawing/2014/main" id="{41FA55F6-8DB9-EE46-8377-E9170A569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1314" y="3509648"/>
              <a:ext cx="529729" cy="401010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" name="Sp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EFFD3AF0-CFA3-1843-8C92-5D8CC952D9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28478" y="5334821"/>
              <a:ext cx="1506677" cy="1242637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" name="Italien" descr="© INSCALE GmbH, 05.05.2010&#10;http://www.presentationload.com/">
              <a:extLst>
                <a:ext uri="{FF2B5EF4-FFF2-40B4-BE49-F238E27FC236}">
                  <a16:creationId xmlns:a16="http://schemas.microsoft.com/office/drawing/2014/main" id="{43940C29-EB74-654C-AC81-0E5F42E5BE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63553" y="5059231"/>
              <a:ext cx="1407662" cy="1617242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FCE53FAD-B49D-114A-8F48-8D3BBB21AB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529858" y="5691275"/>
              <a:ext cx="47858" cy="41257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" name="Deutsch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8080B04-E69A-C643-A257-81203151C1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50351" y="3808344"/>
              <a:ext cx="909287" cy="1227784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" name="Saudi-Arabien" descr="© INSCALE GmbH, 05.05.2010&#10;http://www.presentationload.com/">
              <a:extLst>
                <a:ext uri="{FF2B5EF4-FFF2-40B4-BE49-F238E27FC236}">
                  <a16:creationId xmlns:a16="http://schemas.microsoft.com/office/drawing/2014/main" id="{40EA2FBF-960D-B249-B720-F96918CB742E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8580" y="6668221"/>
              <a:ext cx="795420" cy="189779"/>
            </a:xfrm>
            <a:custGeom>
              <a:avLst/>
              <a:gdLst/>
              <a:ahLst/>
              <a:cxnLst>
                <a:cxn ang="0">
                  <a:pos x="333" y="80"/>
                </a:cxn>
                <a:cxn ang="0">
                  <a:pos x="333" y="30"/>
                </a:cxn>
                <a:cxn ang="0">
                  <a:pos x="319" y="13"/>
                </a:cxn>
                <a:cxn ang="0">
                  <a:pos x="224" y="11"/>
                </a:cxn>
                <a:cxn ang="0">
                  <a:pos x="122" y="0"/>
                </a:cxn>
                <a:cxn ang="0">
                  <a:pos x="78" y="7"/>
                </a:cxn>
                <a:cxn ang="0">
                  <a:pos x="66" y="29"/>
                </a:cxn>
                <a:cxn ang="0">
                  <a:pos x="15" y="68"/>
                </a:cxn>
                <a:cxn ang="0">
                  <a:pos x="0" y="80"/>
                </a:cxn>
                <a:cxn ang="0">
                  <a:pos x="333" y="80"/>
                </a:cxn>
              </a:cxnLst>
              <a:rect l="0" t="0" r="r" b="b"/>
              <a:pathLst>
                <a:path w="333" h="80">
                  <a:moveTo>
                    <a:pt x="333" y="80"/>
                  </a:moveTo>
                  <a:cubicBezTo>
                    <a:pt x="333" y="30"/>
                    <a:pt x="333" y="30"/>
                    <a:pt x="333" y="30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9" y="13"/>
                    <a:pt x="251" y="13"/>
                    <a:pt x="224" y="11"/>
                  </a:cubicBezTo>
                  <a:cubicBezTo>
                    <a:pt x="197" y="11"/>
                    <a:pt x="135" y="0"/>
                    <a:pt x="122" y="0"/>
                  </a:cubicBezTo>
                  <a:cubicBezTo>
                    <a:pt x="108" y="0"/>
                    <a:pt x="78" y="7"/>
                    <a:pt x="78" y="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25" y="61"/>
                    <a:pt x="15" y="68"/>
                  </a:cubicBezTo>
                  <a:cubicBezTo>
                    <a:pt x="11" y="70"/>
                    <a:pt x="6" y="74"/>
                    <a:pt x="0" y="80"/>
                  </a:cubicBezTo>
                  <a:lnTo>
                    <a:pt x="333" y="8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9" name="Jord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2556CF34-5F6F-8A40-A05E-6560E9DF22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21832" y="6537852"/>
              <a:ext cx="513227" cy="320148"/>
            </a:xfrm>
            <a:custGeom>
              <a:avLst/>
              <a:gdLst/>
              <a:ahLst/>
              <a:cxnLst>
                <a:cxn ang="0">
                  <a:pos x="5" y="128"/>
                </a:cxn>
                <a:cxn ang="0">
                  <a:pos x="7" y="134"/>
                </a:cxn>
                <a:cxn ang="0">
                  <a:pos x="137" y="134"/>
                </a:cxn>
                <a:cxn ang="0">
                  <a:pos x="152" y="122"/>
                </a:cxn>
                <a:cxn ang="0">
                  <a:pos x="203" y="83"/>
                </a:cxn>
                <a:cxn ang="0">
                  <a:pos x="215" y="61"/>
                </a:cxn>
                <a:cxn ang="0">
                  <a:pos x="158" y="0"/>
                </a:cxn>
                <a:cxn ang="0">
                  <a:pos x="76" y="109"/>
                </a:cxn>
                <a:cxn ang="0">
                  <a:pos x="49" y="110"/>
                </a:cxn>
                <a:cxn ang="0">
                  <a:pos x="42" y="105"/>
                </a:cxn>
                <a:cxn ang="0">
                  <a:pos x="34" y="109"/>
                </a:cxn>
                <a:cxn ang="0">
                  <a:pos x="30" y="109"/>
                </a:cxn>
                <a:cxn ang="0">
                  <a:pos x="18" y="99"/>
                </a:cxn>
                <a:cxn ang="0">
                  <a:pos x="5" y="107"/>
                </a:cxn>
                <a:cxn ang="0">
                  <a:pos x="0" y="110"/>
                </a:cxn>
                <a:cxn ang="0">
                  <a:pos x="3" y="120"/>
                </a:cxn>
                <a:cxn ang="0">
                  <a:pos x="5" y="128"/>
                </a:cxn>
              </a:cxnLst>
              <a:rect l="0" t="0" r="r" b="b"/>
              <a:pathLst>
                <a:path w="215" h="134">
                  <a:moveTo>
                    <a:pt x="5" y="128"/>
                  </a:moveTo>
                  <a:cubicBezTo>
                    <a:pt x="7" y="134"/>
                    <a:pt x="7" y="134"/>
                    <a:pt x="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43" y="128"/>
                    <a:pt x="148" y="124"/>
                    <a:pt x="152" y="122"/>
                  </a:cubicBezTo>
                  <a:cubicBezTo>
                    <a:pt x="162" y="115"/>
                    <a:pt x="203" y="83"/>
                    <a:pt x="203" y="83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0"/>
                    <a:pt x="48" y="106"/>
                    <a:pt x="42" y="105"/>
                  </a:cubicBezTo>
                  <a:cubicBezTo>
                    <a:pt x="35" y="105"/>
                    <a:pt x="34" y="109"/>
                    <a:pt x="34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26" y="100"/>
                    <a:pt x="18" y="99"/>
                  </a:cubicBezTo>
                  <a:cubicBezTo>
                    <a:pt x="10" y="99"/>
                    <a:pt x="5" y="107"/>
                    <a:pt x="5" y="10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8"/>
                    <a:pt x="3" y="120"/>
                  </a:cubicBezTo>
                  <a:cubicBezTo>
                    <a:pt x="7" y="123"/>
                    <a:pt x="5" y="128"/>
                    <a:pt x="5" y="12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0" name="Freeform 9" descr="© INSCALE GmbH, 05.05.2010&#10;http://www.presentationload.com/">
              <a:extLst>
                <a:ext uri="{FF2B5EF4-FFF2-40B4-BE49-F238E27FC236}">
                  <a16:creationId xmlns:a16="http://schemas.microsoft.com/office/drawing/2014/main" id="{AF809ACA-1D57-7D48-86F1-A4CAC2CE4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1017" y="5077384"/>
              <a:ext cx="344901" cy="242586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1" name="Freeform 79" descr="© INSCALE GmbH, 05.05.2010&#10;http://www.presentationload.com/">
              <a:extLst>
                <a:ext uri="{FF2B5EF4-FFF2-40B4-BE49-F238E27FC236}">
                  <a16:creationId xmlns:a16="http://schemas.microsoft.com/office/drawing/2014/main" id="{F93E05D2-73D9-D84A-94A9-519D5AB92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3260" y="5561736"/>
              <a:ext cx="207930" cy="26074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9" y="9"/>
                </a:cxn>
                <a:cxn ang="0">
                  <a:pos x="44" y="9"/>
                </a:cxn>
                <a:cxn ang="0">
                  <a:pos x="34" y="2"/>
                </a:cxn>
                <a:cxn ang="0">
                  <a:pos x="32" y="13"/>
                </a:cxn>
                <a:cxn ang="0">
                  <a:pos x="49" y="36"/>
                </a:cxn>
                <a:cxn ang="0">
                  <a:pos x="30" y="32"/>
                </a:cxn>
                <a:cxn ang="0">
                  <a:pos x="13" y="43"/>
                </a:cxn>
                <a:cxn ang="0">
                  <a:pos x="15" y="70"/>
                </a:cxn>
                <a:cxn ang="0">
                  <a:pos x="2" y="78"/>
                </a:cxn>
                <a:cxn ang="0">
                  <a:pos x="3" y="108"/>
                </a:cxn>
                <a:cxn ang="0">
                  <a:pos x="9" y="108"/>
                </a:cxn>
                <a:cxn ang="0">
                  <a:pos x="9" y="127"/>
                </a:cxn>
                <a:cxn ang="0">
                  <a:pos x="0" y="133"/>
                </a:cxn>
                <a:cxn ang="0">
                  <a:pos x="0" y="144"/>
                </a:cxn>
                <a:cxn ang="0">
                  <a:pos x="7" y="148"/>
                </a:cxn>
                <a:cxn ang="0">
                  <a:pos x="19" y="136"/>
                </a:cxn>
                <a:cxn ang="0">
                  <a:pos x="28" y="138"/>
                </a:cxn>
                <a:cxn ang="0">
                  <a:pos x="25" y="159"/>
                </a:cxn>
                <a:cxn ang="0">
                  <a:pos x="34" y="165"/>
                </a:cxn>
                <a:cxn ang="0">
                  <a:pos x="47" y="163"/>
                </a:cxn>
                <a:cxn ang="0">
                  <a:pos x="49" y="170"/>
                </a:cxn>
                <a:cxn ang="0">
                  <a:pos x="72" y="189"/>
                </a:cxn>
                <a:cxn ang="0">
                  <a:pos x="72" y="199"/>
                </a:cxn>
                <a:cxn ang="0">
                  <a:pos x="82" y="205"/>
                </a:cxn>
                <a:cxn ang="0">
                  <a:pos x="93" y="208"/>
                </a:cxn>
                <a:cxn ang="0">
                  <a:pos x="91" y="193"/>
                </a:cxn>
                <a:cxn ang="0">
                  <a:pos x="87" y="174"/>
                </a:cxn>
                <a:cxn ang="0">
                  <a:pos x="82" y="172"/>
                </a:cxn>
                <a:cxn ang="0">
                  <a:pos x="116" y="106"/>
                </a:cxn>
                <a:cxn ang="0">
                  <a:pos x="121" y="108"/>
                </a:cxn>
                <a:cxn ang="0">
                  <a:pos x="121" y="121"/>
                </a:cxn>
                <a:cxn ang="0">
                  <a:pos x="135" y="129"/>
                </a:cxn>
                <a:cxn ang="0">
                  <a:pos x="145" y="122"/>
                </a:cxn>
                <a:cxn ang="0">
                  <a:pos x="140" y="116"/>
                </a:cxn>
                <a:cxn ang="0">
                  <a:pos x="130" y="96"/>
                </a:cxn>
                <a:cxn ang="0">
                  <a:pos x="138" y="90"/>
                </a:cxn>
                <a:cxn ang="0">
                  <a:pos x="146" y="90"/>
                </a:cxn>
                <a:cxn ang="0">
                  <a:pos x="153" y="92"/>
                </a:cxn>
                <a:cxn ang="0">
                  <a:pos x="158" y="83"/>
                </a:cxn>
                <a:cxn ang="0">
                  <a:pos x="164" y="78"/>
                </a:cxn>
                <a:cxn ang="0">
                  <a:pos x="166" y="66"/>
                </a:cxn>
                <a:cxn ang="0">
                  <a:pos x="153" y="63"/>
                </a:cxn>
                <a:cxn ang="0">
                  <a:pos x="120" y="47"/>
                </a:cxn>
                <a:cxn ang="0">
                  <a:pos x="109" y="43"/>
                </a:cxn>
                <a:cxn ang="0">
                  <a:pos x="94" y="30"/>
                </a:cxn>
                <a:cxn ang="0">
                  <a:pos x="78" y="19"/>
                </a:cxn>
                <a:cxn ang="0">
                  <a:pos x="66" y="10"/>
                </a:cxn>
                <a:cxn ang="0">
                  <a:pos x="60" y="0"/>
                </a:cxn>
              </a:cxnLst>
              <a:rect l="0" t="0" r="r" b="b"/>
              <a:pathLst>
                <a:path w="166" h="208">
                  <a:moveTo>
                    <a:pt x="60" y="0"/>
                  </a:moveTo>
                  <a:cubicBezTo>
                    <a:pt x="59" y="9"/>
                    <a:pt x="59" y="9"/>
                    <a:pt x="5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53" y="30"/>
                    <a:pt x="49" y="36"/>
                  </a:cubicBezTo>
                  <a:cubicBezTo>
                    <a:pt x="44" y="42"/>
                    <a:pt x="36" y="32"/>
                    <a:pt x="30" y="32"/>
                  </a:cubicBezTo>
                  <a:cubicBezTo>
                    <a:pt x="21" y="32"/>
                    <a:pt x="15" y="40"/>
                    <a:pt x="13" y="43"/>
                  </a:cubicBezTo>
                  <a:cubicBezTo>
                    <a:pt x="9" y="49"/>
                    <a:pt x="19" y="66"/>
                    <a:pt x="15" y="70"/>
                  </a:cubicBezTo>
                  <a:cubicBezTo>
                    <a:pt x="11" y="72"/>
                    <a:pt x="6" y="72"/>
                    <a:pt x="2" y="78"/>
                  </a:cubicBezTo>
                  <a:cubicBezTo>
                    <a:pt x="0" y="83"/>
                    <a:pt x="3" y="108"/>
                    <a:pt x="3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2" y="199"/>
                    <a:pt x="72" y="199"/>
                    <a:pt x="72" y="199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82" y="172"/>
                    <a:pt x="82" y="172"/>
                    <a:pt x="82" y="172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21" y="108"/>
                    <a:pt x="121" y="108"/>
                    <a:pt x="121" y="108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53" y="63"/>
                    <a:pt x="153" y="63"/>
                    <a:pt x="153" y="63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2" name="Freeform 141" descr="© INSCALE GmbH, 05.05.2010&#10;http://www.presentationload.com/">
              <a:extLst>
                <a:ext uri="{FF2B5EF4-FFF2-40B4-BE49-F238E27FC236}">
                  <a16:creationId xmlns:a16="http://schemas.microsoft.com/office/drawing/2014/main" id="{29987B60-09DE-B649-90F9-CD11C7246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6659" y="5147524"/>
              <a:ext cx="519827" cy="585114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3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F3F863CD-0F50-7045-83C7-04713D0C0D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4838" y="5592658"/>
              <a:ext cx="223776" cy="228166"/>
            </a:xfrm>
            <a:custGeom>
              <a:avLst/>
              <a:gdLst/>
              <a:ahLst/>
              <a:cxnLst>
                <a:cxn ang="0">
                  <a:pos x="63" y="40"/>
                </a:cxn>
                <a:cxn ang="0">
                  <a:pos x="65" y="36"/>
                </a:cxn>
                <a:cxn ang="0">
                  <a:pos x="68" y="29"/>
                </a:cxn>
                <a:cxn ang="0">
                  <a:pos x="66" y="24"/>
                </a:cxn>
                <a:cxn ang="0">
                  <a:pos x="61" y="22"/>
                </a:cxn>
                <a:cxn ang="0">
                  <a:pos x="59" y="21"/>
                </a:cxn>
                <a:cxn ang="0">
                  <a:pos x="54" y="19"/>
                </a:cxn>
                <a:cxn ang="0">
                  <a:pos x="51" y="16"/>
                </a:cxn>
                <a:cxn ang="0">
                  <a:pos x="47" y="15"/>
                </a:cxn>
                <a:cxn ang="0">
                  <a:pos x="44" y="11"/>
                </a:cxn>
                <a:cxn ang="0">
                  <a:pos x="39" y="9"/>
                </a:cxn>
                <a:cxn ang="0">
                  <a:pos x="37" y="8"/>
                </a:cxn>
                <a:cxn ang="0">
                  <a:pos x="34" y="7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1" y="1"/>
                </a:cxn>
                <a:cxn ang="0">
                  <a:pos x="27" y="4"/>
                </a:cxn>
                <a:cxn ang="0">
                  <a:pos x="24" y="9"/>
                </a:cxn>
                <a:cxn ang="0">
                  <a:pos x="25" y="15"/>
                </a:cxn>
                <a:cxn ang="0">
                  <a:pos x="22" y="20"/>
                </a:cxn>
                <a:cxn ang="0">
                  <a:pos x="18" y="24"/>
                </a:cxn>
                <a:cxn ang="0">
                  <a:pos x="10" y="24"/>
                </a:cxn>
                <a:cxn ang="0">
                  <a:pos x="6" y="25"/>
                </a:cxn>
                <a:cxn ang="0">
                  <a:pos x="0" y="27"/>
                </a:cxn>
                <a:cxn ang="0">
                  <a:pos x="5" y="37"/>
                </a:cxn>
                <a:cxn ang="0">
                  <a:pos x="12" y="38"/>
                </a:cxn>
                <a:cxn ang="0">
                  <a:pos x="26" y="48"/>
                </a:cxn>
                <a:cxn ang="0">
                  <a:pos x="29" y="69"/>
                </a:cxn>
                <a:cxn ang="0">
                  <a:pos x="35" y="55"/>
                </a:cxn>
                <a:cxn ang="0">
                  <a:pos x="46" y="47"/>
                </a:cxn>
                <a:cxn ang="0">
                  <a:pos x="58" y="43"/>
                </a:cxn>
                <a:cxn ang="0">
                  <a:pos x="63" y="42"/>
                </a:cxn>
              </a:cxnLst>
              <a:rect l="0" t="0" r="r" b="b"/>
              <a:pathLst>
                <a:path w="68" h="69">
                  <a:moveTo>
                    <a:pt x="63" y="42"/>
                  </a:moveTo>
                  <a:cubicBezTo>
                    <a:pt x="63" y="41"/>
                    <a:pt x="63" y="40"/>
                    <a:pt x="63" y="40"/>
                  </a:cubicBezTo>
                  <a:cubicBezTo>
                    <a:pt x="63" y="40"/>
                    <a:pt x="64" y="39"/>
                    <a:pt x="64" y="38"/>
                  </a:cubicBezTo>
                  <a:cubicBezTo>
                    <a:pt x="64" y="38"/>
                    <a:pt x="65" y="36"/>
                    <a:pt x="65" y="3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8" y="30"/>
                    <a:pt x="68" y="29"/>
                  </a:cubicBezTo>
                  <a:cubicBezTo>
                    <a:pt x="68" y="29"/>
                    <a:pt x="67" y="27"/>
                    <a:pt x="67" y="27"/>
                  </a:cubicBezTo>
                  <a:cubicBezTo>
                    <a:pt x="67" y="27"/>
                    <a:pt x="66" y="24"/>
                    <a:pt x="66" y="24"/>
                  </a:cubicBezTo>
                  <a:cubicBezTo>
                    <a:pt x="65" y="23"/>
                    <a:pt x="63" y="23"/>
                    <a:pt x="63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8" y="16"/>
                    <a:pt x="47" y="15"/>
                    <a:pt x="47" y="15"/>
                  </a:cubicBezTo>
                  <a:cubicBezTo>
                    <a:pt x="47" y="15"/>
                    <a:pt x="47" y="12"/>
                    <a:pt x="47" y="12"/>
                  </a:cubicBezTo>
                  <a:cubicBezTo>
                    <a:pt x="46" y="11"/>
                    <a:pt x="44" y="11"/>
                    <a:pt x="44" y="11"/>
                  </a:cubicBezTo>
                  <a:cubicBezTo>
                    <a:pt x="44" y="11"/>
                    <a:pt x="44" y="9"/>
                    <a:pt x="43" y="9"/>
                  </a:cubicBezTo>
                  <a:cubicBezTo>
                    <a:pt x="42" y="9"/>
                    <a:pt x="40" y="10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8" y="8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2" y="6"/>
                    <a:pt x="33" y="5"/>
                    <a:pt x="34" y="4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1" y="1"/>
                  </a:cubicBezTo>
                  <a:cubicBezTo>
                    <a:pt x="31" y="1"/>
                    <a:pt x="30" y="4"/>
                    <a:pt x="30" y="4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8"/>
                    <a:pt x="24" y="9"/>
                  </a:cubicBezTo>
                  <a:cubicBezTo>
                    <a:pt x="25" y="9"/>
                    <a:pt x="25" y="10"/>
                    <a:pt x="26" y="11"/>
                  </a:cubicBezTo>
                  <a:cubicBezTo>
                    <a:pt x="26" y="11"/>
                    <a:pt x="25" y="15"/>
                    <a:pt x="25" y="15"/>
                  </a:cubicBezTo>
                  <a:cubicBezTo>
                    <a:pt x="25" y="15"/>
                    <a:pt x="23" y="17"/>
                    <a:pt x="22" y="18"/>
                  </a:cubicBezTo>
                  <a:cubicBezTo>
                    <a:pt x="21" y="19"/>
                    <a:pt x="22" y="20"/>
                    <a:pt x="22" y="20"/>
                  </a:cubicBezTo>
                  <a:cubicBezTo>
                    <a:pt x="21" y="21"/>
                    <a:pt x="21" y="22"/>
                    <a:pt x="20" y="23"/>
                  </a:cubicBezTo>
                  <a:cubicBezTo>
                    <a:pt x="20" y="23"/>
                    <a:pt x="18" y="24"/>
                    <a:pt x="1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1" y="36"/>
                    <a:pt x="12" y="38"/>
                  </a:cubicBezTo>
                  <a:cubicBezTo>
                    <a:pt x="14" y="40"/>
                    <a:pt x="15" y="45"/>
                    <a:pt x="15" y="45"/>
                  </a:cubicBezTo>
                  <a:cubicBezTo>
                    <a:pt x="15" y="45"/>
                    <a:pt x="23" y="46"/>
                    <a:pt x="26" y="48"/>
                  </a:cubicBezTo>
                  <a:cubicBezTo>
                    <a:pt x="28" y="52"/>
                    <a:pt x="31" y="59"/>
                    <a:pt x="31" y="5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3" y="58"/>
                    <a:pt x="35" y="55"/>
                  </a:cubicBezTo>
                  <a:cubicBezTo>
                    <a:pt x="37" y="51"/>
                    <a:pt x="42" y="51"/>
                    <a:pt x="42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60" y="43"/>
                    <a:pt x="61" y="43"/>
                  </a:cubicBezTo>
                  <a:cubicBezTo>
                    <a:pt x="62" y="42"/>
                    <a:pt x="63" y="42"/>
                    <a:pt x="63" y="4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4" name="Freeform 7" descr="© INSCALE GmbH, 05.05.2010&#10;http://www.presentationload.com/">
              <a:extLst>
                <a:ext uri="{FF2B5EF4-FFF2-40B4-BE49-F238E27FC236}">
                  <a16:creationId xmlns:a16="http://schemas.microsoft.com/office/drawing/2014/main" id="{0F12AA26-9A8C-D243-8FAD-8ACD6B875E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9195" y="4433787"/>
              <a:ext cx="704656" cy="397709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5" name="Freeform 20" descr="© INSCALE GmbH, 05.05.2010&#10;http://www.presentationload.com/">
              <a:extLst>
                <a:ext uri="{FF2B5EF4-FFF2-40B4-BE49-F238E27FC236}">
                  <a16:creationId xmlns:a16="http://schemas.microsoft.com/office/drawing/2014/main" id="{3D2CD66F-2E2B-FD4B-AABE-3E54572497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30918" y="5130191"/>
              <a:ext cx="668349" cy="613892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6" name="Freeform 26" descr="© INSCALE GmbH, 05.05.2010&#10;http://www.presentationload.com/">
              <a:extLst>
                <a:ext uri="{FF2B5EF4-FFF2-40B4-BE49-F238E27FC236}">
                  <a16:creationId xmlns:a16="http://schemas.microsoft.com/office/drawing/2014/main" id="{1F4AD5A9-1CB7-AE4B-A406-F5C0281171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820" y="4623566"/>
              <a:ext cx="587488" cy="310247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7" name="Freeform 27" descr="© INSCALE GmbH, 05.05.2010&#10;http://www.presentationload.com/">
              <a:extLst>
                <a:ext uri="{FF2B5EF4-FFF2-40B4-BE49-F238E27FC236}">
                  <a16:creationId xmlns:a16="http://schemas.microsoft.com/office/drawing/2014/main" id="{46302BA9-37CC-C045-9471-C3C5ECBCD18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410" y="4762187"/>
              <a:ext cx="716207" cy="478571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8" name="Freeform 32" descr="© INSCALE GmbH, 05.05.2010&#10;http://www.presentationload.com/">
              <a:extLst>
                <a:ext uri="{FF2B5EF4-FFF2-40B4-BE49-F238E27FC236}">
                  <a16:creationId xmlns:a16="http://schemas.microsoft.com/office/drawing/2014/main" id="{FDE6B26E-0DA2-C349-99AB-CE70EEC855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5180" y="4712680"/>
              <a:ext cx="1071010" cy="760763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9" name="Freeform 52" descr="© INSCALE GmbH, 05.05.2010&#10;http://www.presentationload.com/">
              <a:extLst>
                <a:ext uri="{FF2B5EF4-FFF2-40B4-BE49-F238E27FC236}">
                  <a16:creationId xmlns:a16="http://schemas.microsoft.com/office/drawing/2014/main" id="{2D7945EE-E5D4-0C4D-BE10-BFAAC73CAF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4022" y="3836397"/>
              <a:ext cx="1029753" cy="849878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0" name="Frank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4F4FCEBA-5739-0943-B838-DE52D460DB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478" y="4395832"/>
              <a:ext cx="1496774" cy="1554533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1" name="Sch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6D2684C6-DB94-E042-8D36-6E707F59D0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88331" y="1638269"/>
              <a:ext cx="872981" cy="2145322"/>
            </a:xfrm>
            <a:custGeom>
              <a:avLst/>
              <a:gdLst/>
              <a:ahLst/>
              <a:cxnLst>
                <a:cxn ang="0">
                  <a:pos x="336" y="111"/>
                </a:cxn>
                <a:cxn ang="0">
                  <a:pos x="305" y="38"/>
                </a:cxn>
                <a:cxn ang="0">
                  <a:pos x="247" y="2"/>
                </a:cxn>
                <a:cxn ang="0">
                  <a:pos x="194" y="36"/>
                </a:cxn>
                <a:cxn ang="0">
                  <a:pos x="136" y="151"/>
                </a:cxn>
                <a:cxn ang="0">
                  <a:pos x="98" y="268"/>
                </a:cxn>
                <a:cxn ang="0">
                  <a:pos x="33" y="410"/>
                </a:cxn>
                <a:cxn ang="0">
                  <a:pos x="41" y="538"/>
                </a:cxn>
                <a:cxn ang="0">
                  <a:pos x="12" y="671"/>
                </a:cxn>
                <a:cxn ang="0">
                  <a:pos x="9" y="707"/>
                </a:cxn>
                <a:cxn ang="0">
                  <a:pos x="18" y="737"/>
                </a:cxn>
                <a:cxn ang="0">
                  <a:pos x="37" y="779"/>
                </a:cxn>
                <a:cxn ang="0">
                  <a:pos x="52" y="826"/>
                </a:cxn>
                <a:cxn ang="0">
                  <a:pos x="64" y="871"/>
                </a:cxn>
                <a:cxn ang="0">
                  <a:pos x="106" y="895"/>
                </a:cxn>
                <a:cxn ang="0">
                  <a:pos x="172" y="847"/>
                </a:cxn>
                <a:cxn ang="0">
                  <a:pos x="197" y="756"/>
                </a:cxn>
                <a:cxn ang="0">
                  <a:pos x="196" y="719"/>
                </a:cxn>
                <a:cxn ang="0">
                  <a:pos x="192" y="677"/>
                </a:cxn>
                <a:cxn ang="0">
                  <a:pos x="226" y="648"/>
                </a:cxn>
                <a:cxn ang="0">
                  <a:pos x="237" y="628"/>
                </a:cxn>
                <a:cxn ang="0">
                  <a:pos x="267" y="592"/>
                </a:cxn>
                <a:cxn ang="0">
                  <a:pos x="216" y="557"/>
                </a:cxn>
                <a:cxn ang="0">
                  <a:pos x="193" y="502"/>
                </a:cxn>
                <a:cxn ang="0">
                  <a:pos x="201" y="450"/>
                </a:cxn>
                <a:cxn ang="0">
                  <a:pos x="207" y="432"/>
                </a:cxn>
                <a:cxn ang="0">
                  <a:pos x="225" y="405"/>
                </a:cxn>
                <a:cxn ang="0">
                  <a:pos x="233" y="375"/>
                </a:cxn>
                <a:cxn ang="0">
                  <a:pos x="262" y="357"/>
                </a:cxn>
                <a:cxn ang="0">
                  <a:pos x="290" y="333"/>
                </a:cxn>
                <a:cxn ang="0">
                  <a:pos x="309" y="283"/>
                </a:cxn>
                <a:cxn ang="0">
                  <a:pos x="307" y="221"/>
                </a:cxn>
                <a:cxn ang="0">
                  <a:pos x="329" y="199"/>
                </a:cxn>
                <a:cxn ang="0">
                  <a:pos x="365" y="195"/>
                </a:cxn>
                <a:cxn ang="0">
                  <a:pos x="14" y="718"/>
                </a:cxn>
                <a:cxn ang="0">
                  <a:pos x="207" y="765"/>
                </a:cxn>
                <a:cxn ang="0">
                  <a:pos x="190" y="816"/>
                </a:cxn>
                <a:cxn ang="0">
                  <a:pos x="208" y="788"/>
                </a:cxn>
                <a:cxn ang="0">
                  <a:pos x="277" y="731"/>
                </a:cxn>
                <a:cxn ang="0">
                  <a:pos x="248" y="746"/>
                </a:cxn>
                <a:cxn ang="0">
                  <a:pos x="253" y="787"/>
                </a:cxn>
                <a:cxn ang="0">
                  <a:pos x="277" y="750"/>
                </a:cxn>
                <a:cxn ang="0">
                  <a:pos x="281" y="712"/>
                </a:cxn>
                <a:cxn ang="0">
                  <a:pos x="281" y="689"/>
                </a:cxn>
                <a:cxn ang="0">
                  <a:pos x="243" y="630"/>
                </a:cxn>
                <a:cxn ang="0">
                  <a:pos x="258" y="630"/>
                </a:cxn>
                <a:cxn ang="0">
                  <a:pos x="247" y="656"/>
                </a:cxn>
                <a:cxn ang="0">
                  <a:pos x="251" y="636"/>
                </a:cxn>
                <a:cxn ang="0">
                  <a:pos x="241" y="554"/>
                </a:cxn>
                <a:cxn ang="0">
                  <a:pos x="256" y="573"/>
                </a:cxn>
                <a:cxn ang="0">
                  <a:pos x="195" y="740"/>
                </a:cxn>
                <a:cxn ang="0">
                  <a:pos x="205" y="485"/>
                </a:cxn>
                <a:cxn ang="0">
                  <a:pos x="214" y="425"/>
                </a:cxn>
                <a:cxn ang="0">
                  <a:pos x="294" y="343"/>
                </a:cxn>
                <a:cxn ang="0">
                  <a:pos x="307" y="241"/>
                </a:cxn>
                <a:cxn ang="0">
                  <a:pos x="312" y="222"/>
                </a:cxn>
                <a:cxn ang="0">
                  <a:pos x="325" y="217"/>
                </a:cxn>
                <a:cxn ang="0">
                  <a:pos x="356" y="200"/>
                </a:cxn>
              </a:cxnLst>
              <a:rect l="0" t="0" r="r" b="b"/>
              <a:pathLst>
                <a:path w="365" h="899">
                  <a:moveTo>
                    <a:pt x="364" y="188"/>
                  </a:moveTo>
                  <a:cubicBezTo>
                    <a:pt x="364" y="188"/>
                    <a:pt x="359" y="186"/>
                    <a:pt x="358" y="182"/>
                  </a:cubicBezTo>
                  <a:cubicBezTo>
                    <a:pt x="357" y="178"/>
                    <a:pt x="358" y="175"/>
                    <a:pt x="356" y="173"/>
                  </a:cubicBezTo>
                  <a:cubicBezTo>
                    <a:pt x="354" y="172"/>
                    <a:pt x="347" y="171"/>
                    <a:pt x="347" y="167"/>
                  </a:cubicBezTo>
                  <a:cubicBezTo>
                    <a:pt x="348" y="161"/>
                    <a:pt x="348" y="160"/>
                    <a:pt x="348" y="160"/>
                  </a:cubicBezTo>
                  <a:cubicBezTo>
                    <a:pt x="348" y="160"/>
                    <a:pt x="343" y="159"/>
                    <a:pt x="345" y="155"/>
                  </a:cubicBezTo>
                  <a:cubicBezTo>
                    <a:pt x="348" y="150"/>
                    <a:pt x="353" y="147"/>
                    <a:pt x="352" y="144"/>
                  </a:cubicBezTo>
                  <a:cubicBezTo>
                    <a:pt x="350" y="140"/>
                    <a:pt x="348" y="136"/>
                    <a:pt x="348" y="136"/>
                  </a:cubicBezTo>
                  <a:cubicBezTo>
                    <a:pt x="348" y="136"/>
                    <a:pt x="349" y="129"/>
                    <a:pt x="347" y="125"/>
                  </a:cubicBezTo>
                  <a:cubicBezTo>
                    <a:pt x="345" y="122"/>
                    <a:pt x="336" y="117"/>
                    <a:pt x="336" y="111"/>
                  </a:cubicBezTo>
                  <a:cubicBezTo>
                    <a:pt x="336" y="106"/>
                    <a:pt x="337" y="104"/>
                    <a:pt x="337" y="104"/>
                  </a:cubicBezTo>
                  <a:cubicBezTo>
                    <a:pt x="340" y="101"/>
                    <a:pt x="340" y="101"/>
                    <a:pt x="340" y="101"/>
                  </a:cubicBezTo>
                  <a:cubicBezTo>
                    <a:pt x="339" y="95"/>
                    <a:pt x="339" y="95"/>
                    <a:pt x="339" y="95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93"/>
                    <a:pt x="330" y="87"/>
                    <a:pt x="328" y="81"/>
                  </a:cubicBezTo>
                  <a:cubicBezTo>
                    <a:pt x="327" y="77"/>
                    <a:pt x="325" y="74"/>
                    <a:pt x="326" y="69"/>
                  </a:cubicBezTo>
                  <a:cubicBezTo>
                    <a:pt x="327" y="65"/>
                    <a:pt x="332" y="65"/>
                    <a:pt x="330" y="62"/>
                  </a:cubicBezTo>
                  <a:cubicBezTo>
                    <a:pt x="328" y="59"/>
                    <a:pt x="319" y="50"/>
                    <a:pt x="319" y="50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53"/>
                    <a:pt x="314" y="43"/>
                    <a:pt x="305" y="38"/>
                  </a:cubicBezTo>
                  <a:cubicBezTo>
                    <a:pt x="295" y="33"/>
                    <a:pt x="282" y="31"/>
                    <a:pt x="282" y="31"/>
                  </a:cubicBezTo>
                  <a:cubicBezTo>
                    <a:pt x="278" y="27"/>
                    <a:pt x="278" y="27"/>
                    <a:pt x="278" y="27"/>
                  </a:cubicBezTo>
                  <a:cubicBezTo>
                    <a:pt x="274" y="27"/>
                    <a:pt x="274" y="27"/>
                    <a:pt x="274" y="27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0" y="5"/>
                    <a:pt x="250" y="5"/>
                    <a:pt x="250" y="5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30" y="2"/>
                    <a:pt x="237" y="11"/>
                    <a:pt x="238" y="17"/>
                  </a:cubicBezTo>
                  <a:cubicBezTo>
                    <a:pt x="239" y="25"/>
                    <a:pt x="231" y="34"/>
                    <a:pt x="231" y="34"/>
                  </a:cubicBezTo>
                  <a:cubicBezTo>
                    <a:pt x="239" y="38"/>
                    <a:pt x="239" y="38"/>
                    <a:pt x="239" y="38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198" y="41"/>
                    <a:pt x="198" y="41"/>
                    <a:pt x="198" y="41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9" y="56"/>
                    <a:pt x="188" y="61"/>
                  </a:cubicBezTo>
                  <a:cubicBezTo>
                    <a:pt x="186" y="66"/>
                    <a:pt x="183" y="77"/>
                    <a:pt x="183" y="77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4"/>
                    <a:pt x="149" y="101"/>
                    <a:pt x="149" y="106"/>
                  </a:cubicBezTo>
                  <a:cubicBezTo>
                    <a:pt x="148" y="111"/>
                    <a:pt x="140" y="109"/>
                    <a:pt x="140" y="109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7" y="127"/>
                    <a:pt x="148" y="135"/>
                  </a:cubicBezTo>
                  <a:cubicBezTo>
                    <a:pt x="150" y="141"/>
                    <a:pt x="144" y="143"/>
                    <a:pt x="136" y="151"/>
                  </a:cubicBezTo>
                  <a:cubicBezTo>
                    <a:pt x="130" y="157"/>
                    <a:pt x="132" y="162"/>
                    <a:pt x="130" y="169"/>
                  </a:cubicBezTo>
                  <a:cubicBezTo>
                    <a:pt x="128" y="175"/>
                    <a:pt x="123" y="176"/>
                    <a:pt x="123" y="176"/>
                  </a:cubicBezTo>
                  <a:cubicBezTo>
                    <a:pt x="126" y="189"/>
                    <a:pt x="126" y="189"/>
                    <a:pt x="126" y="18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00" y="201"/>
                    <a:pt x="100" y="201"/>
                    <a:pt x="100" y="201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03" y="253"/>
                    <a:pt x="103" y="253"/>
                    <a:pt x="103" y="253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79" y="300"/>
                    <a:pt x="79" y="300"/>
                    <a:pt x="79" y="300"/>
                  </a:cubicBezTo>
                  <a:cubicBezTo>
                    <a:pt x="93" y="310"/>
                    <a:pt x="93" y="310"/>
                    <a:pt x="93" y="310"/>
                  </a:cubicBezTo>
                  <a:cubicBezTo>
                    <a:pt x="94" y="325"/>
                    <a:pt x="94" y="325"/>
                    <a:pt x="94" y="325"/>
                  </a:cubicBezTo>
                  <a:cubicBezTo>
                    <a:pt x="89" y="337"/>
                    <a:pt x="89" y="337"/>
                    <a:pt x="89" y="337"/>
                  </a:cubicBezTo>
                  <a:cubicBezTo>
                    <a:pt x="89" y="337"/>
                    <a:pt x="69" y="331"/>
                    <a:pt x="59" y="334"/>
                  </a:cubicBezTo>
                  <a:cubicBezTo>
                    <a:pt x="47" y="337"/>
                    <a:pt x="35" y="365"/>
                    <a:pt x="35" y="365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30" y="385"/>
                    <a:pt x="30" y="385"/>
                    <a:pt x="30" y="385"/>
                  </a:cubicBezTo>
                  <a:cubicBezTo>
                    <a:pt x="37" y="404"/>
                    <a:pt x="37" y="404"/>
                    <a:pt x="37" y="404"/>
                  </a:cubicBezTo>
                  <a:cubicBezTo>
                    <a:pt x="33" y="410"/>
                    <a:pt x="33" y="410"/>
                    <a:pt x="33" y="410"/>
                  </a:cubicBezTo>
                  <a:cubicBezTo>
                    <a:pt x="36" y="421"/>
                    <a:pt x="36" y="421"/>
                    <a:pt x="36" y="421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41" y="452"/>
                    <a:pt x="41" y="452"/>
                    <a:pt x="41" y="452"/>
                  </a:cubicBezTo>
                  <a:cubicBezTo>
                    <a:pt x="35" y="487"/>
                    <a:pt x="35" y="487"/>
                    <a:pt x="35" y="487"/>
                  </a:cubicBezTo>
                  <a:cubicBezTo>
                    <a:pt x="45" y="497"/>
                    <a:pt x="45" y="497"/>
                    <a:pt x="45" y="497"/>
                  </a:cubicBezTo>
                  <a:cubicBezTo>
                    <a:pt x="45" y="497"/>
                    <a:pt x="50" y="500"/>
                    <a:pt x="54" y="503"/>
                  </a:cubicBezTo>
                  <a:cubicBezTo>
                    <a:pt x="58" y="507"/>
                    <a:pt x="59" y="511"/>
                    <a:pt x="55" y="523"/>
                  </a:cubicBezTo>
                  <a:cubicBezTo>
                    <a:pt x="53" y="535"/>
                    <a:pt x="45" y="529"/>
                    <a:pt x="45" y="529"/>
                  </a:cubicBezTo>
                  <a:cubicBezTo>
                    <a:pt x="36" y="532"/>
                    <a:pt x="36" y="532"/>
                    <a:pt x="36" y="532"/>
                  </a:cubicBezTo>
                  <a:cubicBezTo>
                    <a:pt x="41" y="538"/>
                    <a:pt x="41" y="538"/>
                    <a:pt x="41" y="538"/>
                  </a:cubicBezTo>
                  <a:cubicBezTo>
                    <a:pt x="43" y="547"/>
                    <a:pt x="43" y="547"/>
                    <a:pt x="43" y="547"/>
                  </a:cubicBezTo>
                  <a:cubicBezTo>
                    <a:pt x="43" y="547"/>
                    <a:pt x="49" y="561"/>
                    <a:pt x="51" y="568"/>
                  </a:cubicBezTo>
                  <a:cubicBezTo>
                    <a:pt x="54" y="576"/>
                    <a:pt x="46" y="572"/>
                    <a:pt x="45" y="577"/>
                  </a:cubicBezTo>
                  <a:cubicBezTo>
                    <a:pt x="44" y="581"/>
                    <a:pt x="48" y="584"/>
                    <a:pt x="45" y="597"/>
                  </a:cubicBezTo>
                  <a:cubicBezTo>
                    <a:pt x="41" y="609"/>
                    <a:pt x="30" y="603"/>
                    <a:pt x="26" y="607"/>
                  </a:cubicBezTo>
                  <a:cubicBezTo>
                    <a:pt x="21" y="610"/>
                    <a:pt x="28" y="611"/>
                    <a:pt x="27" y="616"/>
                  </a:cubicBezTo>
                  <a:cubicBezTo>
                    <a:pt x="27" y="620"/>
                    <a:pt x="21" y="619"/>
                    <a:pt x="19" y="623"/>
                  </a:cubicBezTo>
                  <a:cubicBezTo>
                    <a:pt x="16" y="625"/>
                    <a:pt x="25" y="643"/>
                    <a:pt x="25" y="643"/>
                  </a:cubicBezTo>
                  <a:cubicBezTo>
                    <a:pt x="25" y="643"/>
                    <a:pt x="21" y="651"/>
                    <a:pt x="19" y="658"/>
                  </a:cubicBezTo>
                  <a:cubicBezTo>
                    <a:pt x="17" y="665"/>
                    <a:pt x="16" y="671"/>
                    <a:pt x="12" y="671"/>
                  </a:cubicBezTo>
                  <a:cubicBezTo>
                    <a:pt x="8" y="671"/>
                    <a:pt x="11" y="662"/>
                    <a:pt x="10" y="657"/>
                  </a:cubicBezTo>
                  <a:cubicBezTo>
                    <a:pt x="9" y="652"/>
                    <a:pt x="1" y="657"/>
                    <a:pt x="1" y="657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0" y="664"/>
                    <a:pt x="3" y="668"/>
                    <a:pt x="3" y="673"/>
                  </a:cubicBezTo>
                  <a:cubicBezTo>
                    <a:pt x="3" y="676"/>
                    <a:pt x="0" y="679"/>
                    <a:pt x="0" y="679"/>
                  </a:cubicBezTo>
                  <a:cubicBezTo>
                    <a:pt x="0" y="679"/>
                    <a:pt x="5" y="693"/>
                    <a:pt x="5" y="696"/>
                  </a:cubicBezTo>
                  <a:cubicBezTo>
                    <a:pt x="5" y="699"/>
                    <a:pt x="1" y="699"/>
                    <a:pt x="1" y="699"/>
                  </a:cubicBezTo>
                  <a:cubicBezTo>
                    <a:pt x="2" y="703"/>
                    <a:pt x="2" y="703"/>
                    <a:pt x="2" y="703"/>
                  </a:cubicBezTo>
                  <a:cubicBezTo>
                    <a:pt x="2" y="703"/>
                    <a:pt x="6" y="700"/>
                    <a:pt x="9" y="702"/>
                  </a:cubicBezTo>
                  <a:cubicBezTo>
                    <a:pt x="10" y="703"/>
                    <a:pt x="9" y="707"/>
                    <a:pt x="9" y="707"/>
                  </a:cubicBezTo>
                  <a:cubicBezTo>
                    <a:pt x="11" y="707"/>
                    <a:pt x="11" y="707"/>
                    <a:pt x="11" y="707"/>
                  </a:cubicBezTo>
                  <a:cubicBezTo>
                    <a:pt x="14" y="697"/>
                    <a:pt x="14" y="697"/>
                    <a:pt x="14" y="697"/>
                  </a:cubicBezTo>
                  <a:cubicBezTo>
                    <a:pt x="17" y="700"/>
                    <a:pt x="17" y="700"/>
                    <a:pt x="17" y="700"/>
                  </a:cubicBezTo>
                  <a:cubicBezTo>
                    <a:pt x="10" y="710"/>
                    <a:pt x="10" y="710"/>
                    <a:pt x="10" y="710"/>
                  </a:cubicBezTo>
                  <a:cubicBezTo>
                    <a:pt x="10" y="712"/>
                    <a:pt x="10" y="712"/>
                    <a:pt x="10" y="712"/>
                  </a:cubicBezTo>
                  <a:cubicBezTo>
                    <a:pt x="25" y="704"/>
                    <a:pt x="25" y="704"/>
                    <a:pt x="25" y="704"/>
                  </a:cubicBezTo>
                  <a:cubicBezTo>
                    <a:pt x="22" y="709"/>
                    <a:pt x="22" y="709"/>
                    <a:pt x="22" y="709"/>
                  </a:cubicBezTo>
                  <a:cubicBezTo>
                    <a:pt x="25" y="713"/>
                    <a:pt x="25" y="713"/>
                    <a:pt x="25" y="713"/>
                  </a:cubicBezTo>
                  <a:cubicBezTo>
                    <a:pt x="21" y="730"/>
                    <a:pt x="21" y="730"/>
                    <a:pt x="21" y="730"/>
                  </a:cubicBezTo>
                  <a:cubicBezTo>
                    <a:pt x="18" y="737"/>
                    <a:pt x="18" y="737"/>
                    <a:pt x="18" y="737"/>
                  </a:cubicBezTo>
                  <a:cubicBezTo>
                    <a:pt x="22" y="741"/>
                    <a:pt x="22" y="741"/>
                    <a:pt x="22" y="741"/>
                  </a:cubicBezTo>
                  <a:cubicBezTo>
                    <a:pt x="17" y="746"/>
                    <a:pt x="17" y="746"/>
                    <a:pt x="17" y="746"/>
                  </a:cubicBezTo>
                  <a:cubicBezTo>
                    <a:pt x="22" y="746"/>
                    <a:pt x="22" y="746"/>
                    <a:pt x="22" y="746"/>
                  </a:cubicBezTo>
                  <a:cubicBezTo>
                    <a:pt x="24" y="746"/>
                    <a:pt x="26" y="754"/>
                    <a:pt x="26" y="757"/>
                  </a:cubicBezTo>
                  <a:cubicBezTo>
                    <a:pt x="26" y="761"/>
                    <a:pt x="27" y="768"/>
                    <a:pt x="29" y="768"/>
                  </a:cubicBezTo>
                  <a:cubicBezTo>
                    <a:pt x="31" y="768"/>
                    <a:pt x="32" y="761"/>
                    <a:pt x="32" y="761"/>
                  </a:cubicBezTo>
                  <a:cubicBezTo>
                    <a:pt x="32" y="770"/>
                    <a:pt x="32" y="770"/>
                    <a:pt x="32" y="770"/>
                  </a:cubicBezTo>
                  <a:cubicBezTo>
                    <a:pt x="34" y="771"/>
                    <a:pt x="34" y="771"/>
                    <a:pt x="34" y="771"/>
                  </a:cubicBezTo>
                  <a:cubicBezTo>
                    <a:pt x="32" y="777"/>
                    <a:pt x="32" y="777"/>
                    <a:pt x="32" y="777"/>
                  </a:cubicBezTo>
                  <a:cubicBezTo>
                    <a:pt x="37" y="779"/>
                    <a:pt x="37" y="779"/>
                    <a:pt x="37" y="779"/>
                  </a:cubicBezTo>
                  <a:cubicBezTo>
                    <a:pt x="37" y="786"/>
                    <a:pt x="37" y="786"/>
                    <a:pt x="37" y="786"/>
                  </a:cubicBezTo>
                  <a:cubicBezTo>
                    <a:pt x="42" y="791"/>
                    <a:pt x="42" y="791"/>
                    <a:pt x="42" y="791"/>
                  </a:cubicBezTo>
                  <a:cubicBezTo>
                    <a:pt x="42" y="796"/>
                    <a:pt x="42" y="796"/>
                    <a:pt x="42" y="796"/>
                  </a:cubicBezTo>
                  <a:cubicBezTo>
                    <a:pt x="48" y="804"/>
                    <a:pt x="48" y="804"/>
                    <a:pt x="48" y="804"/>
                  </a:cubicBezTo>
                  <a:cubicBezTo>
                    <a:pt x="50" y="803"/>
                    <a:pt x="50" y="803"/>
                    <a:pt x="50" y="803"/>
                  </a:cubicBezTo>
                  <a:cubicBezTo>
                    <a:pt x="50" y="803"/>
                    <a:pt x="52" y="815"/>
                    <a:pt x="55" y="816"/>
                  </a:cubicBezTo>
                  <a:cubicBezTo>
                    <a:pt x="60" y="818"/>
                    <a:pt x="61" y="814"/>
                    <a:pt x="61" y="814"/>
                  </a:cubicBezTo>
                  <a:cubicBezTo>
                    <a:pt x="61" y="814"/>
                    <a:pt x="64" y="822"/>
                    <a:pt x="64" y="825"/>
                  </a:cubicBezTo>
                  <a:cubicBezTo>
                    <a:pt x="64" y="829"/>
                    <a:pt x="58" y="828"/>
                    <a:pt x="58" y="828"/>
                  </a:cubicBezTo>
                  <a:cubicBezTo>
                    <a:pt x="58" y="828"/>
                    <a:pt x="57" y="823"/>
                    <a:pt x="52" y="826"/>
                  </a:cubicBezTo>
                  <a:cubicBezTo>
                    <a:pt x="48" y="830"/>
                    <a:pt x="58" y="834"/>
                    <a:pt x="58" y="834"/>
                  </a:cubicBezTo>
                  <a:cubicBezTo>
                    <a:pt x="58" y="834"/>
                    <a:pt x="61" y="839"/>
                    <a:pt x="59" y="841"/>
                  </a:cubicBezTo>
                  <a:cubicBezTo>
                    <a:pt x="55" y="844"/>
                    <a:pt x="51" y="838"/>
                    <a:pt x="49" y="837"/>
                  </a:cubicBezTo>
                  <a:cubicBezTo>
                    <a:pt x="47" y="835"/>
                    <a:pt x="44" y="835"/>
                    <a:pt x="43" y="836"/>
                  </a:cubicBezTo>
                  <a:cubicBezTo>
                    <a:pt x="42" y="837"/>
                    <a:pt x="47" y="839"/>
                    <a:pt x="47" y="839"/>
                  </a:cubicBezTo>
                  <a:cubicBezTo>
                    <a:pt x="48" y="844"/>
                    <a:pt x="48" y="844"/>
                    <a:pt x="48" y="844"/>
                  </a:cubicBezTo>
                  <a:cubicBezTo>
                    <a:pt x="48" y="844"/>
                    <a:pt x="54" y="852"/>
                    <a:pt x="58" y="856"/>
                  </a:cubicBezTo>
                  <a:cubicBezTo>
                    <a:pt x="61" y="861"/>
                    <a:pt x="61" y="865"/>
                    <a:pt x="61" y="865"/>
                  </a:cubicBezTo>
                  <a:cubicBezTo>
                    <a:pt x="65" y="866"/>
                    <a:pt x="65" y="866"/>
                    <a:pt x="65" y="866"/>
                  </a:cubicBezTo>
                  <a:cubicBezTo>
                    <a:pt x="64" y="871"/>
                    <a:pt x="64" y="871"/>
                    <a:pt x="64" y="871"/>
                  </a:cubicBezTo>
                  <a:cubicBezTo>
                    <a:pt x="64" y="871"/>
                    <a:pt x="67" y="871"/>
                    <a:pt x="69" y="877"/>
                  </a:cubicBezTo>
                  <a:cubicBezTo>
                    <a:pt x="71" y="881"/>
                    <a:pt x="64" y="882"/>
                    <a:pt x="64" y="882"/>
                  </a:cubicBezTo>
                  <a:cubicBezTo>
                    <a:pt x="64" y="888"/>
                    <a:pt x="64" y="888"/>
                    <a:pt x="64" y="888"/>
                  </a:cubicBezTo>
                  <a:cubicBezTo>
                    <a:pt x="64" y="888"/>
                    <a:pt x="67" y="891"/>
                    <a:pt x="66" y="894"/>
                  </a:cubicBezTo>
                  <a:cubicBezTo>
                    <a:pt x="65" y="896"/>
                    <a:pt x="62" y="893"/>
                    <a:pt x="62" y="893"/>
                  </a:cubicBezTo>
                  <a:cubicBezTo>
                    <a:pt x="61" y="897"/>
                    <a:pt x="61" y="897"/>
                    <a:pt x="61" y="897"/>
                  </a:cubicBezTo>
                  <a:cubicBezTo>
                    <a:pt x="65" y="896"/>
                    <a:pt x="65" y="896"/>
                    <a:pt x="65" y="896"/>
                  </a:cubicBezTo>
                  <a:cubicBezTo>
                    <a:pt x="65" y="896"/>
                    <a:pt x="78" y="899"/>
                    <a:pt x="82" y="899"/>
                  </a:cubicBezTo>
                  <a:cubicBezTo>
                    <a:pt x="85" y="899"/>
                    <a:pt x="91" y="895"/>
                    <a:pt x="97" y="893"/>
                  </a:cubicBezTo>
                  <a:cubicBezTo>
                    <a:pt x="103" y="891"/>
                    <a:pt x="106" y="895"/>
                    <a:pt x="106" y="895"/>
                  </a:cubicBezTo>
                  <a:cubicBezTo>
                    <a:pt x="112" y="894"/>
                    <a:pt x="112" y="894"/>
                    <a:pt x="112" y="894"/>
                  </a:cubicBezTo>
                  <a:cubicBezTo>
                    <a:pt x="112" y="894"/>
                    <a:pt x="117" y="885"/>
                    <a:pt x="118" y="880"/>
                  </a:cubicBezTo>
                  <a:cubicBezTo>
                    <a:pt x="119" y="876"/>
                    <a:pt x="111" y="875"/>
                    <a:pt x="111" y="869"/>
                  </a:cubicBezTo>
                  <a:cubicBezTo>
                    <a:pt x="111" y="865"/>
                    <a:pt x="118" y="854"/>
                    <a:pt x="120" y="852"/>
                  </a:cubicBezTo>
                  <a:cubicBezTo>
                    <a:pt x="123" y="851"/>
                    <a:pt x="129" y="855"/>
                    <a:pt x="131" y="854"/>
                  </a:cubicBezTo>
                  <a:cubicBezTo>
                    <a:pt x="133" y="852"/>
                    <a:pt x="129" y="844"/>
                    <a:pt x="129" y="844"/>
                  </a:cubicBezTo>
                  <a:cubicBezTo>
                    <a:pt x="147" y="842"/>
                    <a:pt x="147" y="842"/>
                    <a:pt x="147" y="842"/>
                  </a:cubicBezTo>
                  <a:cubicBezTo>
                    <a:pt x="155" y="844"/>
                    <a:pt x="155" y="844"/>
                    <a:pt x="155" y="844"/>
                  </a:cubicBezTo>
                  <a:cubicBezTo>
                    <a:pt x="161" y="839"/>
                    <a:pt x="161" y="839"/>
                    <a:pt x="161" y="839"/>
                  </a:cubicBezTo>
                  <a:cubicBezTo>
                    <a:pt x="172" y="847"/>
                    <a:pt x="172" y="847"/>
                    <a:pt x="172" y="847"/>
                  </a:cubicBezTo>
                  <a:cubicBezTo>
                    <a:pt x="172" y="847"/>
                    <a:pt x="176" y="838"/>
                    <a:pt x="178" y="837"/>
                  </a:cubicBezTo>
                  <a:cubicBezTo>
                    <a:pt x="179" y="835"/>
                    <a:pt x="181" y="820"/>
                    <a:pt x="181" y="820"/>
                  </a:cubicBezTo>
                  <a:cubicBezTo>
                    <a:pt x="184" y="810"/>
                    <a:pt x="184" y="810"/>
                    <a:pt x="184" y="810"/>
                  </a:cubicBezTo>
                  <a:cubicBezTo>
                    <a:pt x="188" y="807"/>
                    <a:pt x="188" y="807"/>
                    <a:pt x="188" y="807"/>
                  </a:cubicBezTo>
                  <a:cubicBezTo>
                    <a:pt x="192" y="791"/>
                    <a:pt x="192" y="791"/>
                    <a:pt x="192" y="791"/>
                  </a:cubicBezTo>
                  <a:cubicBezTo>
                    <a:pt x="190" y="785"/>
                    <a:pt x="190" y="785"/>
                    <a:pt x="190" y="785"/>
                  </a:cubicBezTo>
                  <a:cubicBezTo>
                    <a:pt x="190" y="785"/>
                    <a:pt x="193" y="784"/>
                    <a:pt x="194" y="781"/>
                  </a:cubicBezTo>
                  <a:cubicBezTo>
                    <a:pt x="195" y="777"/>
                    <a:pt x="191" y="775"/>
                    <a:pt x="191" y="775"/>
                  </a:cubicBezTo>
                  <a:cubicBezTo>
                    <a:pt x="192" y="761"/>
                    <a:pt x="192" y="761"/>
                    <a:pt x="192" y="761"/>
                  </a:cubicBezTo>
                  <a:cubicBezTo>
                    <a:pt x="192" y="761"/>
                    <a:pt x="195" y="762"/>
                    <a:pt x="197" y="756"/>
                  </a:cubicBezTo>
                  <a:cubicBezTo>
                    <a:pt x="200" y="751"/>
                    <a:pt x="191" y="746"/>
                    <a:pt x="191" y="746"/>
                  </a:cubicBezTo>
                  <a:cubicBezTo>
                    <a:pt x="193" y="744"/>
                    <a:pt x="193" y="744"/>
                    <a:pt x="193" y="744"/>
                  </a:cubicBezTo>
                  <a:cubicBezTo>
                    <a:pt x="194" y="735"/>
                    <a:pt x="194" y="735"/>
                    <a:pt x="194" y="735"/>
                  </a:cubicBezTo>
                  <a:cubicBezTo>
                    <a:pt x="192" y="728"/>
                    <a:pt x="192" y="728"/>
                    <a:pt x="192" y="728"/>
                  </a:cubicBezTo>
                  <a:cubicBezTo>
                    <a:pt x="188" y="728"/>
                    <a:pt x="188" y="728"/>
                    <a:pt x="188" y="728"/>
                  </a:cubicBezTo>
                  <a:cubicBezTo>
                    <a:pt x="188" y="728"/>
                    <a:pt x="188" y="726"/>
                    <a:pt x="191" y="725"/>
                  </a:cubicBezTo>
                  <a:cubicBezTo>
                    <a:pt x="195" y="725"/>
                    <a:pt x="198" y="728"/>
                    <a:pt x="198" y="728"/>
                  </a:cubicBezTo>
                  <a:cubicBezTo>
                    <a:pt x="197" y="722"/>
                    <a:pt x="197" y="722"/>
                    <a:pt x="197" y="722"/>
                  </a:cubicBezTo>
                  <a:cubicBezTo>
                    <a:pt x="193" y="720"/>
                    <a:pt x="193" y="720"/>
                    <a:pt x="193" y="720"/>
                  </a:cubicBezTo>
                  <a:cubicBezTo>
                    <a:pt x="196" y="719"/>
                    <a:pt x="196" y="719"/>
                    <a:pt x="196" y="719"/>
                  </a:cubicBezTo>
                  <a:cubicBezTo>
                    <a:pt x="196" y="719"/>
                    <a:pt x="196" y="711"/>
                    <a:pt x="198" y="707"/>
                  </a:cubicBezTo>
                  <a:cubicBezTo>
                    <a:pt x="201" y="703"/>
                    <a:pt x="192" y="698"/>
                    <a:pt x="192" y="698"/>
                  </a:cubicBezTo>
                  <a:cubicBezTo>
                    <a:pt x="195" y="697"/>
                    <a:pt x="195" y="697"/>
                    <a:pt x="195" y="697"/>
                  </a:cubicBezTo>
                  <a:cubicBezTo>
                    <a:pt x="192" y="692"/>
                    <a:pt x="192" y="692"/>
                    <a:pt x="192" y="692"/>
                  </a:cubicBezTo>
                  <a:cubicBezTo>
                    <a:pt x="192" y="692"/>
                    <a:pt x="198" y="694"/>
                    <a:pt x="201" y="687"/>
                  </a:cubicBezTo>
                  <a:cubicBezTo>
                    <a:pt x="204" y="679"/>
                    <a:pt x="183" y="679"/>
                    <a:pt x="183" y="679"/>
                  </a:cubicBezTo>
                  <a:cubicBezTo>
                    <a:pt x="182" y="682"/>
                    <a:pt x="182" y="682"/>
                    <a:pt x="182" y="682"/>
                  </a:cubicBezTo>
                  <a:cubicBezTo>
                    <a:pt x="176" y="681"/>
                    <a:pt x="176" y="681"/>
                    <a:pt x="176" y="681"/>
                  </a:cubicBezTo>
                  <a:cubicBezTo>
                    <a:pt x="176" y="677"/>
                    <a:pt x="176" y="677"/>
                    <a:pt x="176" y="677"/>
                  </a:cubicBezTo>
                  <a:cubicBezTo>
                    <a:pt x="192" y="677"/>
                    <a:pt x="192" y="677"/>
                    <a:pt x="192" y="677"/>
                  </a:cubicBezTo>
                  <a:cubicBezTo>
                    <a:pt x="195" y="677"/>
                    <a:pt x="201" y="680"/>
                    <a:pt x="201" y="680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2" y="668"/>
                    <a:pt x="202" y="668"/>
                    <a:pt x="202" y="668"/>
                  </a:cubicBezTo>
                  <a:cubicBezTo>
                    <a:pt x="208" y="672"/>
                    <a:pt x="208" y="672"/>
                    <a:pt x="208" y="672"/>
                  </a:cubicBezTo>
                  <a:cubicBezTo>
                    <a:pt x="208" y="672"/>
                    <a:pt x="212" y="671"/>
                    <a:pt x="213" y="671"/>
                  </a:cubicBezTo>
                  <a:cubicBezTo>
                    <a:pt x="214" y="671"/>
                    <a:pt x="218" y="666"/>
                    <a:pt x="218" y="666"/>
                  </a:cubicBezTo>
                  <a:cubicBezTo>
                    <a:pt x="218" y="661"/>
                    <a:pt x="218" y="661"/>
                    <a:pt x="218" y="661"/>
                  </a:cubicBezTo>
                  <a:cubicBezTo>
                    <a:pt x="222" y="662"/>
                    <a:pt x="222" y="662"/>
                    <a:pt x="222" y="662"/>
                  </a:cubicBezTo>
                  <a:cubicBezTo>
                    <a:pt x="223" y="647"/>
                    <a:pt x="223" y="647"/>
                    <a:pt x="223" y="647"/>
                  </a:cubicBezTo>
                  <a:cubicBezTo>
                    <a:pt x="226" y="648"/>
                    <a:pt x="226" y="648"/>
                    <a:pt x="226" y="648"/>
                  </a:cubicBezTo>
                  <a:cubicBezTo>
                    <a:pt x="228" y="658"/>
                    <a:pt x="228" y="658"/>
                    <a:pt x="228" y="658"/>
                  </a:cubicBezTo>
                  <a:cubicBezTo>
                    <a:pt x="235" y="659"/>
                    <a:pt x="235" y="659"/>
                    <a:pt x="235" y="659"/>
                  </a:cubicBezTo>
                  <a:cubicBezTo>
                    <a:pt x="237" y="649"/>
                    <a:pt x="237" y="649"/>
                    <a:pt x="237" y="649"/>
                  </a:cubicBezTo>
                  <a:cubicBezTo>
                    <a:pt x="237" y="649"/>
                    <a:pt x="239" y="649"/>
                    <a:pt x="241" y="648"/>
                  </a:cubicBezTo>
                  <a:cubicBezTo>
                    <a:pt x="242" y="647"/>
                    <a:pt x="242" y="643"/>
                    <a:pt x="242" y="643"/>
                  </a:cubicBezTo>
                  <a:cubicBezTo>
                    <a:pt x="246" y="642"/>
                    <a:pt x="246" y="642"/>
                    <a:pt x="246" y="642"/>
                  </a:cubicBezTo>
                  <a:cubicBezTo>
                    <a:pt x="248" y="640"/>
                    <a:pt x="248" y="640"/>
                    <a:pt x="248" y="640"/>
                  </a:cubicBezTo>
                  <a:cubicBezTo>
                    <a:pt x="245" y="639"/>
                    <a:pt x="245" y="639"/>
                    <a:pt x="245" y="639"/>
                  </a:cubicBezTo>
                  <a:cubicBezTo>
                    <a:pt x="243" y="633"/>
                    <a:pt x="243" y="633"/>
                    <a:pt x="243" y="633"/>
                  </a:cubicBezTo>
                  <a:cubicBezTo>
                    <a:pt x="237" y="628"/>
                    <a:pt x="237" y="628"/>
                    <a:pt x="237" y="628"/>
                  </a:cubicBezTo>
                  <a:cubicBezTo>
                    <a:pt x="239" y="625"/>
                    <a:pt x="239" y="625"/>
                    <a:pt x="239" y="625"/>
                  </a:cubicBezTo>
                  <a:cubicBezTo>
                    <a:pt x="244" y="625"/>
                    <a:pt x="244" y="625"/>
                    <a:pt x="244" y="625"/>
                  </a:cubicBezTo>
                  <a:cubicBezTo>
                    <a:pt x="258" y="610"/>
                    <a:pt x="258" y="610"/>
                    <a:pt x="258" y="610"/>
                  </a:cubicBezTo>
                  <a:cubicBezTo>
                    <a:pt x="258" y="607"/>
                    <a:pt x="258" y="607"/>
                    <a:pt x="258" y="607"/>
                  </a:cubicBezTo>
                  <a:cubicBezTo>
                    <a:pt x="266" y="601"/>
                    <a:pt x="266" y="601"/>
                    <a:pt x="266" y="601"/>
                  </a:cubicBezTo>
                  <a:cubicBezTo>
                    <a:pt x="267" y="600"/>
                    <a:pt x="267" y="600"/>
                    <a:pt x="267" y="600"/>
                  </a:cubicBezTo>
                  <a:cubicBezTo>
                    <a:pt x="259" y="600"/>
                    <a:pt x="259" y="600"/>
                    <a:pt x="259" y="600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67" y="592"/>
                    <a:pt x="267" y="592"/>
                    <a:pt x="267" y="592"/>
                  </a:cubicBezTo>
                  <a:cubicBezTo>
                    <a:pt x="261" y="588"/>
                    <a:pt x="261" y="588"/>
                    <a:pt x="261" y="588"/>
                  </a:cubicBezTo>
                  <a:cubicBezTo>
                    <a:pt x="256" y="578"/>
                    <a:pt x="256" y="578"/>
                    <a:pt x="256" y="578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5" y="578"/>
                    <a:pt x="242" y="570"/>
                    <a:pt x="242" y="570"/>
                  </a:cubicBezTo>
                  <a:cubicBezTo>
                    <a:pt x="242" y="566"/>
                    <a:pt x="242" y="566"/>
                    <a:pt x="242" y="566"/>
                  </a:cubicBezTo>
                  <a:cubicBezTo>
                    <a:pt x="241" y="564"/>
                    <a:pt x="241" y="564"/>
                    <a:pt x="241" y="564"/>
                  </a:cubicBezTo>
                  <a:cubicBezTo>
                    <a:pt x="237" y="565"/>
                    <a:pt x="237" y="565"/>
                    <a:pt x="237" y="565"/>
                  </a:cubicBezTo>
                  <a:cubicBezTo>
                    <a:pt x="227" y="554"/>
                    <a:pt x="227" y="554"/>
                    <a:pt x="227" y="554"/>
                  </a:cubicBezTo>
                  <a:cubicBezTo>
                    <a:pt x="227" y="554"/>
                    <a:pt x="228" y="550"/>
                    <a:pt x="225" y="549"/>
                  </a:cubicBezTo>
                  <a:cubicBezTo>
                    <a:pt x="221" y="548"/>
                    <a:pt x="216" y="557"/>
                    <a:pt x="216" y="557"/>
                  </a:cubicBezTo>
                  <a:cubicBezTo>
                    <a:pt x="213" y="552"/>
                    <a:pt x="213" y="552"/>
                    <a:pt x="213" y="552"/>
                  </a:cubicBezTo>
                  <a:cubicBezTo>
                    <a:pt x="213" y="552"/>
                    <a:pt x="215" y="550"/>
                    <a:pt x="213" y="548"/>
                  </a:cubicBezTo>
                  <a:cubicBezTo>
                    <a:pt x="210" y="546"/>
                    <a:pt x="198" y="548"/>
                    <a:pt x="198" y="548"/>
                  </a:cubicBezTo>
                  <a:cubicBezTo>
                    <a:pt x="205" y="541"/>
                    <a:pt x="205" y="541"/>
                    <a:pt x="205" y="541"/>
                  </a:cubicBezTo>
                  <a:cubicBezTo>
                    <a:pt x="200" y="534"/>
                    <a:pt x="200" y="534"/>
                    <a:pt x="200" y="534"/>
                  </a:cubicBezTo>
                  <a:cubicBezTo>
                    <a:pt x="196" y="533"/>
                    <a:pt x="196" y="533"/>
                    <a:pt x="196" y="533"/>
                  </a:cubicBezTo>
                  <a:cubicBezTo>
                    <a:pt x="198" y="525"/>
                    <a:pt x="198" y="525"/>
                    <a:pt x="198" y="525"/>
                  </a:cubicBezTo>
                  <a:cubicBezTo>
                    <a:pt x="196" y="515"/>
                    <a:pt x="196" y="515"/>
                    <a:pt x="196" y="515"/>
                  </a:cubicBezTo>
                  <a:cubicBezTo>
                    <a:pt x="196" y="515"/>
                    <a:pt x="198" y="509"/>
                    <a:pt x="198" y="506"/>
                  </a:cubicBezTo>
                  <a:cubicBezTo>
                    <a:pt x="198" y="504"/>
                    <a:pt x="193" y="502"/>
                    <a:pt x="193" y="502"/>
                  </a:cubicBezTo>
                  <a:cubicBezTo>
                    <a:pt x="195" y="491"/>
                    <a:pt x="195" y="491"/>
                    <a:pt x="195" y="491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6" y="488"/>
                    <a:pt x="196" y="488"/>
                    <a:pt x="196" y="488"/>
                  </a:cubicBezTo>
                  <a:cubicBezTo>
                    <a:pt x="192" y="479"/>
                    <a:pt x="192" y="479"/>
                    <a:pt x="192" y="479"/>
                  </a:cubicBezTo>
                  <a:cubicBezTo>
                    <a:pt x="198" y="483"/>
                    <a:pt x="198" y="483"/>
                    <a:pt x="198" y="483"/>
                  </a:cubicBezTo>
                  <a:cubicBezTo>
                    <a:pt x="201" y="479"/>
                    <a:pt x="201" y="479"/>
                    <a:pt x="201" y="479"/>
                  </a:cubicBezTo>
                  <a:cubicBezTo>
                    <a:pt x="201" y="479"/>
                    <a:pt x="200" y="475"/>
                    <a:pt x="198" y="473"/>
                  </a:cubicBezTo>
                  <a:cubicBezTo>
                    <a:pt x="195" y="472"/>
                    <a:pt x="197" y="464"/>
                    <a:pt x="197" y="464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201" y="450"/>
                    <a:pt x="201" y="450"/>
                    <a:pt x="201" y="450"/>
                  </a:cubicBezTo>
                  <a:cubicBezTo>
                    <a:pt x="206" y="448"/>
                    <a:pt x="206" y="448"/>
                    <a:pt x="206" y="448"/>
                  </a:cubicBezTo>
                  <a:cubicBezTo>
                    <a:pt x="206" y="445"/>
                    <a:pt x="206" y="445"/>
                    <a:pt x="206" y="445"/>
                  </a:cubicBezTo>
                  <a:cubicBezTo>
                    <a:pt x="200" y="445"/>
                    <a:pt x="200" y="445"/>
                    <a:pt x="200" y="445"/>
                  </a:cubicBezTo>
                  <a:cubicBezTo>
                    <a:pt x="199" y="441"/>
                    <a:pt x="199" y="441"/>
                    <a:pt x="199" y="441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196" y="432"/>
                    <a:pt x="196" y="432"/>
                    <a:pt x="196" y="432"/>
                  </a:cubicBezTo>
                  <a:cubicBezTo>
                    <a:pt x="194" y="430"/>
                    <a:pt x="194" y="430"/>
                    <a:pt x="194" y="430"/>
                  </a:cubicBezTo>
                  <a:cubicBezTo>
                    <a:pt x="199" y="428"/>
                    <a:pt x="199" y="428"/>
                    <a:pt x="199" y="428"/>
                  </a:cubicBezTo>
                  <a:cubicBezTo>
                    <a:pt x="202" y="434"/>
                    <a:pt x="202" y="434"/>
                    <a:pt x="202" y="434"/>
                  </a:cubicBezTo>
                  <a:cubicBezTo>
                    <a:pt x="207" y="432"/>
                    <a:pt x="207" y="432"/>
                    <a:pt x="207" y="432"/>
                  </a:cubicBezTo>
                  <a:cubicBezTo>
                    <a:pt x="205" y="430"/>
                    <a:pt x="205" y="430"/>
                    <a:pt x="205" y="430"/>
                  </a:cubicBezTo>
                  <a:cubicBezTo>
                    <a:pt x="207" y="427"/>
                    <a:pt x="207" y="427"/>
                    <a:pt x="207" y="427"/>
                  </a:cubicBezTo>
                  <a:cubicBezTo>
                    <a:pt x="207" y="427"/>
                    <a:pt x="212" y="427"/>
                    <a:pt x="212" y="425"/>
                  </a:cubicBezTo>
                  <a:cubicBezTo>
                    <a:pt x="212" y="418"/>
                    <a:pt x="212" y="418"/>
                    <a:pt x="212" y="418"/>
                  </a:cubicBezTo>
                  <a:cubicBezTo>
                    <a:pt x="213" y="414"/>
                    <a:pt x="213" y="414"/>
                    <a:pt x="213" y="414"/>
                  </a:cubicBezTo>
                  <a:cubicBezTo>
                    <a:pt x="213" y="414"/>
                    <a:pt x="211" y="408"/>
                    <a:pt x="213" y="408"/>
                  </a:cubicBezTo>
                  <a:cubicBezTo>
                    <a:pt x="215" y="407"/>
                    <a:pt x="216" y="410"/>
                    <a:pt x="216" y="410"/>
                  </a:cubicBezTo>
                  <a:cubicBezTo>
                    <a:pt x="221" y="407"/>
                    <a:pt x="221" y="407"/>
                    <a:pt x="221" y="407"/>
                  </a:cubicBezTo>
                  <a:cubicBezTo>
                    <a:pt x="221" y="407"/>
                    <a:pt x="218" y="403"/>
                    <a:pt x="221" y="401"/>
                  </a:cubicBezTo>
                  <a:cubicBezTo>
                    <a:pt x="222" y="400"/>
                    <a:pt x="225" y="405"/>
                    <a:pt x="225" y="405"/>
                  </a:cubicBezTo>
                  <a:cubicBezTo>
                    <a:pt x="229" y="399"/>
                    <a:pt x="229" y="399"/>
                    <a:pt x="229" y="399"/>
                  </a:cubicBezTo>
                  <a:cubicBezTo>
                    <a:pt x="225" y="397"/>
                    <a:pt x="225" y="397"/>
                    <a:pt x="225" y="397"/>
                  </a:cubicBezTo>
                  <a:cubicBezTo>
                    <a:pt x="228" y="396"/>
                    <a:pt x="228" y="396"/>
                    <a:pt x="228" y="396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22" y="395"/>
                    <a:pt x="222" y="395"/>
                    <a:pt x="222" y="395"/>
                  </a:cubicBezTo>
                  <a:cubicBezTo>
                    <a:pt x="226" y="392"/>
                    <a:pt x="226" y="392"/>
                    <a:pt x="226" y="392"/>
                  </a:cubicBezTo>
                  <a:cubicBezTo>
                    <a:pt x="231" y="380"/>
                    <a:pt x="231" y="380"/>
                    <a:pt x="231" y="380"/>
                  </a:cubicBezTo>
                  <a:cubicBezTo>
                    <a:pt x="234" y="380"/>
                    <a:pt x="234" y="380"/>
                    <a:pt x="234" y="380"/>
                  </a:cubicBezTo>
                  <a:cubicBezTo>
                    <a:pt x="239" y="377"/>
                    <a:pt x="239" y="377"/>
                    <a:pt x="239" y="377"/>
                  </a:cubicBezTo>
                  <a:cubicBezTo>
                    <a:pt x="233" y="375"/>
                    <a:pt x="233" y="375"/>
                    <a:pt x="233" y="375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43" y="378"/>
                    <a:pt x="243" y="378"/>
                    <a:pt x="243" y="378"/>
                  </a:cubicBezTo>
                  <a:cubicBezTo>
                    <a:pt x="243" y="378"/>
                    <a:pt x="244" y="374"/>
                    <a:pt x="246" y="371"/>
                  </a:cubicBezTo>
                  <a:cubicBezTo>
                    <a:pt x="248" y="368"/>
                    <a:pt x="249" y="361"/>
                    <a:pt x="249" y="361"/>
                  </a:cubicBezTo>
                  <a:cubicBezTo>
                    <a:pt x="249" y="361"/>
                    <a:pt x="251" y="362"/>
                    <a:pt x="254" y="360"/>
                  </a:cubicBezTo>
                  <a:cubicBezTo>
                    <a:pt x="256" y="359"/>
                    <a:pt x="255" y="353"/>
                    <a:pt x="255" y="35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61" y="363"/>
                    <a:pt x="261" y="363"/>
                    <a:pt x="261" y="363"/>
                  </a:cubicBezTo>
                  <a:cubicBezTo>
                    <a:pt x="263" y="361"/>
                    <a:pt x="263" y="361"/>
                    <a:pt x="263" y="361"/>
                  </a:cubicBezTo>
                  <a:cubicBezTo>
                    <a:pt x="262" y="357"/>
                    <a:pt x="262" y="357"/>
                    <a:pt x="262" y="357"/>
                  </a:cubicBezTo>
                  <a:cubicBezTo>
                    <a:pt x="270" y="348"/>
                    <a:pt x="270" y="348"/>
                    <a:pt x="270" y="34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8" y="344"/>
                    <a:pt x="278" y="344"/>
                    <a:pt x="278" y="344"/>
                  </a:cubicBezTo>
                  <a:cubicBezTo>
                    <a:pt x="278" y="340"/>
                    <a:pt x="278" y="340"/>
                    <a:pt x="278" y="340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1" y="334"/>
                    <a:pt x="281" y="334"/>
                    <a:pt x="281" y="334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0" y="333"/>
                    <a:pt x="290" y="333"/>
                    <a:pt x="290" y="333"/>
                  </a:cubicBezTo>
                  <a:cubicBezTo>
                    <a:pt x="290" y="333"/>
                    <a:pt x="293" y="325"/>
                    <a:pt x="294" y="321"/>
                  </a:cubicBezTo>
                  <a:cubicBezTo>
                    <a:pt x="295" y="318"/>
                    <a:pt x="293" y="313"/>
                    <a:pt x="293" y="313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9" y="302"/>
                    <a:pt x="299" y="302"/>
                    <a:pt x="299" y="3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06" y="288"/>
                    <a:pt x="306" y="288"/>
                    <a:pt x="306" y="288"/>
                  </a:cubicBezTo>
                  <a:cubicBezTo>
                    <a:pt x="304" y="286"/>
                    <a:pt x="304" y="286"/>
                    <a:pt x="304" y="286"/>
                  </a:cubicBezTo>
                  <a:cubicBezTo>
                    <a:pt x="308" y="285"/>
                    <a:pt x="308" y="285"/>
                    <a:pt x="308" y="285"/>
                  </a:cubicBezTo>
                  <a:cubicBezTo>
                    <a:pt x="309" y="283"/>
                    <a:pt x="309" y="283"/>
                    <a:pt x="309" y="283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295" y="277"/>
                    <a:pt x="295" y="277"/>
                    <a:pt x="295" y="277"/>
                  </a:cubicBezTo>
                  <a:cubicBezTo>
                    <a:pt x="298" y="269"/>
                    <a:pt x="298" y="269"/>
                    <a:pt x="298" y="269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98" y="259"/>
                    <a:pt x="298" y="259"/>
                    <a:pt x="298" y="259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3" y="246"/>
                    <a:pt x="293" y="238"/>
                    <a:pt x="295" y="234"/>
                  </a:cubicBezTo>
                  <a:cubicBezTo>
                    <a:pt x="296" y="230"/>
                    <a:pt x="304" y="231"/>
                    <a:pt x="309" y="229"/>
                  </a:cubicBezTo>
                  <a:cubicBezTo>
                    <a:pt x="315" y="226"/>
                    <a:pt x="307" y="221"/>
                    <a:pt x="307" y="221"/>
                  </a:cubicBezTo>
                  <a:cubicBezTo>
                    <a:pt x="313" y="219"/>
                    <a:pt x="313" y="219"/>
                    <a:pt x="313" y="219"/>
                  </a:cubicBezTo>
                  <a:cubicBezTo>
                    <a:pt x="313" y="216"/>
                    <a:pt x="313" y="216"/>
                    <a:pt x="313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5" y="196"/>
                    <a:pt x="315" y="196"/>
                    <a:pt x="315" y="196"/>
                  </a:cubicBezTo>
                  <a:cubicBezTo>
                    <a:pt x="319" y="196"/>
                    <a:pt x="319" y="196"/>
                    <a:pt x="319" y="196"/>
                  </a:cubicBezTo>
                  <a:cubicBezTo>
                    <a:pt x="322" y="201"/>
                    <a:pt x="322" y="201"/>
                    <a:pt x="322" y="201"/>
                  </a:cubicBezTo>
                  <a:cubicBezTo>
                    <a:pt x="326" y="201"/>
                    <a:pt x="326" y="201"/>
                    <a:pt x="326" y="201"/>
                  </a:cubicBezTo>
                  <a:cubicBezTo>
                    <a:pt x="324" y="193"/>
                    <a:pt x="324" y="193"/>
                    <a:pt x="324" y="193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6" y="201"/>
                    <a:pt x="336" y="201"/>
                    <a:pt x="336" y="201"/>
                  </a:cubicBezTo>
                  <a:cubicBezTo>
                    <a:pt x="337" y="205"/>
                    <a:pt x="337" y="205"/>
                    <a:pt x="337" y="205"/>
                  </a:cubicBezTo>
                  <a:cubicBezTo>
                    <a:pt x="340" y="200"/>
                    <a:pt x="340" y="200"/>
                    <a:pt x="340" y="200"/>
                  </a:cubicBezTo>
                  <a:cubicBezTo>
                    <a:pt x="339" y="196"/>
                    <a:pt x="339" y="196"/>
                    <a:pt x="339" y="196"/>
                  </a:cubicBezTo>
                  <a:cubicBezTo>
                    <a:pt x="350" y="196"/>
                    <a:pt x="350" y="196"/>
                    <a:pt x="350" y="196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4" y="188"/>
                  </a:lnTo>
                  <a:close/>
                  <a:moveTo>
                    <a:pt x="14" y="718"/>
                  </a:moveTo>
                  <a:cubicBezTo>
                    <a:pt x="21" y="719"/>
                    <a:pt x="21" y="719"/>
                    <a:pt x="21" y="719"/>
                  </a:cubicBezTo>
                  <a:cubicBezTo>
                    <a:pt x="22" y="712"/>
                    <a:pt x="22" y="712"/>
                    <a:pt x="22" y="712"/>
                  </a:cubicBezTo>
                  <a:cubicBezTo>
                    <a:pt x="19" y="709"/>
                    <a:pt x="19" y="709"/>
                    <a:pt x="19" y="709"/>
                  </a:cubicBezTo>
                  <a:cubicBezTo>
                    <a:pt x="17" y="712"/>
                    <a:pt x="17" y="712"/>
                    <a:pt x="17" y="712"/>
                  </a:cubicBezTo>
                  <a:cubicBezTo>
                    <a:pt x="16" y="712"/>
                    <a:pt x="16" y="712"/>
                    <a:pt x="16" y="712"/>
                  </a:cubicBezTo>
                  <a:cubicBezTo>
                    <a:pt x="8" y="720"/>
                    <a:pt x="8" y="720"/>
                    <a:pt x="8" y="720"/>
                  </a:cubicBezTo>
                  <a:cubicBezTo>
                    <a:pt x="14" y="721"/>
                    <a:pt x="14" y="721"/>
                    <a:pt x="14" y="721"/>
                  </a:cubicBezTo>
                  <a:lnTo>
                    <a:pt x="14" y="718"/>
                  </a:lnTo>
                  <a:close/>
                  <a:moveTo>
                    <a:pt x="20" y="727"/>
                  </a:moveTo>
                  <a:cubicBezTo>
                    <a:pt x="19" y="723"/>
                    <a:pt x="19" y="723"/>
                    <a:pt x="19" y="723"/>
                  </a:cubicBezTo>
                  <a:cubicBezTo>
                    <a:pt x="11" y="725"/>
                    <a:pt x="11" y="725"/>
                    <a:pt x="11" y="725"/>
                  </a:cubicBezTo>
                  <a:cubicBezTo>
                    <a:pt x="13" y="728"/>
                    <a:pt x="13" y="728"/>
                    <a:pt x="13" y="728"/>
                  </a:cubicBezTo>
                  <a:cubicBezTo>
                    <a:pt x="13" y="730"/>
                    <a:pt x="13" y="730"/>
                    <a:pt x="13" y="730"/>
                  </a:cubicBezTo>
                  <a:cubicBezTo>
                    <a:pt x="16" y="730"/>
                    <a:pt x="16" y="730"/>
                    <a:pt x="16" y="730"/>
                  </a:cubicBezTo>
                  <a:cubicBezTo>
                    <a:pt x="17" y="727"/>
                    <a:pt x="17" y="727"/>
                    <a:pt x="17" y="727"/>
                  </a:cubicBezTo>
                  <a:lnTo>
                    <a:pt x="20" y="727"/>
                  </a:lnTo>
                  <a:close/>
                  <a:moveTo>
                    <a:pt x="211" y="760"/>
                  </a:moveTo>
                  <a:cubicBezTo>
                    <a:pt x="207" y="765"/>
                    <a:pt x="207" y="765"/>
                    <a:pt x="207" y="765"/>
                  </a:cubicBezTo>
                  <a:cubicBezTo>
                    <a:pt x="208" y="771"/>
                    <a:pt x="208" y="771"/>
                    <a:pt x="208" y="771"/>
                  </a:cubicBezTo>
                  <a:cubicBezTo>
                    <a:pt x="207" y="771"/>
                    <a:pt x="207" y="771"/>
                    <a:pt x="207" y="771"/>
                  </a:cubicBezTo>
                  <a:cubicBezTo>
                    <a:pt x="207" y="773"/>
                    <a:pt x="207" y="773"/>
                    <a:pt x="207" y="773"/>
                  </a:cubicBezTo>
                  <a:cubicBezTo>
                    <a:pt x="205" y="783"/>
                    <a:pt x="205" y="783"/>
                    <a:pt x="205" y="783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0" y="792"/>
                    <a:pt x="200" y="792"/>
                    <a:pt x="200" y="792"/>
                  </a:cubicBezTo>
                  <a:cubicBezTo>
                    <a:pt x="198" y="792"/>
                    <a:pt x="198" y="792"/>
                    <a:pt x="198" y="792"/>
                  </a:cubicBezTo>
                  <a:cubicBezTo>
                    <a:pt x="198" y="792"/>
                    <a:pt x="195" y="797"/>
                    <a:pt x="194" y="801"/>
                  </a:cubicBezTo>
                  <a:cubicBezTo>
                    <a:pt x="193" y="804"/>
                    <a:pt x="194" y="807"/>
                    <a:pt x="193" y="808"/>
                  </a:cubicBezTo>
                  <a:cubicBezTo>
                    <a:pt x="193" y="810"/>
                    <a:pt x="190" y="812"/>
                    <a:pt x="190" y="816"/>
                  </a:cubicBezTo>
                  <a:cubicBezTo>
                    <a:pt x="190" y="821"/>
                    <a:pt x="190" y="821"/>
                    <a:pt x="190" y="821"/>
                  </a:cubicBezTo>
                  <a:cubicBezTo>
                    <a:pt x="193" y="823"/>
                    <a:pt x="193" y="823"/>
                    <a:pt x="193" y="823"/>
                  </a:cubicBezTo>
                  <a:cubicBezTo>
                    <a:pt x="192" y="836"/>
                    <a:pt x="192" y="836"/>
                    <a:pt x="192" y="836"/>
                  </a:cubicBezTo>
                  <a:cubicBezTo>
                    <a:pt x="192" y="836"/>
                    <a:pt x="196" y="833"/>
                    <a:pt x="197" y="830"/>
                  </a:cubicBezTo>
                  <a:cubicBezTo>
                    <a:pt x="198" y="825"/>
                    <a:pt x="197" y="824"/>
                    <a:pt x="197" y="822"/>
                  </a:cubicBezTo>
                  <a:cubicBezTo>
                    <a:pt x="197" y="820"/>
                    <a:pt x="199" y="817"/>
                    <a:pt x="200" y="815"/>
                  </a:cubicBezTo>
                  <a:cubicBezTo>
                    <a:pt x="201" y="813"/>
                    <a:pt x="200" y="807"/>
                    <a:pt x="200" y="807"/>
                  </a:cubicBezTo>
                  <a:cubicBezTo>
                    <a:pt x="204" y="796"/>
                    <a:pt x="204" y="796"/>
                    <a:pt x="204" y="796"/>
                  </a:cubicBezTo>
                  <a:cubicBezTo>
                    <a:pt x="206" y="796"/>
                    <a:pt x="206" y="796"/>
                    <a:pt x="206" y="796"/>
                  </a:cubicBezTo>
                  <a:cubicBezTo>
                    <a:pt x="208" y="788"/>
                    <a:pt x="208" y="788"/>
                    <a:pt x="208" y="788"/>
                  </a:cubicBezTo>
                  <a:cubicBezTo>
                    <a:pt x="207" y="785"/>
                    <a:pt x="207" y="785"/>
                    <a:pt x="207" y="785"/>
                  </a:cubicBezTo>
                  <a:cubicBezTo>
                    <a:pt x="209" y="783"/>
                    <a:pt x="209" y="783"/>
                    <a:pt x="209" y="783"/>
                  </a:cubicBezTo>
                  <a:cubicBezTo>
                    <a:pt x="208" y="782"/>
                    <a:pt x="208" y="782"/>
                    <a:pt x="208" y="782"/>
                  </a:cubicBezTo>
                  <a:cubicBezTo>
                    <a:pt x="210" y="779"/>
                    <a:pt x="210" y="779"/>
                    <a:pt x="210" y="779"/>
                  </a:cubicBezTo>
                  <a:cubicBezTo>
                    <a:pt x="209" y="777"/>
                    <a:pt x="209" y="777"/>
                    <a:pt x="209" y="777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4" y="763"/>
                    <a:pt x="214" y="763"/>
                    <a:pt x="214" y="763"/>
                  </a:cubicBezTo>
                  <a:lnTo>
                    <a:pt x="211" y="760"/>
                  </a:lnTo>
                  <a:close/>
                  <a:moveTo>
                    <a:pt x="277" y="731"/>
                  </a:moveTo>
                  <a:cubicBezTo>
                    <a:pt x="281" y="724"/>
                    <a:pt x="281" y="724"/>
                    <a:pt x="281" y="724"/>
                  </a:cubicBezTo>
                  <a:cubicBezTo>
                    <a:pt x="278" y="718"/>
                    <a:pt x="278" y="718"/>
                    <a:pt x="278" y="718"/>
                  </a:cubicBezTo>
                  <a:cubicBezTo>
                    <a:pt x="272" y="719"/>
                    <a:pt x="272" y="719"/>
                    <a:pt x="272" y="719"/>
                  </a:cubicBezTo>
                  <a:cubicBezTo>
                    <a:pt x="270" y="724"/>
                    <a:pt x="270" y="724"/>
                    <a:pt x="270" y="724"/>
                  </a:cubicBezTo>
                  <a:cubicBezTo>
                    <a:pt x="270" y="719"/>
                    <a:pt x="270" y="719"/>
                    <a:pt x="270" y="719"/>
                  </a:cubicBezTo>
                  <a:cubicBezTo>
                    <a:pt x="270" y="719"/>
                    <a:pt x="267" y="719"/>
                    <a:pt x="266" y="720"/>
                  </a:cubicBezTo>
                  <a:cubicBezTo>
                    <a:pt x="264" y="721"/>
                    <a:pt x="263" y="724"/>
                    <a:pt x="263" y="724"/>
                  </a:cubicBezTo>
                  <a:cubicBezTo>
                    <a:pt x="263" y="724"/>
                    <a:pt x="262" y="723"/>
                    <a:pt x="259" y="726"/>
                  </a:cubicBezTo>
                  <a:cubicBezTo>
                    <a:pt x="257" y="729"/>
                    <a:pt x="253" y="739"/>
                    <a:pt x="253" y="739"/>
                  </a:cubicBezTo>
                  <a:cubicBezTo>
                    <a:pt x="253" y="739"/>
                    <a:pt x="248" y="741"/>
                    <a:pt x="248" y="746"/>
                  </a:cubicBezTo>
                  <a:cubicBezTo>
                    <a:pt x="247" y="753"/>
                    <a:pt x="253" y="753"/>
                    <a:pt x="253" y="757"/>
                  </a:cubicBezTo>
                  <a:cubicBezTo>
                    <a:pt x="251" y="762"/>
                    <a:pt x="249" y="763"/>
                    <a:pt x="249" y="763"/>
                  </a:cubicBezTo>
                  <a:cubicBezTo>
                    <a:pt x="251" y="765"/>
                    <a:pt x="251" y="765"/>
                    <a:pt x="251" y="765"/>
                  </a:cubicBezTo>
                  <a:cubicBezTo>
                    <a:pt x="251" y="772"/>
                    <a:pt x="251" y="772"/>
                    <a:pt x="251" y="772"/>
                  </a:cubicBezTo>
                  <a:cubicBezTo>
                    <a:pt x="254" y="773"/>
                    <a:pt x="254" y="773"/>
                    <a:pt x="254" y="773"/>
                  </a:cubicBezTo>
                  <a:cubicBezTo>
                    <a:pt x="254" y="776"/>
                    <a:pt x="254" y="776"/>
                    <a:pt x="254" y="776"/>
                  </a:cubicBezTo>
                  <a:cubicBezTo>
                    <a:pt x="254" y="776"/>
                    <a:pt x="257" y="775"/>
                    <a:pt x="257" y="776"/>
                  </a:cubicBezTo>
                  <a:cubicBezTo>
                    <a:pt x="257" y="777"/>
                    <a:pt x="255" y="778"/>
                    <a:pt x="255" y="778"/>
                  </a:cubicBezTo>
                  <a:cubicBezTo>
                    <a:pt x="255" y="782"/>
                    <a:pt x="255" y="782"/>
                    <a:pt x="255" y="782"/>
                  </a:cubicBezTo>
                  <a:cubicBezTo>
                    <a:pt x="255" y="783"/>
                    <a:pt x="253" y="787"/>
                    <a:pt x="253" y="787"/>
                  </a:cubicBezTo>
                  <a:cubicBezTo>
                    <a:pt x="258" y="785"/>
                    <a:pt x="258" y="785"/>
                    <a:pt x="258" y="785"/>
                  </a:cubicBezTo>
                  <a:cubicBezTo>
                    <a:pt x="261" y="779"/>
                    <a:pt x="261" y="779"/>
                    <a:pt x="261" y="779"/>
                  </a:cubicBezTo>
                  <a:cubicBezTo>
                    <a:pt x="260" y="779"/>
                    <a:pt x="260" y="779"/>
                    <a:pt x="260" y="779"/>
                  </a:cubicBezTo>
                  <a:cubicBezTo>
                    <a:pt x="261" y="774"/>
                    <a:pt x="261" y="774"/>
                    <a:pt x="261" y="774"/>
                  </a:cubicBezTo>
                  <a:cubicBezTo>
                    <a:pt x="262" y="772"/>
                    <a:pt x="262" y="772"/>
                    <a:pt x="262" y="772"/>
                  </a:cubicBezTo>
                  <a:cubicBezTo>
                    <a:pt x="261" y="772"/>
                    <a:pt x="261" y="772"/>
                    <a:pt x="261" y="772"/>
                  </a:cubicBezTo>
                  <a:cubicBezTo>
                    <a:pt x="266" y="766"/>
                    <a:pt x="266" y="766"/>
                    <a:pt x="266" y="766"/>
                  </a:cubicBezTo>
                  <a:cubicBezTo>
                    <a:pt x="271" y="763"/>
                    <a:pt x="271" y="763"/>
                    <a:pt x="271" y="763"/>
                  </a:cubicBezTo>
                  <a:cubicBezTo>
                    <a:pt x="271" y="758"/>
                    <a:pt x="271" y="758"/>
                    <a:pt x="271" y="758"/>
                  </a:cubicBezTo>
                  <a:cubicBezTo>
                    <a:pt x="277" y="750"/>
                    <a:pt x="277" y="750"/>
                    <a:pt x="277" y="750"/>
                  </a:cubicBezTo>
                  <a:cubicBezTo>
                    <a:pt x="274" y="750"/>
                    <a:pt x="274" y="750"/>
                    <a:pt x="274" y="750"/>
                  </a:cubicBezTo>
                  <a:cubicBezTo>
                    <a:pt x="271" y="746"/>
                    <a:pt x="271" y="746"/>
                    <a:pt x="271" y="746"/>
                  </a:cubicBezTo>
                  <a:cubicBezTo>
                    <a:pt x="271" y="746"/>
                    <a:pt x="273" y="743"/>
                    <a:pt x="274" y="740"/>
                  </a:cubicBezTo>
                  <a:cubicBezTo>
                    <a:pt x="274" y="738"/>
                    <a:pt x="271" y="735"/>
                    <a:pt x="271" y="735"/>
                  </a:cubicBezTo>
                  <a:cubicBezTo>
                    <a:pt x="272" y="730"/>
                    <a:pt x="272" y="730"/>
                    <a:pt x="272" y="730"/>
                  </a:cubicBezTo>
                  <a:lnTo>
                    <a:pt x="277" y="731"/>
                  </a:lnTo>
                  <a:close/>
                  <a:moveTo>
                    <a:pt x="280" y="719"/>
                  </a:moveTo>
                  <a:cubicBezTo>
                    <a:pt x="282" y="721"/>
                    <a:pt x="282" y="721"/>
                    <a:pt x="282" y="721"/>
                  </a:cubicBezTo>
                  <a:cubicBezTo>
                    <a:pt x="286" y="711"/>
                    <a:pt x="286" y="711"/>
                    <a:pt x="286" y="711"/>
                  </a:cubicBezTo>
                  <a:cubicBezTo>
                    <a:pt x="281" y="712"/>
                    <a:pt x="281" y="712"/>
                    <a:pt x="281" y="712"/>
                  </a:cubicBezTo>
                  <a:lnTo>
                    <a:pt x="280" y="719"/>
                  </a:lnTo>
                  <a:close/>
                  <a:moveTo>
                    <a:pt x="286" y="715"/>
                  </a:moveTo>
                  <a:cubicBezTo>
                    <a:pt x="290" y="715"/>
                    <a:pt x="290" y="715"/>
                    <a:pt x="290" y="715"/>
                  </a:cubicBezTo>
                  <a:cubicBezTo>
                    <a:pt x="291" y="712"/>
                    <a:pt x="291" y="712"/>
                    <a:pt x="291" y="712"/>
                  </a:cubicBezTo>
                  <a:cubicBezTo>
                    <a:pt x="288" y="712"/>
                    <a:pt x="288" y="712"/>
                    <a:pt x="288" y="712"/>
                  </a:cubicBezTo>
                  <a:lnTo>
                    <a:pt x="286" y="715"/>
                  </a:lnTo>
                  <a:close/>
                  <a:moveTo>
                    <a:pt x="282" y="691"/>
                  </a:moveTo>
                  <a:cubicBezTo>
                    <a:pt x="287" y="688"/>
                    <a:pt x="287" y="688"/>
                    <a:pt x="287" y="688"/>
                  </a:cubicBezTo>
                  <a:cubicBezTo>
                    <a:pt x="280" y="684"/>
                    <a:pt x="280" y="684"/>
                    <a:pt x="280" y="684"/>
                  </a:cubicBezTo>
                  <a:cubicBezTo>
                    <a:pt x="281" y="689"/>
                    <a:pt x="281" y="689"/>
                    <a:pt x="281" y="689"/>
                  </a:cubicBezTo>
                  <a:lnTo>
                    <a:pt x="282" y="691"/>
                  </a:lnTo>
                  <a:close/>
                  <a:moveTo>
                    <a:pt x="243" y="630"/>
                  </a:moveTo>
                  <a:cubicBezTo>
                    <a:pt x="255" y="631"/>
                    <a:pt x="255" y="631"/>
                    <a:pt x="255" y="631"/>
                  </a:cubicBezTo>
                  <a:cubicBezTo>
                    <a:pt x="256" y="630"/>
                    <a:pt x="256" y="630"/>
                    <a:pt x="256" y="630"/>
                  </a:cubicBezTo>
                  <a:cubicBezTo>
                    <a:pt x="254" y="626"/>
                    <a:pt x="254" y="626"/>
                    <a:pt x="254" y="626"/>
                  </a:cubicBezTo>
                  <a:cubicBezTo>
                    <a:pt x="251" y="625"/>
                    <a:pt x="251" y="625"/>
                    <a:pt x="251" y="625"/>
                  </a:cubicBezTo>
                  <a:cubicBezTo>
                    <a:pt x="248" y="626"/>
                    <a:pt x="248" y="626"/>
                    <a:pt x="248" y="626"/>
                  </a:cubicBezTo>
                  <a:cubicBezTo>
                    <a:pt x="249" y="628"/>
                    <a:pt x="249" y="628"/>
                    <a:pt x="249" y="628"/>
                  </a:cubicBezTo>
                  <a:cubicBezTo>
                    <a:pt x="243" y="628"/>
                    <a:pt x="243" y="628"/>
                    <a:pt x="243" y="628"/>
                  </a:cubicBezTo>
                  <a:lnTo>
                    <a:pt x="243" y="630"/>
                  </a:lnTo>
                  <a:close/>
                  <a:moveTo>
                    <a:pt x="254" y="615"/>
                  </a:moveTo>
                  <a:cubicBezTo>
                    <a:pt x="253" y="620"/>
                    <a:pt x="253" y="620"/>
                    <a:pt x="253" y="620"/>
                  </a:cubicBezTo>
                  <a:cubicBezTo>
                    <a:pt x="258" y="617"/>
                    <a:pt x="258" y="617"/>
                    <a:pt x="258" y="617"/>
                  </a:cubicBezTo>
                  <a:lnTo>
                    <a:pt x="254" y="615"/>
                  </a:lnTo>
                  <a:close/>
                  <a:moveTo>
                    <a:pt x="266" y="610"/>
                  </a:moveTo>
                  <a:cubicBezTo>
                    <a:pt x="265" y="607"/>
                    <a:pt x="265" y="607"/>
                    <a:pt x="265" y="607"/>
                  </a:cubicBezTo>
                  <a:cubicBezTo>
                    <a:pt x="259" y="610"/>
                    <a:pt x="259" y="610"/>
                    <a:pt x="259" y="610"/>
                  </a:cubicBezTo>
                  <a:cubicBezTo>
                    <a:pt x="262" y="612"/>
                    <a:pt x="262" y="612"/>
                    <a:pt x="262" y="612"/>
                  </a:cubicBezTo>
                  <a:lnTo>
                    <a:pt x="266" y="610"/>
                  </a:lnTo>
                  <a:close/>
                  <a:moveTo>
                    <a:pt x="258" y="630"/>
                  </a:moveTo>
                  <a:cubicBezTo>
                    <a:pt x="261" y="629"/>
                    <a:pt x="261" y="629"/>
                    <a:pt x="261" y="629"/>
                  </a:cubicBezTo>
                  <a:cubicBezTo>
                    <a:pt x="258" y="626"/>
                    <a:pt x="258" y="626"/>
                    <a:pt x="258" y="626"/>
                  </a:cubicBezTo>
                  <a:lnTo>
                    <a:pt x="258" y="630"/>
                  </a:lnTo>
                  <a:close/>
                  <a:moveTo>
                    <a:pt x="249" y="651"/>
                  </a:moveTo>
                  <a:cubicBezTo>
                    <a:pt x="253" y="644"/>
                    <a:pt x="253" y="644"/>
                    <a:pt x="253" y="644"/>
                  </a:cubicBezTo>
                  <a:cubicBezTo>
                    <a:pt x="250" y="643"/>
                    <a:pt x="250" y="643"/>
                    <a:pt x="250" y="643"/>
                  </a:cubicBezTo>
                  <a:cubicBezTo>
                    <a:pt x="246" y="649"/>
                    <a:pt x="246" y="649"/>
                    <a:pt x="246" y="649"/>
                  </a:cubicBezTo>
                  <a:lnTo>
                    <a:pt x="249" y="651"/>
                  </a:lnTo>
                  <a:close/>
                  <a:moveTo>
                    <a:pt x="245" y="653"/>
                  </a:moveTo>
                  <a:cubicBezTo>
                    <a:pt x="244" y="656"/>
                    <a:pt x="245" y="658"/>
                    <a:pt x="247" y="656"/>
                  </a:cubicBezTo>
                  <a:cubicBezTo>
                    <a:pt x="249" y="653"/>
                    <a:pt x="246" y="651"/>
                    <a:pt x="245" y="653"/>
                  </a:cubicBezTo>
                  <a:close/>
                  <a:moveTo>
                    <a:pt x="238" y="652"/>
                  </a:moveTo>
                  <a:cubicBezTo>
                    <a:pt x="241" y="653"/>
                    <a:pt x="241" y="653"/>
                    <a:pt x="241" y="653"/>
                  </a:cubicBezTo>
                  <a:cubicBezTo>
                    <a:pt x="243" y="649"/>
                    <a:pt x="243" y="649"/>
                    <a:pt x="243" y="649"/>
                  </a:cubicBezTo>
                  <a:cubicBezTo>
                    <a:pt x="242" y="649"/>
                    <a:pt x="242" y="649"/>
                    <a:pt x="242" y="649"/>
                  </a:cubicBezTo>
                  <a:lnTo>
                    <a:pt x="238" y="652"/>
                  </a:lnTo>
                  <a:close/>
                  <a:moveTo>
                    <a:pt x="251" y="632"/>
                  </a:moveTo>
                  <a:cubicBezTo>
                    <a:pt x="249" y="633"/>
                    <a:pt x="249" y="633"/>
                    <a:pt x="249" y="633"/>
                  </a:cubicBezTo>
                  <a:cubicBezTo>
                    <a:pt x="246" y="635"/>
                    <a:pt x="246" y="635"/>
                    <a:pt x="246" y="635"/>
                  </a:cubicBezTo>
                  <a:cubicBezTo>
                    <a:pt x="251" y="636"/>
                    <a:pt x="251" y="636"/>
                    <a:pt x="251" y="636"/>
                  </a:cubicBezTo>
                  <a:lnTo>
                    <a:pt x="251" y="632"/>
                  </a:lnTo>
                  <a:close/>
                  <a:moveTo>
                    <a:pt x="229" y="662"/>
                  </a:moveTo>
                  <a:cubicBezTo>
                    <a:pt x="229" y="664"/>
                    <a:pt x="229" y="664"/>
                    <a:pt x="229" y="664"/>
                  </a:cubicBezTo>
                  <a:cubicBezTo>
                    <a:pt x="232" y="666"/>
                    <a:pt x="232" y="666"/>
                    <a:pt x="232" y="666"/>
                  </a:cubicBezTo>
                  <a:cubicBezTo>
                    <a:pt x="231" y="661"/>
                    <a:pt x="231" y="661"/>
                    <a:pt x="231" y="661"/>
                  </a:cubicBezTo>
                  <a:lnTo>
                    <a:pt x="229" y="662"/>
                  </a:lnTo>
                  <a:close/>
                  <a:moveTo>
                    <a:pt x="246" y="562"/>
                  </a:moveTo>
                  <a:cubicBezTo>
                    <a:pt x="244" y="562"/>
                    <a:pt x="244" y="562"/>
                    <a:pt x="244" y="562"/>
                  </a:cubicBezTo>
                  <a:cubicBezTo>
                    <a:pt x="243" y="558"/>
                    <a:pt x="243" y="558"/>
                    <a:pt x="243" y="558"/>
                  </a:cubicBezTo>
                  <a:cubicBezTo>
                    <a:pt x="241" y="554"/>
                    <a:pt x="241" y="554"/>
                    <a:pt x="241" y="554"/>
                  </a:cubicBezTo>
                  <a:cubicBezTo>
                    <a:pt x="240" y="554"/>
                    <a:pt x="240" y="554"/>
                    <a:pt x="240" y="554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6" y="567"/>
                    <a:pt x="246" y="567"/>
                    <a:pt x="246" y="567"/>
                  </a:cubicBezTo>
                  <a:lnTo>
                    <a:pt x="246" y="562"/>
                  </a:lnTo>
                  <a:close/>
                  <a:moveTo>
                    <a:pt x="245" y="571"/>
                  </a:moveTo>
                  <a:cubicBezTo>
                    <a:pt x="248" y="572"/>
                    <a:pt x="249" y="569"/>
                    <a:pt x="246" y="569"/>
                  </a:cubicBezTo>
                  <a:cubicBezTo>
                    <a:pt x="243" y="569"/>
                    <a:pt x="243" y="571"/>
                    <a:pt x="245" y="571"/>
                  </a:cubicBezTo>
                  <a:close/>
                  <a:moveTo>
                    <a:pt x="253" y="571"/>
                  </a:moveTo>
                  <a:cubicBezTo>
                    <a:pt x="250" y="571"/>
                    <a:pt x="250" y="574"/>
                    <a:pt x="253" y="576"/>
                  </a:cubicBezTo>
                  <a:cubicBezTo>
                    <a:pt x="255" y="577"/>
                    <a:pt x="256" y="576"/>
                    <a:pt x="256" y="573"/>
                  </a:cubicBezTo>
                  <a:cubicBezTo>
                    <a:pt x="255" y="571"/>
                    <a:pt x="254" y="571"/>
                    <a:pt x="253" y="571"/>
                  </a:cubicBezTo>
                  <a:close/>
                  <a:moveTo>
                    <a:pt x="200" y="696"/>
                  </a:moveTo>
                  <a:cubicBezTo>
                    <a:pt x="199" y="693"/>
                    <a:pt x="199" y="693"/>
                    <a:pt x="199" y="693"/>
                  </a:cubicBezTo>
                  <a:cubicBezTo>
                    <a:pt x="198" y="693"/>
                    <a:pt x="198" y="693"/>
                    <a:pt x="198" y="69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202" y="698"/>
                    <a:pt x="202" y="698"/>
                    <a:pt x="202" y="698"/>
                  </a:cubicBezTo>
                  <a:lnTo>
                    <a:pt x="200" y="696"/>
                  </a:lnTo>
                  <a:close/>
                  <a:moveTo>
                    <a:pt x="198" y="739"/>
                  </a:moveTo>
                  <a:cubicBezTo>
                    <a:pt x="195" y="736"/>
                    <a:pt x="195" y="736"/>
                    <a:pt x="195" y="736"/>
                  </a:cubicBezTo>
                  <a:cubicBezTo>
                    <a:pt x="195" y="740"/>
                    <a:pt x="195" y="740"/>
                    <a:pt x="195" y="740"/>
                  </a:cubicBezTo>
                  <a:lnTo>
                    <a:pt x="198" y="739"/>
                  </a:lnTo>
                  <a:close/>
                  <a:moveTo>
                    <a:pt x="266" y="598"/>
                  </a:moveTo>
                  <a:cubicBezTo>
                    <a:pt x="263" y="596"/>
                    <a:pt x="263" y="596"/>
                    <a:pt x="263" y="596"/>
                  </a:cubicBezTo>
                  <a:cubicBezTo>
                    <a:pt x="261" y="598"/>
                    <a:pt x="261" y="598"/>
                    <a:pt x="261" y="598"/>
                  </a:cubicBezTo>
                  <a:lnTo>
                    <a:pt x="266" y="598"/>
                  </a:lnTo>
                  <a:close/>
                  <a:moveTo>
                    <a:pt x="205" y="485"/>
                  </a:moveTo>
                  <a:cubicBezTo>
                    <a:pt x="206" y="482"/>
                    <a:pt x="206" y="482"/>
                    <a:pt x="206" y="482"/>
                  </a:cubicBezTo>
                  <a:cubicBezTo>
                    <a:pt x="202" y="479"/>
                    <a:pt x="202" y="479"/>
                    <a:pt x="202" y="479"/>
                  </a:cubicBezTo>
                  <a:cubicBezTo>
                    <a:pt x="200" y="482"/>
                    <a:pt x="200" y="482"/>
                    <a:pt x="200" y="482"/>
                  </a:cubicBezTo>
                  <a:lnTo>
                    <a:pt x="205" y="485"/>
                  </a:lnTo>
                  <a:close/>
                  <a:moveTo>
                    <a:pt x="199" y="439"/>
                  </a:moveTo>
                  <a:cubicBezTo>
                    <a:pt x="201" y="439"/>
                    <a:pt x="201" y="439"/>
                    <a:pt x="201" y="439"/>
                  </a:cubicBezTo>
                  <a:cubicBezTo>
                    <a:pt x="200" y="432"/>
                    <a:pt x="200" y="432"/>
                    <a:pt x="200" y="432"/>
                  </a:cubicBezTo>
                  <a:cubicBezTo>
                    <a:pt x="198" y="431"/>
                    <a:pt x="198" y="431"/>
                    <a:pt x="198" y="431"/>
                  </a:cubicBezTo>
                  <a:lnTo>
                    <a:pt x="199" y="439"/>
                  </a:lnTo>
                  <a:close/>
                  <a:moveTo>
                    <a:pt x="217" y="421"/>
                  </a:moveTo>
                  <a:cubicBezTo>
                    <a:pt x="216" y="419"/>
                    <a:pt x="216" y="419"/>
                    <a:pt x="216" y="419"/>
                  </a:cubicBezTo>
                  <a:cubicBezTo>
                    <a:pt x="214" y="419"/>
                    <a:pt x="214" y="419"/>
                    <a:pt x="214" y="419"/>
                  </a:cubicBezTo>
                  <a:cubicBezTo>
                    <a:pt x="214" y="421"/>
                    <a:pt x="214" y="421"/>
                    <a:pt x="214" y="421"/>
                  </a:cubicBezTo>
                  <a:cubicBezTo>
                    <a:pt x="214" y="425"/>
                    <a:pt x="214" y="425"/>
                    <a:pt x="214" y="425"/>
                  </a:cubicBezTo>
                  <a:lnTo>
                    <a:pt x="217" y="421"/>
                  </a:lnTo>
                  <a:close/>
                  <a:moveTo>
                    <a:pt x="220" y="411"/>
                  </a:moveTo>
                  <a:cubicBezTo>
                    <a:pt x="215" y="412"/>
                    <a:pt x="214" y="415"/>
                    <a:pt x="216" y="416"/>
                  </a:cubicBezTo>
                  <a:cubicBezTo>
                    <a:pt x="220" y="418"/>
                    <a:pt x="223" y="411"/>
                    <a:pt x="220" y="411"/>
                  </a:cubicBezTo>
                  <a:close/>
                  <a:moveTo>
                    <a:pt x="234" y="392"/>
                  </a:moveTo>
                  <a:cubicBezTo>
                    <a:pt x="232" y="384"/>
                    <a:pt x="232" y="384"/>
                    <a:pt x="232" y="384"/>
                  </a:cubicBezTo>
                  <a:cubicBezTo>
                    <a:pt x="231" y="393"/>
                    <a:pt x="231" y="393"/>
                    <a:pt x="231" y="393"/>
                  </a:cubicBezTo>
                  <a:lnTo>
                    <a:pt x="234" y="392"/>
                  </a:lnTo>
                  <a:close/>
                  <a:moveTo>
                    <a:pt x="294" y="340"/>
                  </a:moveTo>
                  <a:cubicBezTo>
                    <a:pt x="294" y="343"/>
                    <a:pt x="294" y="343"/>
                    <a:pt x="294" y="343"/>
                  </a:cubicBezTo>
                  <a:cubicBezTo>
                    <a:pt x="297" y="342"/>
                    <a:pt x="297" y="342"/>
                    <a:pt x="297" y="342"/>
                  </a:cubicBezTo>
                  <a:cubicBezTo>
                    <a:pt x="296" y="336"/>
                    <a:pt x="296" y="336"/>
                    <a:pt x="296" y="336"/>
                  </a:cubicBezTo>
                  <a:lnTo>
                    <a:pt x="294" y="340"/>
                  </a:lnTo>
                  <a:close/>
                  <a:moveTo>
                    <a:pt x="293" y="335"/>
                  </a:moveTo>
                  <a:cubicBezTo>
                    <a:pt x="290" y="340"/>
                    <a:pt x="294" y="336"/>
                    <a:pt x="294" y="336"/>
                  </a:cubicBezTo>
                  <a:cubicBezTo>
                    <a:pt x="296" y="333"/>
                    <a:pt x="295" y="331"/>
                    <a:pt x="293" y="335"/>
                  </a:cubicBezTo>
                  <a:close/>
                  <a:moveTo>
                    <a:pt x="298" y="236"/>
                  </a:moveTo>
                  <a:cubicBezTo>
                    <a:pt x="300" y="240"/>
                    <a:pt x="300" y="240"/>
                    <a:pt x="300" y="240"/>
                  </a:cubicBezTo>
                  <a:cubicBezTo>
                    <a:pt x="306" y="242"/>
                    <a:pt x="306" y="242"/>
                    <a:pt x="306" y="242"/>
                  </a:cubicBezTo>
                  <a:cubicBezTo>
                    <a:pt x="307" y="241"/>
                    <a:pt x="307" y="241"/>
                    <a:pt x="307" y="241"/>
                  </a:cubicBezTo>
                  <a:cubicBezTo>
                    <a:pt x="304" y="239"/>
                    <a:pt x="304" y="239"/>
                    <a:pt x="304" y="239"/>
                  </a:cubicBezTo>
                  <a:cubicBezTo>
                    <a:pt x="305" y="236"/>
                    <a:pt x="305" y="236"/>
                    <a:pt x="305" y="236"/>
                  </a:cubicBezTo>
                  <a:cubicBezTo>
                    <a:pt x="303" y="235"/>
                    <a:pt x="303" y="235"/>
                    <a:pt x="303" y="235"/>
                  </a:cubicBezTo>
                  <a:cubicBezTo>
                    <a:pt x="302" y="237"/>
                    <a:pt x="302" y="237"/>
                    <a:pt x="302" y="237"/>
                  </a:cubicBezTo>
                  <a:cubicBezTo>
                    <a:pt x="302" y="235"/>
                    <a:pt x="302" y="235"/>
                    <a:pt x="302" y="235"/>
                  </a:cubicBezTo>
                  <a:lnTo>
                    <a:pt x="298" y="236"/>
                  </a:lnTo>
                  <a:close/>
                  <a:moveTo>
                    <a:pt x="312" y="222"/>
                  </a:moveTo>
                  <a:cubicBezTo>
                    <a:pt x="315" y="226"/>
                    <a:pt x="315" y="226"/>
                    <a:pt x="315" y="226"/>
                  </a:cubicBezTo>
                  <a:cubicBezTo>
                    <a:pt x="314" y="221"/>
                    <a:pt x="314" y="221"/>
                    <a:pt x="314" y="221"/>
                  </a:cubicBezTo>
                  <a:lnTo>
                    <a:pt x="312" y="222"/>
                  </a:lnTo>
                  <a:close/>
                  <a:moveTo>
                    <a:pt x="320" y="227"/>
                  </a:moveTo>
                  <a:cubicBezTo>
                    <a:pt x="322" y="224"/>
                    <a:pt x="322" y="224"/>
                    <a:pt x="322" y="224"/>
                  </a:cubicBezTo>
                  <a:cubicBezTo>
                    <a:pt x="317" y="225"/>
                    <a:pt x="317" y="225"/>
                    <a:pt x="317" y="225"/>
                  </a:cubicBezTo>
                  <a:lnTo>
                    <a:pt x="320" y="227"/>
                  </a:lnTo>
                  <a:close/>
                  <a:moveTo>
                    <a:pt x="322" y="222"/>
                  </a:moveTo>
                  <a:cubicBezTo>
                    <a:pt x="326" y="222"/>
                    <a:pt x="326" y="222"/>
                    <a:pt x="326" y="222"/>
                  </a:cubicBezTo>
                  <a:cubicBezTo>
                    <a:pt x="326" y="221"/>
                    <a:pt x="326" y="221"/>
                    <a:pt x="326" y="221"/>
                  </a:cubicBezTo>
                  <a:cubicBezTo>
                    <a:pt x="322" y="220"/>
                    <a:pt x="322" y="220"/>
                    <a:pt x="322" y="220"/>
                  </a:cubicBezTo>
                  <a:lnTo>
                    <a:pt x="322" y="222"/>
                  </a:lnTo>
                  <a:close/>
                  <a:moveTo>
                    <a:pt x="325" y="217"/>
                  </a:moveTo>
                  <a:cubicBezTo>
                    <a:pt x="326" y="213"/>
                    <a:pt x="326" y="213"/>
                    <a:pt x="326" y="213"/>
                  </a:cubicBezTo>
                  <a:cubicBezTo>
                    <a:pt x="322" y="215"/>
                    <a:pt x="322" y="215"/>
                    <a:pt x="322" y="215"/>
                  </a:cubicBezTo>
                  <a:lnTo>
                    <a:pt x="325" y="217"/>
                  </a:lnTo>
                  <a:close/>
                  <a:moveTo>
                    <a:pt x="319" y="219"/>
                  </a:moveTo>
                  <a:cubicBezTo>
                    <a:pt x="317" y="218"/>
                    <a:pt x="315" y="219"/>
                    <a:pt x="315" y="219"/>
                  </a:cubicBezTo>
                  <a:cubicBezTo>
                    <a:pt x="315" y="219"/>
                    <a:pt x="314" y="220"/>
                    <a:pt x="316" y="221"/>
                  </a:cubicBezTo>
                  <a:cubicBezTo>
                    <a:pt x="319" y="221"/>
                    <a:pt x="320" y="220"/>
                    <a:pt x="319" y="219"/>
                  </a:cubicBezTo>
                  <a:close/>
                  <a:moveTo>
                    <a:pt x="354" y="202"/>
                  </a:moveTo>
                  <a:cubicBezTo>
                    <a:pt x="356" y="202"/>
                    <a:pt x="356" y="202"/>
                    <a:pt x="356" y="202"/>
                  </a:cubicBezTo>
                  <a:cubicBezTo>
                    <a:pt x="356" y="200"/>
                    <a:pt x="356" y="200"/>
                    <a:pt x="356" y="200"/>
                  </a:cubicBezTo>
                  <a:cubicBezTo>
                    <a:pt x="354" y="200"/>
                    <a:pt x="354" y="200"/>
                    <a:pt x="354" y="200"/>
                  </a:cubicBezTo>
                  <a:lnTo>
                    <a:pt x="354" y="20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F7636D6-9045-8046-846A-18BC3CC14DDE}"/>
              </a:ext>
            </a:extLst>
          </p:cNvPr>
          <p:cNvSpPr txBox="1"/>
          <p:nvPr userDrawn="1"/>
        </p:nvSpPr>
        <p:spPr>
          <a:xfrm>
            <a:off x="462013" y="2723949"/>
            <a:ext cx="226193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 You can highlight countries by double clicking on it and click drawing tools&gt;format&gt;shape fill and select a brand </a:t>
            </a:r>
            <a:r>
              <a:rPr lang="en-US" sz="1200" dirty="0" err="1"/>
              <a:t>colour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74357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stralia Map 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Rectangle 185">
            <a:extLst>
              <a:ext uri="{FF2B5EF4-FFF2-40B4-BE49-F238E27FC236}">
                <a16:creationId xmlns:a16="http://schemas.microsoft.com/office/drawing/2014/main" id="{1B24D510-5F04-0D4B-B09A-D6FCD87783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Title 1">
            <a:extLst>
              <a:ext uri="{FF2B5EF4-FFF2-40B4-BE49-F238E27FC236}">
                <a16:creationId xmlns:a16="http://schemas.microsoft.com/office/drawing/2014/main" id="{B4E0AB8A-C16B-0643-9066-4140FF474C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Australia</a:t>
            </a:r>
            <a:endParaRPr lang="en-US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8D485D-A667-DC44-81C7-6C226C580FE2}"/>
              </a:ext>
            </a:extLst>
          </p:cNvPr>
          <p:cNvGrpSpPr/>
          <p:nvPr userDrawn="1"/>
        </p:nvGrpSpPr>
        <p:grpSpPr>
          <a:xfrm>
            <a:off x="5431819" y="436846"/>
            <a:ext cx="6482275" cy="6091887"/>
            <a:chOff x="4450184" y="1201437"/>
            <a:chExt cx="4115592" cy="3867735"/>
          </a:xfrm>
        </p:grpSpPr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53826" y="2119391"/>
              <a:ext cx="298048" cy="319287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40660" y="1760190"/>
              <a:ext cx="875119" cy="667601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44805" y="4165732"/>
              <a:ext cx="1020971" cy="903440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0184" y="1201437"/>
              <a:ext cx="2625353" cy="119732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83103" y="2231865"/>
              <a:ext cx="199754" cy="108847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33351" y="2409652"/>
              <a:ext cx="2282917" cy="244908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70960D-A87D-FC4E-BA86-5B8E0C3BBE6B}"/>
              </a:ext>
            </a:extLst>
          </p:cNvPr>
          <p:cNvSpPr txBox="1"/>
          <p:nvPr userDrawn="1"/>
        </p:nvSpPr>
        <p:spPr>
          <a:xfrm>
            <a:off x="462013" y="2723949"/>
            <a:ext cx="226193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 You can highlight countries by double clicking on it and click drawing tools&gt;format&gt;shape fill and select a brand </a:t>
            </a:r>
            <a:r>
              <a:rPr lang="en-US" sz="1200" dirty="0" err="1"/>
              <a:t>colour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89306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191742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3850"/>
            <a:ext cx="10934497" cy="55722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592263"/>
            <a:ext cx="3554209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Category Title here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5" y="2121145"/>
            <a:ext cx="3554205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white as the </a:t>
            </a:r>
            <a:r>
              <a:rPr lang="en-US" dirty="0" err="1"/>
              <a:t>colour</a:t>
            </a:r>
            <a:r>
              <a:rPr lang="en-US" dirty="0"/>
              <a:t> and place inside the blue circle.</a:t>
            </a:r>
          </a:p>
          <a:p>
            <a:r>
              <a:rPr lang="en-US" dirty="0"/>
              <a:t>Any unwanted Icons can be masked with a simple white box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4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5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4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FDD0A0D-4813-0442-B7A9-81BFB4829B0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697802F-0840-EE48-B35C-9CB300CE1D8F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Subtitle 2">
            <a:extLst>
              <a:ext uri="{FF2B5EF4-FFF2-40B4-BE49-F238E27FC236}">
                <a16:creationId xmlns:a16="http://schemas.microsoft.com/office/drawing/2014/main" id="{26402C3C-F59C-3A42-B015-2EA68FBF825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34322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CFCF589-AF37-934C-9D77-389344C39EC6}"/>
              </a:ext>
            </a:extLst>
          </p:cNvPr>
          <p:cNvSpPr/>
          <p:nvPr userDrawn="1"/>
        </p:nvSpPr>
        <p:spPr>
          <a:xfrm>
            <a:off x="4187824" y="0"/>
            <a:ext cx="8004175" cy="685800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9148"/>
            <a:ext cx="3322921" cy="8213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7" y="1592262"/>
            <a:ext cx="3321608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Copy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6" y="2121144"/>
            <a:ext cx="3321608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Kingspan Blue as the </a:t>
            </a:r>
            <a:r>
              <a:rPr lang="en-US" dirty="0" err="1"/>
              <a:t>colour</a:t>
            </a:r>
            <a:r>
              <a:rPr lang="en-US" dirty="0"/>
              <a:t> and place inside the white circle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2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3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3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BC67C90-EE5C-624B-803D-A24E2B956D1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9B69D5E-ED9C-544E-A604-69F54D7871C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Subtitle 2">
            <a:extLst>
              <a:ext uri="{FF2B5EF4-FFF2-40B4-BE49-F238E27FC236}">
                <a16:creationId xmlns:a16="http://schemas.microsoft.com/office/drawing/2014/main" id="{9C1708ED-C33A-E546-BF47-ADC82014D16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D0268A4-3A87-5D4C-AF1D-0FE814E58E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208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A0AD9CA-DD4F-6849-9EBD-847328BAD8DE}"/>
              </a:ext>
            </a:extLst>
          </p:cNvPr>
          <p:cNvSpPr/>
          <p:nvPr userDrawn="1"/>
        </p:nvSpPr>
        <p:spPr>
          <a:xfrm>
            <a:off x="890524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DBA820-B79F-8940-93B5-9A3B88CEEBE6}"/>
              </a:ext>
            </a:extLst>
          </p:cNvPr>
          <p:cNvSpPr/>
          <p:nvPr userDrawn="1"/>
        </p:nvSpPr>
        <p:spPr>
          <a:xfrm>
            <a:off x="27608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12DD1A3-2ECA-2941-93A2-23BA1BB974D6}"/>
              </a:ext>
            </a:extLst>
          </p:cNvPr>
          <p:cNvSpPr/>
          <p:nvPr userDrawn="1"/>
        </p:nvSpPr>
        <p:spPr>
          <a:xfrm>
            <a:off x="45896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4DA6F6B-A360-834A-B6A1-672292E771E1}"/>
              </a:ext>
            </a:extLst>
          </p:cNvPr>
          <p:cNvSpPr/>
          <p:nvPr userDrawn="1"/>
        </p:nvSpPr>
        <p:spPr>
          <a:xfrm>
            <a:off x="6489841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1162878-B24C-CB4E-82D5-450D8A9335EA}"/>
              </a:ext>
            </a:extLst>
          </p:cNvPr>
          <p:cNvSpPr/>
          <p:nvPr userDrawn="1"/>
        </p:nvSpPr>
        <p:spPr>
          <a:xfrm>
            <a:off x="8313789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4B2BB32-0183-9442-AD45-3D1F3A7510B4}"/>
              </a:ext>
            </a:extLst>
          </p:cNvPr>
          <p:cNvSpPr/>
          <p:nvPr userDrawn="1"/>
        </p:nvSpPr>
        <p:spPr>
          <a:xfrm>
            <a:off x="1016752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1566"/>
            <a:ext cx="10934496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8A2391B-7CB4-D048-93B2-01298DBE852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4797425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B9895C84-2A29-B648-9FCB-581D7A666A5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5265738"/>
            <a:ext cx="1725410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C4372F70-3F92-984D-A1D6-64A68A41CC4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491189" y="4797425"/>
            <a:ext cx="169663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11357760-943B-E346-879B-5120DFBB54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91189" y="5265738"/>
            <a:ext cx="169663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AB36158F-1BCC-9142-AC83-0549E61597E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29614" y="4797425"/>
            <a:ext cx="1694949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A6B674D9-7291-2045-937A-0C8BE04CBCD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29614" y="5265738"/>
            <a:ext cx="1694949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D345FC74-CE8E-024B-9255-A89BBBAAAF2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06540" y="4797425"/>
            <a:ext cx="1658034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77946A5A-2264-094F-849A-D29C2FE0346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06540" y="5265738"/>
            <a:ext cx="1658034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2B8AE223-BAE7-584D-B3CF-E89FCAF2D75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006465" y="4797425"/>
            <a:ext cx="171747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6FD89598-B46E-E149-80A9-FFF06C86794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006465" y="5265738"/>
            <a:ext cx="1717472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E9C16BF4-14AA-904F-8536-6397929D2C9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9873766" y="4797425"/>
            <a:ext cx="169434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D10C066C-33CD-ED43-90D0-B8F060FE81F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9873766" y="5265738"/>
            <a:ext cx="169434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8F9FF5E-F6CE-BD44-8EE0-5F95979213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C5920A3-68C0-0748-B9EC-F7A9A8E276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Subtitle 2">
            <a:extLst>
              <a:ext uri="{FF2B5EF4-FFF2-40B4-BE49-F238E27FC236}">
                <a16:creationId xmlns:a16="http://schemas.microsoft.com/office/drawing/2014/main" id="{496FCA75-A150-5D4F-9612-55D226FB00C1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338697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BB4072D-3150-684F-96E4-3E2B94E27921}"/>
              </a:ext>
            </a:extLst>
          </p:cNvPr>
          <p:cNvGrpSpPr/>
          <p:nvPr userDrawn="1"/>
        </p:nvGrpSpPr>
        <p:grpSpPr>
          <a:xfrm>
            <a:off x="374053" y="-12529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0D6FCC16-AC36-7B41-9B9B-3B1A96FD6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4262DF0-E744-6041-AAE9-9D127B7A9AC3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lerts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D6B311C-FDD8-7A4A-9E1B-4E8579537454}"/>
              </a:ext>
            </a:extLst>
          </p:cNvPr>
          <p:cNvGrpSpPr/>
          <p:nvPr userDrawn="1"/>
        </p:nvGrpSpPr>
        <p:grpSpPr>
          <a:xfrm>
            <a:off x="8541224" y="3305151"/>
            <a:ext cx="1580322" cy="1608757"/>
            <a:chOff x="5750970" y="2169250"/>
            <a:chExt cx="1580322" cy="1608757"/>
          </a:xfrm>
        </p:grpSpPr>
        <p:pic>
          <p:nvPicPr>
            <p:cNvPr id="174" name="Picture 173" descr="A close up of a logo&#10;&#10;Description automatically generated">
              <a:extLst>
                <a:ext uri="{FF2B5EF4-FFF2-40B4-BE49-F238E27FC236}">
                  <a16:creationId xmlns:a16="http://schemas.microsoft.com/office/drawing/2014/main" id="{545988BF-965C-AA47-9425-0D6D6D39B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535BD7F4-24A1-0747-87AF-EF4D15762673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se Study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5088489E-7174-F243-A7AA-497CA2725050}"/>
              </a:ext>
            </a:extLst>
          </p:cNvPr>
          <p:cNvGrpSpPr/>
          <p:nvPr userDrawn="1"/>
        </p:nvGrpSpPr>
        <p:grpSpPr>
          <a:xfrm>
            <a:off x="5767441" y="1746216"/>
            <a:ext cx="1580322" cy="1715119"/>
            <a:chOff x="367748" y="405538"/>
            <a:chExt cx="1580322" cy="1715119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9684B06A-814D-4241-89C0-3A6DA490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93807C27-7A76-734F-9F6C-D956CCFA4A62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</a:t>
              </a:r>
            </a:p>
            <a:p>
              <a:pPr algn="ctr"/>
              <a:r>
                <a:rPr lang="en-US" sz="1200" dirty="0"/>
                <a:t>Service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064A34D-C51B-FA46-AAF8-C7D071096ECE}"/>
              </a:ext>
            </a:extLst>
          </p:cNvPr>
          <p:cNvGrpSpPr/>
          <p:nvPr userDrawn="1"/>
        </p:nvGrpSpPr>
        <p:grpSpPr>
          <a:xfrm>
            <a:off x="5773190" y="-28593"/>
            <a:ext cx="1580322" cy="1566045"/>
            <a:chOff x="367748" y="2169250"/>
            <a:chExt cx="1580322" cy="1566045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95E333A6-653E-F645-8071-A8B53C73A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E3DF9503-1188-EF42-874E-90566CC4A8DD}"/>
                </a:ext>
              </a:extLst>
            </p:cNvPr>
            <p:cNvSpPr txBox="1"/>
            <p:nvPr/>
          </p:nvSpPr>
          <p:spPr>
            <a:xfrm>
              <a:off x="367748" y="345829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rand DNA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89866316-E303-0344-BE71-8D9017A98606}"/>
              </a:ext>
            </a:extLst>
          </p:cNvPr>
          <p:cNvGrpSpPr/>
          <p:nvPr userDrawn="1"/>
        </p:nvGrpSpPr>
        <p:grpSpPr>
          <a:xfrm>
            <a:off x="7138849" y="1746216"/>
            <a:ext cx="1580322" cy="1553763"/>
            <a:chOff x="5750970" y="2169250"/>
            <a:chExt cx="1580322" cy="155376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E241773-9743-8D49-ACAA-E64CE7684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46513CAC-B56C-2E49-BFC1-44A1F6A2B074}"/>
                </a:ext>
              </a:extLst>
            </p:cNvPr>
            <p:cNvSpPr txBox="1"/>
            <p:nvPr/>
          </p:nvSpPr>
          <p:spPr>
            <a:xfrm>
              <a:off x="5750970" y="344601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llaboration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7AD6A17-ED90-6547-A570-1EAE684B017F}"/>
              </a:ext>
            </a:extLst>
          </p:cNvPr>
          <p:cNvGrpSpPr/>
          <p:nvPr userDrawn="1"/>
        </p:nvGrpSpPr>
        <p:grpSpPr>
          <a:xfrm>
            <a:off x="390557" y="3313364"/>
            <a:ext cx="1580322" cy="1537449"/>
            <a:chOff x="9480376" y="3968750"/>
            <a:chExt cx="1580322" cy="1537449"/>
          </a:xfrm>
        </p:grpSpPr>
        <p:pic>
          <p:nvPicPr>
            <p:cNvPr id="186" name="Picture 18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B6D36BF-1E77-B047-A477-9B1A19440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5CDFDBC-E158-B549-BB68-75DB5E0F1ED6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act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8D4F745E-0219-0346-8DD9-592D94CD0F1A}"/>
              </a:ext>
            </a:extLst>
          </p:cNvPr>
          <p:cNvGrpSpPr/>
          <p:nvPr userDrawn="1"/>
        </p:nvGrpSpPr>
        <p:grpSpPr>
          <a:xfrm>
            <a:off x="7155839" y="-23657"/>
            <a:ext cx="1580322" cy="1537586"/>
            <a:chOff x="5750970" y="3968613"/>
            <a:chExt cx="1580322" cy="1537586"/>
          </a:xfrm>
        </p:grpSpPr>
        <p:pic>
          <p:nvPicPr>
            <p:cNvPr id="189" name="Picture 188" descr="A close up of a logo&#10;&#10;Description automatically generated">
              <a:extLst>
                <a:ext uri="{FF2B5EF4-FFF2-40B4-BE49-F238E27FC236}">
                  <a16:creationId xmlns:a16="http://schemas.microsoft.com/office/drawing/2014/main" id="{5BEC7397-EA5B-8047-8142-35A4E2846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E0E91293-FA98-274D-A2CA-30660D44AC83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acteria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FF8C05F-938E-3540-AE08-1D6175D46C00}"/>
              </a:ext>
            </a:extLst>
          </p:cNvPr>
          <p:cNvGrpSpPr/>
          <p:nvPr userDrawn="1"/>
        </p:nvGrpSpPr>
        <p:grpSpPr>
          <a:xfrm>
            <a:off x="1627715" y="3302734"/>
            <a:ext cx="1580322" cy="1740157"/>
            <a:chOff x="7667309" y="2169250"/>
            <a:chExt cx="1580322" cy="1740157"/>
          </a:xfrm>
        </p:grpSpPr>
        <p:pic>
          <p:nvPicPr>
            <p:cNvPr id="192" name="Picture 191" descr="A close up of a sign&#10;&#10;Description automatically generated">
              <a:extLst>
                <a:ext uri="{FF2B5EF4-FFF2-40B4-BE49-F238E27FC236}">
                  <a16:creationId xmlns:a16="http://schemas.microsoft.com/office/drawing/2014/main" id="{2BE03BB0-45C2-824D-9534-7FAB7C4E66C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D4D9A9BA-AAC4-B544-A6DC-868CB55D999B}"/>
                </a:ext>
              </a:extLst>
            </p:cNvPr>
            <p:cNvSpPr txBox="1"/>
            <p:nvPr/>
          </p:nvSpPr>
          <p:spPr>
            <a:xfrm>
              <a:off x="7667309" y="344774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liant Solution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56138BC7-748A-D049-82ED-CAE61EC15437}"/>
              </a:ext>
            </a:extLst>
          </p:cNvPr>
          <p:cNvGrpSpPr/>
          <p:nvPr userDrawn="1"/>
        </p:nvGrpSpPr>
        <p:grpSpPr>
          <a:xfrm>
            <a:off x="374053" y="1763790"/>
            <a:ext cx="1580322" cy="1530453"/>
            <a:chOff x="367748" y="405538"/>
            <a:chExt cx="1580322" cy="1530453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64632124-D98E-4C47-B909-97AA1F99C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561DC6A-9438-874F-AA4C-5AEC225CF95B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lendar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588EF020-AE7A-2B48-9265-38C1075295F9}"/>
              </a:ext>
            </a:extLst>
          </p:cNvPr>
          <p:cNvGrpSpPr/>
          <p:nvPr userDrawn="1"/>
        </p:nvGrpSpPr>
        <p:grpSpPr>
          <a:xfrm>
            <a:off x="1637039" y="1750338"/>
            <a:ext cx="1580322" cy="1530453"/>
            <a:chOff x="2063552" y="405538"/>
            <a:chExt cx="1580322" cy="1530453"/>
          </a:xfrm>
        </p:grpSpPr>
        <p:pic>
          <p:nvPicPr>
            <p:cNvPr id="198" name="Picture 197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16375AE-E24C-3744-9A70-E2C84CEEB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35A4F2E9-4BE7-1E4B-B530-BC1CD4ADCE1C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art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910D802-A6C8-274C-9C65-47AFAC4CFE8B}"/>
              </a:ext>
            </a:extLst>
          </p:cNvPr>
          <p:cNvGrpSpPr/>
          <p:nvPr userDrawn="1"/>
        </p:nvGrpSpPr>
        <p:grpSpPr>
          <a:xfrm>
            <a:off x="1643847" y="-28593"/>
            <a:ext cx="1580322" cy="1722252"/>
            <a:chOff x="367748" y="3968613"/>
            <a:chExt cx="1580322" cy="1722252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2B8E77AE-2D9B-4A47-8684-1C0D40558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613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7C81AE6-3996-7647-A9B4-8438B7CFC46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ccredited Installer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08690EF9-DDDF-1F40-818B-75754B172961}"/>
              </a:ext>
            </a:extLst>
          </p:cNvPr>
          <p:cNvGrpSpPr/>
          <p:nvPr userDrawn="1"/>
        </p:nvGrpSpPr>
        <p:grpSpPr>
          <a:xfrm>
            <a:off x="3000586" y="1746216"/>
            <a:ext cx="1580322" cy="1537449"/>
            <a:chOff x="5750970" y="3968750"/>
            <a:chExt cx="1580322" cy="1537449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6594CE0C-26AF-A047-A3D6-A9C611F7E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1164C9F6-C764-5E40-B736-75839445A2D1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unication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FCA607D7-2C8C-3D4B-B351-BBA093EE00BE}"/>
              </a:ext>
            </a:extLst>
          </p:cNvPr>
          <p:cNvGrpSpPr/>
          <p:nvPr userDrawn="1"/>
        </p:nvGrpSpPr>
        <p:grpSpPr>
          <a:xfrm>
            <a:off x="4369981" y="1746216"/>
            <a:ext cx="1580322" cy="1537586"/>
            <a:chOff x="7667309" y="3968613"/>
            <a:chExt cx="1580322" cy="1537586"/>
          </a:xfrm>
        </p:grpSpPr>
        <p:pic>
          <p:nvPicPr>
            <p:cNvPr id="207" name="Picture 206" descr="A close up of a sign&#10;&#10;Description automatically generated">
              <a:extLst>
                <a:ext uri="{FF2B5EF4-FFF2-40B4-BE49-F238E27FC236}">
                  <a16:creationId xmlns:a16="http://schemas.microsoft.com/office/drawing/2014/main" id="{A290880F-F450-4B44-9E67-E63D21ABC8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4CE1E15B-D5EC-FB44-95DA-0FE4DCD2172E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ed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DA3EF250-8F71-4F44-B1B0-3FFF284AD16D}"/>
              </a:ext>
            </a:extLst>
          </p:cNvPr>
          <p:cNvGrpSpPr/>
          <p:nvPr userDrawn="1"/>
        </p:nvGrpSpPr>
        <p:grpSpPr>
          <a:xfrm>
            <a:off x="4378756" y="3320360"/>
            <a:ext cx="1580322" cy="1530453"/>
            <a:chOff x="5750970" y="405538"/>
            <a:chExt cx="1580322" cy="1530453"/>
          </a:xfrm>
        </p:grpSpPr>
        <p:pic>
          <p:nvPicPr>
            <p:cNvPr id="210" name="Picture 209" descr="A close up of a sign&#10;&#10;Description automatically generated">
              <a:extLst>
                <a:ext uri="{FF2B5EF4-FFF2-40B4-BE49-F238E27FC236}">
                  <a16:creationId xmlns:a16="http://schemas.microsoft.com/office/drawing/2014/main" id="{BBF960DB-5E07-EB4D-BC48-1A5EF2910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A6D742A9-6A61-054A-9CDC-5E9FA42210F8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cate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DFAEBC59-2894-9C47-8523-D8693974B992}"/>
              </a:ext>
            </a:extLst>
          </p:cNvPr>
          <p:cNvGrpSpPr/>
          <p:nvPr userDrawn="1"/>
        </p:nvGrpSpPr>
        <p:grpSpPr>
          <a:xfrm>
            <a:off x="8534296" y="1742769"/>
            <a:ext cx="1580322" cy="1564192"/>
            <a:chOff x="2063552" y="2169250"/>
            <a:chExt cx="1580322" cy="1564192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F922517B-CA2F-6346-B1BA-B6F47E903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5FE21AD-85C6-D345-9A10-7B46BEA32814}"/>
                </a:ext>
              </a:extLst>
            </p:cNvPr>
            <p:cNvSpPr txBox="1"/>
            <p:nvPr/>
          </p:nvSpPr>
          <p:spPr>
            <a:xfrm>
              <a:off x="2063552" y="345644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B8F8ED8-D362-9043-A3D6-7462ACC1CE05}"/>
              </a:ext>
            </a:extLst>
          </p:cNvPr>
          <p:cNvGrpSpPr/>
          <p:nvPr userDrawn="1"/>
        </p:nvGrpSpPr>
        <p:grpSpPr>
          <a:xfrm>
            <a:off x="3004181" y="-22880"/>
            <a:ext cx="1580322" cy="1544397"/>
            <a:chOff x="9480376" y="2169250"/>
            <a:chExt cx="1580322" cy="1544397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F1BAC1CF-C9BB-2D4F-9500-7BB40CF84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D6299A57-6EF6-664C-BE40-A9AACB5631BD}"/>
                </a:ext>
              </a:extLst>
            </p:cNvPr>
            <p:cNvSpPr txBox="1"/>
            <p:nvPr/>
          </p:nvSpPr>
          <p:spPr>
            <a:xfrm>
              <a:off x="9480376" y="343664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d Blu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A917B2A9-4483-0C4E-B212-56D00A07DDEC}"/>
              </a:ext>
            </a:extLst>
          </p:cNvPr>
          <p:cNvGrpSpPr/>
          <p:nvPr userDrawn="1"/>
        </p:nvGrpSpPr>
        <p:grpSpPr>
          <a:xfrm>
            <a:off x="3001276" y="3313364"/>
            <a:ext cx="1580322" cy="1537449"/>
            <a:chOff x="5750970" y="3968750"/>
            <a:chExt cx="1580322" cy="1537449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CBA9383E-7B9F-B647-A0C8-4D320BE8F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AC9539E8-2107-DC4D-9FEA-ED7CB940FDF8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ivils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57A30889-B007-AD40-85E4-F6F17A1F1D52}"/>
              </a:ext>
            </a:extLst>
          </p:cNvPr>
          <p:cNvGrpSpPr/>
          <p:nvPr userDrawn="1"/>
        </p:nvGrpSpPr>
        <p:grpSpPr>
          <a:xfrm>
            <a:off x="5767441" y="3302734"/>
            <a:ext cx="1580322" cy="1722252"/>
            <a:chOff x="7667309" y="3968613"/>
            <a:chExt cx="1580322" cy="1722252"/>
          </a:xfrm>
        </p:grpSpPr>
        <p:pic>
          <p:nvPicPr>
            <p:cNvPr id="222" name="Picture 221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8D68CAAC-0F8A-3248-B6FC-B6C507489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73A02D73-85E4-D54E-B75C-5B46FFAF3D1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 </a:t>
              </a:r>
              <a:br>
                <a:rPr lang="en-US" sz="1200" dirty="0"/>
              </a:br>
              <a:r>
                <a:rPr lang="en-US" sz="1200" dirty="0"/>
                <a:t>Focu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C6939DA3-B198-C44D-A756-96A1E60EB82A}"/>
              </a:ext>
            </a:extLst>
          </p:cNvPr>
          <p:cNvGrpSpPr/>
          <p:nvPr userDrawn="1"/>
        </p:nvGrpSpPr>
        <p:grpSpPr>
          <a:xfrm>
            <a:off x="7141403" y="3313364"/>
            <a:ext cx="1580322" cy="1746998"/>
            <a:chOff x="5750970" y="2169250"/>
            <a:chExt cx="1580322" cy="1746998"/>
          </a:xfrm>
        </p:grpSpPr>
        <p:pic>
          <p:nvPicPr>
            <p:cNvPr id="225" name="Picture 224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4708964-CE3F-9D48-8BBA-2CFD73C8D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B23F0FC8-6B3E-0944-9F32-860C86EFC6FA}"/>
                </a:ext>
              </a:extLst>
            </p:cNvPr>
            <p:cNvSpPr txBox="1"/>
            <p:nvPr/>
          </p:nvSpPr>
          <p:spPr>
            <a:xfrm>
              <a:off x="5750970" y="345458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Containerised</a:t>
              </a:r>
              <a:r>
                <a:rPr lang="en-US" sz="1200" dirty="0"/>
                <a:t> Design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D8D3B16F-07A5-B944-A6E5-5DC37CA04E3C}"/>
              </a:ext>
            </a:extLst>
          </p:cNvPr>
          <p:cNvGrpSpPr/>
          <p:nvPr userDrawn="1"/>
        </p:nvGrpSpPr>
        <p:grpSpPr>
          <a:xfrm>
            <a:off x="4369981" y="-14955"/>
            <a:ext cx="1580322" cy="1537586"/>
            <a:chOff x="2063552" y="3968613"/>
            <a:chExt cx="1580322" cy="1537586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2788A875-5726-6B42-B1D9-4DAF20BCC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28B723FF-C4D0-5245-B84D-8D72732425F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gricultur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5EFF25D9-F93F-7148-9B95-038D2822567D}"/>
              </a:ext>
            </a:extLst>
          </p:cNvPr>
          <p:cNvGrpSpPr/>
          <p:nvPr userDrawn="1"/>
        </p:nvGrpSpPr>
        <p:grpSpPr>
          <a:xfrm>
            <a:off x="8541224" y="-26646"/>
            <a:ext cx="1580322" cy="1565539"/>
            <a:chOff x="7667309" y="405538"/>
            <a:chExt cx="1580322" cy="1565539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E4A0CF04-4EC5-814B-9421-725F8B1E1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2E0C3064-CD98-1B45-A64E-168C14E6084B}"/>
                </a:ext>
              </a:extLst>
            </p:cNvPr>
            <p:cNvSpPr txBox="1"/>
            <p:nvPr/>
          </p:nvSpPr>
          <p:spPr>
            <a:xfrm>
              <a:off x="7667309" y="169407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us Stop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A640E644-110F-8C49-9371-6D9238ABE916}"/>
              </a:ext>
            </a:extLst>
          </p:cNvPr>
          <p:cNvGrpSpPr/>
          <p:nvPr userDrawn="1"/>
        </p:nvGrpSpPr>
        <p:grpSpPr>
          <a:xfrm>
            <a:off x="9960528" y="3320360"/>
            <a:ext cx="1580322" cy="1740001"/>
            <a:chOff x="2063552" y="2169250"/>
            <a:chExt cx="1580322" cy="174000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838E1618-59F8-FD4E-A284-7D0B04246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3EB45999-6401-CD4F-A88E-21C4FB74114C}"/>
                </a:ext>
              </a:extLst>
            </p:cNvPr>
            <p:cNvSpPr txBox="1"/>
            <p:nvPr/>
          </p:nvSpPr>
          <p:spPr>
            <a:xfrm>
              <a:off x="2063552" y="344758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centration Less Than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211471AA-4E2C-6045-8300-C5AAE621AEE5}"/>
              </a:ext>
            </a:extLst>
          </p:cNvPr>
          <p:cNvGrpSpPr/>
          <p:nvPr userDrawn="1"/>
        </p:nvGrpSpPr>
        <p:grpSpPr>
          <a:xfrm>
            <a:off x="9954108" y="1742769"/>
            <a:ext cx="1580322" cy="1537449"/>
            <a:chOff x="367748" y="3968750"/>
            <a:chExt cx="1580322" cy="1537449"/>
          </a:xfrm>
        </p:grpSpPr>
        <p:pic>
          <p:nvPicPr>
            <p:cNvPr id="237" name="Picture 236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22C9C45-18CD-7A42-922D-4ED8DAE8A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5500F41A-2337-484C-8F87-3EFC5157C48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rols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5E2A23B-F9F0-2249-A919-88854DE225BB}"/>
              </a:ext>
            </a:extLst>
          </p:cNvPr>
          <p:cNvGrpSpPr/>
          <p:nvPr userDrawn="1"/>
        </p:nvGrpSpPr>
        <p:grpSpPr>
          <a:xfrm>
            <a:off x="9954108" y="-24119"/>
            <a:ext cx="1580322" cy="1566138"/>
            <a:chOff x="367748" y="2169250"/>
            <a:chExt cx="1580322" cy="1566138"/>
          </a:xfrm>
        </p:grpSpPr>
        <p:pic>
          <p:nvPicPr>
            <p:cNvPr id="240" name="Picture 23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7790CCC-4BC9-994E-B5EC-2E60C341C7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C9E76F3C-BBAC-5845-B4C8-74EA95D89503}"/>
                </a:ext>
              </a:extLst>
            </p:cNvPr>
            <p:cNvSpPr txBox="1"/>
            <p:nvPr/>
          </p:nvSpPr>
          <p:spPr>
            <a:xfrm>
              <a:off x="367748" y="345838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A93816-B89C-4948-9307-37A1BA81EE01}"/>
              </a:ext>
            </a:extLst>
          </p:cNvPr>
          <p:cNvGrpSpPr/>
          <p:nvPr userDrawn="1"/>
        </p:nvGrpSpPr>
        <p:grpSpPr>
          <a:xfrm>
            <a:off x="7143380" y="5092727"/>
            <a:ext cx="1580322" cy="1806074"/>
            <a:chOff x="3896140" y="3968613"/>
            <a:chExt cx="1580322" cy="1806074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AAF03E1D-6D2B-CC42-810D-332EBE69A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3968613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B280E7F6-3DD1-DB4C-A9D3-245B50D94576}"/>
                </a:ext>
              </a:extLst>
            </p:cNvPr>
            <p:cNvSpPr txBox="1"/>
            <p:nvPr/>
          </p:nvSpPr>
          <p:spPr>
            <a:xfrm>
              <a:off x="3896140" y="531302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uble </a:t>
              </a:r>
              <a:br>
                <a:rPr lang="en-US" sz="1200" dirty="0"/>
              </a:br>
              <a:r>
                <a:rPr lang="en-US" sz="1200" dirty="0"/>
                <a:t>Bunded Tank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1160E0BC-312B-5749-8E2C-788C647D52D7}"/>
              </a:ext>
            </a:extLst>
          </p:cNvPr>
          <p:cNvGrpSpPr/>
          <p:nvPr userDrawn="1"/>
        </p:nvGrpSpPr>
        <p:grpSpPr>
          <a:xfrm>
            <a:off x="8535621" y="5084886"/>
            <a:ext cx="1580322" cy="1608757"/>
            <a:chOff x="7667309" y="2169250"/>
            <a:chExt cx="1580322" cy="1608757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4BEA655A-CE87-DB47-A33B-39D7B43F0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0189D3BC-84F9-1C43-AF9C-F6C71B68E32C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sign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6C2E3B41-B23F-1140-B5DE-19AE0335E465}"/>
              </a:ext>
            </a:extLst>
          </p:cNvPr>
          <p:cNvGrpSpPr/>
          <p:nvPr userDrawn="1"/>
        </p:nvGrpSpPr>
        <p:grpSpPr>
          <a:xfrm>
            <a:off x="367748" y="5076640"/>
            <a:ext cx="1580322" cy="1608757"/>
            <a:chOff x="367748" y="2169250"/>
            <a:chExt cx="1580322" cy="1608757"/>
          </a:xfrm>
        </p:grpSpPr>
        <p:pic>
          <p:nvPicPr>
            <p:cNvPr id="249" name="Picture 24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9CD3CFDD-9B01-1944-90CC-690882E16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B77E6B8C-3EEE-4A4C-B119-88D10C831E79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3080C162-9ACA-9649-AAA4-E3919FA0CE94}"/>
              </a:ext>
            </a:extLst>
          </p:cNvPr>
          <p:cNvGrpSpPr/>
          <p:nvPr userDrawn="1"/>
        </p:nvGrpSpPr>
        <p:grpSpPr>
          <a:xfrm>
            <a:off x="2989227" y="5076640"/>
            <a:ext cx="1580322" cy="1608757"/>
            <a:chOff x="3896140" y="2169250"/>
            <a:chExt cx="1580322" cy="1608757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BA99FADF-C9C2-744B-ABD7-2E0E24957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D9DEAC2-E13E-DB45-A6EF-B3096BAF7954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mpsit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4E0500C9-7689-B441-9E80-8B1C10481232}"/>
              </a:ext>
            </a:extLst>
          </p:cNvPr>
          <p:cNvGrpSpPr/>
          <p:nvPr userDrawn="1"/>
        </p:nvGrpSpPr>
        <p:grpSpPr>
          <a:xfrm>
            <a:off x="1625854" y="5080465"/>
            <a:ext cx="1580322" cy="1587504"/>
            <a:chOff x="3896140" y="3968750"/>
            <a:chExt cx="1580322" cy="1587504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A390A808-7B12-DD4F-A3E1-6CDEFC9DF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14D3C6B5-5606-3A4D-A141-6F4FD65FCFB9}"/>
                </a:ext>
              </a:extLst>
            </p:cNvPr>
            <p:cNvSpPr txBox="1"/>
            <p:nvPr/>
          </p:nvSpPr>
          <p:spPr>
            <a:xfrm>
              <a:off x="3896140" y="527925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truction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340B1088-F5C2-A94E-B775-3FF347DFDE02}"/>
              </a:ext>
            </a:extLst>
          </p:cNvPr>
          <p:cNvGrpSpPr/>
          <p:nvPr userDrawn="1"/>
        </p:nvGrpSpPr>
        <p:grpSpPr>
          <a:xfrm>
            <a:off x="5771791" y="5084886"/>
            <a:ext cx="1580322" cy="1608757"/>
            <a:chOff x="367748" y="2169250"/>
            <a:chExt cx="1580322" cy="1608757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F3160-7693-B647-AAD3-A5F94A711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0B8FD068-3704-A245-A241-3C8A27766E0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 Service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739299A-FCC2-C040-95C6-C2EC211988EB}"/>
              </a:ext>
            </a:extLst>
          </p:cNvPr>
          <p:cNvGrpSpPr/>
          <p:nvPr userDrawn="1"/>
        </p:nvGrpSpPr>
        <p:grpSpPr>
          <a:xfrm>
            <a:off x="4380509" y="5076640"/>
            <a:ext cx="1580322" cy="1608757"/>
            <a:chOff x="367748" y="2169250"/>
            <a:chExt cx="1580322" cy="1608757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8A7E159B-B9AF-4149-A50F-9D2CE9CF7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C576CB03-2114-7D4E-B4F0-4283DF40847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acts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CEBABC10-0D3B-3E4B-9843-901E63CE1B78}"/>
              </a:ext>
            </a:extLst>
          </p:cNvPr>
          <p:cNvGrpSpPr/>
          <p:nvPr userDrawn="1"/>
        </p:nvGrpSpPr>
        <p:grpSpPr>
          <a:xfrm>
            <a:off x="9976412" y="5084886"/>
            <a:ext cx="1580322" cy="1793423"/>
            <a:chOff x="3896140" y="405538"/>
            <a:chExt cx="1580322" cy="179342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1038D68E-F995-FD46-BFDA-8976A03C1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D1593DD-E3EB-7144-8247-78BA446326BD}"/>
                </a:ext>
              </a:extLst>
            </p:cNvPr>
            <p:cNvSpPr txBox="1"/>
            <p:nvPr/>
          </p:nvSpPr>
          <p:spPr>
            <a:xfrm>
              <a:off x="3896140" y="173729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Water 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6310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50221498-D76C-9D46-8117-7D1CD9CCFD9D}"/>
              </a:ext>
            </a:extLst>
          </p:cNvPr>
          <p:cNvGrpSpPr/>
          <p:nvPr userDrawn="1"/>
        </p:nvGrpSpPr>
        <p:grpSpPr>
          <a:xfrm>
            <a:off x="4380509" y="0"/>
            <a:ext cx="1580322" cy="1530453"/>
            <a:chOff x="3896140" y="405538"/>
            <a:chExt cx="1580322" cy="1530453"/>
          </a:xfrm>
        </p:grpSpPr>
        <p:pic>
          <p:nvPicPr>
            <p:cNvPr id="171" name="Picture 17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B4151B7-F01F-374F-8B4D-364EFD86D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D03FE6D7-884E-4346-A059-29EF66582267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rop Alert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2A0DFDF4-CB46-E44C-8524-19425DC1D40E}"/>
              </a:ext>
            </a:extLst>
          </p:cNvPr>
          <p:cNvGrpSpPr/>
          <p:nvPr userDrawn="1"/>
        </p:nvGrpSpPr>
        <p:grpSpPr>
          <a:xfrm>
            <a:off x="3002939" y="17780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8151A87E-6F08-4549-8747-60C02D058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3814486B-6A38-C94F-9F28-F6AD94B777BD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wnload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6327C041-6C19-0D40-8131-83A9E8761B0D}"/>
              </a:ext>
            </a:extLst>
          </p:cNvPr>
          <p:cNvGrpSpPr/>
          <p:nvPr userDrawn="1"/>
        </p:nvGrpSpPr>
        <p:grpSpPr>
          <a:xfrm>
            <a:off x="5765810" y="4526"/>
            <a:ext cx="1580322" cy="1521875"/>
            <a:chOff x="3896140" y="2169250"/>
            <a:chExt cx="1580322" cy="152187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5B6E4E08-78D2-5047-A763-15DD8BA7F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67DAD732-6E72-6F49-AEEA-EB1DCA3ABA02}"/>
                </a:ext>
              </a:extLst>
            </p:cNvPr>
            <p:cNvSpPr txBox="1"/>
            <p:nvPr/>
          </p:nvSpPr>
          <p:spPr>
            <a:xfrm>
              <a:off x="3896140" y="341412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livery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7BAF2BF-FC4F-7A47-931E-C102C8E4ED68}"/>
              </a:ext>
            </a:extLst>
          </p:cNvPr>
          <p:cNvGrpSpPr/>
          <p:nvPr userDrawn="1"/>
        </p:nvGrpSpPr>
        <p:grpSpPr>
          <a:xfrm>
            <a:off x="1657712" y="17780"/>
            <a:ext cx="1580322" cy="1715119"/>
            <a:chOff x="5750970" y="405538"/>
            <a:chExt cx="1580322" cy="1715119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BEA6BFED-D760-7B4B-BB1C-1C0C638F3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F2AC0507-B105-9346-AF0E-F30AB2E9F994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</a:t>
              </a:r>
              <a:br>
                <a:rPr lang="en-US" sz="1200" dirty="0"/>
              </a:br>
              <a:r>
                <a:rPr lang="en-US" sz="1200" dirty="0"/>
                <a:t>Laundry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21BE7CE9-4172-684F-98D5-AC6A445EBE72}"/>
              </a:ext>
            </a:extLst>
          </p:cNvPr>
          <p:cNvGrpSpPr/>
          <p:nvPr userDrawn="1"/>
        </p:nvGrpSpPr>
        <p:grpSpPr>
          <a:xfrm>
            <a:off x="343232" y="17780"/>
            <a:ext cx="1580322" cy="1530453"/>
            <a:chOff x="9480376" y="405538"/>
            <a:chExt cx="1580322" cy="153045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1BD92CC-9411-5A4D-92A5-09ADB3048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FF1C0D68-D998-F544-9F55-84604A8B60C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D83F1AA7-2B9D-7349-9035-2A35C1360550}"/>
              </a:ext>
            </a:extLst>
          </p:cNvPr>
          <p:cNvGrpSpPr/>
          <p:nvPr userDrawn="1"/>
        </p:nvGrpSpPr>
        <p:grpSpPr>
          <a:xfrm>
            <a:off x="343232" y="1755612"/>
            <a:ext cx="1580322" cy="1530453"/>
            <a:chOff x="367748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2D8BFC2-1175-094B-9C79-38ED104B5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812A1409-5044-5948-BB0A-4B1B269DCA2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ail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79E740CC-3137-2A40-BAD8-D000A1C1C02E}"/>
              </a:ext>
            </a:extLst>
          </p:cNvPr>
          <p:cNvGrpSpPr/>
          <p:nvPr userDrawn="1"/>
        </p:nvGrpSpPr>
        <p:grpSpPr>
          <a:xfrm>
            <a:off x="1657712" y="1746390"/>
            <a:ext cx="1580322" cy="1537449"/>
            <a:chOff x="367748" y="3968750"/>
            <a:chExt cx="1580322" cy="1537449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4924E03-F555-EA49-B9A5-BB5FF5DFD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3FEC2C78-5095-1E45-BFA8-4B8EC71AC8B4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AF990BDE-4D1C-244D-BB84-60F0668432E4}"/>
              </a:ext>
            </a:extLst>
          </p:cNvPr>
          <p:cNvGrpSpPr/>
          <p:nvPr userDrawn="1"/>
        </p:nvGrpSpPr>
        <p:grpSpPr>
          <a:xfrm>
            <a:off x="3026228" y="1755395"/>
            <a:ext cx="1580322" cy="1536771"/>
            <a:chOff x="3896140" y="2169250"/>
            <a:chExt cx="1580322" cy="1536771"/>
          </a:xfrm>
        </p:grpSpPr>
        <p:pic>
          <p:nvPicPr>
            <p:cNvPr id="192" name="Picture 191" descr="A close up of a logo&#10;&#10;Description automatically generated">
              <a:extLst>
                <a:ext uri="{FF2B5EF4-FFF2-40B4-BE49-F238E27FC236}">
                  <a16:creationId xmlns:a16="http://schemas.microsoft.com/office/drawing/2014/main" id="{920A2D21-906C-B04B-93CD-4B613B1E2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81834B9E-B48D-E74C-8D3A-2F00C0BE87EF}"/>
                </a:ext>
              </a:extLst>
            </p:cNvPr>
            <p:cNvSpPr txBox="1"/>
            <p:nvPr/>
          </p:nvSpPr>
          <p:spPr>
            <a:xfrm>
              <a:off x="3896140" y="342902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powerment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07B9FEBE-2129-1F44-B28B-B4B2A4149EFA}"/>
              </a:ext>
            </a:extLst>
          </p:cNvPr>
          <p:cNvGrpSpPr/>
          <p:nvPr userDrawn="1"/>
        </p:nvGrpSpPr>
        <p:grpSpPr>
          <a:xfrm>
            <a:off x="4361877" y="1755395"/>
            <a:ext cx="1580322" cy="1537449"/>
            <a:chOff x="367748" y="3968750"/>
            <a:chExt cx="1580322" cy="1537449"/>
          </a:xfrm>
        </p:grpSpPr>
        <p:pic>
          <p:nvPicPr>
            <p:cNvPr id="195" name="Picture 194" descr="A close up of a logo&#10;&#10;Description automatically generated">
              <a:extLst>
                <a:ext uri="{FF2B5EF4-FFF2-40B4-BE49-F238E27FC236}">
                  <a16:creationId xmlns:a16="http://schemas.microsoft.com/office/drawing/2014/main" id="{B6122C6F-CA89-B542-B16B-F39E290940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EB889A1-4936-B646-B959-B5261EEE7D5F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 Solutions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D656741-A054-4B42-B0DC-9D8462D4B712}"/>
              </a:ext>
            </a:extLst>
          </p:cNvPr>
          <p:cNvGrpSpPr/>
          <p:nvPr userDrawn="1"/>
        </p:nvGrpSpPr>
        <p:grpSpPr>
          <a:xfrm>
            <a:off x="5778373" y="1757471"/>
            <a:ext cx="1580322" cy="1534695"/>
            <a:chOff x="367748" y="2169250"/>
            <a:chExt cx="1580322" cy="1534695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9667614-6800-AA4C-B0ED-C7234C9FB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39DE722-46F4-EB4F-BEC1-C3AB835B01B6}"/>
                </a:ext>
              </a:extLst>
            </p:cNvPr>
            <p:cNvSpPr txBox="1"/>
            <p:nvPr/>
          </p:nvSpPr>
          <p:spPr>
            <a:xfrm>
              <a:off x="367748" y="342694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-Commerce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9C7A2839-6BC5-FF4D-8FD2-2A6F2D07C943}"/>
              </a:ext>
            </a:extLst>
          </p:cNvPr>
          <p:cNvGrpSpPr/>
          <p:nvPr userDrawn="1"/>
        </p:nvGrpSpPr>
        <p:grpSpPr>
          <a:xfrm>
            <a:off x="9951671" y="12953"/>
            <a:ext cx="1580322" cy="1705069"/>
            <a:chOff x="2063552" y="2169250"/>
            <a:chExt cx="1580322" cy="1705069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131737B1-A25C-8C45-B911-402571C5B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8F8B36C-5349-A340-BAD2-D47ADF48D2BC}"/>
                </a:ext>
              </a:extLst>
            </p:cNvPr>
            <p:cNvSpPr txBox="1"/>
            <p:nvPr/>
          </p:nvSpPr>
          <p:spPr>
            <a:xfrm>
              <a:off x="2063552" y="3412654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vironmentally</a:t>
              </a:r>
              <a:br>
                <a:rPr lang="en-US" sz="1200" dirty="0"/>
              </a:br>
              <a:r>
                <a:rPr lang="en-US" sz="1200" dirty="0"/>
                <a:t>Friendly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C46B788A-1DD8-B24A-863E-49E117037287}"/>
              </a:ext>
            </a:extLst>
          </p:cNvPr>
          <p:cNvGrpSpPr/>
          <p:nvPr userDrawn="1"/>
        </p:nvGrpSpPr>
        <p:grpSpPr>
          <a:xfrm>
            <a:off x="8546269" y="12953"/>
            <a:ext cx="1580322" cy="1537586"/>
            <a:chOff x="5750970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176440D8-6923-B244-9019-D0B47FFA1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0FC9591F-D7A3-3446-AC27-887E2468013B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fficiency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6F226A5-4C34-DA48-B111-62BD12AB6AC6}"/>
              </a:ext>
            </a:extLst>
          </p:cNvPr>
          <p:cNvGrpSpPr/>
          <p:nvPr userDrawn="1"/>
        </p:nvGrpSpPr>
        <p:grpSpPr>
          <a:xfrm>
            <a:off x="7143380" y="5144"/>
            <a:ext cx="1580322" cy="1537449"/>
            <a:chOff x="3896140" y="3968750"/>
            <a:chExt cx="1580322" cy="1537449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E03209AE-D236-2A44-80BB-8E73D7E36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5BEEF663-F7FC-654B-B091-81F93758B4C6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asy to Install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830B4AA5-EB34-D54D-9427-80C0D93EC6C0}"/>
              </a:ext>
            </a:extLst>
          </p:cNvPr>
          <p:cNvGrpSpPr/>
          <p:nvPr userDrawn="1"/>
        </p:nvGrpSpPr>
        <p:grpSpPr>
          <a:xfrm>
            <a:off x="9951671" y="1737034"/>
            <a:ext cx="1580322" cy="1537449"/>
            <a:chOff x="5750970" y="3968750"/>
            <a:chExt cx="1580322" cy="1537449"/>
          </a:xfrm>
        </p:grpSpPr>
        <p:pic>
          <p:nvPicPr>
            <p:cNvPr id="210" name="Picture 209" descr="A close up of a logo&#10;&#10;Description automatically generated">
              <a:extLst>
                <a:ext uri="{FF2B5EF4-FFF2-40B4-BE49-F238E27FC236}">
                  <a16:creationId xmlns:a16="http://schemas.microsoft.com/office/drawing/2014/main" id="{5BF55BCB-C1B5-CF41-A2BA-CCF7951A1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0C2898CF-EA1E-3C4B-96DD-AC28D7AE2C95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lexi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6206C2B-32F1-A14F-92C4-3E56CDBC5A4D}"/>
              </a:ext>
            </a:extLst>
          </p:cNvPr>
          <p:cNvGrpSpPr/>
          <p:nvPr userDrawn="1"/>
        </p:nvGrpSpPr>
        <p:grpSpPr>
          <a:xfrm>
            <a:off x="343232" y="3311573"/>
            <a:ext cx="1580322" cy="1530453"/>
            <a:chOff x="9480376" y="405538"/>
            <a:chExt cx="1580322" cy="1530453"/>
          </a:xfrm>
        </p:grpSpPr>
        <p:pic>
          <p:nvPicPr>
            <p:cNvPr id="213" name="Picture 212" descr="A close up of a logo&#10;&#10;Description automatically generated">
              <a:extLst>
                <a:ext uri="{FF2B5EF4-FFF2-40B4-BE49-F238E27FC236}">
                  <a16:creationId xmlns:a16="http://schemas.microsoft.com/office/drawing/2014/main" id="{628B300F-A10E-164D-BCAC-63D99147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7EB8851-1CAF-6D4C-83BE-B5C6CBB5E2F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ll Volume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B649E25E-258F-8840-887B-C1B937A38644}"/>
              </a:ext>
            </a:extLst>
          </p:cNvPr>
          <p:cNvGrpSpPr/>
          <p:nvPr userDrawn="1"/>
        </p:nvGrpSpPr>
        <p:grpSpPr>
          <a:xfrm>
            <a:off x="1657712" y="3316021"/>
            <a:ext cx="1580322" cy="1537449"/>
            <a:chOff x="7667309" y="3968750"/>
            <a:chExt cx="1580322" cy="1537449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C6D27AE4-4053-B446-910A-CD22888D7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39687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65616293-1E72-D444-BDF1-821275DEE285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utur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0A61EC18-1016-5148-BE26-965D6AC37F63}"/>
              </a:ext>
            </a:extLst>
          </p:cNvPr>
          <p:cNvGrpSpPr/>
          <p:nvPr userDrawn="1"/>
        </p:nvGrpSpPr>
        <p:grpSpPr>
          <a:xfrm>
            <a:off x="3094381" y="3300493"/>
            <a:ext cx="1440000" cy="1720296"/>
            <a:chOff x="4433924" y="448331"/>
            <a:chExt cx="1440000" cy="1720296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DEF2D25F-F0BB-0F42-AEF8-E84570108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33924" y="448331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CF5EAB-07DF-884D-B55B-4B57C3C05E79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 </a:t>
              </a:r>
              <a:br>
                <a:rPr lang="en-US" sz="1200" dirty="0"/>
              </a:br>
              <a:r>
                <a:rPr lang="en-US" sz="1200" dirty="0"/>
                <a:t>Perform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458D89A9-681A-F34A-A299-1532CC14C896}"/>
              </a:ext>
            </a:extLst>
          </p:cNvPr>
          <p:cNvGrpSpPr/>
          <p:nvPr userDrawn="1"/>
        </p:nvGrpSpPr>
        <p:grpSpPr>
          <a:xfrm>
            <a:off x="4455882" y="3300491"/>
            <a:ext cx="1440000" cy="1554196"/>
            <a:chOff x="5837032" y="429765"/>
            <a:chExt cx="1440000" cy="1554196"/>
          </a:xfrm>
        </p:grpSpPr>
        <p:pic>
          <p:nvPicPr>
            <p:cNvPr id="222" name="Picture 221" descr="A close up of a logo&#10;&#10;Description automatically generated">
              <a:extLst>
                <a:ext uri="{FF2B5EF4-FFF2-40B4-BE49-F238E27FC236}">
                  <a16:creationId xmlns:a16="http://schemas.microsoft.com/office/drawing/2014/main" id="{916335E0-EA23-1144-9FE8-32AB12966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A5F7A08E-84F4-3243-A2D4-EFF9E66F59C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safe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5D3D33E9-A3BD-4A4E-B4FD-73D621549651}"/>
              </a:ext>
            </a:extLst>
          </p:cNvPr>
          <p:cNvGrpSpPr/>
          <p:nvPr userDrawn="1"/>
        </p:nvGrpSpPr>
        <p:grpSpPr>
          <a:xfrm>
            <a:off x="9951671" y="3300491"/>
            <a:ext cx="1580322" cy="1537586"/>
            <a:chOff x="2063552" y="3968613"/>
            <a:chExt cx="1580322" cy="1537586"/>
          </a:xfrm>
        </p:grpSpPr>
        <p:pic>
          <p:nvPicPr>
            <p:cNvPr id="225" name="Picture 224" descr="A close up of a logo&#10;&#10;Description automatically generated">
              <a:extLst>
                <a:ext uri="{FF2B5EF4-FFF2-40B4-BE49-F238E27FC236}">
                  <a16:creationId xmlns:a16="http://schemas.microsoft.com/office/drawing/2014/main" id="{114BC0DF-DC48-014D-9BC3-25BB74871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0B99956C-D3BA-404C-9CD6-DAA3CA16EEE7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 Leaks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B36408F-664E-5648-92B3-179713A1FD42}"/>
              </a:ext>
            </a:extLst>
          </p:cNvPr>
          <p:cNvGrpSpPr/>
          <p:nvPr userDrawn="1"/>
        </p:nvGrpSpPr>
        <p:grpSpPr>
          <a:xfrm>
            <a:off x="343232" y="4961419"/>
            <a:ext cx="1580322" cy="1524154"/>
            <a:chOff x="2063552" y="2169250"/>
            <a:chExt cx="1580322" cy="1524154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BB727CEE-5917-4A45-971A-11DEC8154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1146F023-6429-7745-A118-B157919F0521}"/>
                </a:ext>
              </a:extLst>
            </p:cNvPr>
            <p:cNvSpPr txBox="1"/>
            <p:nvPr/>
          </p:nvSpPr>
          <p:spPr>
            <a:xfrm>
              <a:off x="2063552" y="34164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ursing Hom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A815FBA7-AA68-6B46-B8CC-9DEBE411081F}"/>
              </a:ext>
            </a:extLst>
          </p:cNvPr>
          <p:cNvGrpSpPr/>
          <p:nvPr userDrawn="1"/>
        </p:nvGrpSpPr>
        <p:grpSpPr>
          <a:xfrm>
            <a:off x="8540353" y="3286257"/>
            <a:ext cx="1580322" cy="1552865"/>
            <a:chOff x="5750970" y="2148717"/>
            <a:chExt cx="1580322" cy="1552865"/>
          </a:xfrm>
        </p:grpSpPr>
        <p:pic>
          <p:nvPicPr>
            <p:cNvPr id="231" name="Picture 230" descr="A close up of a sign&#10;&#10;Description automatically generated">
              <a:extLst>
                <a:ext uri="{FF2B5EF4-FFF2-40B4-BE49-F238E27FC236}">
                  <a16:creationId xmlns:a16="http://schemas.microsoft.com/office/drawing/2014/main" id="{79000ED5-2632-6644-AFCE-3B042D75B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48717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E2AAB9CC-EF37-4B4E-9FD4-5E54F541EF64}"/>
                </a:ext>
              </a:extLst>
            </p:cNvPr>
            <p:cNvSpPr txBox="1"/>
            <p:nvPr/>
          </p:nvSpPr>
          <p:spPr>
            <a:xfrm>
              <a:off x="5750970" y="342458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odular System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95496837-8DB8-F34A-9A21-0C5DECD346B2}"/>
              </a:ext>
            </a:extLst>
          </p:cNvPr>
          <p:cNvGrpSpPr/>
          <p:nvPr userDrawn="1"/>
        </p:nvGrpSpPr>
        <p:grpSpPr>
          <a:xfrm>
            <a:off x="1657712" y="4955120"/>
            <a:ext cx="1580322" cy="1537586"/>
            <a:chOff x="2063552" y="3968613"/>
            <a:chExt cx="1580322" cy="1537586"/>
          </a:xfrm>
        </p:grpSpPr>
        <p:pic>
          <p:nvPicPr>
            <p:cNvPr id="234" name="Picture 23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038BA89-A93D-2D45-AC2F-F062A0380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72C0688E-FFAE-5445-B3CA-C9DC4A423080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ise Free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6C482F69-F0EE-9B4B-A3AA-8ED0E10855C9}"/>
              </a:ext>
            </a:extLst>
          </p:cNvPr>
          <p:cNvGrpSpPr/>
          <p:nvPr userDrawn="1"/>
        </p:nvGrpSpPr>
        <p:grpSpPr>
          <a:xfrm>
            <a:off x="7147415" y="3307624"/>
            <a:ext cx="1580322" cy="1530453"/>
            <a:chOff x="5750970" y="405538"/>
            <a:chExt cx="1580322" cy="1530453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05961423-9164-E44F-89AA-4703489EB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057027C5-2881-6D41-B37A-6EB5F95F9D6B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ulti-Company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1EDC3AD-C4DF-7C4D-8D19-AD54564BF376}"/>
              </a:ext>
            </a:extLst>
          </p:cNvPr>
          <p:cNvGrpSpPr/>
          <p:nvPr userDrawn="1"/>
        </p:nvGrpSpPr>
        <p:grpSpPr>
          <a:xfrm>
            <a:off x="5752381" y="3322404"/>
            <a:ext cx="1580322" cy="1719741"/>
            <a:chOff x="2980152" y="3322404"/>
            <a:chExt cx="1580322" cy="1719741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53CAC480-8A14-E942-AF0D-3479B89C3169}"/>
                </a:ext>
              </a:extLst>
            </p:cNvPr>
            <p:cNvSpPr txBox="1"/>
            <p:nvPr/>
          </p:nvSpPr>
          <p:spPr>
            <a:xfrm>
              <a:off x="2980152" y="458048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Low Thermal Conductivity</a:t>
              </a:r>
            </a:p>
          </p:txBody>
        </p:sp>
        <p:pic>
          <p:nvPicPr>
            <p:cNvPr id="241" name="Picture 240" descr="A close up of a logo&#10;&#10;Description automatically generated">
              <a:extLst>
                <a:ext uri="{FF2B5EF4-FFF2-40B4-BE49-F238E27FC236}">
                  <a16:creationId xmlns:a16="http://schemas.microsoft.com/office/drawing/2014/main" id="{BDCA369E-9F57-9843-A26C-551A65D49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73066" y="3322404"/>
              <a:ext cx="1440000" cy="1440000"/>
            </a:xfrm>
            <a:prstGeom prst="rect">
              <a:avLst/>
            </a:prstGeom>
          </p:spPr>
        </p:pic>
      </p:grpSp>
      <p:pic>
        <p:nvPicPr>
          <p:cNvPr id="242" name="Picture 241" descr="A close up of a logo&#10;&#10;Description automatically generated">
            <a:extLst>
              <a:ext uri="{FF2B5EF4-FFF2-40B4-BE49-F238E27FC236}">
                <a16:creationId xmlns:a16="http://schemas.microsoft.com/office/drawing/2014/main" id="{4C306442-58F5-5A47-AFC2-5A4559620D11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4823" y="1761923"/>
            <a:ext cx="1440000" cy="1440000"/>
          </a:xfrm>
          <a:prstGeom prst="rect">
            <a:avLst/>
          </a:prstGeom>
        </p:spPr>
      </p:pic>
      <p:pic>
        <p:nvPicPr>
          <p:cNvPr id="243" name="Picture 242" descr="A close up of a logo&#10;&#10;Description automatically generated">
            <a:extLst>
              <a:ext uri="{FF2B5EF4-FFF2-40B4-BE49-F238E27FC236}">
                <a16:creationId xmlns:a16="http://schemas.microsoft.com/office/drawing/2014/main" id="{37C829E3-2E24-A14D-ABCA-3B0A5AA92299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2763" y="1767617"/>
            <a:ext cx="1440000" cy="1440000"/>
          </a:xfrm>
          <a:prstGeom prst="rect">
            <a:avLst/>
          </a:prstGeom>
        </p:spPr>
      </p:pic>
      <p:sp>
        <p:nvSpPr>
          <p:cNvPr id="244" name="TextBox 243">
            <a:extLst>
              <a:ext uri="{FF2B5EF4-FFF2-40B4-BE49-F238E27FC236}">
                <a16:creationId xmlns:a16="http://schemas.microsoft.com/office/drawing/2014/main" id="{4CFF9556-6CB0-E748-8A9C-BCB871C1A852}"/>
              </a:ext>
            </a:extLst>
          </p:cNvPr>
          <p:cNvSpPr txBox="1"/>
          <p:nvPr userDrawn="1"/>
        </p:nvSpPr>
        <p:spPr>
          <a:xfrm>
            <a:off x="715466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07805582-7E54-DD4A-9271-9561F3DA171B}"/>
              </a:ext>
            </a:extLst>
          </p:cNvPr>
          <p:cNvSpPr txBox="1"/>
          <p:nvPr userDrawn="1"/>
        </p:nvSpPr>
        <p:spPr>
          <a:xfrm>
            <a:off x="854260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</p:spTree>
    <p:extLst>
      <p:ext uri="{BB962C8B-B14F-4D97-AF65-F5344CB8AC3E}">
        <p14:creationId xmlns:p14="http://schemas.microsoft.com/office/powerpoint/2010/main" val="3938616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D5FF9B05-B734-3C45-83E4-FDCEFC88B1C7}"/>
              </a:ext>
            </a:extLst>
          </p:cNvPr>
          <p:cNvGrpSpPr/>
          <p:nvPr userDrawn="1"/>
        </p:nvGrpSpPr>
        <p:grpSpPr>
          <a:xfrm>
            <a:off x="2992453" y="1617206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C4E3C020-A2BA-FB48-BB4C-F1C06698B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AAFEBB2E-BF9F-EA4E-9E9F-8FC47713F20C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cesses &amp; Data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B251DC2-41E1-3B4F-BC53-EF5605D64E9E}"/>
              </a:ext>
            </a:extLst>
          </p:cNvPr>
          <p:cNvGrpSpPr/>
          <p:nvPr userDrawn="1"/>
        </p:nvGrpSpPr>
        <p:grpSpPr>
          <a:xfrm>
            <a:off x="1621801" y="1622141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79B6A91C-1C58-324E-A8D3-8C58CF090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DC0F5970-5AE7-1A4B-BCBA-2320E932293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ject Tracking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320A5C4F-2848-8F4C-94DB-9D8E9FFE1133}"/>
              </a:ext>
            </a:extLst>
          </p:cNvPr>
          <p:cNvGrpSpPr/>
          <p:nvPr userDrawn="1"/>
        </p:nvGrpSpPr>
        <p:grpSpPr>
          <a:xfrm>
            <a:off x="4406194" y="1610210"/>
            <a:ext cx="1580322" cy="1722115"/>
            <a:chOff x="5750970" y="3968750"/>
            <a:chExt cx="1580322" cy="172211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1189C764-F6DB-FE45-9AB2-63E7DBC1C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74960FCF-5DDF-7B4D-BE10-E4DC4F857604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umping </a:t>
              </a:r>
              <a:br>
                <a:rPr lang="en-US" sz="1200" dirty="0"/>
              </a:br>
              <a:r>
                <a:rPr lang="en-US" sz="1200" dirty="0"/>
                <a:t>Stations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187FBFA-B3A4-254E-A187-F4E2EFCA49D6}"/>
              </a:ext>
            </a:extLst>
          </p:cNvPr>
          <p:cNvGrpSpPr/>
          <p:nvPr userDrawn="1"/>
        </p:nvGrpSpPr>
        <p:grpSpPr>
          <a:xfrm>
            <a:off x="5748340" y="1619297"/>
            <a:ext cx="1580322" cy="1530453"/>
            <a:chOff x="3896140" y="405538"/>
            <a:chExt cx="1580322" cy="1530453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0FD9866B-EC00-C043-8824-E82A94C72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9027EFED-85E1-D549-BAB5-9A2B9FE20D31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 Control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E19EF0FC-78B3-1B4E-B9B3-FA249C9CC8A8}"/>
              </a:ext>
            </a:extLst>
          </p:cNvPr>
          <p:cNvGrpSpPr/>
          <p:nvPr userDrawn="1"/>
        </p:nvGrpSpPr>
        <p:grpSpPr>
          <a:xfrm>
            <a:off x="7158370" y="1607240"/>
            <a:ext cx="1580322" cy="1532435"/>
            <a:chOff x="7667309" y="2169250"/>
            <a:chExt cx="1580322" cy="1532435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0364D460-89CF-2047-A881-C6B0203A3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3A7B073D-7A15-BF4A-936D-0AA7A7118E5A}"/>
                </a:ext>
              </a:extLst>
            </p:cNvPr>
            <p:cNvSpPr txBox="1"/>
            <p:nvPr/>
          </p:nvSpPr>
          <p:spPr>
            <a:xfrm>
              <a:off x="7667309" y="342468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1DE3D6AA-67AD-164A-803F-586500EDB5A2}"/>
              </a:ext>
            </a:extLst>
          </p:cNvPr>
          <p:cNvGrpSpPr/>
          <p:nvPr userDrawn="1"/>
        </p:nvGrpSpPr>
        <p:grpSpPr>
          <a:xfrm>
            <a:off x="365149" y="1625181"/>
            <a:ext cx="1580322" cy="1530453"/>
            <a:chOff x="9480376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8727F5C-3D5B-124D-8161-B468684C9B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26C3FF5-ABAD-4949-BA71-EB4D618BE55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ortable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760EC1A-EBE2-6F4D-B23F-9258112B15BA}"/>
              </a:ext>
            </a:extLst>
          </p:cNvPr>
          <p:cNvGrpSpPr/>
          <p:nvPr userDrawn="1"/>
        </p:nvGrpSpPr>
        <p:grpSpPr>
          <a:xfrm>
            <a:off x="8531671" y="1607240"/>
            <a:ext cx="1580322" cy="1519720"/>
            <a:chOff x="7667309" y="2169250"/>
            <a:chExt cx="1580322" cy="1519720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4686F63-1BCA-FC4E-9E27-3CB984408C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5462DC1F-8C40-DB48-991F-49E5A02E8052}"/>
                </a:ext>
              </a:extLst>
            </p:cNvPr>
            <p:cNvSpPr txBox="1"/>
            <p:nvPr/>
          </p:nvSpPr>
          <p:spPr>
            <a:xfrm>
              <a:off x="7667309" y="341197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cycling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2FE3-1BA6-1340-8FA3-F3FF7C50AE60}"/>
              </a:ext>
            </a:extLst>
          </p:cNvPr>
          <p:cNvGrpSpPr/>
          <p:nvPr userDrawn="1"/>
        </p:nvGrpSpPr>
        <p:grpSpPr>
          <a:xfrm>
            <a:off x="9943929" y="1613389"/>
            <a:ext cx="1580322" cy="1534270"/>
            <a:chOff x="3896140" y="2169250"/>
            <a:chExt cx="1580322" cy="1534270"/>
          </a:xfrm>
        </p:grpSpPr>
        <p:pic>
          <p:nvPicPr>
            <p:cNvPr id="192" name="Picture 19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FCBBFB0-F7D6-304F-AE1A-F29DE2973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CF9AA23D-4538-4344-9C30-AB3CE2029482}"/>
                </a:ext>
              </a:extLst>
            </p:cNvPr>
            <p:cNvSpPr txBox="1"/>
            <p:nvPr/>
          </p:nvSpPr>
          <p:spPr>
            <a:xfrm>
              <a:off x="3896140" y="342652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ainwater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626DB841-8413-B249-A985-397E6F8C5918}"/>
              </a:ext>
            </a:extLst>
          </p:cNvPr>
          <p:cNvGrpSpPr/>
          <p:nvPr userDrawn="1"/>
        </p:nvGrpSpPr>
        <p:grpSpPr>
          <a:xfrm>
            <a:off x="364907" y="3334873"/>
            <a:ext cx="1580322" cy="1702577"/>
            <a:chOff x="9480376" y="2169250"/>
            <a:chExt cx="1580322" cy="1702577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B90CF042-2A6F-0A42-BD3F-CEAE17D81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27D6A808-E45D-154E-8799-26F7374C48C8}"/>
                </a:ext>
              </a:extLst>
            </p:cNvPr>
            <p:cNvSpPr txBox="1"/>
            <p:nvPr/>
          </p:nvSpPr>
          <p:spPr>
            <a:xfrm>
              <a:off x="9480376" y="34101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gulations Compliant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0723FB96-6C9E-AD4E-9E0B-0C9080331A47}"/>
              </a:ext>
            </a:extLst>
          </p:cNvPr>
          <p:cNvGrpSpPr/>
          <p:nvPr userDrawn="1"/>
        </p:nvGrpSpPr>
        <p:grpSpPr>
          <a:xfrm>
            <a:off x="1694588" y="3335589"/>
            <a:ext cx="1580322" cy="1537586"/>
            <a:chOff x="7667309" y="3968613"/>
            <a:chExt cx="1580322" cy="1537586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B2590BB-C06E-0247-B2BF-98D76BA90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1D1B94C6-3AA0-414C-BE2C-D42D7D0E737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aves Money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822D493-F8E1-F347-8D07-88EA0FA4A027}"/>
              </a:ext>
            </a:extLst>
          </p:cNvPr>
          <p:cNvGrpSpPr/>
          <p:nvPr userDrawn="1"/>
        </p:nvGrpSpPr>
        <p:grpSpPr>
          <a:xfrm>
            <a:off x="9940811" y="3331694"/>
            <a:ext cx="1580322" cy="1537449"/>
            <a:chOff x="9480376" y="3968750"/>
            <a:chExt cx="1580322" cy="1537449"/>
          </a:xfrm>
        </p:grpSpPr>
        <p:pic>
          <p:nvPicPr>
            <p:cNvPr id="201" name="Picture 200" descr="A close up of a sign&#10;&#10;Description automatically generated">
              <a:extLst>
                <a:ext uri="{FF2B5EF4-FFF2-40B4-BE49-F238E27FC236}">
                  <a16:creationId xmlns:a16="http://schemas.microsoft.com/office/drawing/2014/main" id="{D8D500D4-2091-D141-82C4-58D2928E9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E61E58B-2A00-5A4D-821E-7A7F9A895651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utions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43B416DE-BA12-4B44-8994-2A96850E7344}"/>
              </a:ext>
            </a:extLst>
          </p:cNvPr>
          <p:cNvGrpSpPr/>
          <p:nvPr userDrawn="1"/>
        </p:nvGrpSpPr>
        <p:grpSpPr>
          <a:xfrm>
            <a:off x="348263" y="5007655"/>
            <a:ext cx="1580322" cy="1537586"/>
            <a:chOff x="2063552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DDCA9CEF-8587-B841-896C-91455A6CE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2774260C-04D7-EF4E-BCE3-C29A5358D0B2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mall Footprint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B9B2FDF0-C1D7-6442-B9CC-BF01348A9D2A}"/>
              </a:ext>
            </a:extLst>
          </p:cNvPr>
          <p:cNvGrpSpPr/>
          <p:nvPr userDrawn="1"/>
        </p:nvGrpSpPr>
        <p:grpSpPr>
          <a:xfrm>
            <a:off x="8538251" y="3338690"/>
            <a:ext cx="1580322" cy="1530453"/>
            <a:chOff x="3896140" y="405538"/>
            <a:chExt cx="1580322" cy="1530453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C028BE95-2B6D-714B-8F76-039F58A76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AA82EC1F-5879-054A-9B10-84D405848878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hallow Dig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17D212F4-38F1-904F-9465-CFE2BA9A864E}"/>
              </a:ext>
            </a:extLst>
          </p:cNvPr>
          <p:cNvGrpSpPr/>
          <p:nvPr userDrawn="1"/>
        </p:nvGrpSpPr>
        <p:grpSpPr>
          <a:xfrm>
            <a:off x="4381418" y="3331694"/>
            <a:ext cx="1580322" cy="1537449"/>
            <a:chOff x="2063552" y="3968750"/>
            <a:chExt cx="1580322" cy="1537449"/>
          </a:xfrm>
        </p:grpSpPr>
        <p:pic>
          <p:nvPicPr>
            <p:cNvPr id="210" name="Picture 20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5C86CA9-BD63-F041-90F5-2B9F44622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40DE84B5-0AD6-3C4E-9262-045C36511B3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9B01FA4-39B4-F14E-B2AF-41D44DD00344}"/>
              </a:ext>
            </a:extLst>
          </p:cNvPr>
          <p:cNvGrpSpPr/>
          <p:nvPr userDrawn="1"/>
        </p:nvGrpSpPr>
        <p:grpSpPr>
          <a:xfrm>
            <a:off x="5780961" y="3331694"/>
            <a:ext cx="1580322" cy="1530453"/>
            <a:chOff x="2063552" y="405538"/>
            <a:chExt cx="1580322" cy="1530453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05123355-5585-C44D-8DD2-355D8A788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F5C72FF9-43EC-C645-9BCB-796FCA96B54B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0CDC5290-D307-224D-B1BD-859A0685A92B}"/>
              </a:ext>
            </a:extLst>
          </p:cNvPr>
          <p:cNvGrpSpPr/>
          <p:nvPr userDrawn="1"/>
        </p:nvGrpSpPr>
        <p:grpSpPr>
          <a:xfrm>
            <a:off x="7139575" y="3331694"/>
            <a:ext cx="1580322" cy="1533162"/>
            <a:chOff x="7667309" y="2169250"/>
            <a:chExt cx="1580322" cy="1533162"/>
          </a:xfrm>
        </p:grpSpPr>
        <p:pic>
          <p:nvPicPr>
            <p:cNvPr id="216" name="Picture 21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8007F9AE-54C8-6046-8B24-86DB14EED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A8C2A97D-4925-6F4D-B883-11C673198F20}"/>
                </a:ext>
              </a:extLst>
            </p:cNvPr>
            <p:cNvSpPr txBox="1"/>
            <p:nvPr/>
          </p:nvSpPr>
          <p:spPr>
            <a:xfrm>
              <a:off x="7667309" y="342541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cure Login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38E2671E-0AC0-F64A-916E-7168528EB017}"/>
              </a:ext>
            </a:extLst>
          </p:cNvPr>
          <p:cNvGrpSpPr/>
          <p:nvPr userDrawn="1"/>
        </p:nvGrpSpPr>
        <p:grpSpPr>
          <a:xfrm>
            <a:off x="3011106" y="3338345"/>
            <a:ext cx="1580322" cy="1722115"/>
            <a:chOff x="367748" y="3968750"/>
            <a:chExt cx="1580322" cy="1722115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2DAC62A9-89E8-9D42-8FEA-1A0D5E2C4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52932A-4C25-FF40-A317-8F0F82775CE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rvice &amp; Mainten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283C09C6-E58E-1B4B-AE0E-250F7BA6013E}"/>
              </a:ext>
            </a:extLst>
          </p:cNvPr>
          <p:cNvGrpSpPr/>
          <p:nvPr userDrawn="1"/>
        </p:nvGrpSpPr>
        <p:grpSpPr>
          <a:xfrm>
            <a:off x="1636940" y="5011222"/>
            <a:ext cx="1580322" cy="1530453"/>
            <a:chOff x="5750970" y="405538"/>
            <a:chExt cx="1580322" cy="1530453"/>
          </a:xfrm>
        </p:grpSpPr>
        <p:pic>
          <p:nvPicPr>
            <p:cNvPr id="222" name="Picture 221" descr="A picture containing clock, drawing&#10;&#10;Description automatically generated">
              <a:extLst>
                <a:ext uri="{FF2B5EF4-FFF2-40B4-BE49-F238E27FC236}">
                  <a16:creationId xmlns:a16="http://schemas.microsoft.com/office/drawing/2014/main" id="{092E7878-B49C-E442-AC66-75B1B2A83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C2B30F84-6783-254E-BA7B-4F65CC1A13EE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cial Offer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AA8DBC51-2D8C-F041-98FE-A6C3C2CAD5A2}"/>
              </a:ext>
            </a:extLst>
          </p:cNvPr>
          <p:cNvGrpSpPr/>
          <p:nvPr userDrawn="1"/>
        </p:nvGrpSpPr>
        <p:grpSpPr>
          <a:xfrm>
            <a:off x="5768685" y="5007655"/>
            <a:ext cx="1580322" cy="1537586"/>
            <a:chOff x="9480376" y="3968613"/>
            <a:chExt cx="1580322" cy="1537586"/>
          </a:xfrm>
        </p:grpSpPr>
        <p:pic>
          <p:nvPicPr>
            <p:cNvPr id="225" name="Picture 224" descr="A close up of a sign&#10;&#10;Description automatically generated">
              <a:extLst>
                <a:ext uri="{FF2B5EF4-FFF2-40B4-BE49-F238E27FC236}">
                  <a16:creationId xmlns:a16="http://schemas.microsoft.com/office/drawing/2014/main" id="{ED0835FD-FFC1-764A-9945-99103A8F9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C7DBCD7C-2EA8-DF4B-9FF4-034C4D4CE8BD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te Visit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F8677F9F-1009-1C47-BFDC-4A288375C333}"/>
              </a:ext>
            </a:extLst>
          </p:cNvPr>
          <p:cNvGrpSpPr/>
          <p:nvPr userDrawn="1"/>
        </p:nvGrpSpPr>
        <p:grpSpPr>
          <a:xfrm>
            <a:off x="8543219" y="5011222"/>
            <a:ext cx="1580322" cy="1530453"/>
            <a:chOff x="9480376" y="405538"/>
            <a:chExt cx="1580322" cy="1530453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6BC42775-981F-E244-A04C-7F84D3509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C70A05B1-78E9-6E4A-BDFC-728EF7BDE40F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trength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E5501891-2A00-2748-9864-8C1FDE7676CE}"/>
              </a:ext>
            </a:extLst>
          </p:cNvPr>
          <p:cNvGrpSpPr/>
          <p:nvPr userDrawn="1"/>
        </p:nvGrpSpPr>
        <p:grpSpPr>
          <a:xfrm>
            <a:off x="4367367" y="5008814"/>
            <a:ext cx="1580322" cy="1535268"/>
            <a:chOff x="3896140" y="2169250"/>
            <a:chExt cx="1580322" cy="1535268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B9A467E9-44FF-8B47-BFEF-C83E4B84E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7F018EDF-9D26-DB4E-92AE-DB0377544BF3}"/>
                </a:ext>
              </a:extLst>
            </p:cNvPr>
            <p:cNvSpPr txBox="1"/>
            <p:nvPr/>
          </p:nvSpPr>
          <p:spPr>
            <a:xfrm>
              <a:off x="3896140" y="342751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ar Powered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8AC17010-A3BD-784A-AAFE-2DB0F00957E5}"/>
              </a:ext>
            </a:extLst>
          </p:cNvPr>
          <p:cNvGrpSpPr/>
          <p:nvPr userDrawn="1"/>
        </p:nvGrpSpPr>
        <p:grpSpPr>
          <a:xfrm>
            <a:off x="7125524" y="5028537"/>
            <a:ext cx="1580322" cy="1704771"/>
            <a:chOff x="7667309" y="2169250"/>
            <a:chExt cx="1580322" cy="170477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5B873053-38F6-474E-930F-327E70A53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FF696787-2BE6-974F-836C-75EE5D892D89}"/>
                </a:ext>
              </a:extLst>
            </p:cNvPr>
            <p:cNvSpPr txBox="1"/>
            <p:nvPr/>
          </p:nvSpPr>
          <p:spPr>
            <a:xfrm>
              <a:off x="7667309" y="341235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ngle Piece System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1DCDABB0-46F8-0C4E-9E5B-987D611089FD}"/>
              </a:ext>
            </a:extLst>
          </p:cNvPr>
          <p:cNvGrpSpPr/>
          <p:nvPr userDrawn="1"/>
        </p:nvGrpSpPr>
        <p:grpSpPr>
          <a:xfrm>
            <a:off x="3081267" y="5002145"/>
            <a:ext cx="1440000" cy="1548606"/>
            <a:chOff x="447469" y="435355"/>
            <a:chExt cx="1440000" cy="1548606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120CE43A-E423-CD4D-A369-014543A1F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469" y="435355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31917F9E-AF1F-6143-B212-E2D90BC72999}"/>
                </a:ext>
              </a:extLst>
            </p:cNvPr>
            <p:cNvSpPr txBox="1"/>
            <p:nvPr/>
          </p:nvSpPr>
          <p:spPr>
            <a:xfrm>
              <a:off x="623888" y="1706962"/>
              <a:ext cx="10933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ed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E428DF4-B435-C54D-A86C-981018C62D88}"/>
              </a:ext>
            </a:extLst>
          </p:cNvPr>
          <p:cNvGrpSpPr/>
          <p:nvPr userDrawn="1"/>
        </p:nvGrpSpPr>
        <p:grpSpPr>
          <a:xfrm>
            <a:off x="9935378" y="4912057"/>
            <a:ext cx="1580322" cy="1728783"/>
            <a:chOff x="2980152" y="439844"/>
            <a:chExt cx="1580322" cy="1728783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DBBD4DFA-1A7C-C04D-8851-983348BB9835}"/>
                </a:ext>
              </a:extLst>
            </p:cNvPr>
            <p:cNvSpPr txBox="1"/>
            <p:nvPr/>
          </p:nvSpPr>
          <p:spPr>
            <a:xfrm>
              <a:off x="2980152" y="17069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241" name="Picture 24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36CB3935-6F60-AA44-B73D-49F280D85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71607" y="439844"/>
              <a:ext cx="1440001" cy="1440001"/>
            </a:xfrm>
            <a:prstGeom prst="rect">
              <a:avLst/>
            </a:prstGeom>
          </p:spPr>
        </p:pic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4E0594-3FC5-284C-8CA8-142703B2E5C8}"/>
              </a:ext>
            </a:extLst>
          </p:cNvPr>
          <p:cNvGrpSpPr/>
          <p:nvPr userDrawn="1"/>
        </p:nvGrpSpPr>
        <p:grpSpPr>
          <a:xfrm>
            <a:off x="2988608" y="32068"/>
            <a:ext cx="1580322" cy="1530453"/>
            <a:chOff x="9480376" y="405538"/>
            <a:chExt cx="1580322" cy="1530453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71AE286F-954F-4A43-AE0F-7D522CDF4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07592D84-2A7D-5A41-B872-17BC093CFDFB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ur Values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9D662942-B567-8D4C-982A-9B579FA1D5C2}"/>
              </a:ext>
            </a:extLst>
          </p:cNvPr>
          <p:cNvGrpSpPr/>
          <p:nvPr userDrawn="1"/>
        </p:nvGrpSpPr>
        <p:grpSpPr>
          <a:xfrm>
            <a:off x="367748" y="32068"/>
            <a:ext cx="1580322" cy="1530453"/>
            <a:chOff x="7667309" y="405538"/>
            <a:chExt cx="1580322" cy="1530453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28C6A8B0-0869-5D4B-88AB-B1C66AD22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396C7199-7469-024C-8A76-CDCB271DBA0D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Odour</a:t>
              </a:r>
              <a:r>
                <a:rPr lang="en-US" sz="1200" dirty="0"/>
                <a:t> Free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0E488593-FAD3-8F44-8F34-07D25BED6DBB}"/>
              </a:ext>
            </a:extLst>
          </p:cNvPr>
          <p:cNvGrpSpPr/>
          <p:nvPr userDrawn="1"/>
        </p:nvGrpSpPr>
        <p:grpSpPr>
          <a:xfrm>
            <a:off x="1622444" y="33832"/>
            <a:ext cx="1580322" cy="1531754"/>
            <a:chOff x="7667309" y="2169250"/>
            <a:chExt cx="1580322" cy="1531754"/>
          </a:xfrm>
        </p:grpSpPr>
        <p:pic>
          <p:nvPicPr>
            <p:cNvPr id="249" name="Picture 248" descr="A close up of a logo&#10;&#10;Description automatically generated">
              <a:extLst>
                <a:ext uri="{FF2B5EF4-FFF2-40B4-BE49-F238E27FC236}">
                  <a16:creationId xmlns:a16="http://schemas.microsoft.com/office/drawing/2014/main" id="{4C160267-0103-8843-AECF-D6336149C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CA58BF1D-0A20-2A4F-8307-1F2613CB743B}"/>
                </a:ext>
              </a:extLst>
            </p:cNvPr>
            <p:cNvSpPr txBox="1"/>
            <p:nvPr/>
          </p:nvSpPr>
          <p:spPr>
            <a:xfrm>
              <a:off x="7667309" y="34240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ffic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C2A1B2BB-A4DA-6048-81B4-ADF88CCE01F5}"/>
              </a:ext>
            </a:extLst>
          </p:cNvPr>
          <p:cNvGrpSpPr/>
          <p:nvPr userDrawn="1"/>
        </p:nvGrpSpPr>
        <p:grpSpPr>
          <a:xfrm>
            <a:off x="8533073" y="32068"/>
            <a:ext cx="1580322" cy="1530453"/>
            <a:chOff x="2063552" y="405538"/>
            <a:chExt cx="1580322" cy="1530453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F3C3B792-8EB9-0141-9595-2247AE002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0681653-5B27-2743-9DCD-810057A26B41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hon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E226A9B4-8892-DE46-86E7-4A69C0FE21EF}"/>
              </a:ext>
            </a:extLst>
          </p:cNvPr>
          <p:cNvGrpSpPr/>
          <p:nvPr userDrawn="1"/>
        </p:nvGrpSpPr>
        <p:grpSpPr>
          <a:xfrm>
            <a:off x="9976412" y="33982"/>
            <a:ext cx="1580322" cy="1522052"/>
            <a:chOff x="9480376" y="2169250"/>
            <a:chExt cx="1580322" cy="1522052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B207A063-F812-314B-9FDF-09F49A4E3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9A94FDB4-6307-E441-8D4A-86777CB963BF}"/>
                </a:ext>
              </a:extLst>
            </p:cNvPr>
            <p:cNvSpPr txBox="1"/>
            <p:nvPr/>
          </p:nvSpPr>
          <p:spPr>
            <a:xfrm>
              <a:off x="9480376" y="341430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lastic Bottle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C63AFDD5-CE96-3D48-A605-D5B370572B40}"/>
              </a:ext>
            </a:extLst>
          </p:cNvPr>
          <p:cNvGrpSpPr/>
          <p:nvPr userDrawn="1"/>
        </p:nvGrpSpPr>
        <p:grpSpPr>
          <a:xfrm>
            <a:off x="4368417" y="32068"/>
            <a:ext cx="1580322" cy="1522478"/>
            <a:chOff x="2063552" y="2169250"/>
            <a:chExt cx="1580322" cy="1522478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8A5A345F-615C-7F48-BFF3-A4B0C04977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A0E364DB-97AF-BB45-AA03-22E802AC1877}"/>
                </a:ext>
              </a:extLst>
            </p:cNvPr>
            <p:cNvSpPr txBox="1"/>
            <p:nvPr/>
          </p:nvSpPr>
          <p:spPr>
            <a:xfrm>
              <a:off x="2063552" y="341472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artnerships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E289086-3E8C-764E-AB0A-BC7D77A51BE2}"/>
              </a:ext>
            </a:extLst>
          </p:cNvPr>
          <p:cNvGrpSpPr/>
          <p:nvPr userDrawn="1"/>
        </p:nvGrpSpPr>
        <p:grpSpPr>
          <a:xfrm>
            <a:off x="7156962" y="29028"/>
            <a:ext cx="1580322" cy="1537449"/>
            <a:chOff x="9480376" y="3968750"/>
            <a:chExt cx="1580322" cy="1537449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092241A2-D0FC-5544-8D04-B17D89817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E8ADB606-7C54-8C42-BE14-8B1EC8A3AC95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ace of Mind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02530772-90EE-7C4B-9564-3CD7B6036C55}"/>
              </a:ext>
            </a:extLst>
          </p:cNvPr>
          <p:cNvGrpSpPr/>
          <p:nvPr userDrawn="1"/>
        </p:nvGrpSpPr>
        <p:grpSpPr>
          <a:xfrm>
            <a:off x="5733766" y="32068"/>
            <a:ext cx="1580322" cy="1530453"/>
            <a:chOff x="3896140" y="405538"/>
            <a:chExt cx="1580322" cy="153045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7C029809-6AC7-F347-A4BC-A64858600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789C6533-C103-6F46-9A12-42288513CF2B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destri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06948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4570AEBB-C30B-E44D-9111-0AE6C330D3A1}"/>
              </a:ext>
            </a:extLst>
          </p:cNvPr>
          <p:cNvGrpSpPr/>
          <p:nvPr userDrawn="1"/>
        </p:nvGrpSpPr>
        <p:grpSpPr>
          <a:xfrm>
            <a:off x="9944851" y="1769165"/>
            <a:ext cx="1580322" cy="1515700"/>
            <a:chOff x="3896140" y="2169250"/>
            <a:chExt cx="1580322" cy="1515700"/>
          </a:xfrm>
        </p:grpSpPr>
        <p:pic>
          <p:nvPicPr>
            <p:cNvPr id="36" name="Picture 35" descr="A picture containing drawing, clock&#10;&#10;Description automatically generated">
              <a:extLst>
                <a:ext uri="{FF2B5EF4-FFF2-40B4-BE49-F238E27FC236}">
                  <a16:creationId xmlns:a16="http://schemas.microsoft.com/office/drawing/2014/main" id="{9B4BEC6F-AA4F-A545-8C87-99FC179FE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2EA73C-C1ED-5045-B0FB-E4EC61EF34B3}"/>
                </a:ext>
              </a:extLst>
            </p:cNvPr>
            <p:cNvSpPr txBox="1"/>
            <p:nvPr/>
          </p:nvSpPr>
          <p:spPr>
            <a:xfrm>
              <a:off x="3896140" y="340795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ndow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79E4E6E-41B0-9446-BB0C-E30038A9309E}"/>
              </a:ext>
            </a:extLst>
          </p:cNvPr>
          <p:cNvGrpSpPr/>
          <p:nvPr userDrawn="1"/>
        </p:nvGrpSpPr>
        <p:grpSpPr>
          <a:xfrm>
            <a:off x="8598934" y="1775549"/>
            <a:ext cx="1580322" cy="1533056"/>
            <a:chOff x="9480376" y="2169250"/>
            <a:chExt cx="1580322" cy="1533056"/>
          </a:xfrm>
        </p:grpSpPr>
        <p:pic>
          <p:nvPicPr>
            <p:cNvPr id="39" name="Picture 38" descr="A close up of a logo&#10;&#10;Description automatically generated">
              <a:extLst>
                <a:ext uri="{FF2B5EF4-FFF2-40B4-BE49-F238E27FC236}">
                  <a16:creationId xmlns:a16="http://schemas.microsoft.com/office/drawing/2014/main" id="{03BB665C-F40D-8243-9AB6-4B3C48B35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3309480-8DC9-B248-B035-23DB4C3CC6C1}"/>
                </a:ext>
              </a:extLst>
            </p:cNvPr>
            <p:cNvSpPr txBox="1"/>
            <p:nvPr/>
          </p:nvSpPr>
          <p:spPr>
            <a:xfrm>
              <a:off x="9480376" y="3425307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eather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84A8CE6-D7F9-0C41-825A-3122941CC914}"/>
              </a:ext>
            </a:extLst>
          </p:cNvPr>
          <p:cNvGrpSpPr/>
          <p:nvPr userDrawn="1"/>
        </p:nvGrpSpPr>
        <p:grpSpPr>
          <a:xfrm>
            <a:off x="5819456" y="1775053"/>
            <a:ext cx="1580322" cy="1530453"/>
            <a:chOff x="7667309" y="405538"/>
            <a:chExt cx="1580322" cy="1530453"/>
          </a:xfrm>
        </p:grpSpPr>
        <p:pic>
          <p:nvPicPr>
            <p:cNvPr id="42" name="Picture 4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1D98900-CCDA-0446-B28C-EEB537139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C9FAB1A-EDF7-414E-BF78-85CCF32BBEB0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rning/Alert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F5734D8-F6F6-3F4B-85FA-5E4D75B1CA78}"/>
              </a:ext>
            </a:extLst>
          </p:cNvPr>
          <p:cNvGrpSpPr/>
          <p:nvPr userDrawn="1"/>
        </p:nvGrpSpPr>
        <p:grpSpPr>
          <a:xfrm>
            <a:off x="4438655" y="1775549"/>
            <a:ext cx="1580322" cy="1533019"/>
            <a:chOff x="2063552" y="2169250"/>
            <a:chExt cx="1580322" cy="1533019"/>
          </a:xfrm>
        </p:grpSpPr>
        <p:pic>
          <p:nvPicPr>
            <p:cNvPr id="45" name="Picture 44" descr="A close up of a logo&#10;&#10;Description automatically generated">
              <a:extLst>
                <a:ext uri="{FF2B5EF4-FFF2-40B4-BE49-F238E27FC236}">
                  <a16:creationId xmlns:a16="http://schemas.microsoft.com/office/drawing/2014/main" id="{3979F712-4AE5-E949-8186-E7C0E850A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82D9F6E-808A-7246-8A5A-53E0CE58A2A2}"/>
                </a:ext>
              </a:extLst>
            </p:cNvPr>
            <p:cNvSpPr txBox="1"/>
            <p:nvPr/>
          </p:nvSpPr>
          <p:spPr>
            <a:xfrm>
              <a:off x="2063552" y="342527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&amp; Energy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B4F476E-2BA4-1E42-B910-5C33EE507D8D}"/>
              </a:ext>
            </a:extLst>
          </p:cNvPr>
          <p:cNvGrpSpPr/>
          <p:nvPr userDrawn="1"/>
        </p:nvGrpSpPr>
        <p:grpSpPr>
          <a:xfrm>
            <a:off x="7204917" y="1775053"/>
            <a:ext cx="1580322" cy="1906781"/>
            <a:chOff x="367748" y="3968750"/>
            <a:chExt cx="1580322" cy="1906781"/>
          </a:xfrm>
        </p:grpSpPr>
        <p:pic>
          <p:nvPicPr>
            <p:cNvPr id="48" name="Picture 4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13E6C-A104-D643-98BD-2DD1F33BC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9CC41FE-F107-FF4F-A8E7-3565BC178BD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Management Solutions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6B109DB-4D5A-C34E-A718-8FCB29DE4150}"/>
              </a:ext>
            </a:extLst>
          </p:cNvPr>
          <p:cNvGrpSpPr/>
          <p:nvPr userDrawn="1"/>
        </p:nvGrpSpPr>
        <p:grpSpPr>
          <a:xfrm>
            <a:off x="312763" y="3548264"/>
            <a:ext cx="1580322" cy="1518425"/>
            <a:chOff x="367748" y="2169250"/>
            <a:chExt cx="1580322" cy="1518425"/>
          </a:xfrm>
        </p:grpSpPr>
        <p:pic>
          <p:nvPicPr>
            <p:cNvPr id="51" name="Picture 50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412C461-D680-D741-AE16-55D5F4E81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717BF53-325B-2944-A211-D3A206BB23FB}"/>
                </a:ext>
              </a:extLst>
            </p:cNvPr>
            <p:cNvSpPr txBox="1"/>
            <p:nvPr/>
          </p:nvSpPr>
          <p:spPr>
            <a:xfrm>
              <a:off x="367748" y="34106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reles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1D43B28-E605-0544-A061-94103551D3D1}"/>
              </a:ext>
            </a:extLst>
          </p:cNvPr>
          <p:cNvGrpSpPr/>
          <p:nvPr userDrawn="1"/>
        </p:nvGrpSpPr>
        <p:grpSpPr>
          <a:xfrm>
            <a:off x="1679887" y="3544218"/>
            <a:ext cx="1580322" cy="1530453"/>
            <a:chOff x="7667309" y="405538"/>
            <a:chExt cx="1580322" cy="1530453"/>
          </a:xfrm>
        </p:grpSpPr>
        <p:pic>
          <p:nvPicPr>
            <p:cNvPr id="54" name="Picture 5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AECA182-8441-FC4F-B691-A4C74ABFE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5B7E7D3-FF4E-BA4D-A5CD-308BCDC14E8A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C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FEDC0B3-04D1-BF44-B969-DA25682FD9F3}"/>
              </a:ext>
            </a:extLst>
          </p:cNvPr>
          <p:cNvGrpSpPr/>
          <p:nvPr userDrawn="1"/>
        </p:nvGrpSpPr>
        <p:grpSpPr>
          <a:xfrm>
            <a:off x="5855089" y="3524350"/>
            <a:ext cx="1580322" cy="1715118"/>
            <a:chOff x="9480376" y="2169250"/>
            <a:chExt cx="1580322" cy="1715118"/>
          </a:xfrm>
        </p:grpSpPr>
        <p:pic>
          <p:nvPicPr>
            <p:cNvPr id="57" name="Picture 56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2AF0BEC-24E7-DB41-B840-6DFD23E22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8A03034-D395-EF45-89D8-8D2B795E39D0}"/>
                </a:ext>
              </a:extLst>
            </p:cNvPr>
            <p:cNvSpPr txBox="1"/>
            <p:nvPr/>
          </p:nvSpPr>
          <p:spPr>
            <a:xfrm>
              <a:off x="9480376" y="342270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10 Year Guarantee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C0E630D-6D57-2E47-A620-08F55FBA8DDE}"/>
              </a:ext>
            </a:extLst>
          </p:cNvPr>
          <p:cNvGrpSpPr/>
          <p:nvPr userDrawn="1"/>
        </p:nvGrpSpPr>
        <p:grpSpPr>
          <a:xfrm>
            <a:off x="3088827" y="3524350"/>
            <a:ext cx="1580322" cy="1715119"/>
            <a:chOff x="367748" y="405538"/>
            <a:chExt cx="1580322" cy="1715119"/>
          </a:xfrm>
        </p:grpSpPr>
        <p:pic>
          <p:nvPicPr>
            <p:cNvPr id="60" name="Picture 59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31C3E95A-31BC-7842-9595-6F21301F3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F8DD463-B058-E44A-A31A-97584612D06D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60 Years Experience</a:t>
              </a:r>
              <a:endParaRPr lang="en-US" sz="1200" dirty="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534A86F-6563-3E4F-95F3-C2B67DD91F4F}"/>
              </a:ext>
            </a:extLst>
          </p:cNvPr>
          <p:cNvGrpSpPr/>
          <p:nvPr userDrawn="1"/>
        </p:nvGrpSpPr>
        <p:grpSpPr>
          <a:xfrm>
            <a:off x="4469628" y="3514411"/>
            <a:ext cx="1580322" cy="1715119"/>
            <a:chOff x="367748" y="405538"/>
            <a:chExt cx="1580322" cy="1715119"/>
          </a:xfrm>
        </p:grpSpPr>
        <p:pic>
          <p:nvPicPr>
            <p:cNvPr id="63" name="Picture 62" descr="A close up of a logo&#10;&#10;Description automatically generated">
              <a:extLst>
                <a:ext uri="{FF2B5EF4-FFF2-40B4-BE49-F238E27FC236}">
                  <a16:creationId xmlns:a16="http://schemas.microsoft.com/office/drawing/2014/main" id="{781CD0E7-DCB1-C743-8C05-526044B2E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523E7290-B2D2-5E49-874A-9E3DB1AE76A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5 Year</a:t>
              </a:r>
              <a:br>
                <a:rPr lang="en-US" sz="1200" dirty="0"/>
              </a:br>
              <a:r>
                <a:rPr lang="en-US" sz="1200" dirty="0"/>
                <a:t>Guarantee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C21E6CA-E0FC-AC4F-9C44-985FF310F44D}"/>
              </a:ext>
            </a:extLst>
          </p:cNvPr>
          <p:cNvGrpSpPr/>
          <p:nvPr userDrawn="1"/>
        </p:nvGrpSpPr>
        <p:grpSpPr>
          <a:xfrm>
            <a:off x="425327" y="1785108"/>
            <a:ext cx="1439941" cy="1698626"/>
            <a:chOff x="425327" y="14365"/>
            <a:chExt cx="1439941" cy="1698626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17BE41B-859D-1F4E-BAE0-77DC661C0ED1}"/>
                </a:ext>
              </a:extLst>
            </p:cNvPr>
            <p:cNvSpPr txBox="1"/>
            <p:nvPr/>
          </p:nvSpPr>
          <p:spPr>
            <a:xfrm>
              <a:off x="617127" y="1251326"/>
              <a:ext cx="10933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Value of Space</a:t>
              </a:r>
            </a:p>
          </p:txBody>
        </p:sp>
        <p:pic>
          <p:nvPicPr>
            <p:cNvPr id="67" name="Picture 66" descr="A close up of a logo&#10;&#10;Description automatically generated">
              <a:extLst>
                <a:ext uri="{FF2B5EF4-FFF2-40B4-BE49-F238E27FC236}">
                  <a16:creationId xmlns:a16="http://schemas.microsoft.com/office/drawing/2014/main" id="{A7B9F8DA-DE54-5244-88F4-F73738E7E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5327" y="14365"/>
              <a:ext cx="1439941" cy="1439941"/>
            </a:xfrm>
            <a:prstGeom prst="rect">
              <a:avLst/>
            </a:prstGeom>
          </p:spPr>
        </p:pic>
      </p:grpSp>
      <p:pic>
        <p:nvPicPr>
          <p:cNvPr id="68" name="Picture 67" descr="A close up of a logo&#10;&#10;Description automatically generated">
            <a:extLst>
              <a:ext uri="{FF2B5EF4-FFF2-40B4-BE49-F238E27FC236}">
                <a16:creationId xmlns:a16="http://schemas.microsoft.com/office/drawing/2014/main" id="{1C1C2472-D34D-D743-83E9-472FDDE9ACD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3720" y="1770743"/>
            <a:ext cx="1440000" cy="1440000"/>
          </a:xfrm>
          <a:prstGeom prst="rect">
            <a:avLst/>
          </a:prstGeom>
        </p:spPr>
      </p:pic>
      <p:pic>
        <p:nvPicPr>
          <p:cNvPr id="69" name="Picture 68" descr="A close up of a logo&#10;&#10;Description automatically generated">
            <a:extLst>
              <a:ext uri="{FF2B5EF4-FFF2-40B4-BE49-F238E27FC236}">
                <a16:creationId xmlns:a16="http://schemas.microsoft.com/office/drawing/2014/main" id="{1A8D4D40-5926-7E4E-9409-346D94F9A48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7840" y="1770743"/>
            <a:ext cx="1440000" cy="14400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501BCBFB-16E0-674E-8BFA-C2B8B84A3463}"/>
              </a:ext>
            </a:extLst>
          </p:cNvPr>
          <p:cNvSpPr txBox="1"/>
          <p:nvPr userDrawn="1"/>
        </p:nvSpPr>
        <p:spPr>
          <a:xfrm>
            <a:off x="194118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DCBDD38-CEDC-4C45-9F16-63397D74B2D5}"/>
              </a:ext>
            </a:extLst>
          </p:cNvPr>
          <p:cNvSpPr txBox="1"/>
          <p:nvPr userDrawn="1"/>
        </p:nvSpPr>
        <p:spPr>
          <a:xfrm>
            <a:off x="326706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A73E3EA-1058-0945-B47B-B01E5F27DF8C}"/>
              </a:ext>
            </a:extLst>
          </p:cNvPr>
          <p:cNvGrpSpPr/>
          <p:nvPr userDrawn="1"/>
        </p:nvGrpSpPr>
        <p:grpSpPr>
          <a:xfrm>
            <a:off x="418424" y="9898"/>
            <a:ext cx="1440001" cy="1717254"/>
            <a:chOff x="4441292" y="451373"/>
            <a:chExt cx="1440001" cy="1717254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9029692-0A8B-9946-AE15-00C1B5C63887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107" name="Picture 106" descr="A picture containing object, clock&#10;&#10;Description automatically generated">
              <a:extLst>
                <a:ext uri="{FF2B5EF4-FFF2-40B4-BE49-F238E27FC236}">
                  <a16:creationId xmlns:a16="http://schemas.microsoft.com/office/drawing/2014/main" id="{7A1BE080-7C5A-CD46-A875-A8840BBA2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41292" y="451373"/>
              <a:ext cx="1440001" cy="1440001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CD871D3-5D9B-C445-B58A-3F400D10C036}"/>
              </a:ext>
            </a:extLst>
          </p:cNvPr>
          <p:cNvGrpSpPr/>
          <p:nvPr userDrawn="1"/>
        </p:nvGrpSpPr>
        <p:grpSpPr>
          <a:xfrm>
            <a:off x="3015807" y="0"/>
            <a:ext cx="1580322" cy="1530453"/>
            <a:chOff x="2063552" y="405538"/>
            <a:chExt cx="1580322" cy="1530453"/>
          </a:xfrm>
        </p:grpSpPr>
        <p:pic>
          <p:nvPicPr>
            <p:cNvPr id="109" name="Picture 10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5E5B0A6-749C-B448-A592-2864D8A39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E521F28-9561-AD44-B722-533CBBE7DDCF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chnology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BB9F985-9B0F-E047-B510-1BB9EF36F33E}"/>
              </a:ext>
            </a:extLst>
          </p:cNvPr>
          <p:cNvGrpSpPr/>
          <p:nvPr userDrawn="1"/>
        </p:nvGrpSpPr>
        <p:grpSpPr>
          <a:xfrm>
            <a:off x="8563826" y="20904"/>
            <a:ext cx="1580322" cy="1501025"/>
            <a:chOff x="5750970" y="2169250"/>
            <a:chExt cx="1580322" cy="1501025"/>
          </a:xfrm>
        </p:grpSpPr>
        <p:pic>
          <p:nvPicPr>
            <p:cNvPr id="112" name="Picture 111" descr="A close up of a logo&#10;&#10;Description automatically generated">
              <a:extLst>
                <a:ext uri="{FF2B5EF4-FFF2-40B4-BE49-F238E27FC236}">
                  <a16:creationId xmlns:a16="http://schemas.microsoft.com/office/drawing/2014/main" id="{83428831-0B07-C443-A5D9-527124647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FB0C301-92BC-E541-B57F-525F1CEE2CEA}"/>
                </a:ext>
              </a:extLst>
            </p:cNvPr>
            <p:cNvSpPr txBox="1"/>
            <p:nvPr/>
          </p:nvSpPr>
          <p:spPr>
            <a:xfrm>
              <a:off x="5750970" y="33932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rusted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A064281-FE15-D047-AB93-75FFD984539C}"/>
              </a:ext>
            </a:extLst>
          </p:cNvPr>
          <p:cNvGrpSpPr/>
          <p:nvPr userDrawn="1"/>
        </p:nvGrpSpPr>
        <p:grpSpPr>
          <a:xfrm>
            <a:off x="4381418" y="1961"/>
            <a:ext cx="1580322" cy="1537449"/>
            <a:chOff x="3896140" y="3968750"/>
            <a:chExt cx="1580322" cy="1537449"/>
          </a:xfrm>
        </p:grpSpPr>
        <p:pic>
          <p:nvPicPr>
            <p:cNvPr id="115" name="Picture 114" descr="A close up of a logo&#10;&#10;Description automatically generated">
              <a:extLst>
                <a:ext uri="{FF2B5EF4-FFF2-40B4-BE49-F238E27FC236}">
                  <a16:creationId xmlns:a16="http://schemas.microsoft.com/office/drawing/2014/main" id="{7A4E366A-C689-9F45-9BE2-7565B861A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3E2AF2E-D974-BC44-82F4-AAA15C760FD0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lemetry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F05FAF8-30CF-B54D-A9D8-9AD47435166B}"/>
              </a:ext>
            </a:extLst>
          </p:cNvPr>
          <p:cNvGrpSpPr/>
          <p:nvPr userDrawn="1"/>
        </p:nvGrpSpPr>
        <p:grpSpPr>
          <a:xfrm>
            <a:off x="5774501" y="0"/>
            <a:ext cx="1580322" cy="1555646"/>
            <a:chOff x="1638370" y="428315"/>
            <a:chExt cx="1580322" cy="1555646"/>
          </a:xfrm>
        </p:grpSpPr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60DA4B5-6EAA-E84C-AD7B-B149EBD9CD91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in</a:t>
              </a:r>
            </a:p>
          </p:txBody>
        </p:sp>
        <p:pic>
          <p:nvPicPr>
            <p:cNvPr id="119" name="Picture 11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A2C1789-8CA5-0B48-A125-F634DA7011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01611" y="428315"/>
              <a:ext cx="1441450" cy="1441450"/>
            </a:xfrm>
            <a:prstGeom prst="rect">
              <a:avLst/>
            </a:prstGeom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52128973-2794-CD4A-967B-7EA3F6DA1F82}"/>
              </a:ext>
            </a:extLst>
          </p:cNvPr>
          <p:cNvGrpSpPr/>
          <p:nvPr userDrawn="1"/>
        </p:nvGrpSpPr>
        <p:grpSpPr>
          <a:xfrm>
            <a:off x="1699390" y="0"/>
            <a:ext cx="1440000" cy="1738862"/>
            <a:chOff x="5837032" y="429765"/>
            <a:chExt cx="1440000" cy="1738862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1E22EBBD-946D-EE4B-A99A-9BC7B6497A4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Saving</a:t>
              </a:r>
            </a:p>
          </p:txBody>
        </p:sp>
        <p:pic>
          <p:nvPicPr>
            <p:cNvPr id="122" name="Picture 121" descr="A close up of a sign&#10;&#10;Description automatically generated">
              <a:extLst>
                <a:ext uri="{FF2B5EF4-FFF2-40B4-BE49-F238E27FC236}">
                  <a16:creationId xmlns:a16="http://schemas.microsoft.com/office/drawing/2014/main" id="{8C332DCE-70D7-B94D-A86F-41FCCE60F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0E466CF5-77E6-2849-825F-BCE63DDCA0FC}"/>
              </a:ext>
            </a:extLst>
          </p:cNvPr>
          <p:cNvGrpSpPr/>
          <p:nvPr userDrawn="1"/>
        </p:nvGrpSpPr>
        <p:grpSpPr>
          <a:xfrm>
            <a:off x="7139575" y="9709"/>
            <a:ext cx="1580322" cy="1548606"/>
            <a:chOff x="1638370" y="435355"/>
            <a:chExt cx="1580322" cy="1548606"/>
          </a:xfrm>
        </p:grpSpPr>
        <p:pic>
          <p:nvPicPr>
            <p:cNvPr id="124" name="Picture 123" descr="A close up of a logo&#10;&#10;Description automatically generated">
              <a:extLst>
                <a:ext uri="{FF2B5EF4-FFF2-40B4-BE49-F238E27FC236}">
                  <a16:creationId xmlns:a16="http://schemas.microsoft.com/office/drawing/2014/main" id="{29C8F395-99FF-CB41-9A35-870DA67F2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53119" y="435355"/>
              <a:ext cx="1440000" cy="1440000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11004237-79D8-FF41-BB20-F72958AB83CA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ermal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132D0852-F109-4840-8B7D-22633932F88B}"/>
              </a:ext>
            </a:extLst>
          </p:cNvPr>
          <p:cNvGrpSpPr/>
          <p:nvPr userDrawn="1"/>
        </p:nvGrpSpPr>
        <p:grpSpPr>
          <a:xfrm>
            <a:off x="9951586" y="0"/>
            <a:ext cx="1580322" cy="1530453"/>
            <a:chOff x="3896140" y="405538"/>
            <a:chExt cx="1580322" cy="1530453"/>
          </a:xfrm>
        </p:grpSpPr>
        <p:pic>
          <p:nvPicPr>
            <p:cNvPr id="127" name="Picture 126" descr="A close up of a sign&#10;&#10;Description automatically generated">
              <a:extLst>
                <a:ext uri="{FF2B5EF4-FFF2-40B4-BE49-F238E27FC236}">
                  <a16:creationId xmlns:a16="http://schemas.microsoft.com/office/drawing/2014/main" id="{F253349E-D85B-1A40-A086-F689B655B8B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8875A09-5C32-D144-B13C-55E5EB13EEC9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User interfa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238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7E0ADF6-E402-3146-B6DE-495BAF74F338}"/>
              </a:ext>
            </a:extLst>
          </p:cNvPr>
          <p:cNvGrpSpPr/>
          <p:nvPr userDrawn="1"/>
        </p:nvGrpSpPr>
        <p:grpSpPr>
          <a:xfrm>
            <a:off x="2060687" y="1219765"/>
            <a:ext cx="1580322" cy="1823574"/>
            <a:chOff x="2060687" y="335183"/>
            <a:chExt cx="1580322" cy="182357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7080020-DBD7-7D4A-A601-0D373779B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0415" y="335183"/>
              <a:ext cx="1560866" cy="1560866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4B66BA5-5251-7D4A-ADB0-F06CA12C04E2}"/>
                </a:ext>
              </a:extLst>
            </p:cNvPr>
            <p:cNvSpPr txBox="1"/>
            <p:nvPr/>
          </p:nvSpPr>
          <p:spPr>
            <a:xfrm>
              <a:off x="2060687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 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311CBF-35F9-7B42-AFD0-7388FA15E194}"/>
              </a:ext>
            </a:extLst>
          </p:cNvPr>
          <p:cNvGrpSpPr/>
          <p:nvPr userDrawn="1"/>
        </p:nvGrpSpPr>
        <p:grpSpPr>
          <a:xfrm>
            <a:off x="3896140" y="1219765"/>
            <a:ext cx="1580322" cy="1823574"/>
            <a:chOff x="3896140" y="335183"/>
            <a:chExt cx="1580322" cy="1823574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3C9B6E8E-D382-C54D-B03F-EC03B231D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5868" y="335183"/>
              <a:ext cx="1560866" cy="1560866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7E95FD9-B3BE-3946-88C9-18D9AF591AE3}"/>
                </a:ext>
              </a:extLst>
            </p:cNvPr>
            <p:cNvSpPr txBox="1"/>
            <p:nvPr/>
          </p:nvSpPr>
          <p:spPr>
            <a:xfrm>
              <a:off x="389614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Harvested Rainwater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7A2DF56-7F4E-B74F-9EF8-22EB940B3D8F}"/>
              </a:ext>
            </a:extLst>
          </p:cNvPr>
          <p:cNvGrpSpPr/>
          <p:nvPr userDrawn="1"/>
        </p:nvGrpSpPr>
        <p:grpSpPr>
          <a:xfrm>
            <a:off x="5750970" y="1219765"/>
            <a:ext cx="1580322" cy="1823574"/>
            <a:chOff x="5750970" y="335183"/>
            <a:chExt cx="1580322" cy="182357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397EC76-47B1-5F40-8B0A-CCCC7E2D7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698" y="335183"/>
              <a:ext cx="1560866" cy="1560866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AC4E3AF-BD61-5C4F-A121-07463167A4A2}"/>
                </a:ext>
              </a:extLst>
            </p:cNvPr>
            <p:cNvSpPr txBox="1"/>
            <p:nvPr/>
          </p:nvSpPr>
          <p:spPr>
            <a:xfrm>
              <a:off x="575097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 (PETS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A3D937-5DA9-6540-A3B4-35AB5AD80573}"/>
              </a:ext>
            </a:extLst>
          </p:cNvPr>
          <p:cNvGrpSpPr/>
          <p:nvPr userDrawn="1"/>
        </p:nvGrpSpPr>
        <p:grpSpPr>
          <a:xfrm>
            <a:off x="7667309" y="1219765"/>
            <a:ext cx="1580322" cy="1823574"/>
            <a:chOff x="7667309" y="335183"/>
            <a:chExt cx="1580322" cy="1823574"/>
          </a:xfrm>
        </p:grpSpPr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4199837F-648B-3E49-8C70-6CCBA8CB9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7037" y="335183"/>
              <a:ext cx="1560866" cy="1560866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3DD6A3E-810A-E149-B8DC-16C65669000C}"/>
                </a:ext>
              </a:extLst>
            </p:cNvPr>
            <p:cNvSpPr txBox="1"/>
            <p:nvPr/>
          </p:nvSpPr>
          <p:spPr>
            <a:xfrm>
              <a:off x="7667309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ustainable Disposabl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A435C9-18ED-7C47-B379-E289CBD0D831}"/>
              </a:ext>
            </a:extLst>
          </p:cNvPr>
          <p:cNvGrpSpPr/>
          <p:nvPr userDrawn="1"/>
        </p:nvGrpSpPr>
        <p:grpSpPr>
          <a:xfrm>
            <a:off x="9480376" y="1219765"/>
            <a:ext cx="1580322" cy="1823574"/>
            <a:chOff x="9480376" y="335183"/>
            <a:chExt cx="1580322" cy="1823574"/>
          </a:xfrm>
        </p:grpSpPr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B2DFCE71-6805-1940-98AC-BE0857ADF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90104" y="335183"/>
              <a:ext cx="1560866" cy="1560866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D4A8CB-B54E-F342-AD99-33B14AF80D1A}"/>
                </a:ext>
              </a:extLst>
            </p:cNvPr>
            <p:cNvSpPr txBox="1"/>
            <p:nvPr/>
          </p:nvSpPr>
          <p:spPr>
            <a:xfrm>
              <a:off x="9480376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ldlife Conserv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C275B83-58F3-4C41-A29B-A8449C9A03FC}"/>
              </a:ext>
            </a:extLst>
          </p:cNvPr>
          <p:cNvGrpSpPr/>
          <p:nvPr userDrawn="1"/>
        </p:nvGrpSpPr>
        <p:grpSpPr>
          <a:xfrm>
            <a:off x="366479" y="2970743"/>
            <a:ext cx="1580322" cy="1876512"/>
            <a:chOff x="366479" y="2086161"/>
            <a:chExt cx="1580322" cy="187651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D0B128-566C-9946-8291-F34F48BC9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6207" y="2086161"/>
              <a:ext cx="1560866" cy="156086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A6ED507-A5BD-5E41-A120-C59F75E0D899}"/>
                </a:ext>
              </a:extLst>
            </p:cNvPr>
            <p:cNvSpPr txBox="1"/>
            <p:nvPr/>
          </p:nvSpPr>
          <p:spPr>
            <a:xfrm>
              <a:off x="36647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Waste to Landfill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88C6F2-E90C-9D4F-BB44-9C228DB01E7B}"/>
              </a:ext>
            </a:extLst>
          </p:cNvPr>
          <p:cNvGrpSpPr/>
          <p:nvPr userDrawn="1"/>
        </p:nvGrpSpPr>
        <p:grpSpPr>
          <a:xfrm>
            <a:off x="5750970" y="2970743"/>
            <a:ext cx="1580322" cy="1876512"/>
            <a:chOff x="5750970" y="2086161"/>
            <a:chExt cx="1580322" cy="1876512"/>
          </a:xfrm>
        </p:grpSpPr>
        <p:pic>
          <p:nvPicPr>
            <p:cNvPr id="21" name="Picture 20" descr="A close up of a logo&#10;&#10;Description automatically generated">
              <a:extLst>
                <a:ext uri="{FF2B5EF4-FFF2-40B4-BE49-F238E27FC236}">
                  <a16:creationId xmlns:a16="http://schemas.microsoft.com/office/drawing/2014/main" id="{40AF79D2-ABB6-6249-AB90-819D80E27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698" y="2086161"/>
              <a:ext cx="1560866" cy="1560866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6D520A-1850-6240-AF9C-C53B4319489F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erve Precious Water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E86519-8C0E-7E4A-B35D-EA1C68D21516}"/>
              </a:ext>
            </a:extLst>
          </p:cNvPr>
          <p:cNvGrpSpPr/>
          <p:nvPr userDrawn="1"/>
        </p:nvGrpSpPr>
        <p:grpSpPr>
          <a:xfrm>
            <a:off x="366479" y="4789815"/>
            <a:ext cx="1580322" cy="1823732"/>
            <a:chOff x="366479" y="3905233"/>
            <a:chExt cx="1580322" cy="182373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4DD2E8F-EA5D-BE4D-9771-D7938B9CF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6207" y="3905233"/>
              <a:ext cx="1560866" cy="1560866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FCDF5E6-CEA8-974B-9E45-8BA498AE4982}"/>
                </a:ext>
              </a:extLst>
            </p:cNvPr>
            <p:cNvSpPr txBox="1"/>
            <p:nvPr/>
          </p:nvSpPr>
          <p:spPr>
            <a:xfrm>
              <a:off x="366479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ivert Waste </a:t>
              </a:r>
              <a:br>
                <a:rPr lang="en-US" sz="1200" dirty="0"/>
              </a:br>
              <a:r>
                <a:rPr lang="en-US" sz="1200" dirty="0"/>
                <a:t>From Landfill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6554505-D36A-6B4A-B149-925F6F387039}"/>
              </a:ext>
            </a:extLst>
          </p:cNvPr>
          <p:cNvGrpSpPr/>
          <p:nvPr userDrawn="1"/>
        </p:nvGrpSpPr>
        <p:grpSpPr>
          <a:xfrm>
            <a:off x="2060687" y="4789815"/>
            <a:ext cx="1580322" cy="1639066"/>
            <a:chOff x="2060687" y="3905233"/>
            <a:chExt cx="1580322" cy="1639066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A87986D-6D26-B049-ACB6-D09710666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0415" y="3905233"/>
              <a:ext cx="1560866" cy="156086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A0E7E4B-4EED-EF45-AD38-AB6BBD575001}"/>
                </a:ext>
              </a:extLst>
            </p:cNvPr>
            <p:cNvSpPr txBox="1"/>
            <p:nvPr/>
          </p:nvSpPr>
          <p:spPr>
            <a:xfrm>
              <a:off x="2060687" y="52673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Car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59AC5-5161-3542-A44B-87C140EF1AD7}"/>
              </a:ext>
            </a:extLst>
          </p:cNvPr>
          <p:cNvGrpSpPr/>
          <p:nvPr userDrawn="1"/>
        </p:nvGrpSpPr>
        <p:grpSpPr>
          <a:xfrm>
            <a:off x="3896140" y="4789815"/>
            <a:ext cx="1580322" cy="1823732"/>
            <a:chOff x="3896140" y="3905233"/>
            <a:chExt cx="1580322" cy="1823732"/>
          </a:xfrm>
        </p:grpSpPr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3118C172-C374-7148-8AF8-91DA1163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5868" y="3905233"/>
              <a:ext cx="1560866" cy="1560866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8D30B9-2D0D-5447-B451-99762172B567}"/>
                </a:ext>
              </a:extLst>
            </p:cNvPr>
            <p:cNvSpPr txBox="1"/>
            <p:nvPr/>
          </p:nvSpPr>
          <p:spPr>
            <a:xfrm>
              <a:off x="3896140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FE88D3-964D-F04D-982F-D50679D1A931}"/>
              </a:ext>
            </a:extLst>
          </p:cNvPr>
          <p:cNvGrpSpPr/>
          <p:nvPr userDrawn="1"/>
        </p:nvGrpSpPr>
        <p:grpSpPr>
          <a:xfrm>
            <a:off x="9480376" y="2970743"/>
            <a:ext cx="1580322" cy="1876512"/>
            <a:chOff x="9480376" y="2086161"/>
            <a:chExt cx="1580322" cy="1876512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B81C42D-1A62-0E42-9368-8AB6785A055B}"/>
                </a:ext>
              </a:extLst>
            </p:cNvPr>
            <p:cNvSpPr txBox="1"/>
            <p:nvPr/>
          </p:nvSpPr>
          <p:spPr>
            <a:xfrm>
              <a:off x="9480376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duce Carbon Emissions</a:t>
              </a:r>
            </a:p>
          </p:txBody>
        </p: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8C3D0B-F69D-584A-B789-F78D1EE92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90104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34229A7-5746-1545-9D95-5DB5D524B8B6}"/>
              </a:ext>
            </a:extLst>
          </p:cNvPr>
          <p:cNvGrpSpPr/>
          <p:nvPr userDrawn="1"/>
        </p:nvGrpSpPr>
        <p:grpSpPr>
          <a:xfrm>
            <a:off x="7667309" y="2970743"/>
            <a:ext cx="1580322" cy="1876512"/>
            <a:chOff x="7667309" y="2086161"/>
            <a:chExt cx="1580322" cy="187651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FCA6388-B3D7-E04A-9FFD-911C1AD95D4E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Upcycling Solutions</a:t>
              </a:r>
            </a:p>
          </p:txBody>
        </p:sp>
        <p:pic>
          <p:nvPicPr>
            <p:cNvPr id="37" name="Picture 36" descr="A close up of a logo&#10;&#10;Description automatically generated">
              <a:extLst>
                <a:ext uri="{FF2B5EF4-FFF2-40B4-BE49-F238E27FC236}">
                  <a16:creationId xmlns:a16="http://schemas.microsoft.com/office/drawing/2014/main" id="{87D98C90-3A4F-924E-866C-A3BD078DC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7037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5319109-DF02-FB4B-A59E-90747F79DBD5}"/>
              </a:ext>
            </a:extLst>
          </p:cNvPr>
          <p:cNvGrpSpPr/>
          <p:nvPr userDrawn="1"/>
        </p:nvGrpSpPr>
        <p:grpSpPr>
          <a:xfrm>
            <a:off x="3896140" y="2970743"/>
            <a:ext cx="1580322" cy="1691846"/>
            <a:chOff x="3896140" y="2086161"/>
            <a:chExt cx="1580322" cy="169184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69ACBB5-7413-064B-976E-6770C7943827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458CDF8-B795-7B49-9715-EAF36754E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5868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B72E4C2-6ABB-FC4C-ABD8-C3F418B7756B}"/>
              </a:ext>
            </a:extLst>
          </p:cNvPr>
          <p:cNvGrpSpPr/>
          <p:nvPr userDrawn="1"/>
        </p:nvGrpSpPr>
        <p:grpSpPr>
          <a:xfrm>
            <a:off x="2060687" y="2970743"/>
            <a:ext cx="1580322" cy="1876512"/>
            <a:chOff x="2060687" y="2086161"/>
            <a:chExt cx="1580322" cy="187651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7521234-615B-9B46-946E-CCDAC01ACD92}"/>
                </a:ext>
              </a:extLst>
            </p:cNvPr>
            <p:cNvSpPr txBox="1"/>
            <p:nvPr/>
          </p:nvSpPr>
          <p:spPr>
            <a:xfrm>
              <a:off x="2060687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Vehicles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8AC1DD03-B1F9-6B4C-AA85-870734290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0415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48BFC73-B6AF-004C-B3A9-6E0BA209E43D}"/>
              </a:ext>
            </a:extLst>
          </p:cNvPr>
          <p:cNvGrpSpPr/>
          <p:nvPr userDrawn="1"/>
        </p:nvGrpSpPr>
        <p:grpSpPr>
          <a:xfrm>
            <a:off x="366479" y="1219765"/>
            <a:ext cx="1580322" cy="1638908"/>
            <a:chOff x="366479" y="1219765"/>
            <a:chExt cx="1580322" cy="1638908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6E7A0CA-1D4D-C14A-847A-285EFAADE9AA}"/>
                </a:ext>
              </a:extLst>
            </p:cNvPr>
            <p:cNvSpPr txBox="1"/>
            <p:nvPr/>
          </p:nvSpPr>
          <p:spPr>
            <a:xfrm>
              <a:off x="366479" y="258167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T Plastic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AA491AB-E6B6-604B-BC91-441D57CCB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6207" y="1219765"/>
              <a:ext cx="1560866" cy="1560866"/>
            </a:xfrm>
            <a:prstGeom prst="rect">
              <a:avLst/>
            </a:prstGeom>
          </p:spPr>
        </p:pic>
      </p:grpSp>
      <p:sp>
        <p:nvSpPr>
          <p:cNvPr id="47" name="Title 4">
            <a:extLst>
              <a:ext uri="{FF2B5EF4-FFF2-40B4-BE49-F238E27FC236}">
                <a16:creationId xmlns:a16="http://schemas.microsoft.com/office/drawing/2014/main" id="{77074F7F-7772-E54E-8E65-51F80B009F05}"/>
              </a:ext>
            </a:extLst>
          </p:cNvPr>
          <p:cNvSpPr txBox="1">
            <a:spLocks/>
          </p:cNvSpPr>
          <p:nvPr userDrawn="1"/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net Passionate Icons</a:t>
            </a:r>
            <a:br>
              <a:rPr lang="en-I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106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3751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imag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E0753F-4CF5-0249-99E2-78D9368551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168038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62428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image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image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image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image</a:t>
            </a: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A191C85-8222-C049-9D1C-4D066189C0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01220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nsert backdrop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80083D-ED1D-A14E-AB59-11EE03FDC6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084521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14E8BA2-96AA-D443-B26D-17071E7390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592780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9DDE4E-439C-584A-9367-471280FC2F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124113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2D56AAE-6755-884D-9729-A3748131BB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482698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image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image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imag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imag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A39A48A-1B62-F642-8CA6-53864C1F171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EB265DC-753B-A04E-AEED-322969FA79D3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Subtitle 2">
            <a:extLst>
              <a:ext uri="{FF2B5EF4-FFF2-40B4-BE49-F238E27FC236}">
                <a16:creationId xmlns:a16="http://schemas.microsoft.com/office/drawing/2014/main" id="{FBA345E0-EE21-5C40-9A9E-7CBADF7B171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95459B0-3CE0-F742-A537-8BB9245B20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354530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sert Image</a:t>
            </a:r>
          </a:p>
          <a:p>
            <a:pPr lvl="0"/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683EF78-36EB-B347-8002-51E747491F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730721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9615A174-4F8A-2F4B-9A8E-80A3491D38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3366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7CF87F0-7E8F-904C-8D99-7DBEEF328B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771263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6E69647-C502-C441-87EF-3977815DA1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91987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88261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B8647F-9952-F446-B6D5-8D7125A485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635116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589FAB-72DB-3C47-8A59-E513229C35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0469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8B147F-3449-9841-98AE-A51B6A4FB3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043550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719F52-3F4D-094F-A7E3-CAB8AD389D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01599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F9FCBF-D3C7-5348-A691-5634596B90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0295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C036A99-9230-1D44-BD35-B76E66776C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582073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F004747-33C9-704E-A2E6-F4C6141C8D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899471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0E04F-D46A-C744-A629-DAA67A0816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392198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35017B9-77BC-284B-A42C-A296E825A7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85096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260227-57F8-2644-B85D-64F25A1789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166405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72854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8FD18CE-A7CC-0342-99A8-D08B8CBC5F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19644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08C281-9C7A-294A-87E1-B2464303E763}"/>
              </a:ext>
            </a:extLst>
          </p:cNvPr>
          <p:cNvSpPr/>
          <p:nvPr userDrawn="1"/>
        </p:nvSpPr>
        <p:spPr>
          <a:xfrm>
            <a:off x="0" y="1"/>
            <a:ext cx="12181021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9" y="1745140"/>
            <a:ext cx="3527424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12113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8023"/>
            <a:ext cx="10934489" cy="54303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49577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E4BDEA-9ED9-9E4A-8299-1ED7EDA0B7BE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530DB3-6D36-8245-B9A4-DFAB045921B8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44A662-5109-9E46-BA25-7B6A075E7F85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C6B76F-1E4F-AC47-9415-689DE31A47F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168B1D-3168-D940-8927-A3A5BAAAFAF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Subtitle 2">
            <a:extLst>
              <a:ext uri="{FF2B5EF4-FFF2-40B4-BE49-F238E27FC236}">
                <a16:creationId xmlns:a16="http://schemas.microsoft.com/office/drawing/2014/main" id="{A69FF014-B939-B84A-B950-4DB7547889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2B506954-EF1D-C645-8351-DC605DF04B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11851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B3BBCE2E-3119-F04F-B262-DE7256C2C7A1}"/>
              </a:ext>
            </a:extLst>
          </p:cNvPr>
          <p:cNvSpPr/>
          <p:nvPr userDrawn="1"/>
        </p:nvSpPr>
        <p:spPr>
          <a:xfrm>
            <a:off x="373198" y="0"/>
            <a:ext cx="11807823" cy="4530723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8" y="1745140"/>
            <a:ext cx="3527425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745140"/>
            <a:ext cx="3556001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01453" y="1745140"/>
            <a:ext cx="3556002" cy="254746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32288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E05B4EB-48E0-2742-B1AE-279309679E4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332288" y="4688681"/>
            <a:ext cx="3527425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CAB8C08-8214-6A4E-A4D8-C6B318A0AFD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3888" y="4688681"/>
            <a:ext cx="3556001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ECE91E5-64B2-9844-9A5C-E74D42AB53F9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8001453" y="4688681"/>
            <a:ext cx="3556002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06BC46-0E61-E540-B5BD-BCDF424A6C78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D66A452-9491-0747-91FC-E3C7677DDB5C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3775A9-4829-B74C-9440-0DEA4FFD7D3E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990E9A5E-A7F0-F34F-B318-0C81EE9DF4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883954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736726"/>
            <a:ext cx="261815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736726"/>
            <a:ext cx="2627312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736726"/>
            <a:ext cx="259238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736726"/>
            <a:ext cx="2627313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B9EAB2A-56B1-E542-B42E-A1585F7F0D9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406405" y="1272949"/>
            <a:ext cx="2598735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0E97C0-517F-494A-9ECE-ABF5BF8D5F5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3888" y="1272949"/>
            <a:ext cx="2627311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6CB81E-2868-C24A-A2D5-F8A38CC80E0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6197605" y="1272949"/>
            <a:ext cx="259873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5484F9-15AE-E747-8437-F25FF8A7112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940800" y="1272949"/>
            <a:ext cx="262731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8A60D2C3-77F9-EA4D-8FDD-D99DA6EE91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3623"/>
            <a:ext cx="10968449" cy="512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Main Titl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AC9DD0D-4687-204C-B610-9E8509660368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23888" y="4801560"/>
            <a:ext cx="10944223" cy="12492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50B2B7B-B299-584F-83B1-8A6E2DAD24C1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1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7E5DAF-191D-4648-A2A4-AC5ABD21B32D}"/>
              </a:ext>
            </a:extLst>
          </p:cNvPr>
          <p:cNvCxnSpPr>
            <a:cxnSpLocks/>
          </p:cNvCxnSpPr>
          <p:nvPr userDrawn="1"/>
        </p:nvCxnSpPr>
        <p:spPr>
          <a:xfrm>
            <a:off x="3406405" y="1125538"/>
            <a:ext cx="261815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3C4C2E8-8905-214A-A6DA-BC1350B2EC69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A5E08C-7312-384E-B73D-6651839252B3}"/>
              </a:ext>
            </a:extLst>
          </p:cNvPr>
          <p:cNvCxnSpPr>
            <a:cxnSpLocks/>
          </p:cNvCxnSpPr>
          <p:nvPr userDrawn="1"/>
        </p:nvCxnSpPr>
        <p:spPr>
          <a:xfrm>
            <a:off x="89408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838D76C-8F40-194F-A2DC-75834602A1A6}"/>
              </a:ext>
            </a:extLst>
          </p:cNvPr>
          <p:cNvCxnSpPr>
            <a:cxnSpLocks/>
          </p:cNvCxnSpPr>
          <p:nvPr userDrawn="1"/>
        </p:nvCxnSpPr>
        <p:spPr>
          <a:xfrm>
            <a:off x="629925" y="4944428"/>
            <a:ext cx="31156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F7A60D8E-EC0E-E648-B6B0-5D276A77AA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41695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3B371F-F73D-7848-955E-6F4A47C7D7A0}"/>
              </a:ext>
            </a:extLst>
          </p:cNvPr>
          <p:cNvSpPr/>
          <p:nvPr userDrawn="1"/>
        </p:nvSpPr>
        <p:spPr>
          <a:xfrm>
            <a:off x="5232400" y="512763"/>
            <a:ext cx="4500563" cy="271747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9BCB5-7570-8940-9AC8-67AF9BFB7BFC}"/>
              </a:ext>
            </a:extLst>
          </p:cNvPr>
          <p:cNvSpPr/>
          <p:nvPr userDrawn="1"/>
        </p:nvSpPr>
        <p:spPr>
          <a:xfrm>
            <a:off x="5228384" y="3362277"/>
            <a:ext cx="3567953" cy="237387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02A2A2-091B-3843-8E8D-C5130D918C0B}"/>
              </a:ext>
            </a:extLst>
          </p:cNvPr>
          <p:cNvSpPr/>
          <p:nvPr userDrawn="1"/>
        </p:nvSpPr>
        <p:spPr>
          <a:xfrm>
            <a:off x="8947152" y="3362277"/>
            <a:ext cx="3244848" cy="237648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B59B44-4EB0-684F-AB52-741961638BCF}"/>
              </a:ext>
            </a:extLst>
          </p:cNvPr>
          <p:cNvSpPr/>
          <p:nvPr userDrawn="1"/>
        </p:nvSpPr>
        <p:spPr>
          <a:xfrm>
            <a:off x="9861552" y="501927"/>
            <a:ext cx="2330448" cy="272831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04AF4BF-EF8E-5246-A68A-86D5DCC9D8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844" y="1459681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0D1934E5-DFFE-D64A-AC88-7270E46A22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6656" y="1513469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BE6F2F-98ED-E740-8C3A-11E55932FF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1806" y="4122199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D554C6E-14A7-F240-A7FE-4B4921CCB3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5726" y="4108752"/>
            <a:ext cx="1150938" cy="1004936"/>
          </a:xfrm>
          <a:prstGeom prst="rect">
            <a:avLst/>
          </a:prstGeom>
        </p:spPr>
      </p:pic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D0040FA-429B-3340-98A6-8EDBE6F6C15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400" y="501926"/>
            <a:ext cx="4500563" cy="27148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image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25E71D81-56C6-4741-8183-0B428AFAEF52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5838" y="499315"/>
            <a:ext cx="2316162" cy="271747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image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663DCAF0-0A11-9744-996C-8D17C975A9D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1" y="3373115"/>
            <a:ext cx="3251200" cy="236042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image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BD990BB-3AB6-874E-8F35-63EA9033F064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5232400" y="3373116"/>
            <a:ext cx="3563937" cy="236042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imag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C57C5D2-687E-2545-AC98-4E32F204F5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017366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06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198804" y="0"/>
            <a:ext cx="798221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Imag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161BA26-9676-F94B-B616-81423290AA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078014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E78980-CB00-7148-8535-BC8EA3D80D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209547"/>
            <a:ext cx="825028" cy="30321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0AB6CA2-EE0F-6242-9882-A51ADABD0A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3738" y="6291323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994601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Planet Passionate logo Placement Examp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17043"/>
          </a:xfrm>
          <a:prstGeom prst="rect">
            <a:avLst/>
          </a:prstGeom>
        </p:spPr>
        <p:txBody>
          <a:bodyPr lIns="0" tIns="0" rIns="0" bIns="0" numCol="3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2CF89345-59C3-4F49-A98E-9360995CB1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234852"/>
            <a:ext cx="877887" cy="20617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4B21837-40F1-2843-91F2-850627FF33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3738" y="6291323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899016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Planet Passionate logo Placement Examp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5001885"/>
          </a:xfrm>
          <a:prstGeom prst="rect">
            <a:avLst/>
          </a:prstGeom>
        </p:spPr>
        <p:txBody>
          <a:bodyPr lIns="0" tIns="0" rIns="0" bIns="0" numCol="1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2CF89345-59C3-4F49-A98E-9360995CB1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234852"/>
            <a:ext cx="877887" cy="20617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B22BF6F-8B40-E049-86C0-7BD7E569C0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76111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Planet Passionate logo Placement Examp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5001885"/>
          </a:xfrm>
          <a:prstGeom prst="rect">
            <a:avLst/>
          </a:prstGeom>
        </p:spPr>
        <p:txBody>
          <a:bodyPr lIns="0" tIns="0" rIns="0" bIns="0" numCol="1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CCF7BE8-6BB9-E844-90B6-6536C2B1EE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764208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344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1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DBCC1F-D140-1B4D-962E-659CEE76E7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284436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 brand logo Placement Examp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90FE1F4-81A8-7845-A142-AF7DDCA4C65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1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02BA466-BCEF-A44C-A6D5-AFFE93E536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7889" y="198024"/>
            <a:ext cx="849650" cy="26711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B38EA8D-824A-A44A-BFF2-94A9D27C40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953283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3A9F48F-DEB8-D54B-9A3F-D74D7B3BDB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E83591B-96D8-4D47-B22F-66A56E777A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C9B1844-EA47-2844-BC77-DDB2226395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040098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CB6B763-9BD5-DD42-876D-86BF240D60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C0519C4-C654-324F-A1C1-D78DB6CBA7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49638F-FEF5-E047-86DA-C8AE93277C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332277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8693107-CCA3-A44F-A088-CA97182B2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E3C12AD-F3DE-8345-83C1-ED4A54A6FA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6ECF290-5AD2-2A43-85A7-8A31A80043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731728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7396510-F944-4741-BA3C-017EE0787E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F86B7C-BE1A-8143-ADB4-6DDB056CB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842255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270B3F9-86D7-C949-8435-04D9B62A3D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44DA6B8-C25A-AE4C-8728-B2D0905C2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764358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>
            <a:extLst>
              <a:ext uri="{FF2B5EF4-FFF2-40B4-BE49-F238E27FC236}">
                <a16:creationId xmlns:a16="http://schemas.microsoft.com/office/drawing/2014/main" id="{004AB388-D756-A24F-A1DD-F8134B91DB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28E617-A629-9444-BEB9-06AC835D6C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051A51-756D-0B44-8472-E2741E471C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8951" y="6289848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364250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85126B2A-21C1-B843-B973-F8CD5363EB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9231C03-7741-E94C-A68A-77ABA0F6DD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336007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348A17DD-BEA2-8848-AA12-6063DC78CA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1E35709-C6B8-1846-9E42-6EBD70173E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934404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061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F34DB94D-7DB1-464A-90FB-C24B1FEAA0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528E442-F367-0A4F-90E7-9580D5CCF9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841965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56D5E389-1BA3-8945-B943-A8A836E009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0B6B91-2D0D-3E40-9B08-7A2F43897A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988725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28877" y="612094"/>
            <a:ext cx="2139235" cy="1044743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2E7FB9-B022-AB4A-BAC0-F149A0629C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28877" y="1913510"/>
            <a:ext cx="2139234" cy="104474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8D112C4-2D54-DA47-B12A-6E8C96E41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28877" y="3247858"/>
            <a:ext cx="2139234" cy="104474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00D63A-3C2D-3140-BC56-D1370DC4894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06294" y="4582206"/>
            <a:ext cx="2139234" cy="104474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9E988D2-9BC7-BB40-B379-300A8F82E8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8152" y="2393882"/>
            <a:ext cx="2178018" cy="6847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AA5258F-A7C4-504C-A201-2E2E3883AF7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8153" y="3712869"/>
            <a:ext cx="2178018" cy="68472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514FBC5-ECB4-6E4B-918D-248C86BC33B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096000" y="823230"/>
            <a:ext cx="2206699" cy="81100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Logo Asse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85601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3850"/>
            <a:ext cx="10934497" cy="55722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592263"/>
            <a:ext cx="3554209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Category Title here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7815" y="2121145"/>
            <a:ext cx="3554205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4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5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4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FDD0A0D-4813-0442-B7A9-81BFB4829B0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697802F-0840-EE48-B35C-9CB300CE1D8F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Subtitle 2">
            <a:extLst>
              <a:ext uri="{FF2B5EF4-FFF2-40B4-BE49-F238E27FC236}">
                <a16:creationId xmlns:a16="http://schemas.microsoft.com/office/drawing/2014/main" id="{26402C3C-F59C-3A42-B015-2EA68FBF825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411413616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CFCF589-AF37-934C-9D77-389344C39EC6}"/>
              </a:ext>
            </a:extLst>
          </p:cNvPr>
          <p:cNvSpPr/>
          <p:nvPr userDrawn="1"/>
        </p:nvSpPr>
        <p:spPr>
          <a:xfrm>
            <a:off x="4187824" y="0"/>
            <a:ext cx="8004175" cy="685800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9148"/>
            <a:ext cx="3322921" cy="8213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7" y="1592262"/>
            <a:ext cx="3321608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Copy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7816" y="2121144"/>
            <a:ext cx="3321608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2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3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3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BC67C90-EE5C-624B-803D-A24E2B956D1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9B69D5E-ED9C-544E-A604-69F54D7871C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Subtitle 2">
            <a:extLst>
              <a:ext uri="{FF2B5EF4-FFF2-40B4-BE49-F238E27FC236}">
                <a16:creationId xmlns:a16="http://schemas.microsoft.com/office/drawing/2014/main" id="{9C1708ED-C33A-E546-BF47-ADC82014D16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D0268A4-3A87-5D4C-AF1D-0FE814E58E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584289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A0AD9CA-DD4F-6849-9EBD-847328BAD8DE}"/>
              </a:ext>
            </a:extLst>
          </p:cNvPr>
          <p:cNvSpPr/>
          <p:nvPr userDrawn="1"/>
        </p:nvSpPr>
        <p:spPr>
          <a:xfrm>
            <a:off x="890524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DBA820-B79F-8940-93B5-9A3B88CEEBE6}"/>
              </a:ext>
            </a:extLst>
          </p:cNvPr>
          <p:cNvSpPr/>
          <p:nvPr userDrawn="1"/>
        </p:nvSpPr>
        <p:spPr>
          <a:xfrm>
            <a:off x="27608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12DD1A3-2ECA-2941-93A2-23BA1BB974D6}"/>
              </a:ext>
            </a:extLst>
          </p:cNvPr>
          <p:cNvSpPr/>
          <p:nvPr userDrawn="1"/>
        </p:nvSpPr>
        <p:spPr>
          <a:xfrm>
            <a:off x="45896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4DA6F6B-A360-834A-B6A1-672292E771E1}"/>
              </a:ext>
            </a:extLst>
          </p:cNvPr>
          <p:cNvSpPr/>
          <p:nvPr userDrawn="1"/>
        </p:nvSpPr>
        <p:spPr>
          <a:xfrm>
            <a:off x="6489841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1162878-B24C-CB4E-82D5-450D8A9335EA}"/>
              </a:ext>
            </a:extLst>
          </p:cNvPr>
          <p:cNvSpPr/>
          <p:nvPr userDrawn="1"/>
        </p:nvSpPr>
        <p:spPr>
          <a:xfrm>
            <a:off x="8313789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4B2BB32-0183-9442-AD45-3D1F3A7510B4}"/>
              </a:ext>
            </a:extLst>
          </p:cNvPr>
          <p:cNvSpPr/>
          <p:nvPr userDrawn="1"/>
        </p:nvSpPr>
        <p:spPr>
          <a:xfrm>
            <a:off x="1016752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1566"/>
            <a:ext cx="10934496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8A2391B-7CB4-D048-93B2-01298DBE852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4797425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B9895C84-2A29-B648-9FCB-581D7A666A5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5265738"/>
            <a:ext cx="1725410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C4372F70-3F92-984D-A1D6-64A68A41CC4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491189" y="4797425"/>
            <a:ext cx="169663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11357760-943B-E346-879B-5120DFBB54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91189" y="5265738"/>
            <a:ext cx="169663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AB36158F-1BCC-9142-AC83-0549E61597E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29614" y="4797425"/>
            <a:ext cx="1694949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A6B674D9-7291-2045-937A-0C8BE04CBCD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29614" y="5265738"/>
            <a:ext cx="1694949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D345FC74-CE8E-024B-9255-A89BBBAAAF2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06540" y="4797425"/>
            <a:ext cx="1658034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77946A5A-2264-094F-849A-D29C2FE0346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06540" y="5265738"/>
            <a:ext cx="1658034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2B8AE223-BAE7-584D-B3CF-E89FCAF2D75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006465" y="4797425"/>
            <a:ext cx="171747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6FD89598-B46E-E149-80A9-FFF06C86794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006465" y="5265738"/>
            <a:ext cx="1717472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E9C16BF4-14AA-904F-8536-6397929D2C9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9873766" y="4797425"/>
            <a:ext cx="169434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D10C066C-33CD-ED43-90D0-B8F060FE81F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9873766" y="5265738"/>
            <a:ext cx="169434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8F9FF5E-F6CE-BD44-8EE0-5F95979213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C5920A3-68C0-0748-B9EC-F7A9A8E276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Subtitle 2">
            <a:extLst>
              <a:ext uri="{FF2B5EF4-FFF2-40B4-BE49-F238E27FC236}">
                <a16:creationId xmlns:a16="http://schemas.microsoft.com/office/drawing/2014/main" id="{496FCA75-A150-5D4F-9612-55D226FB00C1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884234800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4DB3BC1-51BC-FA4C-B894-20464786F5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uideline Slide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5058055-1CEA-8F4A-B28D-6EBF057B1F66}"/>
              </a:ext>
            </a:extLst>
          </p:cNvPr>
          <p:cNvSpPr txBox="1"/>
          <p:nvPr userDrawn="1"/>
        </p:nvSpPr>
        <p:spPr>
          <a:xfrm>
            <a:off x="4198976" y="1454019"/>
            <a:ext cx="3609474" cy="51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3200" dirty="0">
                <a:latin typeface="Century Gothic" panose="020B0502020202020204" pitchFamily="34" charset="0"/>
              </a:rPr>
              <a:t>Title </a:t>
            </a:r>
            <a:r>
              <a:rPr lang="en-US" sz="3200" b="0" i="0" dirty="0">
                <a:latin typeface="Century Gothic" panose="020B0502020202020204" pitchFamily="34" charset="0"/>
              </a:rPr>
              <a:t>Size 3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latin typeface="Century Gothic" panose="020B0502020202020204" pitchFamily="34" charset="0"/>
              </a:rPr>
              <a:t>Title </a:t>
            </a:r>
            <a:r>
              <a:rPr lang="en-US" sz="4000" b="0" i="0" dirty="0">
                <a:latin typeface="Century Gothic" panose="020B0502020202020204" pitchFamily="34" charset="0"/>
              </a:rPr>
              <a:t>Size 4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latin typeface="Century Gothic" panose="020B0502020202020204" pitchFamily="34" charset="0"/>
              </a:rPr>
              <a:t>Title </a:t>
            </a:r>
            <a:r>
              <a:rPr lang="en-US" sz="4800" b="0" i="0" dirty="0">
                <a:latin typeface="Century Gothic" panose="020B0502020202020204" pitchFamily="34" charset="0"/>
              </a:rPr>
              <a:t>Size 4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Subtitle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i="0" dirty="0">
                <a:latin typeface="Century Gothic" panose="020B0502020202020204" pitchFamily="34" charset="0"/>
              </a:rPr>
              <a:t>Subtitle Size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i="0" dirty="0">
                <a:latin typeface="Century Gothic" panose="020B0502020202020204" pitchFamily="34" charset="0"/>
              </a:rPr>
              <a:t>Subtitle Size 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0" i="0" dirty="0">
                <a:latin typeface="Century Gothic" panose="020B0502020202020204" pitchFamily="34" charset="0"/>
              </a:rPr>
              <a:t>Subtitle Size 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latin typeface="Century Gothic" panose="020B0502020202020204" pitchFamily="34" charset="0"/>
              </a:rPr>
              <a:t>Body Copy Size 1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dirty="0">
                <a:latin typeface="Century Gothic" panose="020B0502020202020204" pitchFamily="34" charset="0"/>
              </a:rPr>
              <a:t>Body Copy Size 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0" i="0" dirty="0">
                <a:latin typeface="Century Gothic" panose="020B0502020202020204" pitchFamily="34" charset="0"/>
              </a:rPr>
              <a:t>Body Copy Size 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Body Copy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endParaRPr lang="en-US" sz="3200" b="0" i="0" dirty="0">
              <a:latin typeface="Century Gothic" panose="020B0502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A9601FA-2C65-E743-B839-2BC0AA447EFA}"/>
              </a:ext>
            </a:extLst>
          </p:cNvPr>
          <p:cNvGrpSpPr/>
          <p:nvPr userDrawn="1"/>
        </p:nvGrpSpPr>
        <p:grpSpPr>
          <a:xfrm>
            <a:off x="623887" y="1457766"/>
            <a:ext cx="3625820" cy="4943755"/>
            <a:chOff x="-6257760" y="707017"/>
            <a:chExt cx="3625820" cy="494375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BD78F41-BB0F-F94F-B712-97D86AE976FB}"/>
                </a:ext>
              </a:extLst>
            </p:cNvPr>
            <p:cNvSpPr/>
            <p:nvPr/>
          </p:nvSpPr>
          <p:spPr>
            <a:xfrm>
              <a:off x="-6246609" y="707017"/>
              <a:ext cx="881743" cy="881743"/>
            </a:xfrm>
            <a:prstGeom prst="ellipse">
              <a:avLst/>
            </a:prstGeom>
            <a:solidFill>
              <a:srgbClr val="0941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BCF57C2-460B-E046-8C9E-C10EFA6D7193}"/>
                </a:ext>
              </a:extLst>
            </p:cNvPr>
            <p:cNvSpPr/>
            <p:nvPr/>
          </p:nvSpPr>
          <p:spPr>
            <a:xfrm>
              <a:off x="-6246609" y="1726714"/>
              <a:ext cx="881743" cy="881743"/>
            </a:xfrm>
            <a:prstGeom prst="ellipse">
              <a:avLst/>
            </a:prstGeom>
            <a:solidFill>
              <a:srgbClr val="2382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5F50ABA-AC03-BB42-A8AC-FAC93E74E2FA}"/>
                </a:ext>
              </a:extLst>
            </p:cNvPr>
            <p:cNvSpPr/>
            <p:nvPr/>
          </p:nvSpPr>
          <p:spPr>
            <a:xfrm>
              <a:off x="-6246609" y="2740819"/>
              <a:ext cx="881743" cy="881743"/>
            </a:xfrm>
            <a:prstGeom prst="ellipse">
              <a:avLst/>
            </a:prstGeom>
            <a:solidFill>
              <a:srgbClr val="F7A4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78521A9-75E7-4548-A46B-547A9ACB0A3D}"/>
                </a:ext>
              </a:extLst>
            </p:cNvPr>
            <p:cNvSpPr/>
            <p:nvPr/>
          </p:nvSpPr>
          <p:spPr>
            <a:xfrm>
              <a:off x="-6257760" y="3754924"/>
              <a:ext cx="881743" cy="881743"/>
            </a:xfrm>
            <a:prstGeom prst="ellipse">
              <a:avLst/>
            </a:prstGeom>
            <a:solidFill>
              <a:srgbClr val="0FA0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BF5A9BF-9E01-A946-A6D0-4A399D564919}"/>
                </a:ext>
              </a:extLst>
            </p:cNvPr>
            <p:cNvSpPr/>
            <p:nvPr/>
          </p:nvSpPr>
          <p:spPr>
            <a:xfrm>
              <a:off x="-6257760" y="4769029"/>
              <a:ext cx="881743" cy="881743"/>
            </a:xfrm>
            <a:prstGeom prst="ellipse">
              <a:avLst/>
            </a:prstGeom>
            <a:solidFill>
              <a:srgbClr val="C09A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474E757-2D7D-E84A-8F90-67963898E9A5}"/>
                </a:ext>
              </a:extLst>
            </p:cNvPr>
            <p:cNvSpPr txBox="1"/>
            <p:nvPr/>
          </p:nvSpPr>
          <p:spPr>
            <a:xfrm>
              <a:off x="-5235635" y="293357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Orang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0 / 42 / 87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247 / 164 / 45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FBDF904-4B20-C644-BF8D-76EF3776FFF5}"/>
                </a:ext>
              </a:extLst>
            </p:cNvPr>
            <p:cNvSpPr txBox="1"/>
            <p:nvPr/>
          </p:nvSpPr>
          <p:spPr>
            <a:xfrm>
              <a:off x="-5235635" y="191247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0 / 33 / 4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 / 141 / 198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8FEDB90-7B3E-404B-BEE7-B7222F3FF624}"/>
                </a:ext>
              </a:extLst>
            </p:cNvPr>
            <p:cNvSpPr txBox="1"/>
            <p:nvPr/>
          </p:nvSpPr>
          <p:spPr>
            <a:xfrm>
              <a:off x="-5235635" y="851395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100 / 72 / 0 / 18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0 / 66 / 137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2223326-CD12-D04E-AD0D-8F5551660336}"/>
                </a:ext>
              </a:extLst>
            </p:cNvPr>
            <p:cNvSpPr txBox="1"/>
            <p:nvPr/>
          </p:nvSpPr>
          <p:spPr>
            <a:xfrm>
              <a:off x="-5235635" y="396009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Green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1 / 5 / 95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5 / 160 / 66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42560D3-17B6-DD47-A272-449E80C687E5}"/>
                </a:ext>
              </a:extLst>
            </p:cNvPr>
            <p:cNvSpPr txBox="1"/>
            <p:nvPr/>
          </p:nvSpPr>
          <p:spPr>
            <a:xfrm>
              <a:off x="-5235635" y="496178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Gold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30 / 40 / 70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2 / 154 / 9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3580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FF804A-9FCC-3D4F-8E5D-878EB0BC5C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18954" y="1397777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</p:spTree>
    <p:extLst>
      <p:ext uri="{BB962C8B-B14F-4D97-AF65-F5344CB8AC3E}">
        <p14:creationId xmlns:p14="http://schemas.microsoft.com/office/powerpoint/2010/main" val="3242891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4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6720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582F58F-84F7-A348-85DD-03FEC9C57F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507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4B06EC-548A-3A41-9515-77E050010F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243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nsert backdrop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F7D7FD-2E4D-764B-8614-8BB948EDA1D8}"/>
              </a:ext>
            </a:extLst>
          </p:cNvPr>
          <p:cNvSpPr/>
          <p:nvPr userDrawn="1"/>
        </p:nvSpPr>
        <p:spPr>
          <a:xfrm>
            <a:off x="5562600" y="3456947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Right click and use the crop function to size your image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Scale and position your image to fit inside this area.</a:t>
            </a:r>
            <a:br>
              <a:rPr lang="en-US" sz="1400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658015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40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046291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5B61BF-F308-884F-835C-950D755857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123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57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</a:lstStyle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Right click and use the crop function to size your image box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Scale and position your image to fit inside this area.</a:t>
            </a:r>
            <a:br>
              <a:rPr lang="en-US" sz="2000" dirty="0"/>
            </a:br>
            <a:endParaRPr lang="en-US" sz="2000" dirty="0"/>
          </a:p>
          <a:p>
            <a:pPr lvl="0"/>
            <a:endParaRPr lang="en-US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286489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1589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094027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10487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564514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304556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732872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7502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705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4B06EC-548A-3A41-9515-77E050010F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411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32594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D2F7360-C85C-A545-9AC3-C8303F5241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942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855724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A08F8D-242C-EC41-A05E-7744BFBBC7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119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01CB732-A621-8440-A42B-A3E72ABEF6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728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56A60E4-0332-914F-93F8-9A7AA90937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554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FF804A-9FCC-3D4F-8E5D-878EB0BC5C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18954" y="1397777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</p:spTree>
    <p:extLst>
      <p:ext uri="{BB962C8B-B14F-4D97-AF65-F5344CB8AC3E}">
        <p14:creationId xmlns:p14="http://schemas.microsoft.com/office/powerpoint/2010/main" val="3626345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D2F7360-C85C-A545-9AC3-C8303F5241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12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08C281-9C7A-294A-87E1-B2464303E763}"/>
              </a:ext>
            </a:extLst>
          </p:cNvPr>
          <p:cNvSpPr/>
          <p:nvPr userDrawn="1"/>
        </p:nvSpPr>
        <p:spPr>
          <a:xfrm>
            <a:off x="0" y="1"/>
            <a:ext cx="12181021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9" y="1745140"/>
            <a:ext cx="3527424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12113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8023"/>
            <a:ext cx="10934489" cy="54303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49577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E4BDEA-9ED9-9E4A-8299-1ED7EDA0B7BE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530DB3-6D36-8245-B9A4-DFAB045921B8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44A662-5109-9E46-BA25-7B6A075E7F85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C6B76F-1E4F-AC47-9415-689DE31A47F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168B1D-3168-D940-8927-A3A5BAAAFAF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Subtitle 2">
            <a:extLst>
              <a:ext uri="{FF2B5EF4-FFF2-40B4-BE49-F238E27FC236}">
                <a16:creationId xmlns:a16="http://schemas.microsoft.com/office/drawing/2014/main" id="{A69FF014-B939-B84A-B950-4DB7547889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B58088-83A5-AD46-ACC2-6FB2290F56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171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B3BBCE2E-3119-F04F-B262-DE7256C2C7A1}"/>
              </a:ext>
            </a:extLst>
          </p:cNvPr>
          <p:cNvSpPr/>
          <p:nvPr userDrawn="1"/>
        </p:nvSpPr>
        <p:spPr>
          <a:xfrm>
            <a:off x="373198" y="0"/>
            <a:ext cx="11807823" cy="4530723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8" y="1745140"/>
            <a:ext cx="3527425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745140"/>
            <a:ext cx="3556001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01453" y="1745140"/>
            <a:ext cx="3556002" cy="254746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32288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E05B4EB-48E0-2742-B1AE-279309679E4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332288" y="4688681"/>
            <a:ext cx="3527425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CAB8C08-8214-6A4E-A4D8-C6B318A0AFD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3888" y="4688681"/>
            <a:ext cx="3556001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ECE91E5-64B2-9844-9A5C-E74D42AB53F9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8001453" y="4688681"/>
            <a:ext cx="3556002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06BC46-0E61-E540-B5BD-BCDF424A6C78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D66A452-9491-0747-91FC-E3C7677DDB5C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3775A9-4829-B74C-9440-0DEA4FFD7D3E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7412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736726"/>
            <a:ext cx="261815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736726"/>
            <a:ext cx="2627312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736726"/>
            <a:ext cx="259238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736726"/>
            <a:ext cx="2627313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B9EAB2A-56B1-E542-B42E-A1585F7F0D9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406405" y="1272949"/>
            <a:ext cx="2598735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0E97C0-517F-494A-9ECE-ABF5BF8D5F5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3888" y="1272949"/>
            <a:ext cx="2627311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6CB81E-2868-C24A-A2D5-F8A38CC80E0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6197605" y="1272949"/>
            <a:ext cx="259873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5484F9-15AE-E747-8437-F25FF8A7112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940800" y="1272949"/>
            <a:ext cx="262731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8A60D2C3-77F9-EA4D-8FDD-D99DA6EE91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3623"/>
            <a:ext cx="10968449" cy="512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Main Titl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AC9DD0D-4687-204C-B610-9E8509660368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23888" y="4801560"/>
            <a:ext cx="10944223" cy="12492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50B2B7B-B299-584F-83B1-8A6E2DAD24C1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1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7E5DAF-191D-4648-A2A4-AC5ABD21B32D}"/>
              </a:ext>
            </a:extLst>
          </p:cNvPr>
          <p:cNvCxnSpPr>
            <a:cxnSpLocks/>
          </p:cNvCxnSpPr>
          <p:nvPr userDrawn="1"/>
        </p:nvCxnSpPr>
        <p:spPr>
          <a:xfrm>
            <a:off x="3406405" y="1125538"/>
            <a:ext cx="261815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3C4C2E8-8905-214A-A6DA-BC1350B2EC69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A5E08C-7312-384E-B73D-6651839252B3}"/>
              </a:ext>
            </a:extLst>
          </p:cNvPr>
          <p:cNvCxnSpPr>
            <a:cxnSpLocks/>
          </p:cNvCxnSpPr>
          <p:nvPr userDrawn="1"/>
        </p:nvCxnSpPr>
        <p:spPr>
          <a:xfrm>
            <a:off x="89408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838D76C-8F40-194F-A2DC-75834602A1A6}"/>
              </a:ext>
            </a:extLst>
          </p:cNvPr>
          <p:cNvCxnSpPr>
            <a:cxnSpLocks/>
          </p:cNvCxnSpPr>
          <p:nvPr userDrawn="1"/>
        </p:nvCxnSpPr>
        <p:spPr>
          <a:xfrm>
            <a:off x="629925" y="4944428"/>
            <a:ext cx="31156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94EDC1BE-5A2F-9141-AD5F-0F7879D6B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441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3B371F-F73D-7848-955E-6F4A47C7D7A0}"/>
              </a:ext>
            </a:extLst>
          </p:cNvPr>
          <p:cNvSpPr/>
          <p:nvPr userDrawn="1"/>
        </p:nvSpPr>
        <p:spPr>
          <a:xfrm>
            <a:off x="5232400" y="512763"/>
            <a:ext cx="4500563" cy="271747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9BCB5-7570-8940-9AC8-67AF9BFB7BFC}"/>
              </a:ext>
            </a:extLst>
          </p:cNvPr>
          <p:cNvSpPr/>
          <p:nvPr userDrawn="1"/>
        </p:nvSpPr>
        <p:spPr>
          <a:xfrm>
            <a:off x="5228384" y="3362277"/>
            <a:ext cx="3567953" cy="237387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02A2A2-091B-3843-8E8D-C5130D918C0B}"/>
              </a:ext>
            </a:extLst>
          </p:cNvPr>
          <p:cNvSpPr/>
          <p:nvPr userDrawn="1"/>
        </p:nvSpPr>
        <p:spPr>
          <a:xfrm>
            <a:off x="8947152" y="3362277"/>
            <a:ext cx="3244848" cy="237648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B59B44-4EB0-684F-AB52-741961638BCF}"/>
              </a:ext>
            </a:extLst>
          </p:cNvPr>
          <p:cNvSpPr/>
          <p:nvPr userDrawn="1"/>
        </p:nvSpPr>
        <p:spPr>
          <a:xfrm>
            <a:off x="9861552" y="501927"/>
            <a:ext cx="2330448" cy="272831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04AF4BF-EF8E-5246-A68A-86D5DCC9D8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844" y="1459681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0D1934E5-DFFE-D64A-AC88-7270E46A22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6656" y="1513469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BE6F2F-98ED-E740-8C3A-11E55932FF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1806" y="4122199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D554C6E-14A7-F240-A7FE-4B4921CCB3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5726" y="4108752"/>
            <a:ext cx="1150938" cy="1004936"/>
          </a:xfrm>
          <a:prstGeom prst="rect">
            <a:avLst/>
          </a:prstGeom>
        </p:spPr>
      </p:pic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D0040FA-429B-3340-98A6-8EDBE6F6C15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400" y="501926"/>
            <a:ext cx="4500563" cy="2714866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25E71D81-56C6-4741-8183-0B428AFAEF52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5838" y="499315"/>
            <a:ext cx="2316162" cy="2717477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663DCAF0-0A11-9744-996C-8D17C975A9D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1" y="3373115"/>
            <a:ext cx="3251200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BD990BB-3AB6-874E-8F35-63EA9033F064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5232400" y="3373116"/>
            <a:ext cx="3563937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2432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06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198804" y="0"/>
            <a:ext cx="798221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Imag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CD41DA-5299-F245-B635-25684774BD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031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 for any mention of Quadcor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 Select the logo and copy to clipboard.</a:t>
            </a:r>
            <a:br>
              <a:rPr lang="en-GB" dirty="0"/>
            </a:br>
            <a:r>
              <a:rPr lang="en-GB" dirty="0"/>
              <a:t>- Close master and place on a slide of your choosing.</a:t>
            </a:r>
            <a:endParaRPr lang="en-US" dirty="0"/>
          </a:p>
          <a:p>
            <a:pPr lvl="0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E78980-CB00-7148-8535-BC8EA3D80D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209547"/>
            <a:ext cx="825028" cy="303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816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1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lace on a slide of your choosing.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B07D24-D394-6B43-9672-1B4A838AFF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5975" y="6259606"/>
            <a:ext cx="1875066" cy="513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889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D3A9F48F-DEB8-D54B-9A3F-D74D7B3BDB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E83591B-96D8-4D47-B22F-66A56E777A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5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CB6B763-9BD5-DD42-876D-86BF240D60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C0519C4-C654-324F-A1C1-D78DB6CBA7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5717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8693107-CCA3-A44F-A088-CA97182B2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E3C12AD-F3DE-8345-83C1-ED4A54A6FA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543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52701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27396510-F944-4741-BA3C-017EE0787E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F86B7C-BE1A-8143-ADB4-6DDB056CB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213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270B3F9-86D7-C949-8435-04D9B62A3D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44DA6B8-C25A-AE4C-8728-B2D0905C2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90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004AB388-D756-A24F-A1DD-F8134B91DB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28E617-A629-9444-BEB9-06AC835D6C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29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85126B2A-21C1-B843-B973-F8CD5363EB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9231C03-7741-E94C-A68A-77ABA0F6DD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652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348A17DD-BEA2-8848-AA12-6063DC78CA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1E35709-C6B8-1846-9E42-6EBD70173E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607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F34DB94D-7DB1-464A-90FB-C24B1FEAA0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528E442-F367-0A4F-90E7-9580D5CCF9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074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56D5E389-1BA3-8945-B943-A8A836E009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0B6B91-2D0D-3E40-9B08-7A2F43897A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887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8F8528-A255-6045-B279-EFF4A71A06DD}"/>
              </a:ext>
            </a:extLst>
          </p:cNvPr>
          <p:cNvSpPr/>
          <p:nvPr userDrawn="1"/>
        </p:nvSpPr>
        <p:spPr>
          <a:xfrm>
            <a:off x="10979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14" y="2432441"/>
            <a:ext cx="899998" cy="439534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2E7FB9-B022-AB4A-BAC0-F149A0629C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13" y="2992990"/>
            <a:ext cx="899998" cy="4395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00D63A-3C2D-3140-BC56-D1370DC4894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13" y="4298362"/>
            <a:ext cx="899998" cy="43953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9E988D2-9BC7-BB40-B379-300A8F82E8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41" y="2434511"/>
            <a:ext cx="899998" cy="28294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AA5258F-A7C4-504C-A201-2E2E3883AF7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41" y="2744742"/>
            <a:ext cx="899998" cy="28294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514FBC5-ECB4-6E4B-918D-248C86BC33B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41" y="3621350"/>
            <a:ext cx="899998" cy="33076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Logo Asset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EEEF11F-B58A-FD47-AD30-84622B7E652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13" y="3550163"/>
            <a:ext cx="899999" cy="4395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E37C99C-700A-5A47-8187-38196CD7BE7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5774" y="2452612"/>
            <a:ext cx="2184530" cy="52921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B8D4501-51DF-8449-83DA-B5724F011D8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5774" y="4190510"/>
            <a:ext cx="1998598" cy="547386"/>
          </a:xfrm>
          <a:prstGeom prst="rect">
            <a:avLst/>
          </a:prstGeom>
        </p:spPr>
      </p:pic>
      <p:pic>
        <p:nvPicPr>
          <p:cNvPr id="17" name="Picture 16" descr="A close up of a sign&#10;&#10;Description automatically generated">
            <a:extLst>
              <a:ext uri="{FF2B5EF4-FFF2-40B4-BE49-F238E27FC236}">
                <a16:creationId xmlns:a16="http://schemas.microsoft.com/office/drawing/2014/main" id="{D60CCDB2-0EE1-6543-84A2-4D6FAFFC9AC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9676" y="3220067"/>
            <a:ext cx="899998" cy="2113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AD87397-2A55-3448-9CF3-31235031B11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5774" y="3621350"/>
            <a:ext cx="2254404" cy="43650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881D252-0CE7-8149-AA1C-F3C162BA843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1028" y="3050202"/>
            <a:ext cx="2261893" cy="43795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32639EA-3281-6442-A50C-851F285B3942}"/>
              </a:ext>
            </a:extLst>
          </p:cNvPr>
          <p:cNvSpPr txBox="1"/>
          <p:nvPr userDrawn="1"/>
        </p:nvSpPr>
        <p:spPr>
          <a:xfrm>
            <a:off x="7045693" y="1474269"/>
            <a:ext cx="22619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access logos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a logo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logos can then be pasted onto a slide of your choosing.</a:t>
            </a:r>
          </a:p>
        </p:txBody>
      </p:sp>
    </p:spTree>
    <p:extLst>
      <p:ext uri="{BB962C8B-B14F-4D97-AF65-F5344CB8AC3E}">
        <p14:creationId xmlns:p14="http://schemas.microsoft.com/office/powerpoint/2010/main" val="590930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pic>
        <p:nvPicPr>
          <p:cNvPr id="187" name="Picture 186" descr="A group of people in a dark room&#10;&#10;Description automatically generated">
            <a:extLst>
              <a:ext uri="{FF2B5EF4-FFF2-40B4-BE49-F238E27FC236}">
                <a16:creationId xmlns:a16="http://schemas.microsoft.com/office/drawing/2014/main" id="{84355E12-4DC3-A24D-A7D7-89987EA9EB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2411" y="0"/>
            <a:ext cx="10609589" cy="6858000"/>
          </a:xfrm>
          <a:prstGeom prst="rect">
            <a:avLst/>
          </a:prstGeom>
        </p:spPr>
      </p:pic>
      <p:sp>
        <p:nvSpPr>
          <p:cNvPr id="188" name="Content Placeholder 2">
            <a:extLst>
              <a:ext uri="{FF2B5EF4-FFF2-40B4-BE49-F238E27FC236}">
                <a16:creationId xmlns:a16="http://schemas.microsoft.com/office/drawing/2014/main" id="{FF714AA7-CEE4-5F47-99FA-AE15DDF9FB8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36325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map&#10;&#10;Description automatically generated">
            <a:extLst>
              <a:ext uri="{FF2B5EF4-FFF2-40B4-BE49-F238E27FC236}">
                <a16:creationId xmlns:a16="http://schemas.microsoft.com/office/drawing/2014/main" id="{BD34BBF7-F237-CC4A-B3CD-B5C10BA9F6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6745" y="777711"/>
            <a:ext cx="10624276" cy="608028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5BAECDA-3C87-BF41-AD8F-C04F616F40D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</p:spTree>
    <p:extLst>
      <p:ext uri="{BB962C8B-B14F-4D97-AF65-F5344CB8AC3E}">
        <p14:creationId xmlns:p14="http://schemas.microsoft.com/office/powerpoint/2010/main" val="3926141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A08F8D-242C-EC41-A05E-7744BFBBC7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858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0D7B03-0C58-0644-9EC7-D53C1D3087E4}"/>
              </a:ext>
            </a:extLst>
          </p:cNvPr>
          <p:cNvGrpSpPr/>
          <p:nvPr userDrawn="1"/>
        </p:nvGrpSpPr>
        <p:grpSpPr>
          <a:xfrm>
            <a:off x="1254681" y="1287006"/>
            <a:ext cx="9682637" cy="5156348"/>
            <a:chOff x="837718" y="2166032"/>
            <a:chExt cx="7093287" cy="3777427"/>
          </a:xfrm>
          <a:solidFill>
            <a:srgbClr val="09417A"/>
          </a:solidFill>
        </p:grpSpPr>
        <p:sp>
          <p:nvSpPr>
            <p:cNvPr id="6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DAF49FA4-B6FB-0F46-A0BA-21C9F57D1D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7718" y="2418601"/>
              <a:ext cx="990263" cy="467668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640446B4-3040-1D4B-840B-0E361CC5EE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72923" y="4820778"/>
              <a:ext cx="177968" cy="194284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01A6F51-C84B-9F47-9EC2-7970EFACE1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1736" y="4608454"/>
              <a:ext cx="268222" cy="281712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5AA18849-39FE-9B41-9D26-DBDF9DB3B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266" y="3838259"/>
              <a:ext cx="236443" cy="176243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D07A088-BF3A-0F44-AC89-393767370D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594016"/>
              <a:ext cx="193222" cy="180406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DD9D767A-7288-1348-84A7-DFED66876D8C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58018"/>
              <a:ext cx="13983" cy="33306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4A198BF-2931-E64C-805B-C2052042E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71" y="3090267"/>
              <a:ext cx="381360" cy="234528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3F5C7D8D-54BB-6146-8610-67E6A95F95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9211" y="3714749"/>
              <a:ext cx="195765" cy="419097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27D2E16E-A5D5-B24D-A2E3-A55D1BD5D3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2902" y="4032542"/>
              <a:ext cx="307630" cy="327507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BDD54B73-5DEE-864C-B0CA-377024D2AF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86029" y="2982023"/>
              <a:ext cx="1262300" cy="682768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2986076-BC4B-B947-B867-E7D21C467CD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2228" y="5232936"/>
              <a:ext cx="119493" cy="134611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62380EB0-BAB6-B54C-AC02-1A836BC10A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80120" y="2678108"/>
              <a:ext cx="185595" cy="290038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1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71DA14FD-819A-9346-80DF-9C39A7306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8946" y="3625934"/>
              <a:ext cx="108051" cy="112407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2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21ED622D-F845-4A49-B303-2D39675ADCB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3770" y="2901534"/>
              <a:ext cx="359749" cy="22065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4D19FE5E-7193-F34E-9986-9D11AFB391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8433" y="4260131"/>
              <a:ext cx="125848" cy="16236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F0D3446-BF62-3A4A-AFBA-4C01FAB82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996" y="3166593"/>
              <a:ext cx="325427" cy="212325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5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BB07076-388E-A34F-A6CC-09DDD04CF9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47499" y="3183246"/>
              <a:ext cx="428393" cy="17763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6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95C5FB4E-E02F-4648-A39E-B7564C1606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5038" y="3320631"/>
              <a:ext cx="87712" cy="19983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7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1671B8CE-94A9-1D4F-98F0-02BCD8AD49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5799" y="4064460"/>
              <a:ext cx="45763" cy="141549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9EA8586-F1DD-0147-8BEA-63245D8588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5142" y="3799402"/>
              <a:ext cx="199578" cy="417710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FA18E-509B-6F4E-B1F6-83832338418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7161" y="4407232"/>
              <a:ext cx="247883" cy="305303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619D18B-1B62-1C4A-AF21-FECBE870D2F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6237" y="3216551"/>
              <a:ext cx="177968" cy="123509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1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923B25CB-9D3E-3945-BBEE-20C381783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2011" y="3660628"/>
              <a:ext cx="38136" cy="9436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2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CEC19507-D2E4-3D46-B0B7-BD5DEBF24E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317856"/>
              <a:ext cx="144917" cy="14571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9D78D97-75EA-1742-BDB4-A9E6A56343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3025043"/>
              <a:ext cx="92797" cy="55510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4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026FE73A-891F-D144-B368-53D5C2C5B6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52581" y="2471335"/>
              <a:ext cx="223731" cy="348323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5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1F8F3C2-9E49-D547-BB98-83EDD700C9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416" y="5106653"/>
              <a:ext cx="33051" cy="47183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6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90AD4590-428C-7845-881F-AD9A60FF4E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397" y="4208785"/>
              <a:ext cx="94069" cy="117958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968A0D37-FD84-814B-B9F3-FC60D033BFB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2512" y="4106092"/>
              <a:ext cx="54661" cy="106856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8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3F5F92B-7E04-904F-A705-6A334CD194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25458" y="3138838"/>
              <a:ext cx="282206" cy="216487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6081DFCA-3607-5F4B-A84F-853A57D02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0300" y="4036705"/>
              <a:ext cx="230087" cy="38995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85663" y="4568210"/>
              <a:ext cx="119493" cy="122121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1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3B0B63E-08BE-024E-8D98-7EAE9C7725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5802" y="3048634"/>
              <a:ext cx="67373" cy="43020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2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F4BDB682-36AD-FF49-9375-C22F06C516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4447" y="2977860"/>
              <a:ext cx="115679" cy="51347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3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10CFEAE4-D597-064F-AA2C-04C7326E18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7068" y="4092214"/>
              <a:ext cx="67373" cy="9436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4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FF44D0B-D47E-0F4D-BE0D-80079287A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9694" y="3900706"/>
              <a:ext cx="134747" cy="129060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5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A848B51-A257-B141-A263-BE224F057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66344"/>
              <a:ext cx="477971" cy="448240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DE846F17-9F01-EF48-962A-D0A9F82C6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365" y="4407232"/>
              <a:ext cx="48306" cy="5134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7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372E6C68-F958-F445-8B73-E7939351B5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33963" y="2716965"/>
              <a:ext cx="97882" cy="421873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F42B9E93-C135-AE4A-A75B-415E4E29E0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17837" y="2196562"/>
              <a:ext cx="2916129" cy="1013050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ED648A8-9E07-0949-9E20-4C80C17ADD1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3013941"/>
              <a:ext cx="198307" cy="12906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B02953AA-348B-2F4E-BD82-9FC16DCE81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2420" y="3634260"/>
              <a:ext cx="21610" cy="4995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2DFD4982-A5B9-4E4F-8E73-67E0780CD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4345" y="3856299"/>
              <a:ext cx="44492" cy="2081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BEA959A1-E334-C94B-8EE0-1F52439F8E2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4018" y="3186021"/>
              <a:ext cx="73730" cy="144325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EFEBD36-86E7-2A46-B431-7A131B104F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9785" y="2834922"/>
              <a:ext cx="200849" cy="158202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4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D605A7B9-5938-034F-BA38-0471753AA7E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80570" y="3846585"/>
              <a:ext cx="230087" cy="42326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1BAB6D50-490A-6047-9A62-6C0F2F27253B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4765" y="4376702"/>
              <a:ext cx="302545" cy="52456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6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5C147906-B4DE-0A4C-B4E8-22D5959DAC6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7481" y="4923471"/>
              <a:ext cx="193222" cy="23869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19558" y="4430823"/>
              <a:ext cx="350851" cy="255344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8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5FEAE546-523E-AC42-A6B1-19CA1E780CA9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1713" y="4106092"/>
              <a:ext cx="130933" cy="680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50BCDF8-3135-5248-93F6-AE4B61D5D3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2168" y="3328958"/>
              <a:ext cx="338139" cy="370527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BCF68BDE-2130-F843-B4A7-1E94A1A95C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4213" y="3888217"/>
              <a:ext cx="30509" cy="22204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6BFC5A4-5C32-5749-9975-344F30D10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8014" y="3667566"/>
              <a:ext cx="174154" cy="237304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2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BB354FDB-0A58-9F46-9FC3-6BA252ED1BF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39445" y="2222930"/>
              <a:ext cx="438563" cy="52595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3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AB4B013-C271-2B47-9FB4-4E78AE94D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3173" y="3983971"/>
              <a:ext cx="269494" cy="2719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4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B3E8443-69F6-7041-AD17-3D1DC6B9C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969" y="3711974"/>
              <a:ext cx="357206" cy="331670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5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3DECCEF-2270-784E-BCAF-F10E57D8B3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3832" y="3957604"/>
              <a:ext cx="105509" cy="116570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21679" y="5350895"/>
              <a:ext cx="409326" cy="34554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BF31AF5-9264-CD44-86C0-EBDC749118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6297" y="2925126"/>
              <a:ext cx="137289" cy="134611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0A28748-E3AD-BD4A-85B0-B8D548584FB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8597" y="2872392"/>
              <a:ext cx="87712" cy="7355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9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E76FF854-0325-AE44-9D8C-AAB4FE65959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8019" y="3513528"/>
              <a:ext cx="189408" cy="11657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AE04FF1B-7800-154B-94D8-D2E361BBBA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5293" y="4858247"/>
              <a:ext cx="307630" cy="342772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811D5E9C-14A7-3A40-8667-0C42E33A39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5480" y="3569037"/>
              <a:ext cx="204663" cy="52734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2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25240E4B-B718-7F43-898D-8636267733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4789" y="4675065"/>
              <a:ext cx="246612" cy="47044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F7E9F73A-3DBC-3A43-B6D7-A4584C9A4D0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593" y="3360876"/>
              <a:ext cx="273307" cy="23314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4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176C0E46-7111-3D41-BC06-D17DC19DB77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2583" y="3143001"/>
              <a:ext cx="36864" cy="4718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5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D797893-1110-BE47-837C-5D9227211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89460" y="2905698"/>
              <a:ext cx="676278" cy="292813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FFF037F-C801-AE4A-A50B-D97EC55A8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96" y="3008390"/>
              <a:ext cx="69916" cy="8326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7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59AA8A-CB58-F746-8029-88751D885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0860" y="3452467"/>
              <a:ext cx="600006" cy="513464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8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E8824692-E2E0-5547-AD8D-0E5BD8CC3AA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17413" y="3351162"/>
              <a:ext cx="10170" cy="9715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9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2171320-371D-9B4B-A33C-220B752FE4E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606506"/>
              <a:ext cx="277121" cy="353874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0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5219B2B8-0AB4-874F-8AEB-AA738990DB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2492" y="3667566"/>
              <a:ext cx="373732" cy="42326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D08ED4CE-9296-2C4B-9BE4-04F85D2B35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9041" y="4186581"/>
              <a:ext cx="99153" cy="154040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990497EC-2119-3B4A-9C01-FCF50F5A68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0399" y="4168541"/>
              <a:ext cx="221189" cy="185957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2E37103F-4E40-6D49-A1C0-07C4AA1E7C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4535" y="4644535"/>
              <a:ext cx="75000" cy="22065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DE19BEA9-2759-8944-BD58-5E193AC6E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4452" y="4726412"/>
              <a:ext cx="191951" cy="383016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5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AF9052D-38A6-BB49-BC34-33F4416CB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346" y="3176306"/>
              <a:ext cx="53390" cy="44408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6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95E272BC-A097-824E-861A-D3A5637968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1987" y="2962594"/>
              <a:ext cx="16525" cy="1526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7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4BF7B08-758B-5042-9A32-DC5C0BD7D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9448" y="2790515"/>
              <a:ext cx="109323" cy="6938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8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3E7960AF-38D7-9E49-B1FD-EC0C15E6E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4445" y="3038921"/>
              <a:ext cx="5085" cy="8326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927E917-C6EC-1F4A-80D6-7E5988E20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3435814"/>
              <a:ext cx="354664" cy="38995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D28C5CB-C809-4F49-87FB-592C56054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0119" y="4133847"/>
              <a:ext cx="99153" cy="122121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2B34936F-976E-5945-8C5F-5214E9E139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3432" y="5189917"/>
              <a:ext cx="53390" cy="5689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14DE609C-CC3F-2D44-8380-22A8EC6CD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9959" y="3395569"/>
              <a:ext cx="34322" cy="55510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3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3CAFEBC2-E7F5-9849-B0D5-18B1C15F69E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2747495"/>
              <a:ext cx="137289" cy="6383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2EB0F508-E6AA-F04B-82F6-8E7C7F7D25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7261" y="3739729"/>
              <a:ext cx="193222" cy="244242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5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5995702-DA7F-4B41-BB2D-A3AD2E217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3101" y="3155491"/>
              <a:ext cx="216104" cy="10963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440E35C6-8F30-F14A-B7B1-6C286308BC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6911" y="3526017"/>
              <a:ext cx="44492" cy="43020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7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9FC9D387-1716-764D-A419-8571984317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19978" y="3285938"/>
              <a:ext cx="87712" cy="14987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1C36E996-9AD7-5745-A5D8-0FF94C28B5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46248" y="3162429"/>
              <a:ext cx="105509" cy="14710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9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10D2CB17-EB05-C64B-9880-8096F1E8A3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4244866"/>
              <a:ext cx="180510" cy="26783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7A27997-3D41-CA49-9CEA-857713EFB7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2819658"/>
              <a:ext cx="811025" cy="40938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4F29EEC-989F-7449-BDA9-F5E9B2181E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434426"/>
              <a:ext cx="90255" cy="117958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2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82F50A72-6FFD-8C4A-975D-2CF4DE9BDD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291" y="3856299"/>
              <a:ext cx="50848" cy="1804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3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504A868F-9630-B647-ABBE-0395C868D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69554" y="3090267"/>
              <a:ext cx="282206" cy="60089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63A4F46-4B32-FD4C-8313-C85B87DCBC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57242" y="3044472"/>
              <a:ext cx="250426" cy="292813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DFE9D0B4-0AEF-AE43-A484-16F8863A49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1060" y="3430263"/>
              <a:ext cx="33051" cy="112407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6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C40B0C6-ABA4-1E40-AF04-AD7D0F94F34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8001" y="2822433"/>
              <a:ext cx="90255" cy="104081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375E5BA3-5F93-5342-A775-E6524381F3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5129" y="3320631"/>
              <a:ext cx="221189" cy="231753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8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C269DEC-7FEA-AC4E-8BB1-4A1DB5957B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9198" y="3249857"/>
              <a:ext cx="463987" cy="414935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0989" y="4217111"/>
              <a:ext cx="1052552" cy="457954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A53D257F-B7C2-FB42-ACA9-5F81B765DD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36492" y="3356713"/>
              <a:ext cx="629243" cy="829868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1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BEEC59A-C859-5F41-A790-C40C37A32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3508" y="2532395"/>
              <a:ext cx="184323" cy="77713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0DE3950-C8D1-AC49-BB7F-8E7082EEA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4277" y="3005615"/>
              <a:ext cx="137289" cy="7771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3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CA5F6AD-6B1B-B847-B0A5-B10A62834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9509" y="3924298"/>
              <a:ext cx="143645" cy="8604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4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4BDD70F8-F59A-194D-ACA9-35B086EE3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1631" y="3814667"/>
              <a:ext cx="63560" cy="54122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5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4A896B05-7090-ED49-89FC-3C32DBB7D11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940" y="4214336"/>
              <a:ext cx="66102" cy="104081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6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E15ED31E-A063-F749-8C3E-9DBE6BF3C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1125" y="4138010"/>
              <a:ext cx="105509" cy="20538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7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D3C30FB3-8756-D646-8F89-F128731296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8423" y="4015889"/>
              <a:ext cx="59746" cy="55510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8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D9AF898F-AB32-0B4B-9B68-8490A53965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60" y="4018665"/>
              <a:ext cx="167798" cy="155427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9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E8CEF630-CD55-CC40-99C6-BFFFB89428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136" y="3870176"/>
              <a:ext cx="95339" cy="117958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54B9099-7E7B-7443-88B7-E3F47D0E83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14434" y="2166032"/>
              <a:ext cx="902551" cy="537056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1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6D8E5FEE-4A9D-2241-96D8-E5910411B1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7075" y="3194347"/>
              <a:ext cx="171611" cy="194284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2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360C1EA2-A8C0-0B40-B87A-ADA32B43BBA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2070" y="4063072"/>
              <a:ext cx="105509" cy="181794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3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F171FAA-1AC8-6F42-B558-1ADF7502645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2832147"/>
              <a:ext cx="181781" cy="206774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A732323D-F9C5-3A42-A22B-D99008E03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1316" y="3143001"/>
              <a:ext cx="148730" cy="7355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5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9C03-4491-9541-8611-3DE2526D62B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254" y="3986746"/>
              <a:ext cx="68645" cy="1804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6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B29C833E-78A1-3144-AE83-3685EFDC460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7920" y="4308702"/>
              <a:ext cx="134747" cy="180406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7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09A6D4BC-0CBA-1944-B8B0-BDCB5890BE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25884" y="2932064"/>
              <a:ext cx="293646" cy="27616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8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8FD2806-F4C2-BC4E-A283-7F5C4220F76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7667" y="2447744"/>
              <a:ext cx="203392" cy="252569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9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0327DD2A-68B7-684E-801A-1DC19D1D10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55976" y="3956216"/>
              <a:ext cx="340681" cy="32473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0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A2F3B1DF-EAE0-E346-B3A5-B5E2E210F9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346" y="2708639"/>
              <a:ext cx="111865" cy="54122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1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832A0616-B6C3-3142-94E2-F09D320E1A0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7163" y="3866013"/>
              <a:ext cx="155086" cy="16097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2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DF39F4F-EF0F-B64E-A406-70972C8CB50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4311477"/>
              <a:ext cx="47034" cy="38857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2C386AC4-3C1B-4D46-9A48-A3DE9F884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627" y="3968706"/>
              <a:ext cx="54661" cy="38857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C2C610D7-DD19-B147-9A77-39DCEA31B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313" y="3480222"/>
              <a:ext cx="254240" cy="283099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5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83D85B79-4B7A-9E43-B64E-A1A34F9C8D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38579" y="4332294"/>
              <a:ext cx="133475" cy="18595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35656" y="4611229"/>
              <a:ext cx="80085" cy="41632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7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C7FD8FF-083B-954C-A87E-E6863FCFDD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292" y="3814667"/>
              <a:ext cx="80085" cy="58285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8A8F7F21-18B6-C644-B3EE-228B6966FA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469" y="4018665"/>
              <a:ext cx="38136" cy="4857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F3EFAEAB-F135-F64F-94D1-82860E49B7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91564" y="2759985"/>
              <a:ext cx="88984" cy="83264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0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64F99F6-EC3C-3C4F-8DCB-C18A2DFF4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0378" y="2937615"/>
              <a:ext cx="136018" cy="680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1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CE846B08-B010-8540-A687-A13636C35D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670" y="3367814"/>
              <a:ext cx="48306" cy="30530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2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8E4C-3A8A-5746-B003-F1639CC13B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195358" y="3718913"/>
              <a:ext cx="237714" cy="9575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3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2EF9A2D4-36FF-8A4F-B138-7E7AB60CEF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3429" y="3062512"/>
              <a:ext cx="118221" cy="97142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4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05D78167-1A54-1D4A-9E20-B34CCF8E6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0035" y="4074174"/>
              <a:ext cx="141103" cy="181794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68C0568-35DB-C14D-B883-EC35C27CCC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35611" y="4060297"/>
              <a:ext cx="77543" cy="80489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6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8C0F3DB1-61AF-A742-9925-ACD308B9E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0548" y="4225437"/>
              <a:ext cx="434750" cy="53428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7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7605DDEA-60BD-DA43-A460-2E1C06BD57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2581" y="4272621"/>
              <a:ext cx="172883" cy="245630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8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5D5A8D6-264B-0342-A508-322110CB9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84342" y="4024216"/>
              <a:ext cx="279664" cy="47322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9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4A195178-707F-EA44-BDFC-6A2541D8C3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10615" y="4877675"/>
              <a:ext cx="372461" cy="106578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0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0319B322-D9B9-6248-867F-8D18BC0BBC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9712" y="2866841"/>
              <a:ext cx="1179672" cy="99362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F1B21333-AFF9-6746-804A-62D7F335F93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5971" y="3711974"/>
              <a:ext cx="238985" cy="45379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19C86435-F022-D445-AD83-576A5B8DE2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28853" y="4067235"/>
              <a:ext cx="294918" cy="245630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3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A28E9468-5E2A-0B46-B3D7-9AB65F3B1D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3402" y="2174358"/>
              <a:ext cx="1796203" cy="1014438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4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9746559D-C56A-3D42-BFC1-A5ACDDE6DA8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5378" y="4004787"/>
              <a:ext cx="175425" cy="326119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5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1E4A2EF-BD0B-EA49-A6F0-BCE0C0822F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2262" y="3965931"/>
              <a:ext cx="122035" cy="117958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5676EECF-3CD9-2D4D-A1D5-75A25C96944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79" y="4447476"/>
              <a:ext cx="43221" cy="58285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4D0E7A1-E73C-6241-8945-207006017BD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72493" y="3952053"/>
              <a:ext cx="184323" cy="158202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057A09AC-6876-F149-AD03-92551D0D49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6482" y="3127736"/>
              <a:ext cx="127120" cy="7910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9EDD2BF4-A4D8-0149-9A23-EFBEB04C4A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05105" y="4228213"/>
              <a:ext cx="897466" cy="110741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0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0EDA2F90-F4C0-8940-A03F-04E3C4578A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0888" y="4881839"/>
              <a:ext cx="208477" cy="256732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DC5CDCDB-9496-E042-B45B-274B38A2E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2837" y="3095817"/>
              <a:ext cx="85170" cy="8326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2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549DBB26-4102-8A4C-9E36-6524310DD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13157" y="4652861"/>
              <a:ext cx="287291" cy="373302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3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CDDAA2D9-E8A5-194E-8995-3C233B4BF0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8869" y="3574588"/>
              <a:ext cx="75000" cy="47183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4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FA3774AE-27A4-244E-B083-A8EDCA0EF6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410" y="4026991"/>
              <a:ext cx="71187" cy="174855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B6ED8C5F-70A3-E946-912C-AF64DA3A8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5865" y="3853523"/>
              <a:ext cx="34322" cy="7493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E06E570C-12DE-7149-8DEA-961D105725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4783" y="2926513"/>
              <a:ext cx="72458" cy="54122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7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182CE3BD-C442-7F45-B9CA-6FDE5314C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8699" y="3625934"/>
              <a:ext cx="120763" cy="14987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C0D8E9D-97C9-5741-9090-340132988C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7753" y="2798841"/>
              <a:ext cx="183053" cy="130448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BC42B544-8F2D-0846-96C3-0D1B5E39E9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2250" y="3627322"/>
              <a:ext cx="8898" cy="1942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C3A1C4F4-DDDB-E64E-9F8C-5D4166505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3190184"/>
              <a:ext cx="116950" cy="102693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7949E105-52FD-5046-A31F-9BC1F196A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9530" y="2993125"/>
              <a:ext cx="147459" cy="7077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94975" y="4679229"/>
              <a:ext cx="915263" cy="936725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3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55469E7-E7D1-3348-A69B-4D2A653C613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2673" y="3205449"/>
              <a:ext cx="71187" cy="7493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4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B3DEFFCF-AAB1-3642-91C5-DE4810571B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58921" y="4998409"/>
              <a:ext cx="352122" cy="859011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7521A6CE-6F98-0B44-99C1-A63D4DE0F1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65293" y="4498823"/>
              <a:ext cx="286019" cy="389955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CB02392A-E2CE-3148-85AE-BCEA1D57B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9189" y="3170755"/>
              <a:ext cx="10170" cy="5551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7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75732-6B7B-B545-80F9-EE99846E28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6221" y="3324795"/>
              <a:ext cx="476699" cy="513464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8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28186DFD-64FA-474B-8D41-2F04044AE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5295" y="3170755"/>
              <a:ext cx="47034" cy="8604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AA1E7552-2310-4D44-AD53-799CC30727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70803" y="5006735"/>
              <a:ext cx="366105" cy="359425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0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977D33B-3CDB-3345-B37D-D72D2A34168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2930" y="3285938"/>
              <a:ext cx="292376" cy="25950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181" name="Group 340">
              <a:extLst>
                <a:ext uri="{FF2B5EF4-FFF2-40B4-BE49-F238E27FC236}">
                  <a16:creationId xmlns:a16="http://schemas.microsoft.com/office/drawing/2014/main" id="{C58EA603-7266-DE48-8A2A-92C7FADF26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07667" y="3072226"/>
              <a:ext cx="88984" cy="119346"/>
              <a:chOff x="2184" y="1242"/>
              <a:chExt cx="257" cy="316"/>
            </a:xfrm>
            <a:grpFill/>
          </p:grpSpPr>
          <p:sp>
            <p:nvSpPr>
              <p:cNvPr id="18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69AE035-7B4F-164B-A9A9-E7FD0AFED4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A648D03-405F-FB4A-9FD3-D4DDC98B11C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2" name="Freeform 8">
              <a:extLst>
                <a:ext uri="{FF2B5EF4-FFF2-40B4-BE49-F238E27FC236}">
                  <a16:creationId xmlns:a16="http://schemas.microsoft.com/office/drawing/2014/main" id="{FD68E863-4757-814A-8DFE-A41707FF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042" y="3717611"/>
              <a:ext cx="388418" cy="415994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9">
              <a:extLst>
                <a:ext uri="{FF2B5EF4-FFF2-40B4-BE49-F238E27FC236}">
                  <a16:creationId xmlns:a16="http://schemas.microsoft.com/office/drawing/2014/main" id="{8B0634EF-FC5F-C744-8278-7C6F7A41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011" y="4027375"/>
              <a:ext cx="279661" cy="255310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560D582-DEA8-E74C-B2B7-4A0667BA1F5A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3926763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Europe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CD78BE-D550-3246-8FEB-D416FAC204D3}"/>
              </a:ext>
            </a:extLst>
          </p:cNvPr>
          <p:cNvGrpSpPr/>
          <p:nvPr userDrawn="1"/>
        </p:nvGrpSpPr>
        <p:grpSpPr>
          <a:xfrm>
            <a:off x="5188350" y="889056"/>
            <a:ext cx="7003650" cy="5968944"/>
            <a:chOff x="2140350" y="889056"/>
            <a:chExt cx="7003650" cy="5968944"/>
          </a:xfrm>
          <a:solidFill>
            <a:srgbClr val="09417A"/>
          </a:solidFill>
        </p:grpSpPr>
        <p:sp>
          <p:nvSpPr>
            <p:cNvPr id="24" name="Schweiz" descr="© INSCALE GmbH, 05.05.2010&#10;http://www.presentationload.com/">
              <a:extLst>
                <a:ext uri="{FF2B5EF4-FFF2-40B4-BE49-F238E27FC236}">
                  <a16:creationId xmlns:a16="http://schemas.microsoft.com/office/drawing/2014/main" id="{0535A40E-70FD-D749-B162-DC04351056F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795" y="4950314"/>
              <a:ext cx="496724" cy="308596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Niederlande" descr="© INSCALE GmbH, 05.05.2010&#10;http://www.presentationload.com/">
              <a:extLst>
                <a:ext uri="{FF2B5EF4-FFF2-40B4-BE49-F238E27FC236}">
                  <a16:creationId xmlns:a16="http://schemas.microsoft.com/office/drawing/2014/main" id="{0DCA152D-5DDD-B948-BCED-F5B1025605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99514" y="4054230"/>
              <a:ext cx="401010" cy="420814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Belgien" descr="© INSCALE GmbH, 05.05.2010&#10;http://www.presentationload.com/">
              <a:extLst>
                <a:ext uri="{FF2B5EF4-FFF2-40B4-BE49-F238E27FC236}">
                  <a16:creationId xmlns:a16="http://schemas.microsoft.com/office/drawing/2014/main" id="{2172DDBA-DAA5-E949-A629-02FCD0C8C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8652" y="4354575"/>
              <a:ext cx="384507" cy="316847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Luxemburg" descr="© INSCALE GmbH, 05.05.2010&#10;http://www.presentationload.com/">
              <a:extLst>
                <a:ext uri="{FF2B5EF4-FFF2-40B4-BE49-F238E27FC236}">
                  <a16:creationId xmlns:a16="http://schemas.microsoft.com/office/drawing/2014/main" id="{78A776CD-D227-524B-ADEE-E471815288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5598" y="4570757"/>
              <a:ext cx="84162" cy="118817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Däne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C6F5416-35DB-0D4D-A2D2-08A7E76DCB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539" y="3400732"/>
              <a:ext cx="640296" cy="488473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Öster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285B4E3B-DD89-CA4E-81BB-B697A13BA9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1953" y="4758886"/>
              <a:ext cx="820172" cy="407611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Vereinigtes König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C9A0A0F0-FBC1-DF4A-8C0E-F29B4DB0CB3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20917" y="2849549"/>
              <a:ext cx="853178" cy="1597439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I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3F1B05C-8F35-D049-B939-DC4F4DDD4F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94169" y="3570708"/>
              <a:ext cx="486822" cy="552833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51C3C924-F01B-9441-898E-A9937FDC4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350" y="5564207"/>
              <a:ext cx="483523" cy="802020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Zypern" descr="© INSCALE GmbH, 05.05.2010&#10;http://www.presentationload.com/">
              <a:extLst>
                <a:ext uri="{FF2B5EF4-FFF2-40B4-BE49-F238E27FC236}">
                  <a16:creationId xmlns:a16="http://schemas.microsoft.com/office/drawing/2014/main" id="{B4366EEE-FEB3-8048-B035-64847330C6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0649" y="6377778"/>
              <a:ext cx="267340" cy="255788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Bosnien und Herzegowina" descr="© INSCALE GmbH, 05.05.2010&#10;http://www.presentationload.com/">
              <a:extLst>
                <a:ext uri="{FF2B5EF4-FFF2-40B4-BE49-F238E27FC236}">
                  <a16:creationId xmlns:a16="http://schemas.microsoft.com/office/drawing/2014/main" id="{B471F671-CFAF-FF41-AAF4-11A16BD358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5156" y="5323271"/>
              <a:ext cx="473621" cy="405961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Alb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57A54FD-ABAE-6B45-8616-11F2359A57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3924" y="5696227"/>
              <a:ext cx="240936" cy="457119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Mazedo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20BD5DB-52E3-E246-A72E-7B5EEE4E1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4095" y="5706128"/>
              <a:ext cx="301996" cy="250837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Norwegen" descr="© INSCALE GmbH, 05.05.2010&#10;http://www.presentationload.com/">
              <a:extLst>
                <a:ext uri="{FF2B5EF4-FFF2-40B4-BE49-F238E27FC236}">
                  <a16:creationId xmlns:a16="http://schemas.microsoft.com/office/drawing/2014/main" id="{629EDFA3-5E72-A84A-A5CA-5AA9A68875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85008" y="1263662"/>
              <a:ext cx="1648597" cy="2099114"/>
            </a:xfrm>
            <a:custGeom>
              <a:avLst/>
              <a:gdLst/>
              <a:ahLst/>
              <a:cxnLst>
                <a:cxn ang="0">
                  <a:pos x="626" y="61"/>
                </a:cxn>
                <a:cxn ang="0">
                  <a:pos x="605" y="40"/>
                </a:cxn>
                <a:cxn ang="0">
                  <a:pos x="586" y="22"/>
                </a:cxn>
                <a:cxn ang="0">
                  <a:pos x="547" y="55"/>
                </a:cxn>
                <a:cxn ang="0">
                  <a:pos x="532" y="46"/>
                </a:cxn>
                <a:cxn ang="0">
                  <a:pos x="465" y="77"/>
                </a:cxn>
                <a:cxn ang="0">
                  <a:pos x="445" y="116"/>
                </a:cxn>
                <a:cxn ang="0">
                  <a:pos x="410" y="132"/>
                </a:cxn>
                <a:cxn ang="0">
                  <a:pos x="380" y="181"/>
                </a:cxn>
                <a:cxn ang="0">
                  <a:pos x="374" y="209"/>
                </a:cxn>
                <a:cxn ang="0">
                  <a:pos x="330" y="227"/>
                </a:cxn>
                <a:cxn ang="0">
                  <a:pos x="331" y="254"/>
                </a:cxn>
                <a:cxn ang="0">
                  <a:pos x="331" y="290"/>
                </a:cxn>
                <a:cxn ang="0">
                  <a:pos x="275" y="339"/>
                </a:cxn>
                <a:cxn ang="0">
                  <a:pos x="261" y="381"/>
                </a:cxn>
                <a:cxn ang="0">
                  <a:pos x="252" y="428"/>
                </a:cxn>
                <a:cxn ang="0">
                  <a:pos x="198" y="471"/>
                </a:cxn>
                <a:cxn ang="0">
                  <a:pos x="224" y="509"/>
                </a:cxn>
                <a:cxn ang="0">
                  <a:pos x="141" y="534"/>
                </a:cxn>
                <a:cxn ang="0">
                  <a:pos x="122" y="571"/>
                </a:cxn>
                <a:cxn ang="0">
                  <a:pos x="96" y="584"/>
                </a:cxn>
                <a:cxn ang="0">
                  <a:pos x="69" y="595"/>
                </a:cxn>
                <a:cxn ang="0">
                  <a:pos x="26" y="611"/>
                </a:cxn>
                <a:cxn ang="0">
                  <a:pos x="23" y="650"/>
                </a:cxn>
                <a:cxn ang="0">
                  <a:pos x="83" y="675"/>
                </a:cxn>
                <a:cxn ang="0">
                  <a:pos x="74" y="678"/>
                </a:cxn>
                <a:cxn ang="0">
                  <a:pos x="38" y="704"/>
                </a:cxn>
                <a:cxn ang="0">
                  <a:pos x="55" y="723"/>
                </a:cxn>
                <a:cxn ang="0">
                  <a:pos x="42" y="766"/>
                </a:cxn>
                <a:cxn ang="0">
                  <a:pos x="26" y="785"/>
                </a:cxn>
                <a:cxn ang="0">
                  <a:pos x="34" y="813"/>
                </a:cxn>
                <a:cxn ang="0">
                  <a:pos x="65" y="873"/>
                </a:cxn>
                <a:cxn ang="0">
                  <a:pos x="182" y="789"/>
                </a:cxn>
                <a:cxn ang="0">
                  <a:pos x="230" y="815"/>
                </a:cxn>
                <a:cxn ang="0">
                  <a:pos x="305" y="482"/>
                </a:cxn>
                <a:cxn ang="0">
                  <a:pos x="443" y="205"/>
                </a:cxn>
                <a:cxn ang="0">
                  <a:pos x="595" y="78"/>
                </a:cxn>
                <a:cxn ang="0">
                  <a:pos x="18" y="803"/>
                </a:cxn>
                <a:cxn ang="0">
                  <a:pos x="10" y="767"/>
                </a:cxn>
                <a:cxn ang="0">
                  <a:pos x="14" y="743"/>
                </a:cxn>
                <a:cxn ang="0">
                  <a:pos x="10" y="711"/>
                </a:cxn>
                <a:cxn ang="0">
                  <a:pos x="8" y="699"/>
                </a:cxn>
                <a:cxn ang="0">
                  <a:pos x="7" y="680"/>
                </a:cxn>
                <a:cxn ang="0">
                  <a:pos x="15" y="632"/>
                </a:cxn>
                <a:cxn ang="0">
                  <a:pos x="44" y="600"/>
                </a:cxn>
                <a:cxn ang="0">
                  <a:pos x="58" y="582"/>
                </a:cxn>
                <a:cxn ang="0">
                  <a:pos x="106" y="551"/>
                </a:cxn>
                <a:cxn ang="0">
                  <a:pos x="123" y="537"/>
                </a:cxn>
                <a:cxn ang="0">
                  <a:pos x="162" y="515"/>
                </a:cxn>
                <a:cxn ang="0">
                  <a:pos x="259" y="367"/>
                </a:cxn>
                <a:cxn ang="0">
                  <a:pos x="264" y="359"/>
                </a:cxn>
                <a:cxn ang="0">
                  <a:pos x="301" y="294"/>
                </a:cxn>
                <a:cxn ang="0">
                  <a:pos x="351" y="208"/>
                </a:cxn>
                <a:cxn ang="0">
                  <a:pos x="296" y="220"/>
                </a:cxn>
                <a:cxn ang="0">
                  <a:pos x="362" y="187"/>
                </a:cxn>
                <a:cxn ang="0">
                  <a:pos x="322" y="218"/>
                </a:cxn>
                <a:cxn ang="0">
                  <a:pos x="320" y="183"/>
                </a:cxn>
                <a:cxn ang="0">
                  <a:pos x="367" y="152"/>
                </a:cxn>
                <a:cxn ang="0">
                  <a:pos x="411" y="97"/>
                </a:cxn>
                <a:cxn ang="0">
                  <a:pos x="407" y="97"/>
                </a:cxn>
                <a:cxn ang="0">
                  <a:pos x="492" y="40"/>
                </a:cxn>
                <a:cxn ang="0">
                  <a:pos x="514" y="56"/>
                </a:cxn>
                <a:cxn ang="0">
                  <a:pos x="538" y="19"/>
                </a:cxn>
              </a:cxnLst>
              <a:rect l="0" t="0" r="r" b="b"/>
              <a:pathLst>
                <a:path w="690" h="880">
                  <a:moveTo>
                    <a:pt x="685" y="71"/>
                  </a:moveTo>
                  <a:cubicBezTo>
                    <a:pt x="685" y="68"/>
                    <a:pt x="685" y="68"/>
                    <a:pt x="685" y="68"/>
                  </a:cubicBezTo>
                  <a:cubicBezTo>
                    <a:pt x="681" y="68"/>
                    <a:pt x="681" y="68"/>
                    <a:pt x="681" y="68"/>
                  </a:cubicBezTo>
                  <a:cubicBezTo>
                    <a:pt x="681" y="68"/>
                    <a:pt x="681" y="66"/>
                    <a:pt x="678" y="66"/>
                  </a:cubicBezTo>
                  <a:cubicBezTo>
                    <a:pt x="673" y="66"/>
                    <a:pt x="673" y="66"/>
                    <a:pt x="673" y="66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3" y="76"/>
                    <a:pt x="673" y="76"/>
                    <a:pt x="673" y="76"/>
                  </a:cubicBezTo>
                  <a:cubicBezTo>
                    <a:pt x="673" y="72"/>
                    <a:pt x="673" y="72"/>
                    <a:pt x="673" y="72"/>
                  </a:cubicBezTo>
                  <a:cubicBezTo>
                    <a:pt x="668" y="64"/>
                    <a:pt x="668" y="64"/>
                    <a:pt x="668" y="64"/>
                  </a:cubicBezTo>
                  <a:cubicBezTo>
                    <a:pt x="666" y="64"/>
                    <a:pt x="666" y="64"/>
                    <a:pt x="666" y="64"/>
                  </a:cubicBezTo>
                  <a:cubicBezTo>
                    <a:pt x="668" y="72"/>
                    <a:pt x="668" y="72"/>
                    <a:pt x="668" y="72"/>
                  </a:cubicBezTo>
                  <a:cubicBezTo>
                    <a:pt x="666" y="76"/>
                    <a:pt x="666" y="76"/>
                    <a:pt x="666" y="76"/>
                  </a:cubicBezTo>
                  <a:cubicBezTo>
                    <a:pt x="664" y="73"/>
                    <a:pt x="664" y="73"/>
                    <a:pt x="664" y="73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59" y="77"/>
                    <a:pt x="659" y="77"/>
                    <a:pt x="659" y="77"/>
                  </a:cubicBezTo>
                  <a:cubicBezTo>
                    <a:pt x="659" y="77"/>
                    <a:pt x="656" y="81"/>
                    <a:pt x="655" y="81"/>
                  </a:cubicBezTo>
                  <a:cubicBezTo>
                    <a:pt x="654" y="80"/>
                    <a:pt x="655" y="77"/>
                    <a:pt x="656" y="75"/>
                  </a:cubicBezTo>
                  <a:cubicBezTo>
                    <a:pt x="657" y="74"/>
                    <a:pt x="657" y="67"/>
                    <a:pt x="654" y="66"/>
                  </a:cubicBezTo>
                  <a:cubicBezTo>
                    <a:pt x="652" y="64"/>
                    <a:pt x="649" y="71"/>
                    <a:pt x="649" y="71"/>
                  </a:cubicBezTo>
                  <a:cubicBezTo>
                    <a:pt x="647" y="71"/>
                    <a:pt x="647" y="71"/>
                    <a:pt x="647" y="71"/>
                  </a:cubicBezTo>
                  <a:cubicBezTo>
                    <a:pt x="647" y="71"/>
                    <a:pt x="653" y="64"/>
                    <a:pt x="649" y="62"/>
                  </a:cubicBezTo>
                  <a:cubicBezTo>
                    <a:pt x="645" y="59"/>
                    <a:pt x="641" y="62"/>
                    <a:pt x="641" y="62"/>
                  </a:cubicBezTo>
                  <a:cubicBezTo>
                    <a:pt x="637" y="59"/>
                    <a:pt x="637" y="59"/>
                    <a:pt x="637" y="59"/>
                  </a:cubicBezTo>
                  <a:cubicBezTo>
                    <a:pt x="633" y="61"/>
                    <a:pt x="633" y="61"/>
                    <a:pt x="633" y="61"/>
                  </a:cubicBezTo>
                  <a:cubicBezTo>
                    <a:pt x="632" y="59"/>
                    <a:pt x="632" y="59"/>
                    <a:pt x="632" y="59"/>
                  </a:cubicBezTo>
                  <a:cubicBezTo>
                    <a:pt x="632" y="59"/>
                    <a:pt x="629" y="62"/>
                    <a:pt x="626" y="61"/>
                  </a:cubicBezTo>
                  <a:cubicBezTo>
                    <a:pt x="624" y="60"/>
                    <a:pt x="626" y="58"/>
                    <a:pt x="626" y="58"/>
                  </a:cubicBezTo>
                  <a:cubicBezTo>
                    <a:pt x="626" y="57"/>
                    <a:pt x="624" y="56"/>
                    <a:pt x="625" y="53"/>
                  </a:cubicBezTo>
                  <a:cubicBezTo>
                    <a:pt x="625" y="51"/>
                    <a:pt x="646" y="57"/>
                    <a:pt x="646" y="57"/>
                  </a:cubicBezTo>
                  <a:cubicBezTo>
                    <a:pt x="646" y="57"/>
                    <a:pt x="655" y="57"/>
                    <a:pt x="662" y="52"/>
                  </a:cubicBezTo>
                  <a:cubicBezTo>
                    <a:pt x="668" y="47"/>
                    <a:pt x="666" y="41"/>
                    <a:pt x="666" y="41"/>
                  </a:cubicBezTo>
                  <a:cubicBezTo>
                    <a:pt x="666" y="41"/>
                    <a:pt x="678" y="35"/>
                    <a:pt x="677" y="30"/>
                  </a:cubicBezTo>
                  <a:cubicBezTo>
                    <a:pt x="675" y="26"/>
                    <a:pt x="667" y="28"/>
                    <a:pt x="667" y="28"/>
                  </a:cubicBezTo>
                  <a:cubicBezTo>
                    <a:pt x="667" y="28"/>
                    <a:pt x="664" y="24"/>
                    <a:pt x="661" y="24"/>
                  </a:cubicBezTo>
                  <a:cubicBezTo>
                    <a:pt x="656" y="24"/>
                    <a:pt x="652" y="27"/>
                    <a:pt x="652" y="27"/>
                  </a:cubicBezTo>
                  <a:cubicBezTo>
                    <a:pt x="655" y="19"/>
                    <a:pt x="655" y="19"/>
                    <a:pt x="655" y="19"/>
                  </a:cubicBezTo>
                  <a:cubicBezTo>
                    <a:pt x="651" y="19"/>
                    <a:pt x="651" y="19"/>
                    <a:pt x="651" y="19"/>
                  </a:cubicBezTo>
                  <a:cubicBezTo>
                    <a:pt x="651" y="19"/>
                    <a:pt x="652" y="16"/>
                    <a:pt x="648" y="16"/>
                  </a:cubicBezTo>
                  <a:cubicBezTo>
                    <a:pt x="644" y="15"/>
                    <a:pt x="645" y="21"/>
                    <a:pt x="642" y="21"/>
                  </a:cubicBezTo>
                  <a:cubicBezTo>
                    <a:pt x="640" y="22"/>
                    <a:pt x="642" y="16"/>
                    <a:pt x="640" y="16"/>
                  </a:cubicBezTo>
                  <a:cubicBezTo>
                    <a:pt x="639" y="16"/>
                    <a:pt x="632" y="22"/>
                    <a:pt x="632" y="22"/>
                  </a:cubicBezTo>
                  <a:cubicBezTo>
                    <a:pt x="632" y="15"/>
                    <a:pt x="632" y="15"/>
                    <a:pt x="632" y="15"/>
                  </a:cubicBezTo>
                  <a:cubicBezTo>
                    <a:pt x="632" y="15"/>
                    <a:pt x="629" y="10"/>
                    <a:pt x="622" y="11"/>
                  </a:cubicBezTo>
                  <a:cubicBezTo>
                    <a:pt x="615" y="11"/>
                    <a:pt x="616" y="22"/>
                    <a:pt x="616" y="22"/>
                  </a:cubicBezTo>
                  <a:cubicBezTo>
                    <a:pt x="617" y="25"/>
                    <a:pt x="617" y="25"/>
                    <a:pt x="617" y="25"/>
                  </a:cubicBezTo>
                  <a:cubicBezTo>
                    <a:pt x="616" y="36"/>
                    <a:pt x="616" y="36"/>
                    <a:pt x="616" y="36"/>
                  </a:cubicBezTo>
                  <a:cubicBezTo>
                    <a:pt x="619" y="36"/>
                    <a:pt x="619" y="36"/>
                    <a:pt x="619" y="36"/>
                  </a:cubicBezTo>
                  <a:cubicBezTo>
                    <a:pt x="619" y="39"/>
                    <a:pt x="619" y="39"/>
                    <a:pt x="619" y="39"/>
                  </a:cubicBezTo>
                  <a:cubicBezTo>
                    <a:pt x="614" y="39"/>
                    <a:pt x="614" y="39"/>
                    <a:pt x="614" y="39"/>
                  </a:cubicBezTo>
                  <a:cubicBezTo>
                    <a:pt x="613" y="35"/>
                    <a:pt x="613" y="35"/>
                    <a:pt x="613" y="35"/>
                  </a:cubicBezTo>
                  <a:cubicBezTo>
                    <a:pt x="608" y="40"/>
                    <a:pt x="608" y="40"/>
                    <a:pt x="608" y="40"/>
                  </a:cubicBezTo>
                  <a:cubicBezTo>
                    <a:pt x="605" y="40"/>
                    <a:pt x="605" y="40"/>
                    <a:pt x="605" y="40"/>
                  </a:cubicBezTo>
                  <a:cubicBezTo>
                    <a:pt x="605" y="42"/>
                    <a:pt x="605" y="42"/>
                    <a:pt x="605" y="42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603" y="37"/>
                    <a:pt x="606" y="34"/>
                    <a:pt x="608" y="33"/>
                  </a:cubicBezTo>
                  <a:cubicBezTo>
                    <a:pt x="610" y="31"/>
                    <a:pt x="612" y="25"/>
                    <a:pt x="610" y="22"/>
                  </a:cubicBezTo>
                  <a:cubicBezTo>
                    <a:pt x="609" y="21"/>
                    <a:pt x="605" y="26"/>
                    <a:pt x="604" y="28"/>
                  </a:cubicBezTo>
                  <a:cubicBezTo>
                    <a:pt x="604" y="30"/>
                    <a:pt x="599" y="32"/>
                    <a:pt x="599" y="32"/>
                  </a:cubicBezTo>
                  <a:cubicBezTo>
                    <a:pt x="599" y="32"/>
                    <a:pt x="601" y="29"/>
                    <a:pt x="602" y="28"/>
                  </a:cubicBezTo>
                  <a:cubicBezTo>
                    <a:pt x="603" y="27"/>
                    <a:pt x="606" y="21"/>
                    <a:pt x="606" y="21"/>
                  </a:cubicBezTo>
                  <a:cubicBezTo>
                    <a:pt x="602" y="21"/>
                    <a:pt x="602" y="21"/>
                    <a:pt x="602" y="21"/>
                  </a:cubicBezTo>
                  <a:cubicBezTo>
                    <a:pt x="601" y="21"/>
                    <a:pt x="598" y="25"/>
                    <a:pt x="598" y="25"/>
                  </a:cubicBezTo>
                  <a:cubicBezTo>
                    <a:pt x="598" y="25"/>
                    <a:pt x="598" y="22"/>
                    <a:pt x="599" y="21"/>
                  </a:cubicBezTo>
                  <a:cubicBezTo>
                    <a:pt x="599" y="19"/>
                    <a:pt x="604" y="19"/>
                    <a:pt x="608" y="18"/>
                  </a:cubicBezTo>
                  <a:cubicBezTo>
                    <a:pt x="613" y="17"/>
                    <a:pt x="612" y="5"/>
                    <a:pt x="612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5"/>
                    <a:pt x="604" y="8"/>
                    <a:pt x="603" y="6"/>
                  </a:cubicBezTo>
                  <a:cubicBezTo>
                    <a:pt x="601" y="6"/>
                    <a:pt x="604" y="2"/>
                    <a:pt x="602" y="1"/>
                  </a:cubicBezTo>
                  <a:cubicBezTo>
                    <a:pt x="600" y="0"/>
                    <a:pt x="598" y="5"/>
                    <a:pt x="596" y="5"/>
                  </a:cubicBezTo>
                  <a:cubicBezTo>
                    <a:pt x="593" y="6"/>
                    <a:pt x="591" y="1"/>
                    <a:pt x="587" y="2"/>
                  </a:cubicBezTo>
                  <a:cubicBezTo>
                    <a:pt x="584" y="4"/>
                    <a:pt x="591" y="11"/>
                    <a:pt x="589" y="11"/>
                  </a:cubicBezTo>
                  <a:cubicBezTo>
                    <a:pt x="587" y="12"/>
                    <a:pt x="585" y="9"/>
                    <a:pt x="581" y="8"/>
                  </a:cubicBezTo>
                  <a:cubicBezTo>
                    <a:pt x="577" y="8"/>
                    <a:pt x="584" y="13"/>
                    <a:pt x="584" y="13"/>
                  </a:cubicBezTo>
                  <a:cubicBezTo>
                    <a:pt x="581" y="14"/>
                    <a:pt x="581" y="14"/>
                    <a:pt x="581" y="14"/>
                  </a:cubicBezTo>
                  <a:cubicBezTo>
                    <a:pt x="583" y="17"/>
                    <a:pt x="583" y="17"/>
                    <a:pt x="583" y="17"/>
                  </a:cubicBezTo>
                  <a:cubicBezTo>
                    <a:pt x="586" y="17"/>
                    <a:pt x="586" y="17"/>
                    <a:pt x="586" y="17"/>
                  </a:cubicBezTo>
                  <a:cubicBezTo>
                    <a:pt x="593" y="21"/>
                    <a:pt x="593" y="21"/>
                    <a:pt x="593" y="21"/>
                  </a:cubicBezTo>
                  <a:cubicBezTo>
                    <a:pt x="586" y="22"/>
                    <a:pt x="586" y="22"/>
                    <a:pt x="586" y="22"/>
                  </a:cubicBezTo>
                  <a:cubicBezTo>
                    <a:pt x="587" y="27"/>
                    <a:pt x="587" y="27"/>
                    <a:pt x="587" y="27"/>
                  </a:cubicBezTo>
                  <a:cubicBezTo>
                    <a:pt x="583" y="27"/>
                    <a:pt x="583" y="27"/>
                    <a:pt x="583" y="27"/>
                  </a:cubicBezTo>
                  <a:cubicBezTo>
                    <a:pt x="583" y="30"/>
                    <a:pt x="583" y="30"/>
                    <a:pt x="583" y="30"/>
                  </a:cubicBezTo>
                  <a:cubicBezTo>
                    <a:pt x="585" y="31"/>
                    <a:pt x="585" y="31"/>
                    <a:pt x="585" y="31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7" y="36"/>
                    <a:pt x="587" y="36"/>
                    <a:pt x="587" y="36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87" y="45"/>
                    <a:pt x="587" y="45"/>
                    <a:pt x="587" y="45"/>
                  </a:cubicBezTo>
                  <a:cubicBezTo>
                    <a:pt x="580" y="45"/>
                    <a:pt x="580" y="45"/>
                    <a:pt x="580" y="45"/>
                  </a:cubicBezTo>
                  <a:cubicBezTo>
                    <a:pt x="576" y="55"/>
                    <a:pt x="576" y="55"/>
                    <a:pt x="576" y="55"/>
                  </a:cubicBezTo>
                  <a:cubicBezTo>
                    <a:pt x="574" y="35"/>
                    <a:pt x="574" y="35"/>
                    <a:pt x="574" y="35"/>
                  </a:cubicBezTo>
                  <a:cubicBezTo>
                    <a:pt x="569" y="37"/>
                    <a:pt x="569" y="37"/>
                    <a:pt x="569" y="37"/>
                  </a:cubicBezTo>
                  <a:cubicBezTo>
                    <a:pt x="575" y="26"/>
                    <a:pt x="575" y="26"/>
                    <a:pt x="575" y="26"/>
                  </a:cubicBezTo>
                  <a:cubicBezTo>
                    <a:pt x="573" y="24"/>
                    <a:pt x="573" y="24"/>
                    <a:pt x="573" y="24"/>
                  </a:cubicBezTo>
                  <a:cubicBezTo>
                    <a:pt x="573" y="24"/>
                    <a:pt x="574" y="17"/>
                    <a:pt x="569" y="17"/>
                  </a:cubicBezTo>
                  <a:cubicBezTo>
                    <a:pt x="564" y="18"/>
                    <a:pt x="564" y="32"/>
                    <a:pt x="564" y="32"/>
                  </a:cubicBezTo>
                  <a:cubicBezTo>
                    <a:pt x="560" y="33"/>
                    <a:pt x="560" y="33"/>
                    <a:pt x="560" y="33"/>
                  </a:cubicBezTo>
                  <a:cubicBezTo>
                    <a:pt x="560" y="33"/>
                    <a:pt x="561" y="41"/>
                    <a:pt x="558" y="45"/>
                  </a:cubicBezTo>
                  <a:cubicBezTo>
                    <a:pt x="556" y="50"/>
                    <a:pt x="550" y="60"/>
                    <a:pt x="550" y="60"/>
                  </a:cubicBezTo>
                  <a:cubicBezTo>
                    <a:pt x="550" y="60"/>
                    <a:pt x="555" y="62"/>
                    <a:pt x="554" y="65"/>
                  </a:cubicBezTo>
                  <a:cubicBezTo>
                    <a:pt x="553" y="68"/>
                    <a:pt x="551" y="73"/>
                    <a:pt x="551" y="73"/>
                  </a:cubicBezTo>
                  <a:cubicBezTo>
                    <a:pt x="549" y="78"/>
                    <a:pt x="549" y="78"/>
                    <a:pt x="549" y="78"/>
                  </a:cubicBezTo>
                  <a:cubicBezTo>
                    <a:pt x="546" y="74"/>
                    <a:pt x="546" y="74"/>
                    <a:pt x="546" y="74"/>
                  </a:cubicBezTo>
                  <a:cubicBezTo>
                    <a:pt x="544" y="77"/>
                    <a:pt x="544" y="77"/>
                    <a:pt x="544" y="77"/>
                  </a:cubicBezTo>
                  <a:cubicBezTo>
                    <a:pt x="541" y="71"/>
                    <a:pt x="541" y="71"/>
                    <a:pt x="541" y="71"/>
                  </a:cubicBezTo>
                  <a:cubicBezTo>
                    <a:pt x="547" y="55"/>
                    <a:pt x="547" y="55"/>
                    <a:pt x="547" y="55"/>
                  </a:cubicBezTo>
                  <a:cubicBezTo>
                    <a:pt x="542" y="55"/>
                    <a:pt x="542" y="55"/>
                    <a:pt x="542" y="55"/>
                  </a:cubicBezTo>
                  <a:cubicBezTo>
                    <a:pt x="541" y="52"/>
                    <a:pt x="541" y="52"/>
                    <a:pt x="541" y="52"/>
                  </a:cubicBezTo>
                  <a:cubicBezTo>
                    <a:pt x="553" y="34"/>
                    <a:pt x="553" y="34"/>
                    <a:pt x="553" y="34"/>
                  </a:cubicBezTo>
                  <a:cubicBezTo>
                    <a:pt x="551" y="32"/>
                    <a:pt x="551" y="32"/>
                    <a:pt x="551" y="32"/>
                  </a:cubicBezTo>
                  <a:cubicBezTo>
                    <a:pt x="551" y="32"/>
                    <a:pt x="556" y="25"/>
                    <a:pt x="554" y="24"/>
                  </a:cubicBezTo>
                  <a:cubicBezTo>
                    <a:pt x="552" y="22"/>
                    <a:pt x="546" y="29"/>
                    <a:pt x="546" y="29"/>
                  </a:cubicBezTo>
                  <a:cubicBezTo>
                    <a:pt x="546" y="22"/>
                    <a:pt x="546" y="22"/>
                    <a:pt x="546" y="22"/>
                  </a:cubicBezTo>
                  <a:cubicBezTo>
                    <a:pt x="540" y="22"/>
                    <a:pt x="540" y="22"/>
                    <a:pt x="540" y="22"/>
                  </a:cubicBezTo>
                  <a:cubicBezTo>
                    <a:pt x="542" y="26"/>
                    <a:pt x="542" y="26"/>
                    <a:pt x="542" y="26"/>
                  </a:cubicBezTo>
                  <a:cubicBezTo>
                    <a:pt x="541" y="31"/>
                    <a:pt x="541" y="31"/>
                    <a:pt x="541" y="31"/>
                  </a:cubicBezTo>
                  <a:cubicBezTo>
                    <a:pt x="537" y="26"/>
                    <a:pt x="537" y="26"/>
                    <a:pt x="537" y="26"/>
                  </a:cubicBezTo>
                  <a:cubicBezTo>
                    <a:pt x="534" y="29"/>
                    <a:pt x="534" y="29"/>
                    <a:pt x="534" y="29"/>
                  </a:cubicBezTo>
                  <a:cubicBezTo>
                    <a:pt x="535" y="24"/>
                    <a:pt x="535" y="24"/>
                    <a:pt x="535" y="24"/>
                  </a:cubicBezTo>
                  <a:cubicBezTo>
                    <a:pt x="534" y="22"/>
                    <a:pt x="534" y="22"/>
                    <a:pt x="534" y="22"/>
                  </a:cubicBezTo>
                  <a:cubicBezTo>
                    <a:pt x="532" y="26"/>
                    <a:pt x="532" y="26"/>
                    <a:pt x="532" y="26"/>
                  </a:cubicBezTo>
                  <a:cubicBezTo>
                    <a:pt x="525" y="21"/>
                    <a:pt x="525" y="21"/>
                    <a:pt x="525" y="21"/>
                  </a:cubicBezTo>
                  <a:cubicBezTo>
                    <a:pt x="523" y="27"/>
                    <a:pt x="523" y="27"/>
                    <a:pt x="523" y="27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6" y="31"/>
                    <a:pt x="526" y="31"/>
                    <a:pt x="526" y="31"/>
                  </a:cubicBezTo>
                  <a:cubicBezTo>
                    <a:pt x="526" y="35"/>
                    <a:pt x="526" y="35"/>
                    <a:pt x="526" y="35"/>
                  </a:cubicBezTo>
                  <a:cubicBezTo>
                    <a:pt x="523" y="34"/>
                    <a:pt x="523" y="34"/>
                    <a:pt x="523" y="3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9"/>
                    <a:pt x="519" y="39"/>
                    <a:pt x="519" y="39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46"/>
                    <a:pt x="532" y="46"/>
                    <a:pt x="532" y="46"/>
                  </a:cubicBezTo>
                  <a:cubicBezTo>
                    <a:pt x="532" y="48"/>
                    <a:pt x="532" y="48"/>
                    <a:pt x="532" y="48"/>
                  </a:cubicBezTo>
                  <a:cubicBezTo>
                    <a:pt x="532" y="48"/>
                    <a:pt x="530" y="46"/>
                    <a:pt x="527" y="45"/>
                  </a:cubicBezTo>
                  <a:cubicBezTo>
                    <a:pt x="525" y="43"/>
                    <a:pt x="521" y="43"/>
                    <a:pt x="521" y="43"/>
                  </a:cubicBezTo>
                  <a:cubicBezTo>
                    <a:pt x="520" y="53"/>
                    <a:pt x="520" y="53"/>
                    <a:pt x="520" y="53"/>
                  </a:cubicBezTo>
                  <a:cubicBezTo>
                    <a:pt x="522" y="52"/>
                    <a:pt x="522" y="52"/>
                    <a:pt x="522" y="52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25" y="58"/>
                    <a:pt x="522" y="57"/>
                    <a:pt x="519" y="56"/>
                  </a:cubicBezTo>
                  <a:cubicBezTo>
                    <a:pt x="515" y="56"/>
                    <a:pt x="514" y="59"/>
                    <a:pt x="514" y="59"/>
                  </a:cubicBezTo>
                  <a:cubicBezTo>
                    <a:pt x="505" y="75"/>
                    <a:pt x="505" y="75"/>
                    <a:pt x="505" y="75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4" y="78"/>
                    <a:pt x="504" y="78"/>
                    <a:pt x="504" y="78"/>
                  </a:cubicBezTo>
                  <a:cubicBezTo>
                    <a:pt x="508" y="83"/>
                    <a:pt x="508" y="83"/>
                    <a:pt x="508" y="83"/>
                  </a:cubicBezTo>
                  <a:cubicBezTo>
                    <a:pt x="505" y="85"/>
                    <a:pt x="505" y="85"/>
                    <a:pt x="505" y="85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04" y="92"/>
                    <a:pt x="504" y="92"/>
                    <a:pt x="504" y="92"/>
                  </a:cubicBezTo>
                  <a:cubicBezTo>
                    <a:pt x="499" y="83"/>
                    <a:pt x="499" y="83"/>
                    <a:pt x="499" y="83"/>
                  </a:cubicBezTo>
                  <a:cubicBezTo>
                    <a:pt x="486" y="91"/>
                    <a:pt x="486" y="91"/>
                    <a:pt x="486" y="91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6" y="89"/>
                    <a:pt x="497" y="83"/>
                    <a:pt x="498" y="79"/>
                  </a:cubicBezTo>
                  <a:cubicBezTo>
                    <a:pt x="499" y="76"/>
                    <a:pt x="489" y="78"/>
                    <a:pt x="489" y="78"/>
                  </a:cubicBezTo>
                  <a:cubicBezTo>
                    <a:pt x="489" y="78"/>
                    <a:pt x="486" y="75"/>
                    <a:pt x="484" y="78"/>
                  </a:cubicBezTo>
                  <a:cubicBezTo>
                    <a:pt x="481" y="81"/>
                    <a:pt x="487" y="84"/>
                    <a:pt x="487" y="84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1" y="76"/>
                    <a:pt x="476" y="76"/>
                  </a:cubicBezTo>
                  <a:cubicBezTo>
                    <a:pt x="472" y="76"/>
                    <a:pt x="472" y="82"/>
                    <a:pt x="472" y="82"/>
                  </a:cubicBezTo>
                  <a:cubicBezTo>
                    <a:pt x="465" y="77"/>
                    <a:pt x="465" y="77"/>
                    <a:pt x="465" y="77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464" y="80"/>
                    <a:pt x="460" y="79"/>
                    <a:pt x="458" y="82"/>
                  </a:cubicBezTo>
                  <a:cubicBezTo>
                    <a:pt x="456" y="87"/>
                    <a:pt x="465" y="87"/>
                    <a:pt x="465" y="87"/>
                  </a:cubicBezTo>
                  <a:cubicBezTo>
                    <a:pt x="462" y="90"/>
                    <a:pt x="462" y="90"/>
                    <a:pt x="462" y="90"/>
                  </a:cubicBezTo>
                  <a:cubicBezTo>
                    <a:pt x="472" y="92"/>
                    <a:pt x="472" y="92"/>
                    <a:pt x="472" y="92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3" y="94"/>
                    <a:pt x="473" y="94"/>
                    <a:pt x="473" y="94"/>
                  </a:cubicBezTo>
                  <a:cubicBezTo>
                    <a:pt x="474" y="95"/>
                    <a:pt x="474" y="95"/>
                    <a:pt x="474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7"/>
                    <a:pt x="478" y="97"/>
                    <a:pt x="478" y="97"/>
                  </a:cubicBezTo>
                  <a:cubicBezTo>
                    <a:pt x="475" y="97"/>
                    <a:pt x="475" y="97"/>
                    <a:pt x="475" y="97"/>
                  </a:cubicBezTo>
                  <a:cubicBezTo>
                    <a:pt x="478" y="103"/>
                    <a:pt x="478" y="103"/>
                    <a:pt x="478" y="103"/>
                  </a:cubicBezTo>
                  <a:cubicBezTo>
                    <a:pt x="478" y="106"/>
                    <a:pt x="478" y="106"/>
                    <a:pt x="478" y="106"/>
                  </a:cubicBezTo>
                  <a:cubicBezTo>
                    <a:pt x="478" y="106"/>
                    <a:pt x="484" y="110"/>
                    <a:pt x="482" y="111"/>
                  </a:cubicBezTo>
                  <a:cubicBezTo>
                    <a:pt x="479" y="112"/>
                    <a:pt x="474" y="103"/>
                    <a:pt x="474" y="103"/>
                  </a:cubicBezTo>
                  <a:cubicBezTo>
                    <a:pt x="469" y="100"/>
                    <a:pt x="469" y="100"/>
                    <a:pt x="469" y="100"/>
                  </a:cubicBezTo>
                  <a:cubicBezTo>
                    <a:pt x="469" y="100"/>
                    <a:pt x="465" y="94"/>
                    <a:pt x="460" y="94"/>
                  </a:cubicBezTo>
                  <a:cubicBezTo>
                    <a:pt x="457" y="94"/>
                    <a:pt x="459" y="100"/>
                    <a:pt x="459" y="100"/>
                  </a:cubicBezTo>
                  <a:cubicBezTo>
                    <a:pt x="461" y="104"/>
                    <a:pt x="461" y="104"/>
                    <a:pt x="461" y="104"/>
                  </a:cubicBezTo>
                  <a:cubicBezTo>
                    <a:pt x="458" y="106"/>
                    <a:pt x="458" y="106"/>
                    <a:pt x="458" y="106"/>
                  </a:cubicBezTo>
                  <a:cubicBezTo>
                    <a:pt x="456" y="111"/>
                    <a:pt x="456" y="111"/>
                    <a:pt x="456" y="111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57" y="102"/>
                    <a:pt x="457" y="102"/>
                    <a:pt x="457" y="102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1" y="106"/>
                    <a:pt x="451" y="106"/>
                    <a:pt x="451" y="106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448" y="124"/>
                    <a:pt x="448" y="124"/>
                    <a:pt x="448" y="124"/>
                  </a:cubicBezTo>
                  <a:cubicBezTo>
                    <a:pt x="452" y="129"/>
                    <a:pt x="452" y="129"/>
                    <a:pt x="452" y="129"/>
                  </a:cubicBezTo>
                  <a:cubicBezTo>
                    <a:pt x="444" y="126"/>
                    <a:pt x="444" y="126"/>
                    <a:pt x="444" y="126"/>
                  </a:cubicBezTo>
                  <a:cubicBezTo>
                    <a:pt x="442" y="140"/>
                    <a:pt x="442" y="140"/>
                    <a:pt x="442" y="140"/>
                  </a:cubicBezTo>
                  <a:cubicBezTo>
                    <a:pt x="440" y="140"/>
                    <a:pt x="440" y="140"/>
                    <a:pt x="440" y="140"/>
                  </a:cubicBezTo>
                  <a:cubicBezTo>
                    <a:pt x="436" y="147"/>
                    <a:pt x="436" y="147"/>
                    <a:pt x="436" y="147"/>
                  </a:cubicBezTo>
                  <a:cubicBezTo>
                    <a:pt x="434" y="144"/>
                    <a:pt x="434" y="144"/>
                    <a:pt x="434" y="144"/>
                  </a:cubicBezTo>
                  <a:cubicBezTo>
                    <a:pt x="439" y="138"/>
                    <a:pt x="439" y="138"/>
                    <a:pt x="439" y="138"/>
                  </a:cubicBezTo>
                  <a:cubicBezTo>
                    <a:pt x="441" y="129"/>
                    <a:pt x="441" y="129"/>
                    <a:pt x="441" y="129"/>
                  </a:cubicBezTo>
                  <a:cubicBezTo>
                    <a:pt x="440" y="128"/>
                    <a:pt x="440" y="128"/>
                    <a:pt x="440" y="128"/>
                  </a:cubicBezTo>
                  <a:cubicBezTo>
                    <a:pt x="443" y="125"/>
                    <a:pt x="443" y="125"/>
                    <a:pt x="443" y="125"/>
                  </a:cubicBezTo>
                  <a:cubicBezTo>
                    <a:pt x="441" y="120"/>
                    <a:pt x="441" y="120"/>
                    <a:pt x="441" y="120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09"/>
                    <a:pt x="439" y="102"/>
                    <a:pt x="439" y="102"/>
                  </a:cubicBezTo>
                  <a:cubicBezTo>
                    <a:pt x="434" y="106"/>
                    <a:pt x="434" y="106"/>
                    <a:pt x="434" y="106"/>
                  </a:cubicBezTo>
                  <a:cubicBezTo>
                    <a:pt x="434" y="106"/>
                    <a:pt x="435" y="112"/>
                    <a:pt x="432" y="115"/>
                  </a:cubicBezTo>
                  <a:cubicBezTo>
                    <a:pt x="428" y="118"/>
                    <a:pt x="431" y="124"/>
                    <a:pt x="431" y="124"/>
                  </a:cubicBezTo>
                  <a:cubicBezTo>
                    <a:pt x="434" y="126"/>
                    <a:pt x="434" y="126"/>
                    <a:pt x="434" y="126"/>
                  </a:cubicBezTo>
                  <a:cubicBezTo>
                    <a:pt x="429" y="128"/>
                    <a:pt x="429" y="128"/>
                    <a:pt x="429" y="128"/>
                  </a:cubicBezTo>
                  <a:cubicBezTo>
                    <a:pt x="429" y="137"/>
                    <a:pt x="429" y="137"/>
                    <a:pt x="429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7" y="124"/>
                    <a:pt x="427" y="124"/>
                    <a:pt x="427" y="124"/>
                  </a:cubicBezTo>
                  <a:cubicBezTo>
                    <a:pt x="426" y="124"/>
                    <a:pt x="426" y="124"/>
                    <a:pt x="426" y="124"/>
                  </a:cubicBezTo>
                  <a:cubicBezTo>
                    <a:pt x="426" y="113"/>
                    <a:pt x="426" y="113"/>
                    <a:pt x="426" y="113"/>
                  </a:cubicBezTo>
                  <a:cubicBezTo>
                    <a:pt x="426" y="113"/>
                    <a:pt x="421" y="115"/>
                    <a:pt x="413" y="119"/>
                  </a:cubicBezTo>
                  <a:cubicBezTo>
                    <a:pt x="405" y="121"/>
                    <a:pt x="410" y="132"/>
                    <a:pt x="410" y="132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3" y="132"/>
                    <a:pt x="413" y="134"/>
                    <a:pt x="412" y="137"/>
                  </a:cubicBezTo>
                  <a:cubicBezTo>
                    <a:pt x="411" y="139"/>
                    <a:pt x="416" y="142"/>
                    <a:pt x="420" y="142"/>
                  </a:cubicBezTo>
                  <a:cubicBezTo>
                    <a:pt x="424" y="143"/>
                    <a:pt x="424" y="150"/>
                    <a:pt x="424" y="150"/>
                  </a:cubicBezTo>
                  <a:cubicBezTo>
                    <a:pt x="427" y="151"/>
                    <a:pt x="427" y="151"/>
                    <a:pt x="427" y="151"/>
                  </a:cubicBezTo>
                  <a:cubicBezTo>
                    <a:pt x="425" y="152"/>
                    <a:pt x="425" y="152"/>
                    <a:pt x="425" y="152"/>
                  </a:cubicBezTo>
                  <a:cubicBezTo>
                    <a:pt x="425" y="152"/>
                    <a:pt x="421" y="150"/>
                    <a:pt x="421" y="147"/>
                  </a:cubicBezTo>
                  <a:cubicBezTo>
                    <a:pt x="421" y="144"/>
                    <a:pt x="416" y="144"/>
                    <a:pt x="412" y="143"/>
                  </a:cubicBezTo>
                  <a:cubicBezTo>
                    <a:pt x="410" y="143"/>
                    <a:pt x="407" y="134"/>
                    <a:pt x="407" y="134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9" y="136"/>
                    <a:pt x="400" y="140"/>
                    <a:pt x="402" y="143"/>
                  </a:cubicBezTo>
                  <a:cubicBezTo>
                    <a:pt x="405" y="146"/>
                    <a:pt x="409" y="147"/>
                    <a:pt x="409" y="147"/>
                  </a:cubicBezTo>
                  <a:cubicBezTo>
                    <a:pt x="409" y="147"/>
                    <a:pt x="405" y="148"/>
                    <a:pt x="402" y="146"/>
                  </a:cubicBezTo>
                  <a:cubicBezTo>
                    <a:pt x="399" y="145"/>
                    <a:pt x="394" y="138"/>
                    <a:pt x="394" y="138"/>
                  </a:cubicBezTo>
                  <a:cubicBezTo>
                    <a:pt x="390" y="139"/>
                    <a:pt x="390" y="139"/>
                    <a:pt x="390" y="139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92" y="159"/>
                    <a:pt x="392" y="159"/>
                    <a:pt x="392" y="159"/>
                  </a:cubicBezTo>
                  <a:cubicBezTo>
                    <a:pt x="380" y="160"/>
                    <a:pt x="380" y="160"/>
                    <a:pt x="380" y="160"/>
                  </a:cubicBezTo>
                  <a:cubicBezTo>
                    <a:pt x="384" y="165"/>
                    <a:pt x="384" y="165"/>
                    <a:pt x="384" y="165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84" y="174"/>
                    <a:pt x="384" y="174"/>
                    <a:pt x="384" y="174"/>
                  </a:cubicBezTo>
                  <a:cubicBezTo>
                    <a:pt x="387" y="176"/>
                    <a:pt x="387" y="176"/>
                    <a:pt x="387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0" y="181"/>
                    <a:pt x="380" y="181"/>
                    <a:pt x="380" y="181"/>
                  </a:cubicBezTo>
                  <a:cubicBezTo>
                    <a:pt x="385" y="183"/>
                    <a:pt x="385" y="183"/>
                    <a:pt x="385" y="183"/>
                  </a:cubicBezTo>
                  <a:cubicBezTo>
                    <a:pt x="377" y="183"/>
                    <a:pt x="377" y="183"/>
                    <a:pt x="377" y="183"/>
                  </a:cubicBezTo>
                  <a:cubicBezTo>
                    <a:pt x="371" y="184"/>
                    <a:pt x="377" y="187"/>
                    <a:pt x="377" y="187"/>
                  </a:cubicBezTo>
                  <a:cubicBezTo>
                    <a:pt x="382" y="189"/>
                    <a:pt x="382" y="189"/>
                    <a:pt x="382" y="189"/>
                  </a:cubicBezTo>
                  <a:cubicBezTo>
                    <a:pt x="382" y="189"/>
                    <a:pt x="375" y="187"/>
                    <a:pt x="372" y="188"/>
                  </a:cubicBezTo>
                  <a:cubicBezTo>
                    <a:pt x="370" y="188"/>
                    <a:pt x="371" y="190"/>
                    <a:pt x="371" y="190"/>
                  </a:cubicBezTo>
                  <a:cubicBezTo>
                    <a:pt x="375" y="191"/>
                    <a:pt x="375" y="191"/>
                    <a:pt x="375" y="191"/>
                  </a:cubicBezTo>
                  <a:cubicBezTo>
                    <a:pt x="374" y="195"/>
                    <a:pt x="374" y="195"/>
                    <a:pt x="374" y="195"/>
                  </a:cubicBezTo>
                  <a:cubicBezTo>
                    <a:pt x="374" y="192"/>
                    <a:pt x="374" y="192"/>
                    <a:pt x="374" y="192"/>
                  </a:cubicBezTo>
                  <a:cubicBezTo>
                    <a:pt x="370" y="191"/>
                    <a:pt x="370" y="191"/>
                    <a:pt x="370" y="191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91"/>
                    <a:pt x="367" y="191"/>
                    <a:pt x="367" y="191"/>
                  </a:cubicBezTo>
                  <a:cubicBezTo>
                    <a:pt x="367" y="191"/>
                    <a:pt x="366" y="192"/>
                    <a:pt x="361" y="192"/>
                  </a:cubicBezTo>
                  <a:cubicBezTo>
                    <a:pt x="357" y="192"/>
                    <a:pt x="357" y="200"/>
                    <a:pt x="357" y="200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68" y="203"/>
                    <a:pt x="369" y="205"/>
                    <a:pt x="372" y="205"/>
                  </a:cubicBezTo>
                  <a:cubicBezTo>
                    <a:pt x="375" y="205"/>
                    <a:pt x="382" y="199"/>
                    <a:pt x="382" y="199"/>
                  </a:cubicBezTo>
                  <a:cubicBezTo>
                    <a:pt x="380" y="203"/>
                    <a:pt x="380" y="203"/>
                    <a:pt x="380" y="203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76" y="207"/>
                    <a:pt x="376" y="207"/>
                    <a:pt x="376" y="207"/>
                  </a:cubicBezTo>
                  <a:cubicBezTo>
                    <a:pt x="376" y="213"/>
                    <a:pt x="376" y="213"/>
                    <a:pt x="376" y="213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4" y="209"/>
                    <a:pt x="374" y="209"/>
                    <a:pt x="374" y="209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211"/>
                    <a:pt x="364" y="208"/>
                    <a:pt x="361" y="208"/>
                  </a:cubicBezTo>
                  <a:cubicBezTo>
                    <a:pt x="358" y="207"/>
                    <a:pt x="353" y="209"/>
                    <a:pt x="351" y="213"/>
                  </a:cubicBezTo>
                  <a:cubicBezTo>
                    <a:pt x="348" y="215"/>
                    <a:pt x="355" y="215"/>
                    <a:pt x="358" y="216"/>
                  </a:cubicBezTo>
                  <a:cubicBezTo>
                    <a:pt x="362" y="217"/>
                    <a:pt x="361" y="221"/>
                    <a:pt x="361" y="221"/>
                  </a:cubicBezTo>
                  <a:cubicBezTo>
                    <a:pt x="364" y="223"/>
                    <a:pt x="364" y="223"/>
                    <a:pt x="364" y="223"/>
                  </a:cubicBezTo>
                  <a:cubicBezTo>
                    <a:pt x="363" y="224"/>
                    <a:pt x="363" y="224"/>
                    <a:pt x="363" y="224"/>
                  </a:cubicBezTo>
                  <a:cubicBezTo>
                    <a:pt x="363" y="224"/>
                    <a:pt x="359" y="221"/>
                    <a:pt x="357" y="219"/>
                  </a:cubicBezTo>
                  <a:cubicBezTo>
                    <a:pt x="355" y="217"/>
                    <a:pt x="348" y="216"/>
                    <a:pt x="348" y="216"/>
                  </a:cubicBezTo>
                  <a:cubicBezTo>
                    <a:pt x="347" y="218"/>
                    <a:pt x="347" y="218"/>
                    <a:pt x="347" y="218"/>
                  </a:cubicBezTo>
                  <a:cubicBezTo>
                    <a:pt x="353" y="219"/>
                    <a:pt x="353" y="219"/>
                    <a:pt x="353" y="219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52" y="223"/>
                    <a:pt x="352" y="223"/>
                    <a:pt x="352" y="223"/>
                  </a:cubicBezTo>
                  <a:cubicBezTo>
                    <a:pt x="355" y="222"/>
                    <a:pt x="355" y="222"/>
                    <a:pt x="355" y="222"/>
                  </a:cubicBezTo>
                  <a:cubicBezTo>
                    <a:pt x="358" y="223"/>
                    <a:pt x="358" y="223"/>
                    <a:pt x="358" y="223"/>
                  </a:cubicBezTo>
                  <a:cubicBezTo>
                    <a:pt x="351" y="226"/>
                    <a:pt x="351" y="226"/>
                    <a:pt x="351" y="226"/>
                  </a:cubicBezTo>
                  <a:cubicBezTo>
                    <a:pt x="352" y="230"/>
                    <a:pt x="352" y="230"/>
                    <a:pt x="352" y="230"/>
                  </a:cubicBezTo>
                  <a:cubicBezTo>
                    <a:pt x="352" y="230"/>
                    <a:pt x="354" y="229"/>
                    <a:pt x="356" y="231"/>
                  </a:cubicBezTo>
                  <a:cubicBezTo>
                    <a:pt x="357" y="233"/>
                    <a:pt x="352" y="236"/>
                    <a:pt x="348" y="235"/>
                  </a:cubicBezTo>
                  <a:cubicBezTo>
                    <a:pt x="345" y="233"/>
                    <a:pt x="346" y="221"/>
                    <a:pt x="346" y="221"/>
                  </a:cubicBezTo>
                  <a:cubicBezTo>
                    <a:pt x="343" y="221"/>
                    <a:pt x="343" y="221"/>
                    <a:pt x="343" y="221"/>
                  </a:cubicBezTo>
                  <a:cubicBezTo>
                    <a:pt x="338" y="230"/>
                    <a:pt x="338" y="230"/>
                    <a:pt x="338" y="230"/>
                  </a:cubicBezTo>
                  <a:cubicBezTo>
                    <a:pt x="337" y="224"/>
                    <a:pt x="337" y="224"/>
                    <a:pt x="337" y="224"/>
                  </a:cubicBezTo>
                  <a:cubicBezTo>
                    <a:pt x="335" y="224"/>
                    <a:pt x="335" y="224"/>
                    <a:pt x="335" y="224"/>
                  </a:cubicBezTo>
                  <a:cubicBezTo>
                    <a:pt x="334" y="229"/>
                    <a:pt x="334" y="229"/>
                    <a:pt x="334" y="229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27" y="235"/>
                    <a:pt x="327" y="235"/>
                    <a:pt x="327" y="235"/>
                  </a:cubicBezTo>
                  <a:cubicBezTo>
                    <a:pt x="329" y="238"/>
                    <a:pt x="329" y="238"/>
                    <a:pt x="329" y="238"/>
                  </a:cubicBezTo>
                  <a:cubicBezTo>
                    <a:pt x="331" y="237"/>
                    <a:pt x="331" y="237"/>
                    <a:pt x="331" y="237"/>
                  </a:cubicBezTo>
                  <a:cubicBezTo>
                    <a:pt x="331" y="234"/>
                    <a:pt x="331" y="234"/>
                    <a:pt x="331" y="234"/>
                  </a:cubicBezTo>
                  <a:cubicBezTo>
                    <a:pt x="335" y="232"/>
                    <a:pt x="335" y="232"/>
                    <a:pt x="335" y="232"/>
                  </a:cubicBezTo>
                  <a:cubicBezTo>
                    <a:pt x="337" y="234"/>
                    <a:pt x="337" y="234"/>
                    <a:pt x="337" y="234"/>
                  </a:cubicBezTo>
                  <a:cubicBezTo>
                    <a:pt x="333" y="237"/>
                    <a:pt x="333" y="237"/>
                    <a:pt x="333" y="237"/>
                  </a:cubicBezTo>
                  <a:cubicBezTo>
                    <a:pt x="335" y="238"/>
                    <a:pt x="335" y="238"/>
                    <a:pt x="335" y="238"/>
                  </a:cubicBezTo>
                  <a:cubicBezTo>
                    <a:pt x="335" y="238"/>
                    <a:pt x="339" y="238"/>
                    <a:pt x="341" y="239"/>
                  </a:cubicBezTo>
                  <a:cubicBezTo>
                    <a:pt x="343" y="239"/>
                    <a:pt x="340" y="236"/>
                    <a:pt x="340" y="234"/>
                  </a:cubicBezTo>
                  <a:cubicBezTo>
                    <a:pt x="340" y="233"/>
                    <a:pt x="344" y="234"/>
                    <a:pt x="345" y="236"/>
                  </a:cubicBezTo>
                  <a:cubicBezTo>
                    <a:pt x="346" y="238"/>
                    <a:pt x="344" y="242"/>
                    <a:pt x="343" y="242"/>
                  </a:cubicBezTo>
                  <a:cubicBezTo>
                    <a:pt x="341" y="244"/>
                    <a:pt x="342" y="242"/>
                    <a:pt x="339" y="240"/>
                  </a:cubicBezTo>
                  <a:cubicBezTo>
                    <a:pt x="336" y="239"/>
                    <a:pt x="334" y="244"/>
                    <a:pt x="330" y="244"/>
                  </a:cubicBezTo>
                  <a:cubicBezTo>
                    <a:pt x="327" y="244"/>
                    <a:pt x="322" y="245"/>
                    <a:pt x="322" y="245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2" y="248"/>
                    <a:pt x="322" y="248"/>
                    <a:pt x="322" y="248"/>
                  </a:cubicBezTo>
                  <a:cubicBezTo>
                    <a:pt x="318" y="248"/>
                    <a:pt x="318" y="248"/>
                    <a:pt x="318" y="248"/>
                  </a:cubicBezTo>
                  <a:cubicBezTo>
                    <a:pt x="315" y="252"/>
                    <a:pt x="315" y="252"/>
                    <a:pt x="315" y="252"/>
                  </a:cubicBezTo>
                  <a:cubicBezTo>
                    <a:pt x="321" y="253"/>
                    <a:pt x="321" y="253"/>
                    <a:pt x="321" y="253"/>
                  </a:cubicBezTo>
                  <a:cubicBezTo>
                    <a:pt x="315" y="256"/>
                    <a:pt x="315" y="256"/>
                    <a:pt x="315" y="256"/>
                  </a:cubicBezTo>
                  <a:cubicBezTo>
                    <a:pt x="315" y="256"/>
                    <a:pt x="318" y="260"/>
                    <a:pt x="322" y="258"/>
                  </a:cubicBezTo>
                  <a:cubicBezTo>
                    <a:pt x="327" y="256"/>
                    <a:pt x="331" y="249"/>
                    <a:pt x="331" y="249"/>
                  </a:cubicBezTo>
                  <a:cubicBezTo>
                    <a:pt x="342" y="256"/>
                    <a:pt x="342" y="256"/>
                    <a:pt x="342" y="256"/>
                  </a:cubicBezTo>
                  <a:cubicBezTo>
                    <a:pt x="334" y="253"/>
                    <a:pt x="334" y="253"/>
                    <a:pt x="334" y="253"/>
                  </a:cubicBezTo>
                  <a:cubicBezTo>
                    <a:pt x="331" y="254"/>
                    <a:pt x="331" y="254"/>
                    <a:pt x="331" y="254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29" y="256"/>
                    <a:pt x="329" y="256"/>
                    <a:pt x="329" y="256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0" y="263"/>
                    <a:pt x="330" y="263"/>
                    <a:pt x="330" y="263"/>
                  </a:cubicBezTo>
                  <a:cubicBezTo>
                    <a:pt x="328" y="267"/>
                    <a:pt x="328" y="267"/>
                    <a:pt x="328" y="267"/>
                  </a:cubicBezTo>
                  <a:cubicBezTo>
                    <a:pt x="329" y="269"/>
                    <a:pt x="335" y="267"/>
                    <a:pt x="335" y="267"/>
                  </a:cubicBezTo>
                  <a:cubicBezTo>
                    <a:pt x="339" y="265"/>
                    <a:pt x="339" y="265"/>
                    <a:pt x="339" y="265"/>
                  </a:cubicBezTo>
                  <a:cubicBezTo>
                    <a:pt x="336" y="274"/>
                    <a:pt x="336" y="274"/>
                    <a:pt x="336" y="274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7" y="278"/>
                    <a:pt x="337" y="278"/>
                    <a:pt x="337" y="278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1"/>
                    <a:pt x="339" y="281"/>
                    <a:pt x="337" y="280"/>
                  </a:cubicBezTo>
                  <a:cubicBezTo>
                    <a:pt x="335" y="280"/>
                    <a:pt x="333" y="271"/>
                    <a:pt x="331" y="270"/>
                  </a:cubicBezTo>
                  <a:cubicBezTo>
                    <a:pt x="329" y="270"/>
                    <a:pt x="327" y="271"/>
                    <a:pt x="327" y="271"/>
                  </a:cubicBezTo>
                  <a:cubicBezTo>
                    <a:pt x="327" y="271"/>
                    <a:pt x="325" y="267"/>
                    <a:pt x="322" y="266"/>
                  </a:cubicBezTo>
                  <a:cubicBezTo>
                    <a:pt x="319" y="266"/>
                    <a:pt x="313" y="273"/>
                    <a:pt x="313" y="273"/>
                  </a:cubicBezTo>
                  <a:cubicBezTo>
                    <a:pt x="321" y="274"/>
                    <a:pt x="321" y="274"/>
                    <a:pt x="321" y="274"/>
                  </a:cubicBezTo>
                  <a:cubicBezTo>
                    <a:pt x="321" y="274"/>
                    <a:pt x="318" y="276"/>
                    <a:pt x="314" y="276"/>
                  </a:cubicBezTo>
                  <a:cubicBezTo>
                    <a:pt x="312" y="276"/>
                    <a:pt x="313" y="279"/>
                    <a:pt x="312" y="281"/>
                  </a:cubicBezTo>
                  <a:cubicBezTo>
                    <a:pt x="310" y="283"/>
                    <a:pt x="306" y="285"/>
                    <a:pt x="306" y="285"/>
                  </a:cubicBezTo>
                  <a:cubicBezTo>
                    <a:pt x="317" y="285"/>
                    <a:pt x="317" y="285"/>
                    <a:pt x="317" y="285"/>
                  </a:cubicBezTo>
                  <a:cubicBezTo>
                    <a:pt x="322" y="285"/>
                    <a:pt x="327" y="282"/>
                    <a:pt x="327" y="282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35" y="285"/>
                    <a:pt x="335" y="285"/>
                    <a:pt x="335" y="285"/>
                  </a:cubicBezTo>
                  <a:cubicBezTo>
                    <a:pt x="334" y="295"/>
                    <a:pt x="334" y="295"/>
                    <a:pt x="334" y="295"/>
                  </a:cubicBezTo>
                  <a:cubicBezTo>
                    <a:pt x="331" y="290"/>
                    <a:pt x="331" y="290"/>
                    <a:pt x="331" y="290"/>
                  </a:cubicBezTo>
                  <a:cubicBezTo>
                    <a:pt x="323" y="287"/>
                    <a:pt x="323" y="287"/>
                    <a:pt x="323" y="287"/>
                  </a:cubicBezTo>
                  <a:cubicBezTo>
                    <a:pt x="318" y="294"/>
                    <a:pt x="318" y="294"/>
                    <a:pt x="318" y="294"/>
                  </a:cubicBezTo>
                  <a:cubicBezTo>
                    <a:pt x="321" y="287"/>
                    <a:pt x="321" y="287"/>
                    <a:pt x="321" y="287"/>
                  </a:cubicBezTo>
                  <a:cubicBezTo>
                    <a:pt x="308" y="288"/>
                    <a:pt x="308" y="288"/>
                    <a:pt x="308" y="288"/>
                  </a:cubicBezTo>
                  <a:cubicBezTo>
                    <a:pt x="303" y="302"/>
                    <a:pt x="303" y="302"/>
                    <a:pt x="303" y="302"/>
                  </a:cubicBezTo>
                  <a:cubicBezTo>
                    <a:pt x="297" y="301"/>
                    <a:pt x="297" y="301"/>
                    <a:pt x="297" y="301"/>
                  </a:cubicBezTo>
                  <a:cubicBezTo>
                    <a:pt x="296" y="304"/>
                    <a:pt x="296" y="304"/>
                    <a:pt x="296" y="304"/>
                  </a:cubicBezTo>
                  <a:cubicBezTo>
                    <a:pt x="296" y="304"/>
                    <a:pt x="295" y="303"/>
                    <a:pt x="290" y="305"/>
                  </a:cubicBezTo>
                  <a:cubicBezTo>
                    <a:pt x="284" y="308"/>
                    <a:pt x="284" y="311"/>
                    <a:pt x="284" y="311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286" y="316"/>
                    <a:pt x="286" y="316"/>
                    <a:pt x="286" y="316"/>
                  </a:cubicBezTo>
                  <a:cubicBezTo>
                    <a:pt x="281" y="317"/>
                    <a:pt x="281" y="317"/>
                    <a:pt x="281" y="317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79" y="321"/>
                    <a:pt x="279" y="321"/>
                    <a:pt x="279" y="321"/>
                  </a:cubicBezTo>
                  <a:cubicBezTo>
                    <a:pt x="276" y="321"/>
                    <a:pt x="276" y="321"/>
                    <a:pt x="276" y="321"/>
                  </a:cubicBezTo>
                  <a:cubicBezTo>
                    <a:pt x="282" y="327"/>
                    <a:pt x="282" y="327"/>
                    <a:pt x="282" y="327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75" y="331"/>
                    <a:pt x="275" y="331"/>
                    <a:pt x="275" y="331"/>
                  </a:cubicBezTo>
                  <a:cubicBezTo>
                    <a:pt x="277" y="333"/>
                    <a:pt x="277" y="333"/>
                    <a:pt x="277" y="333"/>
                  </a:cubicBezTo>
                  <a:cubicBezTo>
                    <a:pt x="281" y="332"/>
                    <a:pt x="281" y="332"/>
                    <a:pt x="281" y="332"/>
                  </a:cubicBezTo>
                  <a:cubicBezTo>
                    <a:pt x="287" y="335"/>
                    <a:pt x="287" y="335"/>
                    <a:pt x="287" y="335"/>
                  </a:cubicBezTo>
                  <a:cubicBezTo>
                    <a:pt x="287" y="335"/>
                    <a:pt x="282" y="334"/>
                    <a:pt x="279" y="335"/>
                  </a:cubicBezTo>
                  <a:cubicBezTo>
                    <a:pt x="276" y="336"/>
                    <a:pt x="278" y="339"/>
                    <a:pt x="278" y="339"/>
                  </a:cubicBezTo>
                  <a:cubicBezTo>
                    <a:pt x="275" y="339"/>
                    <a:pt x="275" y="339"/>
                    <a:pt x="275" y="339"/>
                  </a:cubicBezTo>
                  <a:cubicBezTo>
                    <a:pt x="275" y="335"/>
                    <a:pt x="275" y="335"/>
                    <a:pt x="275" y="335"/>
                  </a:cubicBezTo>
                  <a:cubicBezTo>
                    <a:pt x="271" y="334"/>
                    <a:pt x="271" y="334"/>
                    <a:pt x="271" y="334"/>
                  </a:cubicBezTo>
                  <a:cubicBezTo>
                    <a:pt x="270" y="336"/>
                    <a:pt x="270" y="336"/>
                    <a:pt x="270" y="336"/>
                  </a:cubicBezTo>
                  <a:cubicBezTo>
                    <a:pt x="273" y="340"/>
                    <a:pt x="273" y="340"/>
                    <a:pt x="273" y="340"/>
                  </a:cubicBezTo>
                  <a:cubicBezTo>
                    <a:pt x="273" y="340"/>
                    <a:pt x="270" y="346"/>
                    <a:pt x="272" y="348"/>
                  </a:cubicBezTo>
                  <a:cubicBezTo>
                    <a:pt x="275" y="350"/>
                    <a:pt x="284" y="347"/>
                    <a:pt x="284" y="348"/>
                  </a:cubicBezTo>
                  <a:cubicBezTo>
                    <a:pt x="284" y="349"/>
                    <a:pt x="275" y="350"/>
                    <a:pt x="275" y="350"/>
                  </a:cubicBezTo>
                  <a:cubicBezTo>
                    <a:pt x="271" y="356"/>
                    <a:pt x="271" y="356"/>
                    <a:pt x="271" y="35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85" y="351"/>
                    <a:pt x="285" y="351"/>
                    <a:pt x="285" y="351"/>
                  </a:cubicBezTo>
                  <a:cubicBezTo>
                    <a:pt x="287" y="351"/>
                    <a:pt x="287" y="351"/>
                    <a:pt x="287" y="351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0" y="353"/>
                    <a:pt x="290" y="353"/>
                    <a:pt x="290" y="353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285" y="360"/>
                    <a:pt x="285" y="360"/>
                    <a:pt x="285" y="360"/>
                  </a:cubicBezTo>
                  <a:cubicBezTo>
                    <a:pt x="285" y="360"/>
                    <a:pt x="286" y="355"/>
                    <a:pt x="285" y="353"/>
                  </a:cubicBezTo>
                  <a:cubicBezTo>
                    <a:pt x="282" y="351"/>
                    <a:pt x="277" y="356"/>
                    <a:pt x="275" y="357"/>
                  </a:cubicBezTo>
                  <a:cubicBezTo>
                    <a:pt x="273" y="359"/>
                    <a:pt x="263" y="360"/>
                    <a:pt x="262" y="363"/>
                  </a:cubicBezTo>
                  <a:cubicBezTo>
                    <a:pt x="260" y="366"/>
                    <a:pt x="269" y="364"/>
                    <a:pt x="269" y="364"/>
                  </a:cubicBezTo>
                  <a:cubicBezTo>
                    <a:pt x="268" y="371"/>
                    <a:pt x="268" y="371"/>
                    <a:pt x="268" y="371"/>
                  </a:cubicBezTo>
                  <a:cubicBezTo>
                    <a:pt x="274" y="375"/>
                    <a:pt x="274" y="375"/>
                    <a:pt x="274" y="375"/>
                  </a:cubicBezTo>
                  <a:cubicBezTo>
                    <a:pt x="274" y="375"/>
                    <a:pt x="262" y="372"/>
                    <a:pt x="261" y="375"/>
                  </a:cubicBezTo>
                  <a:cubicBezTo>
                    <a:pt x="259" y="378"/>
                    <a:pt x="261" y="381"/>
                    <a:pt x="261" y="381"/>
                  </a:cubicBezTo>
                  <a:cubicBezTo>
                    <a:pt x="259" y="381"/>
                    <a:pt x="259" y="381"/>
                    <a:pt x="259" y="381"/>
                  </a:cubicBezTo>
                  <a:cubicBezTo>
                    <a:pt x="257" y="383"/>
                    <a:pt x="257" y="383"/>
                    <a:pt x="257" y="383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7"/>
                    <a:pt x="256" y="386"/>
                    <a:pt x="253" y="389"/>
                  </a:cubicBezTo>
                  <a:cubicBezTo>
                    <a:pt x="249" y="391"/>
                    <a:pt x="254" y="398"/>
                    <a:pt x="254" y="398"/>
                  </a:cubicBezTo>
                  <a:cubicBezTo>
                    <a:pt x="258" y="399"/>
                    <a:pt x="258" y="399"/>
                    <a:pt x="258" y="399"/>
                  </a:cubicBezTo>
                  <a:cubicBezTo>
                    <a:pt x="259" y="405"/>
                    <a:pt x="259" y="405"/>
                    <a:pt x="259" y="405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49" y="396"/>
                    <a:pt x="249" y="396"/>
                    <a:pt x="249" y="396"/>
                  </a:cubicBezTo>
                  <a:cubicBezTo>
                    <a:pt x="247" y="404"/>
                    <a:pt x="247" y="404"/>
                    <a:pt x="247" y="404"/>
                  </a:cubicBezTo>
                  <a:cubicBezTo>
                    <a:pt x="252" y="404"/>
                    <a:pt x="252" y="404"/>
                    <a:pt x="252" y="404"/>
                  </a:cubicBezTo>
                  <a:cubicBezTo>
                    <a:pt x="252" y="404"/>
                    <a:pt x="248" y="406"/>
                    <a:pt x="246" y="409"/>
                  </a:cubicBezTo>
                  <a:cubicBezTo>
                    <a:pt x="244" y="411"/>
                    <a:pt x="246" y="416"/>
                    <a:pt x="246" y="416"/>
                  </a:cubicBezTo>
                  <a:cubicBezTo>
                    <a:pt x="241" y="418"/>
                    <a:pt x="241" y="418"/>
                    <a:pt x="241" y="418"/>
                  </a:cubicBezTo>
                  <a:cubicBezTo>
                    <a:pt x="243" y="420"/>
                    <a:pt x="243" y="420"/>
                    <a:pt x="243" y="420"/>
                  </a:cubicBezTo>
                  <a:cubicBezTo>
                    <a:pt x="248" y="416"/>
                    <a:pt x="248" y="416"/>
                    <a:pt x="248" y="416"/>
                  </a:cubicBezTo>
                  <a:cubicBezTo>
                    <a:pt x="248" y="413"/>
                    <a:pt x="248" y="413"/>
                    <a:pt x="248" y="413"/>
                  </a:cubicBezTo>
                  <a:cubicBezTo>
                    <a:pt x="253" y="411"/>
                    <a:pt x="253" y="411"/>
                    <a:pt x="253" y="411"/>
                  </a:cubicBezTo>
                  <a:cubicBezTo>
                    <a:pt x="249" y="415"/>
                    <a:pt x="249" y="415"/>
                    <a:pt x="249" y="415"/>
                  </a:cubicBezTo>
                  <a:cubicBezTo>
                    <a:pt x="254" y="419"/>
                    <a:pt x="254" y="419"/>
                    <a:pt x="254" y="419"/>
                  </a:cubicBezTo>
                  <a:cubicBezTo>
                    <a:pt x="253" y="423"/>
                    <a:pt x="253" y="423"/>
                    <a:pt x="253" y="423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1" y="414"/>
                    <a:pt x="271" y="414"/>
                    <a:pt x="271" y="414"/>
                  </a:cubicBezTo>
                  <a:cubicBezTo>
                    <a:pt x="256" y="427"/>
                    <a:pt x="256" y="427"/>
                    <a:pt x="256" y="427"/>
                  </a:cubicBezTo>
                  <a:cubicBezTo>
                    <a:pt x="252" y="428"/>
                    <a:pt x="252" y="428"/>
                    <a:pt x="252" y="428"/>
                  </a:cubicBezTo>
                  <a:cubicBezTo>
                    <a:pt x="249" y="421"/>
                    <a:pt x="249" y="421"/>
                    <a:pt x="249" y="421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43" y="424"/>
                    <a:pt x="243" y="424"/>
                    <a:pt x="243" y="424"/>
                  </a:cubicBezTo>
                  <a:cubicBezTo>
                    <a:pt x="243" y="424"/>
                    <a:pt x="239" y="424"/>
                    <a:pt x="239" y="426"/>
                  </a:cubicBezTo>
                  <a:cubicBezTo>
                    <a:pt x="239" y="427"/>
                    <a:pt x="235" y="435"/>
                    <a:pt x="231" y="435"/>
                  </a:cubicBezTo>
                  <a:cubicBezTo>
                    <a:pt x="228" y="436"/>
                    <a:pt x="222" y="440"/>
                    <a:pt x="222" y="440"/>
                  </a:cubicBezTo>
                  <a:cubicBezTo>
                    <a:pt x="224" y="442"/>
                    <a:pt x="224" y="442"/>
                    <a:pt x="224" y="442"/>
                  </a:cubicBezTo>
                  <a:cubicBezTo>
                    <a:pt x="224" y="442"/>
                    <a:pt x="216" y="446"/>
                    <a:pt x="221" y="450"/>
                  </a:cubicBezTo>
                  <a:cubicBezTo>
                    <a:pt x="224" y="452"/>
                    <a:pt x="231" y="441"/>
                    <a:pt x="231" y="441"/>
                  </a:cubicBezTo>
                  <a:cubicBezTo>
                    <a:pt x="242" y="436"/>
                    <a:pt x="242" y="436"/>
                    <a:pt x="242" y="436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8" y="446"/>
                    <a:pt x="232" y="447"/>
                    <a:pt x="228" y="450"/>
                  </a:cubicBezTo>
                  <a:cubicBezTo>
                    <a:pt x="223" y="452"/>
                    <a:pt x="226" y="457"/>
                    <a:pt x="226" y="457"/>
                  </a:cubicBezTo>
                  <a:cubicBezTo>
                    <a:pt x="223" y="458"/>
                    <a:pt x="223" y="458"/>
                    <a:pt x="223" y="458"/>
                  </a:cubicBezTo>
                  <a:cubicBezTo>
                    <a:pt x="219" y="455"/>
                    <a:pt x="219" y="455"/>
                    <a:pt x="219" y="455"/>
                  </a:cubicBezTo>
                  <a:cubicBezTo>
                    <a:pt x="215" y="457"/>
                    <a:pt x="215" y="457"/>
                    <a:pt x="215" y="457"/>
                  </a:cubicBezTo>
                  <a:cubicBezTo>
                    <a:pt x="215" y="457"/>
                    <a:pt x="219" y="463"/>
                    <a:pt x="221" y="465"/>
                  </a:cubicBezTo>
                  <a:cubicBezTo>
                    <a:pt x="222" y="467"/>
                    <a:pt x="231" y="459"/>
                    <a:pt x="231" y="459"/>
                  </a:cubicBezTo>
                  <a:cubicBezTo>
                    <a:pt x="226" y="468"/>
                    <a:pt x="226" y="468"/>
                    <a:pt x="226" y="468"/>
                  </a:cubicBezTo>
                  <a:cubicBezTo>
                    <a:pt x="221" y="471"/>
                    <a:pt x="221" y="471"/>
                    <a:pt x="221" y="471"/>
                  </a:cubicBezTo>
                  <a:cubicBezTo>
                    <a:pt x="213" y="459"/>
                    <a:pt x="213" y="459"/>
                    <a:pt x="213" y="459"/>
                  </a:cubicBezTo>
                  <a:cubicBezTo>
                    <a:pt x="204" y="467"/>
                    <a:pt x="204" y="467"/>
                    <a:pt x="204" y="467"/>
                  </a:cubicBezTo>
                  <a:cubicBezTo>
                    <a:pt x="207" y="470"/>
                    <a:pt x="207" y="470"/>
                    <a:pt x="207" y="470"/>
                  </a:cubicBezTo>
                  <a:cubicBezTo>
                    <a:pt x="200" y="468"/>
                    <a:pt x="200" y="468"/>
                    <a:pt x="200" y="468"/>
                  </a:cubicBezTo>
                  <a:cubicBezTo>
                    <a:pt x="198" y="471"/>
                    <a:pt x="198" y="471"/>
                    <a:pt x="198" y="471"/>
                  </a:cubicBezTo>
                  <a:cubicBezTo>
                    <a:pt x="203" y="474"/>
                    <a:pt x="203" y="474"/>
                    <a:pt x="203" y="474"/>
                  </a:cubicBezTo>
                  <a:cubicBezTo>
                    <a:pt x="198" y="475"/>
                    <a:pt x="198" y="475"/>
                    <a:pt x="198" y="475"/>
                  </a:cubicBezTo>
                  <a:cubicBezTo>
                    <a:pt x="198" y="475"/>
                    <a:pt x="189" y="485"/>
                    <a:pt x="188" y="486"/>
                  </a:cubicBezTo>
                  <a:cubicBezTo>
                    <a:pt x="188" y="487"/>
                    <a:pt x="191" y="490"/>
                    <a:pt x="191" y="490"/>
                  </a:cubicBezTo>
                  <a:cubicBezTo>
                    <a:pt x="184" y="489"/>
                    <a:pt x="184" y="489"/>
                    <a:pt x="184" y="489"/>
                  </a:cubicBezTo>
                  <a:cubicBezTo>
                    <a:pt x="182" y="498"/>
                    <a:pt x="182" y="498"/>
                    <a:pt x="182" y="498"/>
                  </a:cubicBezTo>
                  <a:cubicBezTo>
                    <a:pt x="182" y="498"/>
                    <a:pt x="188" y="498"/>
                    <a:pt x="188" y="500"/>
                  </a:cubicBezTo>
                  <a:cubicBezTo>
                    <a:pt x="188" y="502"/>
                    <a:pt x="179" y="504"/>
                    <a:pt x="174" y="505"/>
                  </a:cubicBezTo>
                  <a:cubicBezTo>
                    <a:pt x="169" y="507"/>
                    <a:pt x="169" y="517"/>
                    <a:pt x="169" y="517"/>
                  </a:cubicBezTo>
                  <a:cubicBezTo>
                    <a:pt x="169" y="517"/>
                    <a:pt x="184" y="509"/>
                    <a:pt x="183" y="514"/>
                  </a:cubicBezTo>
                  <a:cubicBezTo>
                    <a:pt x="183" y="518"/>
                    <a:pt x="176" y="517"/>
                    <a:pt x="176" y="517"/>
                  </a:cubicBezTo>
                  <a:cubicBezTo>
                    <a:pt x="177" y="520"/>
                    <a:pt x="177" y="520"/>
                    <a:pt x="177" y="520"/>
                  </a:cubicBezTo>
                  <a:cubicBezTo>
                    <a:pt x="182" y="522"/>
                    <a:pt x="182" y="522"/>
                    <a:pt x="182" y="52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181" y="529"/>
                    <a:pt x="181" y="529"/>
                    <a:pt x="181" y="529"/>
                  </a:cubicBezTo>
                  <a:cubicBezTo>
                    <a:pt x="198" y="520"/>
                    <a:pt x="198" y="520"/>
                    <a:pt x="198" y="520"/>
                  </a:cubicBezTo>
                  <a:cubicBezTo>
                    <a:pt x="198" y="520"/>
                    <a:pt x="202" y="517"/>
                    <a:pt x="203" y="516"/>
                  </a:cubicBezTo>
                  <a:cubicBezTo>
                    <a:pt x="205" y="515"/>
                    <a:pt x="206" y="513"/>
                    <a:pt x="209" y="512"/>
                  </a:cubicBezTo>
                  <a:cubicBezTo>
                    <a:pt x="211" y="512"/>
                    <a:pt x="213" y="508"/>
                    <a:pt x="213" y="505"/>
                  </a:cubicBezTo>
                  <a:cubicBezTo>
                    <a:pt x="213" y="502"/>
                    <a:pt x="202" y="507"/>
                    <a:pt x="202" y="507"/>
                  </a:cubicBezTo>
                  <a:cubicBezTo>
                    <a:pt x="202" y="507"/>
                    <a:pt x="209" y="502"/>
                    <a:pt x="212" y="500"/>
                  </a:cubicBezTo>
                  <a:cubicBezTo>
                    <a:pt x="214" y="499"/>
                    <a:pt x="215" y="494"/>
                    <a:pt x="221" y="494"/>
                  </a:cubicBezTo>
                  <a:cubicBezTo>
                    <a:pt x="225" y="494"/>
                    <a:pt x="226" y="498"/>
                    <a:pt x="226" y="498"/>
                  </a:cubicBezTo>
                  <a:cubicBezTo>
                    <a:pt x="215" y="503"/>
                    <a:pt x="215" y="503"/>
                    <a:pt x="215" y="503"/>
                  </a:cubicBezTo>
                  <a:cubicBezTo>
                    <a:pt x="214" y="506"/>
                    <a:pt x="214" y="506"/>
                    <a:pt x="214" y="506"/>
                  </a:cubicBezTo>
                  <a:cubicBezTo>
                    <a:pt x="214" y="506"/>
                    <a:pt x="223" y="506"/>
                    <a:pt x="224" y="509"/>
                  </a:cubicBezTo>
                  <a:cubicBezTo>
                    <a:pt x="224" y="513"/>
                    <a:pt x="214" y="515"/>
                    <a:pt x="211" y="516"/>
                  </a:cubicBezTo>
                  <a:cubicBezTo>
                    <a:pt x="208" y="516"/>
                    <a:pt x="203" y="521"/>
                    <a:pt x="202" y="524"/>
                  </a:cubicBezTo>
                  <a:cubicBezTo>
                    <a:pt x="202" y="528"/>
                    <a:pt x="206" y="522"/>
                    <a:pt x="208" y="523"/>
                  </a:cubicBezTo>
                  <a:cubicBezTo>
                    <a:pt x="209" y="525"/>
                    <a:pt x="206" y="526"/>
                    <a:pt x="205" y="528"/>
                  </a:cubicBezTo>
                  <a:cubicBezTo>
                    <a:pt x="203" y="530"/>
                    <a:pt x="208" y="531"/>
                    <a:pt x="208" y="531"/>
                  </a:cubicBezTo>
                  <a:cubicBezTo>
                    <a:pt x="205" y="533"/>
                    <a:pt x="205" y="533"/>
                    <a:pt x="205" y="533"/>
                  </a:cubicBezTo>
                  <a:cubicBezTo>
                    <a:pt x="205" y="533"/>
                    <a:pt x="194" y="530"/>
                    <a:pt x="188" y="532"/>
                  </a:cubicBezTo>
                  <a:cubicBezTo>
                    <a:pt x="181" y="534"/>
                    <a:pt x="187" y="539"/>
                    <a:pt x="187" y="539"/>
                  </a:cubicBezTo>
                  <a:cubicBezTo>
                    <a:pt x="180" y="538"/>
                    <a:pt x="180" y="538"/>
                    <a:pt x="180" y="538"/>
                  </a:cubicBezTo>
                  <a:cubicBezTo>
                    <a:pt x="175" y="540"/>
                    <a:pt x="175" y="540"/>
                    <a:pt x="175" y="540"/>
                  </a:cubicBezTo>
                  <a:cubicBezTo>
                    <a:pt x="180" y="532"/>
                    <a:pt x="180" y="532"/>
                    <a:pt x="180" y="532"/>
                  </a:cubicBezTo>
                  <a:cubicBezTo>
                    <a:pt x="175" y="518"/>
                    <a:pt x="175" y="518"/>
                    <a:pt x="175" y="518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6" y="523"/>
                    <a:pt x="166" y="523"/>
                    <a:pt x="166" y="523"/>
                  </a:cubicBezTo>
                  <a:cubicBezTo>
                    <a:pt x="158" y="526"/>
                    <a:pt x="158" y="526"/>
                    <a:pt x="158" y="526"/>
                  </a:cubicBezTo>
                  <a:cubicBezTo>
                    <a:pt x="157" y="530"/>
                    <a:pt x="157" y="530"/>
                    <a:pt x="157" y="530"/>
                  </a:cubicBezTo>
                  <a:cubicBezTo>
                    <a:pt x="164" y="531"/>
                    <a:pt x="164" y="531"/>
                    <a:pt x="164" y="531"/>
                  </a:cubicBezTo>
                  <a:cubicBezTo>
                    <a:pt x="157" y="532"/>
                    <a:pt x="157" y="532"/>
                    <a:pt x="157" y="532"/>
                  </a:cubicBezTo>
                  <a:cubicBezTo>
                    <a:pt x="156" y="536"/>
                    <a:pt x="156" y="536"/>
                    <a:pt x="156" y="536"/>
                  </a:cubicBezTo>
                  <a:cubicBezTo>
                    <a:pt x="162" y="537"/>
                    <a:pt x="162" y="537"/>
                    <a:pt x="162" y="537"/>
                  </a:cubicBezTo>
                  <a:cubicBezTo>
                    <a:pt x="150" y="539"/>
                    <a:pt x="150" y="539"/>
                    <a:pt x="150" y="539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47" y="534"/>
                    <a:pt x="147" y="534"/>
                    <a:pt x="147" y="534"/>
                  </a:cubicBezTo>
                  <a:cubicBezTo>
                    <a:pt x="145" y="532"/>
                    <a:pt x="145" y="532"/>
                    <a:pt x="145" y="532"/>
                  </a:cubicBezTo>
                  <a:cubicBezTo>
                    <a:pt x="141" y="534"/>
                    <a:pt x="141" y="534"/>
                    <a:pt x="141" y="534"/>
                  </a:cubicBezTo>
                  <a:cubicBezTo>
                    <a:pt x="145" y="538"/>
                    <a:pt x="145" y="538"/>
                    <a:pt x="145" y="538"/>
                  </a:cubicBezTo>
                  <a:cubicBezTo>
                    <a:pt x="138" y="538"/>
                    <a:pt x="138" y="538"/>
                    <a:pt x="138" y="538"/>
                  </a:cubicBezTo>
                  <a:cubicBezTo>
                    <a:pt x="134" y="541"/>
                    <a:pt x="134" y="541"/>
                    <a:pt x="134" y="541"/>
                  </a:cubicBezTo>
                  <a:cubicBezTo>
                    <a:pt x="139" y="547"/>
                    <a:pt x="139" y="547"/>
                    <a:pt x="139" y="547"/>
                  </a:cubicBezTo>
                  <a:cubicBezTo>
                    <a:pt x="143" y="548"/>
                    <a:pt x="143" y="548"/>
                    <a:pt x="143" y="548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5" y="552"/>
                    <a:pt x="135" y="552"/>
                    <a:pt x="135" y="552"/>
                  </a:cubicBezTo>
                  <a:cubicBezTo>
                    <a:pt x="126" y="551"/>
                    <a:pt x="126" y="551"/>
                    <a:pt x="126" y="551"/>
                  </a:cubicBezTo>
                  <a:cubicBezTo>
                    <a:pt x="126" y="555"/>
                    <a:pt x="126" y="555"/>
                    <a:pt x="126" y="555"/>
                  </a:cubicBezTo>
                  <a:cubicBezTo>
                    <a:pt x="132" y="563"/>
                    <a:pt x="132" y="563"/>
                    <a:pt x="132" y="563"/>
                  </a:cubicBezTo>
                  <a:cubicBezTo>
                    <a:pt x="138" y="561"/>
                    <a:pt x="138" y="561"/>
                    <a:pt x="138" y="561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2" y="566"/>
                    <a:pt x="132" y="566"/>
                    <a:pt x="132" y="566"/>
                  </a:cubicBezTo>
                  <a:cubicBezTo>
                    <a:pt x="137" y="568"/>
                    <a:pt x="137" y="568"/>
                    <a:pt x="137" y="568"/>
                  </a:cubicBezTo>
                  <a:cubicBezTo>
                    <a:pt x="135" y="569"/>
                    <a:pt x="135" y="569"/>
                    <a:pt x="135" y="569"/>
                  </a:cubicBezTo>
                  <a:cubicBezTo>
                    <a:pt x="130" y="567"/>
                    <a:pt x="130" y="567"/>
                    <a:pt x="130" y="567"/>
                  </a:cubicBezTo>
                  <a:cubicBezTo>
                    <a:pt x="129" y="561"/>
                    <a:pt x="129" y="561"/>
                    <a:pt x="129" y="561"/>
                  </a:cubicBezTo>
                  <a:cubicBezTo>
                    <a:pt x="123" y="552"/>
                    <a:pt x="123" y="552"/>
                    <a:pt x="123" y="552"/>
                  </a:cubicBezTo>
                  <a:cubicBezTo>
                    <a:pt x="114" y="557"/>
                    <a:pt x="114" y="557"/>
                    <a:pt x="114" y="557"/>
                  </a:cubicBezTo>
                  <a:cubicBezTo>
                    <a:pt x="116" y="558"/>
                    <a:pt x="116" y="558"/>
                    <a:pt x="116" y="558"/>
                  </a:cubicBezTo>
                  <a:cubicBezTo>
                    <a:pt x="118" y="558"/>
                    <a:pt x="118" y="558"/>
                    <a:pt x="118" y="558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32" y="577"/>
                    <a:pt x="132" y="577"/>
                    <a:pt x="132" y="577"/>
                  </a:cubicBezTo>
                  <a:cubicBezTo>
                    <a:pt x="133" y="579"/>
                    <a:pt x="133" y="579"/>
                    <a:pt x="133" y="579"/>
                  </a:cubicBezTo>
                  <a:cubicBezTo>
                    <a:pt x="122" y="571"/>
                    <a:pt x="122" y="571"/>
                    <a:pt x="122" y="571"/>
                  </a:cubicBezTo>
                  <a:cubicBezTo>
                    <a:pt x="122" y="562"/>
                    <a:pt x="122" y="562"/>
                    <a:pt x="122" y="562"/>
                  </a:cubicBezTo>
                  <a:cubicBezTo>
                    <a:pt x="113" y="562"/>
                    <a:pt x="113" y="562"/>
                    <a:pt x="113" y="562"/>
                  </a:cubicBezTo>
                  <a:cubicBezTo>
                    <a:pt x="111" y="565"/>
                    <a:pt x="111" y="565"/>
                    <a:pt x="111" y="565"/>
                  </a:cubicBezTo>
                  <a:cubicBezTo>
                    <a:pt x="112" y="560"/>
                    <a:pt x="112" y="560"/>
                    <a:pt x="112" y="560"/>
                  </a:cubicBezTo>
                  <a:cubicBezTo>
                    <a:pt x="108" y="560"/>
                    <a:pt x="108" y="560"/>
                    <a:pt x="108" y="560"/>
                  </a:cubicBezTo>
                  <a:cubicBezTo>
                    <a:pt x="107" y="563"/>
                    <a:pt x="107" y="563"/>
                    <a:pt x="107" y="563"/>
                  </a:cubicBezTo>
                  <a:cubicBezTo>
                    <a:pt x="101" y="564"/>
                    <a:pt x="101" y="564"/>
                    <a:pt x="101" y="564"/>
                  </a:cubicBezTo>
                  <a:cubicBezTo>
                    <a:pt x="96" y="557"/>
                    <a:pt x="96" y="557"/>
                    <a:pt x="96" y="557"/>
                  </a:cubicBezTo>
                  <a:cubicBezTo>
                    <a:pt x="96" y="557"/>
                    <a:pt x="92" y="557"/>
                    <a:pt x="85" y="562"/>
                  </a:cubicBezTo>
                  <a:cubicBezTo>
                    <a:pt x="80" y="567"/>
                    <a:pt x="93" y="567"/>
                    <a:pt x="94" y="569"/>
                  </a:cubicBezTo>
                  <a:cubicBezTo>
                    <a:pt x="94" y="571"/>
                    <a:pt x="91" y="570"/>
                    <a:pt x="88" y="570"/>
                  </a:cubicBezTo>
                  <a:cubicBezTo>
                    <a:pt x="83" y="571"/>
                    <a:pt x="87" y="577"/>
                    <a:pt x="87" y="577"/>
                  </a:cubicBezTo>
                  <a:cubicBezTo>
                    <a:pt x="87" y="577"/>
                    <a:pt x="104" y="571"/>
                    <a:pt x="105" y="573"/>
                  </a:cubicBezTo>
                  <a:cubicBezTo>
                    <a:pt x="106" y="575"/>
                    <a:pt x="99" y="575"/>
                    <a:pt x="99" y="575"/>
                  </a:cubicBezTo>
                  <a:cubicBezTo>
                    <a:pt x="99" y="578"/>
                    <a:pt x="99" y="578"/>
                    <a:pt x="99" y="578"/>
                  </a:cubicBezTo>
                  <a:cubicBezTo>
                    <a:pt x="99" y="578"/>
                    <a:pt x="108" y="575"/>
                    <a:pt x="113" y="573"/>
                  </a:cubicBezTo>
                  <a:cubicBezTo>
                    <a:pt x="118" y="573"/>
                    <a:pt x="122" y="579"/>
                    <a:pt x="122" y="579"/>
                  </a:cubicBezTo>
                  <a:cubicBezTo>
                    <a:pt x="122" y="579"/>
                    <a:pt x="117" y="576"/>
                    <a:pt x="114" y="575"/>
                  </a:cubicBezTo>
                  <a:cubicBezTo>
                    <a:pt x="112" y="575"/>
                    <a:pt x="104" y="578"/>
                    <a:pt x="104" y="578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2" y="581"/>
                    <a:pt x="102" y="581"/>
                    <a:pt x="102" y="581"/>
                  </a:cubicBezTo>
                  <a:cubicBezTo>
                    <a:pt x="100" y="582"/>
                    <a:pt x="100" y="582"/>
                    <a:pt x="100" y="582"/>
                  </a:cubicBezTo>
                  <a:cubicBezTo>
                    <a:pt x="102" y="586"/>
                    <a:pt x="102" y="586"/>
                    <a:pt x="102" y="586"/>
                  </a:cubicBezTo>
                  <a:cubicBezTo>
                    <a:pt x="108" y="586"/>
                    <a:pt x="108" y="586"/>
                    <a:pt x="108" y="586"/>
                  </a:cubicBezTo>
                  <a:cubicBezTo>
                    <a:pt x="104" y="591"/>
                    <a:pt x="104" y="591"/>
                    <a:pt x="104" y="591"/>
                  </a:cubicBezTo>
                  <a:cubicBezTo>
                    <a:pt x="96" y="584"/>
                    <a:pt x="96" y="584"/>
                    <a:pt x="96" y="584"/>
                  </a:cubicBezTo>
                  <a:cubicBezTo>
                    <a:pt x="92" y="582"/>
                    <a:pt x="92" y="582"/>
                    <a:pt x="92" y="582"/>
                  </a:cubicBezTo>
                  <a:cubicBezTo>
                    <a:pt x="92" y="585"/>
                    <a:pt x="92" y="585"/>
                    <a:pt x="92" y="585"/>
                  </a:cubicBezTo>
                  <a:cubicBezTo>
                    <a:pt x="92" y="585"/>
                    <a:pt x="90" y="581"/>
                    <a:pt x="87" y="580"/>
                  </a:cubicBezTo>
                  <a:cubicBezTo>
                    <a:pt x="83" y="579"/>
                    <a:pt x="83" y="583"/>
                    <a:pt x="83" y="583"/>
                  </a:cubicBezTo>
                  <a:cubicBezTo>
                    <a:pt x="83" y="583"/>
                    <a:pt x="81" y="581"/>
                    <a:pt x="80" y="580"/>
                  </a:cubicBezTo>
                  <a:cubicBezTo>
                    <a:pt x="78" y="580"/>
                    <a:pt x="74" y="583"/>
                    <a:pt x="74" y="583"/>
                  </a:cubicBezTo>
                  <a:cubicBezTo>
                    <a:pt x="74" y="583"/>
                    <a:pt x="72" y="582"/>
                    <a:pt x="69" y="581"/>
                  </a:cubicBezTo>
                  <a:cubicBezTo>
                    <a:pt x="66" y="581"/>
                    <a:pt x="65" y="584"/>
                    <a:pt x="63" y="587"/>
                  </a:cubicBezTo>
                  <a:cubicBezTo>
                    <a:pt x="62" y="589"/>
                    <a:pt x="74" y="586"/>
                    <a:pt x="74" y="586"/>
                  </a:cubicBezTo>
                  <a:cubicBezTo>
                    <a:pt x="74" y="586"/>
                    <a:pt x="82" y="592"/>
                    <a:pt x="84" y="594"/>
                  </a:cubicBezTo>
                  <a:cubicBezTo>
                    <a:pt x="85" y="595"/>
                    <a:pt x="84" y="600"/>
                    <a:pt x="84" y="600"/>
                  </a:cubicBezTo>
                  <a:cubicBezTo>
                    <a:pt x="87" y="603"/>
                    <a:pt x="87" y="603"/>
                    <a:pt x="87" y="603"/>
                  </a:cubicBezTo>
                  <a:cubicBezTo>
                    <a:pt x="92" y="604"/>
                    <a:pt x="92" y="604"/>
                    <a:pt x="92" y="604"/>
                  </a:cubicBezTo>
                  <a:cubicBezTo>
                    <a:pt x="94" y="603"/>
                    <a:pt x="94" y="603"/>
                    <a:pt x="94" y="603"/>
                  </a:cubicBezTo>
                  <a:cubicBezTo>
                    <a:pt x="93" y="605"/>
                    <a:pt x="93" y="605"/>
                    <a:pt x="93" y="605"/>
                  </a:cubicBezTo>
                  <a:cubicBezTo>
                    <a:pt x="85" y="605"/>
                    <a:pt x="85" y="605"/>
                    <a:pt x="85" y="605"/>
                  </a:cubicBezTo>
                  <a:cubicBezTo>
                    <a:pt x="87" y="608"/>
                    <a:pt x="87" y="608"/>
                    <a:pt x="87" y="608"/>
                  </a:cubicBezTo>
                  <a:cubicBezTo>
                    <a:pt x="83" y="614"/>
                    <a:pt x="83" y="614"/>
                    <a:pt x="83" y="614"/>
                  </a:cubicBezTo>
                  <a:cubicBezTo>
                    <a:pt x="85" y="616"/>
                    <a:pt x="85" y="616"/>
                    <a:pt x="85" y="616"/>
                  </a:cubicBezTo>
                  <a:cubicBezTo>
                    <a:pt x="80" y="615"/>
                    <a:pt x="80" y="615"/>
                    <a:pt x="80" y="615"/>
                  </a:cubicBezTo>
                  <a:cubicBezTo>
                    <a:pt x="84" y="607"/>
                    <a:pt x="84" y="607"/>
                    <a:pt x="84" y="607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82" y="594"/>
                    <a:pt x="82" y="594"/>
                    <a:pt x="82" y="594"/>
                  </a:cubicBezTo>
                  <a:cubicBezTo>
                    <a:pt x="73" y="593"/>
                    <a:pt x="73" y="593"/>
                    <a:pt x="73" y="593"/>
                  </a:cubicBezTo>
                  <a:cubicBezTo>
                    <a:pt x="73" y="597"/>
                    <a:pt x="73" y="597"/>
                    <a:pt x="73" y="597"/>
                  </a:cubicBezTo>
                  <a:cubicBezTo>
                    <a:pt x="69" y="595"/>
                    <a:pt x="69" y="595"/>
                    <a:pt x="69" y="595"/>
                  </a:cubicBezTo>
                  <a:cubicBezTo>
                    <a:pt x="66" y="595"/>
                    <a:pt x="66" y="595"/>
                    <a:pt x="66" y="595"/>
                  </a:cubicBezTo>
                  <a:cubicBezTo>
                    <a:pt x="72" y="611"/>
                    <a:pt x="72" y="611"/>
                    <a:pt x="72" y="611"/>
                  </a:cubicBezTo>
                  <a:cubicBezTo>
                    <a:pt x="71" y="613"/>
                    <a:pt x="71" y="613"/>
                    <a:pt x="71" y="613"/>
                  </a:cubicBezTo>
                  <a:cubicBezTo>
                    <a:pt x="68" y="607"/>
                    <a:pt x="68" y="607"/>
                    <a:pt x="68" y="607"/>
                  </a:cubicBezTo>
                  <a:cubicBezTo>
                    <a:pt x="65" y="602"/>
                    <a:pt x="65" y="602"/>
                    <a:pt x="65" y="602"/>
                  </a:cubicBezTo>
                  <a:cubicBezTo>
                    <a:pt x="65" y="602"/>
                    <a:pt x="66" y="598"/>
                    <a:pt x="63" y="597"/>
                  </a:cubicBezTo>
                  <a:cubicBezTo>
                    <a:pt x="61" y="596"/>
                    <a:pt x="52" y="603"/>
                    <a:pt x="52" y="603"/>
                  </a:cubicBezTo>
                  <a:cubicBezTo>
                    <a:pt x="56" y="607"/>
                    <a:pt x="56" y="607"/>
                    <a:pt x="56" y="607"/>
                  </a:cubicBezTo>
                  <a:cubicBezTo>
                    <a:pt x="50" y="607"/>
                    <a:pt x="50" y="607"/>
                    <a:pt x="50" y="607"/>
                  </a:cubicBezTo>
                  <a:cubicBezTo>
                    <a:pt x="50" y="607"/>
                    <a:pt x="52" y="608"/>
                    <a:pt x="55" y="610"/>
                  </a:cubicBezTo>
                  <a:cubicBezTo>
                    <a:pt x="57" y="613"/>
                    <a:pt x="61" y="616"/>
                    <a:pt x="61" y="616"/>
                  </a:cubicBezTo>
                  <a:cubicBezTo>
                    <a:pt x="55" y="615"/>
                    <a:pt x="55" y="615"/>
                    <a:pt x="55" y="615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8" y="617"/>
                    <a:pt x="48" y="617"/>
                    <a:pt x="48" y="617"/>
                  </a:cubicBezTo>
                  <a:cubicBezTo>
                    <a:pt x="51" y="610"/>
                    <a:pt x="51" y="610"/>
                    <a:pt x="51" y="610"/>
                  </a:cubicBezTo>
                  <a:cubicBezTo>
                    <a:pt x="51" y="610"/>
                    <a:pt x="50" y="608"/>
                    <a:pt x="46" y="608"/>
                  </a:cubicBezTo>
                  <a:cubicBezTo>
                    <a:pt x="42" y="608"/>
                    <a:pt x="43" y="612"/>
                    <a:pt x="43" y="612"/>
                  </a:cubicBezTo>
                  <a:cubicBezTo>
                    <a:pt x="43" y="612"/>
                    <a:pt x="40" y="608"/>
                    <a:pt x="38" y="608"/>
                  </a:cubicBezTo>
                  <a:cubicBezTo>
                    <a:pt x="34" y="608"/>
                    <a:pt x="33" y="612"/>
                    <a:pt x="33" y="612"/>
                  </a:cubicBezTo>
                  <a:cubicBezTo>
                    <a:pt x="39" y="615"/>
                    <a:pt x="39" y="615"/>
                    <a:pt x="39" y="615"/>
                  </a:cubicBezTo>
                  <a:cubicBezTo>
                    <a:pt x="38" y="616"/>
                    <a:pt x="38" y="616"/>
                    <a:pt x="38" y="616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32" y="609"/>
                    <a:pt x="32" y="609"/>
                    <a:pt x="32" y="609"/>
                  </a:cubicBezTo>
                  <a:cubicBezTo>
                    <a:pt x="28" y="605"/>
                    <a:pt x="28" y="605"/>
                    <a:pt x="28" y="605"/>
                  </a:cubicBezTo>
                  <a:cubicBezTo>
                    <a:pt x="25" y="609"/>
                    <a:pt x="25" y="609"/>
                    <a:pt x="25" y="609"/>
                  </a:cubicBezTo>
                  <a:cubicBezTo>
                    <a:pt x="26" y="611"/>
                    <a:pt x="26" y="611"/>
                    <a:pt x="26" y="611"/>
                  </a:cubicBezTo>
                  <a:cubicBezTo>
                    <a:pt x="26" y="611"/>
                    <a:pt x="32" y="616"/>
                    <a:pt x="32" y="618"/>
                  </a:cubicBezTo>
                  <a:cubicBezTo>
                    <a:pt x="31" y="621"/>
                    <a:pt x="25" y="620"/>
                    <a:pt x="25" y="624"/>
                  </a:cubicBezTo>
                  <a:cubicBezTo>
                    <a:pt x="25" y="627"/>
                    <a:pt x="34" y="623"/>
                    <a:pt x="34" y="623"/>
                  </a:cubicBezTo>
                  <a:cubicBezTo>
                    <a:pt x="50" y="627"/>
                    <a:pt x="50" y="627"/>
                    <a:pt x="50" y="627"/>
                  </a:cubicBezTo>
                  <a:cubicBezTo>
                    <a:pt x="49" y="628"/>
                    <a:pt x="49" y="628"/>
                    <a:pt x="49" y="628"/>
                  </a:cubicBezTo>
                  <a:cubicBezTo>
                    <a:pt x="64" y="632"/>
                    <a:pt x="64" y="632"/>
                    <a:pt x="64" y="632"/>
                  </a:cubicBezTo>
                  <a:cubicBezTo>
                    <a:pt x="71" y="629"/>
                    <a:pt x="71" y="629"/>
                    <a:pt x="71" y="629"/>
                  </a:cubicBezTo>
                  <a:cubicBezTo>
                    <a:pt x="78" y="631"/>
                    <a:pt x="78" y="631"/>
                    <a:pt x="78" y="631"/>
                  </a:cubicBezTo>
                  <a:cubicBezTo>
                    <a:pt x="78" y="632"/>
                    <a:pt x="78" y="632"/>
                    <a:pt x="78" y="632"/>
                  </a:cubicBezTo>
                  <a:cubicBezTo>
                    <a:pt x="72" y="631"/>
                    <a:pt x="72" y="631"/>
                    <a:pt x="72" y="631"/>
                  </a:cubicBezTo>
                  <a:cubicBezTo>
                    <a:pt x="65" y="633"/>
                    <a:pt x="65" y="633"/>
                    <a:pt x="65" y="633"/>
                  </a:cubicBezTo>
                  <a:cubicBezTo>
                    <a:pt x="56" y="631"/>
                    <a:pt x="56" y="631"/>
                    <a:pt x="56" y="631"/>
                  </a:cubicBezTo>
                  <a:cubicBezTo>
                    <a:pt x="55" y="633"/>
                    <a:pt x="55" y="633"/>
                    <a:pt x="55" y="633"/>
                  </a:cubicBezTo>
                  <a:cubicBezTo>
                    <a:pt x="55" y="633"/>
                    <a:pt x="42" y="626"/>
                    <a:pt x="35" y="626"/>
                  </a:cubicBezTo>
                  <a:cubicBezTo>
                    <a:pt x="28" y="626"/>
                    <a:pt x="29" y="629"/>
                    <a:pt x="29" y="629"/>
                  </a:cubicBezTo>
                  <a:cubicBezTo>
                    <a:pt x="29" y="629"/>
                    <a:pt x="28" y="629"/>
                    <a:pt x="25" y="631"/>
                  </a:cubicBezTo>
                  <a:cubicBezTo>
                    <a:pt x="23" y="632"/>
                    <a:pt x="25" y="635"/>
                    <a:pt x="25" y="635"/>
                  </a:cubicBezTo>
                  <a:cubicBezTo>
                    <a:pt x="25" y="635"/>
                    <a:pt x="19" y="634"/>
                    <a:pt x="17" y="638"/>
                  </a:cubicBezTo>
                  <a:cubicBezTo>
                    <a:pt x="16" y="641"/>
                    <a:pt x="19" y="642"/>
                    <a:pt x="19" y="642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2" y="646"/>
                    <a:pt x="32" y="646"/>
                    <a:pt x="32" y="646"/>
                  </a:cubicBezTo>
                  <a:cubicBezTo>
                    <a:pt x="26" y="644"/>
                    <a:pt x="26" y="644"/>
                    <a:pt x="26" y="644"/>
                  </a:cubicBezTo>
                  <a:cubicBezTo>
                    <a:pt x="24" y="646"/>
                    <a:pt x="24" y="646"/>
                    <a:pt x="24" y="646"/>
                  </a:cubicBezTo>
                  <a:cubicBezTo>
                    <a:pt x="28" y="648"/>
                    <a:pt x="28" y="648"/>
                    <a:pt x="28" y="648"/>
                  </a:cubicBezTo>
                  <a:cubicBezTo>
                    <a:pt x="23" y="648"/>
                    <a:pt x="23" y="648"/>
                    <a:pt x="23" y="648"/>
                  </a:cubicBezTo>
                  <a:cubicBezTo>
                    <a:pt x="23" y="650"/>
                    <a:pt x="23" y="650"/>
                    <a:pt x="23" y="650"/>
                  </a:cubicBezTo>
                  <a:cubicBezTo>
                    <a:pt x="32" y="652"/>
                    <a:pt x="32" y="652"/>
                    <a:pt x="32" y="652"/>
                  </a:cubicBezTo>
                  <a:cubicBezTo>
                    <a:pt x="17" y="655"/>
                    <a:pt x="17" y="655"/>
                    <a:pt x="17" y="655"/>
                  </a:cubicBezTo>
                  <a:cubicBezTo>
                    <a:pt x="17" y="657"/>
                    <a:pt x="17" y="657"/>
                    <a:pt x="17" y="657"/>
                  </a:cubicBezTo>
                  <a:cubicBezTo>
                    <a:pt x="20" y="657"/>
                    <a:pt x="20" y="657"/>
                    <a:pt x="20" y="657"/>
                  </a:cubicBezTo>
                  <a:cubicBezTo>
                    <a:pt x="20" y="660"/>
                    <a:pt x="20" y="660"/>
                    <a:pt x="20" y="660"/>
                  </a:cubicBezTo>
                  <a:cubicBezTo>
                    <a:pt x="30" y="660"/>
                    <a:pt x="30" y="660"/>
                    <a:pt x="30" y="660"/>
                  </a:cubicBezTo>
                  <a:cubicBezTo>
                    <a:pt x="17" y="663"/>
                    <a:pt x="17" y="663"/>
                    <a:pt x="17" y="663"/>
                  </a:cubicBezTo>
                  <a:cubicBezTo>
                    <a:pt x="15" y="667"/>
                    <a:pt x="15" y="667"/>
                    <a:pt x="15" y="667"/>
                  </a:cubicBezTo>
                  <a:cubicBezTo>
                    <a:pt x="22" y="670"/>
                    <a:pt x="22" y="670"/>
                    <a:pt x="22" y="670"/>
                  </a:cubicBezTo>
                  <a:cubicBezTo>
                    <a:pt x="18" y="670"/>
                    <a:pt x="18" y="670"/>
                    <a:pt x="18" y="670"/>
                  </a:cubicBezTo>
                  <a:cubicBezTo>
                    <a:pt x="23" y="675"/>
                    <a:pt x="23" y="675"/>
                    <a:pt x="23" y="675"/>
                  </a:cubicBezTo>
                  <a:cubicBezTo>
                    <a:pt x="26" y="675"/>
                    <a:pt x="26" y="675"/>
                    <a:pt x="26" y="675"/>
                  </a:cubicBezTo>
                  <a:cubicBezTo>
                    <a:pt x="28" y="677"/>
                    <a:pt x="28" y="677"/>
                    <a:pt x="28" y="677"/>
                  </a:cubicBezTo>
                  <a:cubicBezTo>
                    <a:pt x="48" y="672"/>
                    <a:pt x="48" y="672"/>
                    <a:pt x="48" y="672"/>
                  </a:cubicBezTo>
                  <a:cubicBezTo>
                    <a:pt x="46" y="675"/>
                    <a:pt x="46" y="675"/>
                    <a:pt x="46" y="675"/>
                  </a:cubicBezTo>
                  <a:cubicBezTo>
                    <a:pt x="55" y="674"/>
                    <a:pt x="55" y="674"/>
                    <a:pt x="55" y="674"/>
                  </a:cubicBezTo>
                  <a:cubicBezTo>
                    <a:pt x="55" y="674"/>
                    <a:pt x="56" y="677"/>
                    <a:pt x="61" y="677"/>
                  </a:cubicBezTo>
                  <a:cubicBezTo>
                    <a:pt x="65" y="677"/>
                    <a:pt x="63" y="668"/>
                    <a:pt x="63" y="668"/>
                  </a:cubicBezTo>
                  <a:cubicBezTo>
                    <a:pt x="66" y="667"/>
                    <a:pt x="66" y="667"/>
                    <a:pt x="66" y="667"/>
                  </a:cubicBezTo>
                  <a:cubicBezTo>
                    <a:pt x="71" y="661"/>
                    <a:pt x="71" y="661"/>
                    <a:pt x="71" y="661"/>
                  </a:cubicBezTo>
                  <a:cubicBezTo>
                    <a:pt x="72" y="662"/>
                    <a:pt x="72" y="662"/>
                    <a:pt x="72" y="662"/>
                  </a:cubicBezTo>
                  <a:cubicBezTo>
                    <a:pt x="67" y="670"/>
                    <a:pt x="67" y="670"/>
                    <a:pt x="67" y="670"/>
                  </a:cubicBezTo>
                  <a:cubicBezTo>
                    <a:pt x="69" y="674"/>
                    <a:pt x="69" y="674"/>
                    <a:pt x="69" y="674"/>
                  </a:cubicBezTo>
                  <a:cubicBezTo>
                    <a:pt x="79" y="675"/>
                    <a:pt x="79" y="675"/>
                    <a:pt x="79" y="675"/>
                  </a:cubicBezTo>
                  <a:cubicBezTo>
                    <a:pt x="83" y="671"/>
                    <a:pt x="83" y="671"/>
                    <a:pt x="83" y="671"/>
                  </a:cubicBezTo>
                  <a:cubicBezTo>
                    <a:pt x="83" y="675"/>
                    <a:pt x="83" y="675"/>
                    <a:pt x="83" y="675"/>
                  </a:cubicBezTo>
                  <a:cubicBezTo>
                    <a:pt x="76" y="677"/>
                    <a:pt x="76" y="677"/>
                    <a:pt x="76" y="677"/>
                  </a:cubicBezTo>
                  <a:cubicBezTo>
                    <a:pt x="78" y="679"/>
                    <a:pt x="78" y="679"/>
                    <a:pt x="78" y="679"/>
                  </a:cubicBezTo>
                  <a:cubicBezTo>
                    <a:pt x="90" y="675"/>
                    <a:pt x="90" y="675"/>
                    <a:pt x="90" y="675"/>
                  </a:cubicBezTo>
                  <a:cubicBezTo>
                    <a:pt x="89" y="668"/>
                    <a:pt x="89" y="668"/>
                    <a:pt x="89" y="668"/>
                  </a:cubicBezTo>
                  <a:cubicBezTo>
                    <a:pt x="89" y="668"/>
                    <a:pt x="91" y="664"/>
                    <a:pt x="93" y="661"/>
                  </a:cubicBezTo>
                  <a:cubicBezTo>
                    <a:pt x="94" y="659"/>
                    <a:pt x="98" y="656"/>
                    <a:pt x="98" y="656"/>
                  </a:cubicBezTo>
                  <a:cubicBezTo>
                    <a:pt x="99" y="658"/>
                    <a:pt x="99" y="658"/>
                    <a:pt x="99" y="658"/>
                  </a:cubicBezTo>
                  <a:cubicBezTo>
                    <a:pt x="99" y="658"/>
                    <a:pt x="97" y="660"/>
                    <a:pt x="95" y="662"/>
                  </a:cubicBezTo>
                  <a:cubicBezTo>
                    <a:pt x="93" y="663"/>
                    <a:pt x="90" y="668"/>
                    <a:pt x="90" y="668"/>
                  </a:cubicBezTo>
                  <a:cubicBezTo>
                    <a:pt x="92" y="671"/>
                    <a:pt x="92" y="671"/>
                    <a:pt x="92" y="671"/>
                  </a:cubicBezTo>
                  <a:cubicBezTo>
                    <a:pt x="93" y="675"/>
                    <a:pt x="93" y="675"/>
                    <a:pt x="93" y="675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98" y="676"/>
                    <a:pt x="98" y="676"/>
                    <a:pt x="98" y="676"/>
                  </a:cubicBezTo>
                  <a:cubicBezTo>
                    <a:pt x="96" y="676"/>
                    <a:pt x="96" y="676"/>
                    <a:pt x="96" y="676"/>
                  </a:cubicBezTo>
                  <a:cubicBezTo>
                    <a:pt x="92" y="677"/>
                    <a:pt x="92" y="677"/>
                    <a:pt x="92" y="677"/>
                  </a:cubicBezTo>
                  <a:cubicBezTo>
                    <a:pt x="92" y="680"/>
                    <a:pt x="92" y="680"/>
                    <a:pt x="92" y="680"/>
                  </a:cubicBezTo>
                  <a:cubicBezTo>
                    <a:pt x="88" y="678"/>
                    <a:pt x="88" y="678"/>
                    <a:pt x="88" y="678"/>
                  </a:cubicBezTo>
                  <a:cubicBezTo>
                    <a:pt x="80" y="680"/>
                    <a:pt x="80" y="680"/>
                    <a:pt x="80" y="680"/>
                  </a:cubicBezTo>
                  <a:cubicBezTo>
                    <a:pt x="80" y="686"/>
                    <a:pt x="80" y="686"/>
                    <a:pt x="80" y="686"/>
                  </a:cubicBezTo>
                  <a:cubicBezTo>
                    <a:pt x="82" y="691"/>
                    <a:pt x="82" y="691"/>
                    <a:pt x="82" y="691"/>
                  </a:cubicBezTo>
                  <a:cubicBezTo>
                    <a:pt x="79" y="688"/>
                    <a:pt x="79" y="688"/>
                    <a:pt x="79" y="688"/>
                  </a:cubicBezTo>
                  <a:cubicBezTo>
                    <a:pt x="76" y="690"/>
                    <a:pt x="76" y="690"/>
                    <a:pt x="76" y="690"/>
                  </a:cubicBezTo>
                  <a:cubicBezTo>
                    <a:pt x="78" y="686"/>
                    <a:pt x="78" y="686"/>
                    <a:pt x="78" y="686"/>
                  </a:cubicBezTo>
                  <a:cubicBezTo>
                    <a:pt x="77" y="681"/>
                    <a:pt x="77" y="681"/>
                    <a:pt x="77" y="68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4" y="678"/>
                    <a:pt x="74" y="678"/>
                    <a:pt x="74" y="678"/>
                  </a:cubicBezTo>
                  <a:cubicBezTo>
                    <a:pt x="74" y="678"/>
                    <a:pt x="67" y="676"/>
                    <a:pt x="66" y="675"/>
                  </a:cubicBezTo>
                  <a:cubicBezTo>
                    <a:pt x="65" y="675"/>
                    <a:pt x="64" y="679"/>
                    <a:pt x="64" y="679"/>
                  </a:cubicBezTo>
                  <a:cubicBezTo>
                    <a:pt x="56" y="680"/>
                    <a:pt x="56" y="680"/>
                    <a:pt x="56" y="680"/>
                  </a:cubicBezTo>
                  <a:cubicBezTo>
                    <a:pt x="56" y="678"/>
                    <a:pt x="56" y="678"/>
                    <a:pt x="56" y="678"/>
                  </a:cubicBezTo>
                  <a:cubicBezTo>
                    <a:pt x="42" y="676"/>
                    <a:pt x="42" y="676"/>
                    <a:pt x="42" y="676"/>
                  </a:cubicBezTo>
                  <a:cubicBezTo>
                    <a:pt x="41" y="678"/>
                    <a:pt x="41" y="678"/>
                    <a:pt x="41" y="678"/>
                  </a:cubicBezTo>
                  <a:cubicBezTo>
                    <a:pt x="39" y="676"/>
                    <a:pt x="39" y="676"/>
                    <a:pt x="39" y="676"/>
                  </a:cubicBezTo>
                  <a:cubicBezTo>
                    <a:pt x="33" y="678"/>
                    <a:pt x="33" y="678"/>
                    <a:pt x="33" y="678"/>
                  </a:cubicBezTo>
                  <a:cubicBezTo>
                    <a:pt x="31" y="681"/>
                    <a:pt x="31" y="681"/>
                    <a:pt x="31" y="681"/>
                  </a:cubicBezTo>
                  <a:cubicBezTo>
                    <a:pt x="24" y="680"/>
                    <a:pt x="24" y="680"/>
                    <a:pt x="24" y="680"/>
                  </a:cubicBezTo>
                  <a:cubicBezTo>
                    <a:pt x="24" y="680"/>
                    <a:pt x="23" y="678"/>
                    <a:pt x="19" y="678"/>
                  </a:cubicBezTo>
                  <a:cubicBezTo>
                    <a:pt x="16" y="678"/>
                    <a:pt x="15" y="682"/>
                    <a:pt x="15" y="682"/>
                  </a:cubicBezTo>
                  <a:cubicBezTo>
                    <a:pt x="18" y="686"/>
                    <a:pt x="18" y="686"/>
                    <a:pt x="18" y="686"/>
                  </a:cubicBezTo>
                  <a:cubicBezTo>
                    <a:pt x="14" y="687"/>
                    <a:pt x="14" y="687"/>
                    <a:pt x="14" y="687"/>
                  </a:cubicBezTo>
                  <a:cubicBezTo>
                    <a:pt x="14" y="687"/>
                    <a:pt x="14" y="692"/>
                    <a:pt x="18" y="693"/>
                  </a:cubicBezTo>
                  <a:cubicBezTo>
                    <a:pt x="22" y="695"/>
                    <a:pt x="24" y="691"/>
                    <a:pt x="24" y="691"/>
                  </a:cubicBezTo>
                  <a:cubicBezTo>
                    <a:pt x="28" y="691"/>
                    <a:pt x="28" y="691"/>
                    <a:pt x="28" y="691"/>
                  </a:cubicBezTo>
                  <a:cubicBezTo>
                    <a:pt x="27" y="692"/>
                    <a:pt x="27" y="692"/>
                    <a:pt x="27" y="692"/>
                  </a:cubicBezTo>
                  <a:cubicBezTo>
                    <a:pt x="27" y="692"/>
                    <a:pt x="23" y="692"/>
                    <a:pt x="22" y="697"/>
                  </a:cubicBezTo>
                  <a:cubicBezTo>
                    <a:pt x="20" y="703"/>
                    <a:pt x="27" y="704"/>
                    <a:pt x="27" y="704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7" y="707"/>
                    <a:pt x="27" y="707"/>
                    <a:pt x="27" y="707"/>
                  </a:cubicBezTo>
                  <a:cubicBezTo>
                    <a:pt x="30" y="707"/>
                    <a:pt x="30" y="707"/>
                    <a:pt x="30" y="707"/>
                  </a:cubicBezTo>
                  <a:cubicBezTo>
                    <a:pt x="30" y="707"/>
                    <a:pt x="29" y="705"/>
                    <a:pt x="29" y="703"/>
                  </a:cubicBezTo>
                  <a:cubicBezTo>
                    <a:pt x="29" y="702"/>
                    <a:pt x="32" y="701"/>
                    <a:pt x="32" y="701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8" y="704"/>
                    <a:pt x="36" y="708"/>
                    <a:pt x="35" y="711"/>
                  </a:cubicBezTo>
                  <a:cubicBezTo>
                    <a:pt x="34" y="714"/>
                    <a:pt x="34" y="719"/>
                    <a:pt x="34" y="719"/>
                  </a:cubicBezTo>
                  <a:cubicBezTo>
                    <a:pt x="25" y="720"/>
                    <a:pt x="25" y="720"/>
                    <a:pt x="25" y="720"/>
                  </a:cubicBezTo>
                  <a:cubicBezTo>
                    <a:pt x="25" y="720"/>
                    <a:pt x="24" y="713"/>
                    <a:pt x="19" y="714"/>
                  </a:cubicBezTo>
                  <a:cubicBezTo>
                    <a:pt x="15" y="715"/>
                    <a:pt x="19" y="723"/>
                    <a:pt x="19" y="723"/>
                  </a:cubicBezTo>
                  <a:cubicBezTo>
                    <a:pt x="19" y="723"/>
                    <a:pt x="15" y="723"/>
                    <a:pt x="15" y="727"/>
                  </a:cubicBezTo>
                  <a:cubicBezTo>
                    <a:pt x="15" y="731"/>
                    <a:pt x="18" y="730"/>
                    <a:pt x="18" y="730"/>
                  </a:cubicBezTo>
                  <a:cubicBezTo>
                    <a:pt x="17" y="733"/>
                    <a:pt x="17" y="733"/>
                    <a:pt x="17" y="733"/>
                  </a:cubicBezTo>
                  <a:cubicBezTo>
                    <a:pt x="22" y="738"/>
                    <a:pt x="22" y="738"/>
                    <a:pt x="22" y="738"/>
                  </a:cubicBezTo>
                  <a:cubicBezTo>
                    <a:pt x="26" y="735"/>
                    <a:pt x="26" y="735"/>
                    <a:pt x="26" y="735"/>
                  </a:cubicBezTo>
                  <a:cubicBezTo>
                    <a:pt x="29" y="727"/>
                    <a:pt x="29" y="727"/>
                    <a:pt x="29" y="727"/>
                  </a:cubicBezTo>
                  <a:cubicBezTo>
                    <a:pt x="27" y="734"/>
                    <a:pt x="27" y="734"/>
                    <a:pt x="27" y="734"/>
                  </a:cubicBezTo>
                  <a:cubicBezTo>
                    <a:pt x="27" y="738"/>
                    <a:pt x="27" y="738"/>
                    <a:pt x="27" y="738"/>
                  </a:cubicBezTo>
                  <a:cubicBezTo>
                    <a:pt x="32" y="738"/>
                    <a:pt x="32" y="738"/>
                    <a:pt x="32" y="738"/>
                  </a:cubicBezTo>
                  <a:cubicBezTo>
                    <a:pt x="33" y="739"/>
                    <a:pt x="31" y="743"/>
                    <a:pt x="31" y="743"/>
                  </a:cubicBezTo>
                  <a:cubicBezTo>
                    <a:pt x="32" y="744"/>
                    <a:pt x="32" y="744"/>
                    <a:pt x="32" y="744"/>
                  </a:cubicBezTo>
                  <a:cubicBezTo>
                    <a:pt x="30" y="744"/>
                    <a:pt x="30" y="744"/>
                    <a:pt x="30" y="744"/>
                  </a:cubicBezTo>
                  <a:cubicBezTo>
                    <a:pt x="30" y="746"/>
                    <a:pt x="30" y="746"/>
                    <a:pt x="30" y="746"/>
                  </a:cubicBezTo>
                  <a:cubicBezTo>
                    <a:pt x="34" y="750"/>
                    <a:pt x="34" y="750"/>
                    <a:pt x="34" y="750"/>
                  </a:cubicBezTo>
                  <a:cubicBezTo>
                    <a:pt x="38" y="745"/>
                    <a:pt x="38" y="745"/>
                    <a:pt x="38" y="745"/>
                  </a:cubicBezTo>
                  <a:cubicBezTo>
                    <a:pt x="38" y="738"/>
                    <a:pt x="38" y="738"/>
                    <a:pt x="38" y="738"/>
                  </a:cubicBezTo>
                  <a:cubicBezTo>
                    <a:pt x="40" y="737"/>
                    <a:pt x="40" y="737"/>
                    <a:pt x="40" y="737"/>
                  </a:cubicBezTo>
                  <a:cubicBezTo>
                    <a:pt x="42" y="731"/>
                    <a:pt x="42" y="731"/>
                    <a:pt x="42" y="731"/>
                  </a:cubicBezTo>
                  <a:cubicBezTo>
                    <a:pt x="42" y="731"/>
                    <a:pt x="45" y="734"/>
                    <a:pt x="47" y="731"/>
                  </a:cubicBezTo>
                  <a:cubicBezTo>
                    <a:pt x="48" y="730"/>
                    <a:pt x="47" y="726"/>
                    <a:pt x="47" y="726"/>
                  </a:cubicBezTo>
                  <a:cubicBezTo>
                    <a:pt x="47" y="726"/>
                    <a:pt x="49" y="725"/>
                    <a:pt x="55" y="723"/>
                  </a:cubicBezTo>
                  <a:cubicBezTo>
                    <a:pt x="59" y="720"/>
                    <a:pt x="64" y="720"/>
                    <a:pt x="64" y="720"/>
                  </a:cubicBezTo>
                  <a:cubicBezTo>
                    <a:pt x="64" y="722"/>
                    <a:pt x="64" y="722"/>
                    <a:pt x="64" y="722"/>
                  </a:cubicBezTo>
                  <a:cubicBezTo>
                    <a:pt x="71" y="719"/>
                    <a:pt x="71" y="719"/>
                    <a:pt x="71" y="719"/>
                  </a:cubicBezTo>
                  <a:cubicBezTo>
                    <a:pt x="72" y="715"/>
                    <a:pt x="72" y="715"/>
                    <a:pt x="72" y="715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3" y="719"/>
                    <a:pt x="73" y="719"/>
                    <a:pt x="73" y="719"/>
                  </a:cubicBezTo>
                  <a:cubicBezTo>
                    <a:pt x="77" y="720"/>
                    <a:pt x="77" y="720"/>
                    <a:pt x="77" y="720"/>
                  </a:cubicBezTo>
                  <a:cubicBezTo>
                    <a:pt x="77" y="720"/>
                    <a:pt x="68" y="721"/>
                    <a:pt x="65" y="726"/>
                  </a:cubicBezTo>
                  <a:cubicBezTo>
                    <a:pt x="62" y="731"/>
                    <a:pt x="63" y="735"/>
                    <a:pt x="62" y="738"/>
                  </a:cubicBezTo>
                  <a:cubicBezTo>
                    <a:pt x="62" y="740"/>
                    <a:pt x="58" y="743"/>
                    <a:pt x="58" y="743"/>
                  </a:cubicBezTo>
                  <a:cubicBezTo>
                    <a:pt x="62" y="726"/>
                    <a:pt x="62" y="726"/>
                    <a:pt x="62" y="726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62" y="723"/>
                    <a:pt x="58" y="724"/>
                    <a:pt x="56" y="726"/>
                  </a:cubicBezTo>
                  <a:cubicBezTo>
                    <a:pt x="52" y="727"/>
                    <a:pt x="47" y="735"/>
                    <a:pt x="47" y="735"/>
                  </a:cubicBezTo>
                  <a:cubicBezTo>
                    <a:pt x="47" y="735"/>
                    <a:pt x="44" y="736"/>
                    <a:pt x="44" y="739"/>
                  </a:cubicBezTo>
                  <a:cubicBezTo>
                    <a:pt x="45" y="742"/>
                    <a:pt x="50" y="740"/>
                    <a:pt x="48" y="742"/>
                  </a:cubicBezTo>
                  <a:cubicBezTo>
                    <a:pt x="47" y="743"/>
                    <a:pt x="43" y="743"/>
                    <a:pt x="41" y="745"/>
                  </a:cubicBezTo>
                  <a:cubicBezTo>
                    <a:pt x="39" y="747"/>
                    <a:pt x="39" y="752"/>
                    <a:pt x="39" y="752"/>
                  </a:cubicBezTo>
                  <a:cubicBezTo>
                    <a:pt x="32" y="752"/>
                    <a:pt x="32" y="752"/>
                    <a:pt x="32" y="752"/>
                  </a:cubicBezTo>
                  <a:cubicBezTo>
                    <a:pt x="28" y="757"/>
                    <a:pt x="28" y="757"/>
                    <a:pt x="28" y="757"/>
                  </a:cubicBezTo>
                  <a:cubicBezTo>
                    <a:pt x="33" y="762"/>
                    <a:pt x="33" y="762"/>
                    <a:pt x="33" y="762"/>
                  </a:cubicBezTo>
                  <a:cubicBezTo>
                    <a:pt x="39" y="759"/>
                    <a:pt x="39" y="759"/>
                    <a:pt x="39" y="759"/>
                  </a:cubicBezTo>
                  <a:cubicBezTo>
                    <a:pt x="38" y="764"/>
                    <a:pt x="38" y="764"/>
                    <a:pt x="38" y="764"/>
                  </a:cubicBezTo>
                  <a:cubicBezTo>
                    <a:pt x="40" y="765"/>
                    <a:pt x="40" y="765"/>
                    <a:pt x="40" y="765"/>
                  </a:cubicBezTo>
                  <a:cubicBezTo>
                    <a:pt x="46" y="760"/>
                    <a:pt x="46" y="760"/>
                    <a:pt x="46" y="760"/>
                  </a:cubicBezTo>
                  <a:cubicBezTo>
                    <a:pt x="42" y="766"/>
                    <a:pt x="42" y="766"/>
                    <a:pt x="42" y="766"/>
                  </a:cubicBezTo>
                  <a:cubicBezTo>
                    <a:pt x="44" y="768"/>
                    <a:pt x="44" y="768"/>
                    <a:pt x="44" y="768"/>
                  </a:cubicBezTo>
                  <a:cubicBezTo>
                    <a:pt x="34" y="765"/>
                    <a:pt x="34" y="765"/>
                    <a:pt x="34" y="765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72"/>
                    <a:pt x="34" y="772"/>
                    <a:pt x="34" y="772"/>
                  </a:cubicBezTo>
                  <a:cubicBezTo>
                    <a:pt x="26" y="768"/>
                    <a:pt x="26" y="768"/>
                    <a:pt x="26" y="768"/>
                  </a:cubicBezTo>
                  <a:cubicBezTo>
                    <a:pt x="23" y="770"/>
                    <a:pt x="23" y="770"/>
                    <a:pt x="23" y="770"/>
                  </a:cubicBezTo>
                  <a:cubicBezTo>
                    <a:pt x="20" y="778"/>
                    <a:pt x="20" y="778"/>
                    <a:pt x="20" y="778"/>
                  </a:cubicBezTo>
                  <a:cubicBezTo>
                    <a:pt x="18" y="780"/>
                    <a:pt x="18" y="780"/>
                    <a:pt x="18" y="780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9" y="767"/>
                    <a:pt x="19" y="767"/>
                    <a:pt x="19" y="767"/>
                  </a:cubicBezTo>
                  <a:cubicBezTo>
                    <a:pt x="18" y="771"/>
                    <a:pt x="18" y="771"/>
                    <a:pt x="18" y="771"/>
                  </a:cubicBezTo>
                  <a:cubicBezTo>
                    <a:pt x="15" y="771"/>
                    <a:pt x="15" y="771"/>
                    <a:pt x="15" y="771"/>
                  </a:cubicBezTo>
                  <a:cubicBezTo>
                    <a:pt x="10" y="780"/>
                    <a:pt x="10" y="780"/>
                    <a:pt x="10" y="780"/>
                  </a:cubicBezTo>
                  <a:cubicBezTo>
                    <a:pt x="13" y="793"/>
                    <a:pt x="13" y="793"/>
                    <a:pt x="13" y="793"/>
                  </a:cubicBezTo>
                  <a:cubicBezTo>
                    <a:pt x="14" y="792"/>
                    <a:pt x="14" y="792"/>
                    <a:pt x="14" y="792"/>
                  </a:cubicBezTo>
                  <a:cubicBezTo>
                    <a:pt x="14" y="800"/>
                    <a:pt x="14" y="800"/>
                    <a:pt x="14" y="800"/>
                  </a:cubicBezTo>
                  <a:cubicBezTo>
                    <a:pt x="17" y="800"/>
                    <a:pt x="17" y="800"/>
                    <a:pt x="17" y="800"/>
                  </a:cubicBezTo>
                  <a:cubicBezTo>
                    <a:pt x="17" y="793"/>
                    <a:pt x="17" y="793"/>
                    <a:pt x="17" y="793"/>
                  </a:cubicBezTo>
                  <a:cubicBezTo>
                    <a:pt x="22" y="792"/>
                    <a:pt x="22" y="792"/>
                    <a:pt x="22" y="792"/>
                  </a:cubicBezTo>
                  <a:cubicBezTo>
                    <a:pt x="22" y="789"/>
                    <a:pt x="22" y="789"/>
                    <a:pt x="22" y="789"/>
                  </a:cubicBezTo>
                  <a:cubicBezTo>
                    <a:pt x="25" y="791"/>
                    <a:pt x="25" y="791"/>
                    <a:pt x="25" y="791"/>
                  </a:cubicBezTo>
                  <a:cubicBezTo>
                    <a:pt x="23" y="794"/>
                    <a:pt x="23" y="794"/>
                    <a:pt x="23" y="794"/>
                  </a:cubicBezTo>
                  <a:cubicBezTo>
                    <a:pt x="24" y="796"/>
                    <a:pt x="24" y="796"/>
                    <a:pt x="24" y="796"/>
                  </a:cubicBezTo>
                  <a:cubicBezTo>
                    <a:pt x="32" y="788"/>
                    <a:pt x="32" y="788"/>
                    <a:pt x="32" y="788"/>
                  </a:cubicBezTo>
                  <a:cubicBezTo>
                    <a:pt x="30" y="784"/>
                    <a:pt x="30" y="784"/>
                    <a:pt x="30" y="784"/>
                  </a:cubicBezTo>
                  <a:cubicBezTo>
                    <a:pt x="26" y="785"/>
                    <a:pt x="26" y="785"/>
                    <a:pt x="26" y="785"/>
                  </a:cubicBezTo>
                  <a:cubicBezTo>
                    <a:pt x="31" y="782"/>
                    <a:pt x="31" y="782"/>
                    <a:pt x="31" y="782"/>
                  </a:cubicBezTo>
                  <a:cubicBezTo>
                    <a:pt x="32" y="778"/>
                    <a:pt x="32" y="778"/>
                    <a:pt x="32" y="778"/>
                  </a:cubicBezTo>
                  <a:cubicBezTo>
                    <a:pt x="34" y="783"/>
                    <a:pt x="34" y="783"/>
                    <a:pt x="34" y="783"/>
                  </a:cubicBezTo>
                  <a:cubicBezTo>
                    <a:pt x="39" y="784"/>
                    <a:pt x="39" y="784"/>
                    <a:pt x="39" y="784"/>
                  </a:cubicBezTo>
                  <a:cubicBezTo>
                    <a:pt x="35" y="785"/>
                    <a:pt x="35" y="785"/>
                    <a:pt x="35" y="785"/>
                  </a:cubicBezTo>
                  <a:cubicBezTo>
                    <a:pt x="36" y="788"/>
                    <a:pt x="36" y="788"/>
                    <a:pt x="36" y="788"/>
                  </a:cubicBezTo>
                  <a:cubicBezTo>
                    <a:pt x="41" y="786"/>
                    <a:pt x="41" y="786"/>
                    <a:pt x="41" y="786"/>
                  </a:cubicBezTo>
                  <a:cubicBezTo>
                    <a:pt x="43" y="780"/>
                    <a:pt x="43" y="780"/>
                    <a:pt x="43" y="780"/>
                  </a:cubicBezTo>
                  <a:cubicBezTo>
                    <a:pt x="45" y="778"/>
                    <a:pt x="45" y="778"/>
                    <a:pt x="45" y="778"/>
                  </a:cubicBezTo>
                  <a:cubicBezTo>
                    <a:pt x="47" y="773"/>
                    <a:pt x="47" y="773"/>
                    <a:pt x="47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7" y="780"/>
                    <a:pt x="47" y="780"/>
                    <a:pt x="47" y="780"/>
                  </a:cubicBezTo>
                  <a:cubicBezTo>
                    <a:pt x="52" y="777"/>
                    <a:pt x="52" y="777"/>
                    <a:pt x="52" y="777"/>
                  </a:cubicBezTo>
                  <a:cubicBezTo>
                    <a:pt x="52" y="778"/>
                    <a:pt x="52" y="778"/>
                    <a:pt x="52" y="778"/>
                  </a:cubicBezTo>
                  <a:cubicBezTo>
                    <a:pt x="45" y="782"/>
                    <a:pt x="45" y="782"/>
                    <a:pt x="45" y="782"/>
                  </a:cubicBezTo>
                  <a:cubicBezTo>
                    <a:pt x="44" y="788"/>
                    <a:pt x="44" y="788"/>
                    <a:pt x="44" y="788"/>
                  </a:cubicBezTo>
                  <a:cubicBezTo>
                    <a:pt x="38" y="790"/>
                    <a:pt x="38" y="790"/>
                    <a:pt x="38" y="790"/>
                  </a:cubicBezTo>
                  <a:cubicBezTo>
                    <a:pt x="40" y="792"/>
                    <a:pt x="40" y="792"/>
                    <a:pt x="40" y="792"/>
                  </a:cubicBezTo>
                  <a:cubicBezTo>
                    <a:pt x="40" y="792"/>
                    <a:pt x="41" y="790"/>
                    <a:pt x="44" y="791"/>
                  </a:cubicBezTo>
                  <a:cubicBezTo>
                    <a:pt x="46" y="792"/>
                    <a:pt x="41" y="796"/>
                    <a:pt x="41" y="796"/>
                  </a:cubicBezTo>
                  <a:cubicBezTo>
                    <a:pt x="49" y="793"/>
                    <a:pt x="49" y="793"/>
                    <a:pt x="49" y="793"/>
                  </a:cubicBezTo>
                  <a:cubicBezTo>
                    <a:pt x="49" y="793"/>
                    <a:pt x="42" y="797"/>
                    <a:pt x="41" y="798"/>
                  </a:cubicBezTo>
                  <a:cubicBezTo>
                    <a:pt x="39" y="799"/>
                    <a:pt x="36" y="803"/>
                    <a:pt x="36" y="803"/>
                  </a:cubicBezTo>
                  <a:cubicBezTo>
                    <a:pt x="38" y="805"/>
                    <a:pt x="38" y="805"/>
                    <a:pt x="38" y="805"/>
                  </a:cubicBezTo>
                  <a:cubicBezTo>
                    <a:pt x="31" y="807"/>
                    <a:pt x="31" y="807"/>
                    <a:pt x="31" y="807"/>
                  </a:cubicBezTo>
                  <a:cubicBezTo>
                    <a:pt x="34" y="813"/>
                    <a:pt x="34" y="813"/>
                    <a:pt x="34" y="813"/>
                  </a:cubicBezTo>
                  <a:cubicBezTo>
                    <a:pt x="35" y="817"/>
                    <a:pt x="35" y="817"/>
                    <a:pt x="35" y="817"/>
                  </a:cubicBezTo>
                  <a:cubicBezTo>
                    <a:pt x="43" y="813"/>
                    <a:pt x="43" y="813"/>
                    <a:pt x="43" y="813"/>
                  </a:cubicBezTo>
                  <a:cubicBezTo>
                    <a:pt x="50" y="814"/>
                    <a:pt x="50" y="814"/>
                    <a:pt x="50" y="814"/>
                  </a:cubicBezTo>
                  <a:cubicBezTo>
                    <a:pt x="44" y="815"/>
                    <a:pt x="44" y="815"/>
                    <a:pt x="44" y="815"/>
                  </a:cubicBezTo>
                  <a:cubicBezTo>
                    <a:pt x="38" y="819"/>
                    <a:pt x="38" y="819"/>
                    <a:pt x="38" y="819"/>
                  </a:cubicBezTo>
                  <a:cubicBezTo>
                    <a:pt x="38" y="822"/>
                    <a:pt x="38" y="822"/>
                    <a:pt x="38" y="822"/>
                  </a:cubicBezTo>
                  <a:cubicBezTo>
                    <a:pt x="30" y="816"/>
                    <a:pt x="30" y="816"/>
                    <a:pt x="30" y="816"/>
                  </a:cubicBezTo>
                  <a:cubicBezTo>
                    <a:pt x="25" y="820"/>
                    <a:pt x="25" y="820"/>
                    <a:pt x="25" y="820"/>
                  </a:cubicBezTo>
                  <a:cubicBezTo>
                    <a:pt x="25" y="814"/>
                    <a:pt x="25" y="814"/>
                    <a:pt x="25" y="814"/>
                  </a:cubicBezTo>
                  <a:cubicBezTo>
                    <a:pt x="19" y="812"/>
                    <a:pt x="19" y="812"/>
                    <a:pt x="19" y="812"/>
                  </a:cubicBezTo>
                  <a:cubicBezTo>
                    <a:pt x="20" y="820"/>
                    <a:pt x="20" y="820"/>
                    <a:pt x="20" y="820"/>
                  </a:cubicBezTo>
                  <a:cubicBezTo>
                    <a:pt x="18" y="821"/>
                    <a:pt x="18" y="821"/>
                    <a:pt x="18" y="821"/>
                  </a:cubicBezTo>
                  <a:cubicBezTo>
                    <a:pt x="17" y="824"/>
                    <a:pt x="17" y="824"/>
                    <a:pt x="17" y="824"/>
                  </a:cubicBezTo>
                  <a:cubicBezTo>
                    <a:pt x="14" y="829"/>
                    <a:pt x="14" y="829"/>
                    <a:pt x="14" y="829"/>
                  </a:cubicBezTo>
                  <a:cubicBezTo>
                    <a:pt x="14" y="829"/>
                    <a:pt x="18" y="841"/>
                    <a:pt x="23" y="844"/>
                  </a:cubicBezTo>
                  <a:cubicBezTo>
                    <a:pt x="26" y="847"/>
                    <a:pt x="29" y="849"/>
                    <a:pt x="31" y="853"/>
                  </a:cubicBezTo>
                  <a:cubicBezTo>
                    <a:pt x="33" y="857"/>
                    <a:pt x="49" y="863"/>
                    <a:pt x="49" y="863"/>
                  </a:cubicBezTo>
                  <a:cubicBezTo>
                    <a:pt x="50" y="866"/>
                    <a:pt x="50" y="866"/>
                    <a:pt x="50" y="866"/>
                  </a:cubicBezTo>
                  <a:cubicBezTo>
                    <a:pt x="53" y="862"/>
                    <a:pt x="53" y="862"/>
                    <a:pt x="53" y="862"/>
                  </a:cubicBezTo>
                  <a:cubicBezTo>
                    <a:pt x="58" y="865"/>
                    <a:pt x="58" y="865"/>
                    <a:pt x="58" y="865"/>
                  </a:cubicBezTo>
                  <a:cubicBezTo>
                    <a:pt x="48" y="872"/>
                    <a:pt x="48" y="872"/>
                    <a:pt x="48" y="872"/>
                  </a:cubicBezTo>
                  <a:cubicBezTo>
                    <a:pt x="50" y="876"/>
                    <a:pt x="50" y="876"/>
                    <a:pt x="50" y="876"/>
                  </a:cubicBezTo>
                  <a:cubicBezTo>
                    <a:pt x="58" y="876"/>
                    <a:pt x="58" y="876"/>
                    <a:pt x="58" y="876"/>
                  </a:cubicBezTo>
                  <a:cubicBezTo>
                    <a:pt x="56" y="873"/>
                    <a:pt x="56" y="873"/>
                    <a:pt x="56" y="873"/>
                  </a:cubicBezTo>
                  <a:cubicBezTo>
                    <a:pt x="60" y="871"/>
                    <a:pt x="60" y="871"/>
                    <a:pt x="60" y="871"/>
                  </a:cubicBezTo>
                  <a:cubicBezTo>
                    <a:pt x="65" y="873"/>
                    <a:pt x="65" y="873"/>
                    <a:pt x="65" y="873"/>
                  </a:cubicBezTo>
                  <a:cubicBezTo>
                    <a:pt x="60" y="875"/>
                    <a:pt x="60" y="875"/>
                    <a:pt x="60" y="875"/>
                  </a:cubicBezTo>
                  <a:cubicBezTo>
                    <a:pt x="64" y="879"/>
                    <a:pt x="64" y="879"/>
                    <a:pt x="64" y="879"/>
                  </a:cubicBezTo>
                  <a:cubicBezTo>
                    <a:pt x="68" y="877"/>
                    <a:pt x="68" y="877"/>
                    <a:pt x="68" y="877"/>
                  </a:cubicBezTo>
                  <a:cubicBezTo>
                    <a:pt x="68" y="877"/>
                    <a:pt x="74" y="880"/>
                    <a:pt x="80" y="880"/>
                  </a:cubicBezTo>
                  <a:cubicBezTo>
                    <a:pt x="85" y="880"/>
                    <a:pt x="88" y="878"/>
                    <a:pt x="92" y="877"/>
                  </a:cubicBezTo>
                  <a:cubicBezTo>
                    <a:pt x="96" y="876"/>
                    <a:pt x="101" y="870"/>
                    <a:pt x="101" y="870"/>
                  </a:cubicBezTo>
                  <a:cubicBezTo>
                    <a:pt x="101" y="877"/>
                    <a:pt x="101" y="877"/>
                    <a:pt x="101" y="877"/>
                  </a:cubicBezTo>
                  <a:cubicBezTo>
                    <a:pt x="124" y="857"/>
                    <a:pt x="124" y="857"/>
                    <a:pt x="124" y="857"/>
                  </a:cubicBezTo>
                  <a:cubicBezTo>
                    <a:pt x="124" y="853"/>
                    <a:pt x="124" y="853"/>
                    <a:pt x="124" y="853"/>
                  </a:cubicBezTo>
                  <a:cubicBezTo>
                    <a:pt x="142" y="839"/>
                    <a:pt x="142" y="839"/>
                    <a:pt x="142" y="839"/>
                  </a:cubicBezTo>
                  <a:cubicBezTo>
                    <a:pt x="141" y="835"/>
                    <a:pt x="141" y="835"/>
                    <a:pt x="141" y="835"/>
                  </a:cubicBezTo>
                  <a:cubicBezTo>
                    <a:pt x="145" y="836"/>
                    <a:pt x="145" y="836"/>
                    <a:pt x="145" y="836"/>
                  </a:cubicBezTo>
                  <a:cubicBezTo>
                    <a:pt x="150" y="830"/>
                    <a:pt x="150" y="830"/>
                    <a:pt x="150" y="830"/>
                  </a:cubicBezTo>
                  <a:cubicBezTo>
                    <a:pt x="146" y="828"/>
                    <a:pt x="146" y="828"/>
                    <a:pt x="146" y="828"/>
                  </a:cubicBezTo>
                  <a:cubicBezTo>
                    <a:pt x="161" y="817"/>
                    <a:pt x="161" y="817"/>
                    <a:pt x="161" y="817"/>
                  </a:cubicBezTo>
                  <a:cubicBezTo>
                    <a:pt x="156" y="810"/>
                    <a:pt x="156" y="810"/>
                    <a:pt x="156" y="810"/>
                  </a:cubicBezTo>
                  <a:cubicBezTo>
                    <a:pt x="159" y="812"/>
                    <a:pt x="159" y="812"/>
                    <a:pt x="159" y="812"/>
                  </a:cubicBezTo>
                  <a:cubicBezTo>
                    <a:pt x="167" y="821"/>
                    <a:pt x="167" y="821"/>
                    <a:pt x="167" y="821"/>
                  </a:cubicBezTo>
                  <a:cubicBezTo>
                    <a:pt x="180" y="817"/>
                    <a:pt x="180" y="817"/>
                    <a:pt x="180" y="817"/>
                  </a:cubicBezTo>
                  <a:cubicBezTo>
                    <a:pt x="181" y="805"/>
                    <a:pt x="181" y="805"/>
                    <a:pt x="181" y="805"/>
                  </a:cubicBezTo>
                  <a:cubicBezTo>
                    <a:pt x="184" y="808"/>
                    <a:pt x="184" y="808"/>
                    <a:pt x="184" y="808"/>
                  </a:cubicBezTo>
                  <a:cubicBezTo>
                    <a:pt x="188" y="806"/>
                    <a:pt x="188" y="806"/>
                    <a:pt x="188" y="806"/>
                  </a:cubicBezTo>
                  <a:cubicBezTo>
                    <a:pt x="186" y="803"/>
                    <a:pt x="186" y="803"/>
                    <a:pt x="186" y="803"/>
                  </a:cubicBezTo>
                  <a:cubicBezTo>
                    <a:pt x="189" y="803"/>
                    <a:pt x="189" y="803"/>
                    <a:pt x="189" y="803"/>
                  </a:cubicBezTo>
                  <a:cubicBezTo>
                    <a:pt x="188" y="791"/>
                    <a:pt x="188" y="791"/>
                    <a:pt x="188" y="791"/>
                  </a:cubicBezTo>
                  <a:cubicBezTo>
                    <a:pt x="182" y="789"/>
                    <a:pt x="182" y="789"/>
                    <a:pt x="182" y="789"/>
                  </a:cubicBezTo>
                  <a:cubicBezTo>
                    <a:pt x="179" y="782"/>
                    <a:pt x="179" y="782"/>
                    <a:pt x="179" y="782"/>
                  </a:cubicBezTo>
                  <a:cubicBezTo>
                    <a:pt x="183" y="785"/>
                    <a:pt x="183" y="785"/>
                    <a:pt x="183" y="785"/>
                  </a:cubicBezTo>
                  <a:cubicBezTo>
                    <a:pt x="183" y="776"/>
                    <a:pt x="183" y="776"/>
                    <a:pt x="183" y="776"/>
                  </a:cubicBezTo>
                  <a:cubicBezTo>
                    <a:pt x="178" y="771"/>
                    <a:pt x="178" y="771"/>
                    <a:pt x="178" y="771"/>
                  </a:cubicBezTo>
                  <a:cubicBezTo>
                    <a:pt x="181" y="770"/>
                    <a:pt x="181" y="770"/>
                    <a:pt x="181" y="770"/>
                  </a:cubicBezTo>
                  <a:cubicBezTo>
                    <a:pt x="186" y="773"/>
                    <a:pt x="186" y="773"/>
                    <a:pt x="186" y="773"/>
                  </a:cubicBezTo>
                  <a:cubicBezTo>
                    <a:pt x="186" y="785"/>
                    <a:pt x="186" y="785"/>
                    <a:pt x="186" y="785"/>
                  </a:cubicBezTo>
                  <a:cubicBezTo>
                    <a:pt x="186" y="785"/>
                    <a:pt x="191" y="784"/>
                    <a:pt x="192" y="781"/>
                  </a:cubicBezTo>
                  <a:cubicBezTo>
                    <a:pt x="192" y="776"/>
                    <a:pt x="189" y="773"/>
                    <a:pt x="189" y="773"/>
                  </a:cubicBezTo>
                  <a:cubicBezTo>
                    <a:pt x="189" y="773"/>
                    <a:pt x="189" y="767"/>
                    <a:pt x="190" y="762"/>
                  </a:cubicBezTo>
                  <a:cubicBezTo>
                    <a:pt x="190" y="758"/>
                    <a:pt x="197" y="759"/>
                    <a:pt x="199" y="762"/>
                  </a:cubicBezTo>
                  <a:cubicBezTo>
                    <a:pt x="200" y="765"/>
                    <a:pt x="197" y="769"/>
                    <a:pt x="197" y="769"/>
                  </a:cubicBezTo>
                  <a:cubicBezTo>
                    <a:pt x="195" y="764"/>
                    <a:pt x="195" y="764"/>
                    <a:pt x="195" y="764"/>
                  </a:cubicBezTo>
                  <a:cubicBezTo>
                    <a:pt x="193" y="769"/>
                    <a:pt x="193" y="769"/>
                    <a:pt x="193" y="769"/>
                  </a:cubicBezTo>
                  <a:cubicBezTo>
                    <a:pt x="194" y="776"/>
                    <a:pt x="194" y="776"/>
                    <a:pt x="194" y="776"/>
                  </a:cubicBezTo>
                  <a:cubicBezTo>
                    <a:pt x="194" y="788"/>
                    <a:pt x="194" y="788"/>
                    <a:pt x="194" y="788"/>
                  </a:cubicBezTo>
                  <a:cubicBezTo>
                    <a:pt x="192" y="789"/>
                    <a:pt x="192" y="789"/>
                    <a:pt x="192" y="789"/>
                  </a:cubicBezTo>
                  <a:cubicBezTo>
                    <a:pt x="195" y="800"/>
                    <a:pt x="195" y="800"/>
                    <a:pt x="195" y="800"/>
                  </a:cubicBezTo>
                  <a:cubicBezTo>
                    <a:pt x="198" y="798"/>
                    <a:pt x="198" y="798"/>
                    <a:pt x="198" y="798"/>
                  </a:cubicBezTo>
                  <a:cubicBezTo>
                    <a:pt x="199" y="809"/>
                    <a:pt x="199" y="809"/>
                    <a:pt x="199" y="809"/>
                  </a:cubicBezTo>
                  <a:cubicBezTo>
                    <a:pt x="208" y="810"/>
                    <a:pt x="208" y="810"/>
                    <a:pt x="208" y="810"/>
                  </a:cubicBezTo>
                  <a:cubicBezTo>
                    <a:pt x="211" y="808"/>
                    <a:pt x="211" y="808"/>
                    <a:pt x="211" y="808"/>
                  </a:cubicBezTo>
                  <a:cubicBezTo>
                    <a:pt x="212" y="814"/>
                    <a:pt x="212" y="814"/>
                    <a:pt x="212" y="814"/>
                  </a:cubicBezTo>
                  <a:cubicBezTo>
                    <a:pt x="212" y="814"/>
                    <a:pt x="220" y="809"/>
                    <a:pt x="221" y="814"/>
                  </a:cubicBezTo>
                  <a:cubicBezTo>
                    <a:pt x="222" y="819"/>
                    <a:pt x="219" y="828"/>
                    <a:pt x="223" y="828"/>
                  </a:cubicBezTo>
                  <a:cubicBezTo>
                    <a:pt x="227" y="828"/>
                    <a:pt x="228" y="822"/>
                    <a:pt x="230" y="815"/>
                  </a:cubicBezTo>
                  <a:cubicBezTo>
                    <a:pt x="232" y="808"/>
                    <a:pt x="236" y="800"/>
                    <a:pt x="236" y="800"/>
                  </a:cubicBezTo>
                  <a:cubicBezTo>
                    <a:pt x="236" y="800"/>
                    <a:pt x="227" y="782"/>
                    <a:pt x="230" y="780"/>
                  </a:cubicBezTo>
                  <a:cubicBezTo>
                    <a:pt x="232" y="776"/>
                    <a:pt x="238" y="777"/>
                    <a:pt x="238" y="773"/>
                  </a:cubicBezTo>
                  <a:cubicBezTo>
                    <a:pt x="239" y="768"/>
                    <a:pt x="232" y="767"/>
                    <a:pt x="237" y="764"/>
                  </a:cubicBezTo>
                  <a:cubicBezTo>
                    <a:pt x="241" y="760"/>
                    <a:pt x="252" y="766"/>
                    <a:pt x="256" y="754"/>
                  </a:cubicBezTo>
                  <a:cubicBezTo>
                    <a:pt x="259" y="741"/>
                    <a:pt x="255" y="738"/>
                    <a:pt x="256" y="734"/>
                  </a:cubicBezTo>
                  <a:cubicBezTo>
                    <a:pt x="257" y="729"/>
                    <a:pt x="265" y="733"/>
                    <a:pt x="262" y="725"/>
                  </a:cubicBezTo>
                  <a:cubicBezTo>
                    <a:pt x="260" y="718"/>
                    <a:pt x="254" y="704"/>
                    <a:pt x="254" y="704"/>
                  </a:cubicBezTo>
                  <a:cubicBezTo>
                    <a:pt x="252" y="695"/>
                    <a:pt x="252" y="695"/>
                    <a:pt x="252" y="695"/>
                  </a:cubicBezTo>
                  <a:cubicBezTo>
                    <a:pt x="247" y="689"/>
                    <a:pt x="247" y="689"/>
                    <a:pt x="247" y="689"/>
                  </a:cubicBezTo>
                  <a:cubicBezTo>
                    <a:pt x="256" y="686"/>
                    <a:pt x="256" y="686"/>
                    <a:pt x="256" y="686"/>
                  </a:cubicBezTo>
                  <a:cubicBezTo>
                    <a:pt x="256" y="686"/>
                    <a:pt x="264" y="692"/>
                    <a:pt x="266" y="680"/>
                  </a:cubicBezTo>
                  <a:cubicBezTo>
                    <a:pt x="270" y="668"/>
                    <a:pt x="269" y="664"/>
                    <a:pt x="265" y="660"/>
                  </a:cubicBezTo>
                  <a:cubicBezTo>
                    <a:pt x="261" y="657"/>
                    <a:pt x="256" y="654"/>
                    <a:pt x="256" y="654"/>
                  </a:cubicBezTo>
                  <a:cubicBezTo>
                    <a:pt x="246" y="644"/>
                    <a:pt x="246" y="644"/>
                    <a:pt x="246" y="644"/>
                  </a:cubicBezTo>
                  <a:cubicBezTo>
                    <a:pt x="252" y="609"/>
                    <a:pt x="252" y="609"/>
                    <a:pt x="252" y="609"/>
                  </a:cubicBezTo>
                  <a:cubicBezTo>
                    <a:pt x="244" y="586"/>
                    <a:pt x="244" y="586"/>
                    <a:pt x="244" y="586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4" y="567"/>
                    <a:pt x="244" y="567"/>
                    <a:pt x="244" y="567"/>
                  </a:cubicBezTo>
                  <a:cubicBezTo>
                    <a:pt x="248" y="561"/>
                    <a:pt x="248" y="561"/>
                    <a:pt x="248" y="561"/>
                  </a:cubicBezTo>
                  <a:cubicBezTo>
                    <a:pt x="241" y="542"/>
                    <a:pt x="241" y="542"/>
                    <a:pt x="241" y="542"/>
                  </a:cubicBezTo>
                  <a:cubicBezTo>
                    <a:pt x="249" y="531"/>
                    <a:pt x="249" y="531"/>
                    <a:pt x="249" y="531"/>
                  </a:cubicBezTo>
                  <a:cubicBezTo>
                    <a:pt x="246" y="522"/>
                    <a:pt x="246" y="522"/>
                    <a:pt x="246" y="522"/>
                  </a:cubicBezTo>
                  <a:cubicBezTo>
                    <a:pt x="246" y="522"/>
                    <a:pt x="258" y="494"/>
                    <a:pt x="270" y="491"/>
                  </a:cubicBezTo>
                  <a:cubicBezTo>
                    <a:pt x="280" y="488"/>
                    <a:pt x="300" y="494"/>
                    <a:pt x="300" y="494"/>
                  </a:cubicBezTo>
                  <a:cubicBezTo>
                    <a:pt x="305" y="482"/>
                    <a:pt x="305" y="482"/>
                    <a:pt x="305" y="48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309" y="425"/>
                    <a:pt x="309" y="425"/>
                    <a:pt x="309" y="425"/>
                  </a:cubicBezTo>
                  <a:cubicBezTo>
                    <a:pt x="310" y="415"/>
                    <a:pt x="310" y="415"/>
                    <a:pt x="310" y="415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3" y="390"/>
                    <a:pt x="313" y="390"/>
                    <a:pt x="313" y="390"/>
                  </a:cubicBezTo>
                  <a:cubicBezTo>
                    <a:pt x="315" y="378"/>
                    <a:pt x="315" y="378"/>
                    <a:pt x="315" y="378"/>
                  </a:cubicBezTo>
                  <a:cubicBezTo>
                    <a:pt x="311" y="358"/>
                    <a:pt x="311" y="358"/>
                    <a:pt x="311" y="358"/>
                  </a:cubicBezTo>
                  <a:cubicBezTo>
                    <a:pt x="324" y="356"/>
                    <a:pt x="324" y="356"/>
                    <a:pt x="324" y="356"/>
                  </a:cubicBezTo>
                  <a:cubicBezTo>
                    <a:pt x="337" y="346"/>
                    <a:pt x="337" y="346"/>
                    <a:pt x="337" y="346"/>
                  </a:cubicBezTo>
                  <a:cubicBezTo>
                    <a:pt x="334" y="333"/>
                    <a:pt x="334" y="333"/>
                    <a:pt x="334" y="333"/>
                  </a:cubicBezTo>
                  <a:cubicBezTo>
                    <a:pt x="334" y="333"/>
                    <a:pt x="339" y="332"/>
                    <a:pt x="341" y="326"/>
                  </a:cubicBezTo>
                  <a:cubicBezTo>
                    <a:pt x="343" y="319"/>
                    <a:pt x="341" y="314"/>
                    <a:pt x="347" y="308"/>
                  </a:cubicBezTo>
                  <a:cubicBezTo>
                    <a:pt x="355" y="300"/>
                    <a:pt x="361" y="298"/>
                    <a:pt x="359" y="292"/>
                  </a:cubicBezTo>
                  <a:cubicBezTo>
                    <a:pt x="358" y="284"/>
                    <a:pt x="351" y="273"/>
                    <a:pt x="351" y="273"/>
                  </a:cubicBezTo>
                  <a:cubicBezTo>
                    <a:pt x="351" y="266"/>
                    <a:pt x="351" y="266"/>
                    <a:pt x="351" y="266"/>
                  </a:cubicBezTo>
                  <a:cubicBezTo>
                    <a:pt x="351" y="266"/>
                    <a:pt x="359" y="268"/>
                    <a:pt x="360" y="263"/>
                  </a:cubicBezTo>
                  <a:cubicBezTo>
                    <a:pt x="360" y="258"/>
                    <a:pt x="364" y="241"/>
                    <a:pt x="364" y="241"/>
                  </a:cubicBezTo>
                  <a:cubicBezTo>
                    <a:pt x="378" y="226"/>
                    <a:pt x="378" y="226"/>
                    <a:pt x="378" y="226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4" y="234"/>
                    <a:pt x="397" y="223"/>
                    <a:pt x="399" y="218"/>
                  </a:cubicBezTo>
                  <a:cubicBezTo>
                    <a:pt x="400" y="213"/>
                    <a:pt x="397" y="198"/>
                    <a:pt x="397" y="198"/>
                  </a:cubicBezTo>
                  <a:cubicBezTo>
                    <a:pt x="405" y="193"/>
                    <a:pt x="405" y="193"/>
                    <a:pt x="405" y="193"/>
                  </a:cubicBezTo>
                  <a:cubicBezTo>
                    <a:pt x="409" y="198"/>
                    <a:pt x="409" y="198"/>
                    <a:pt x="409" y="198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43" y="205"/>
                    <a:pt x="443" y="205"/>
                    <a:pt x="443" y="205"/>
                  </a:cubicBezTo>
                  <a:cubicBezTo>
                    <a:pt x="450" y="195"/>
                    <a:pt x="450" y="195"/>
                    <a:pt x="450" y="195"/>
                  </a:cubicBezTo>
                  <a:cubicBezTo>
                    <a:pt x="442" y="191"/>
                    <a:pt x="442" y="191"/>
                    <a:pt x="442" y="191"/>
                  </a:cubicBezTo>
                  <a:cubicBezTo>
                    <a:pt x="442" y="191"/>
                    <a:pt x="450" y="182"/>
                    <a:pt x="449" y="174"/>
                  </a:cubicBezTo>
                  <a:cubicBezTo>
                    <a:pt x="448" y="168"/>
                    <a:pt x="441" y="159"/>
                    <a:pt x="441" y="159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5" y="154"/>
                    <a:pt x="455" y="154"/>
                    <a:pt x="455" y="154"/>
                  </a:cubicBezTo>
                  <a:cubicBezTo>
                    <a:pt x="455" y="154"/>
                    <a:pt x="464" y="159"/>
                    <a:pt x="466" y="157"/>
                  </a:cubicBezTo>
                  <a:cubicBezTo>
                    <a:pt x="467" y="155"/>
                    <a:pt x="459" y="148"/>
                    <a:pt x="465" y="144"/>
                  </a:cubicBezTo>
                  <a:cubicBezTo>
                    <a:pt x="469" y="139"/>
                    <a:pt x="478" y="142"/>
                    <a:pt x="478" y="142"/>
                  </a:cubicBezTo>
                  <a:cubicBezTo>
                    <a:pt x="478" y="142"/>
                    <a:pt x="485" y="152"/>
                    <a:pt x="490" y="157"/>
                  </a:cubicBezTo>
                  <a:cubicBezTo>
                    <a:pt x="497" y="163"/>
                    <a:pt x="499" y="172"/>
                    <a:pt x="499" y="172"/>
                  </a:cubicBezTo>
                  <a:cubicBezTo>
                    <a:pt x="504" y="171"/>
                    <a:pt x="504" y="171"/>
                    <a:pt x="504" y="171"/>
                  </a:cubicBezTo>
                  <a:cubicBezTo>
                    <a:pt x="515" y="171"/>
                    <a:pt x="515" y="171"/>
                    <a:pt x="515" y="171"/>
                  </a:cubicBezTo>
                  <a:cubicBezTo>
                    <a:pt x="522" y="175"/>
                    <a:pt x="522" y="175"/>
                    <a:pt x="522" y="175"/>
                  </a:cubicBezTo>
                  <a:cubicBezTo>
                    <a:pt x="531" y="169"/>
                    <a:pt x="531" y="169"/>
                    <a:pt x="531" y="169"/>
                  </a:cubicBezTo>
                  <a:cubicBezTo>
                    <a:pt x="531" y="169"/>
                    <a:pt x="533" y="161"/>
                    <a:pt x="539" y="161"/>
                  </a:cubicBezTo>
                  <a:cubicBezTo>
                    <a:pt x="544" y="161"/>
                    <a:pt x="546" y="166"/>
                    <a:pt x="546" y="166"/>
                  </a:cubicBezTo>
                  <a:cubicBezTo>
                    <a:pt x="558" y="167"/>
                    <a:pt x="558" y="167"/>
                    <a:pt x="558" y="167"/>
                  </a:cubicBezTo>
                  <a:cubicBezTo>
                    <a:pt x="565" y="174"/>
                    <a:pt x="565" y="174"/>
                    <a:pt x="565" y="174"/>
                  </a:cubicBezTo>
                  <a:cubicBezTo>
                    <a:pt x="565" y="174"/>
                    <a:pt x="567" y="161"/>
                    <a:pt x="570" y="157"/>
                  </a:cubicBezTo>
                  <a:cubicBezTo>
                    <a:pt x="572" y="154"/>
                    <a:pt x="575" y="150"/>
                    <a:pt x="575" y="144"/>
                  </a:cubicBezTo>
                  <a:cubicBezTo>
                    <a:pt x="574" y="139"/>
                    <a:pt x="572" y="130"/>
                    <a:pt x="572" y="130"/>
                  </a:cubicBezTo>
                  <a:cubicBezTo>
                    <a:pt x="574" y="97"/>
                    <a:pt x="574" y="97"/>
                    <a:pt x="574" y="97"/>
                  </a:cubicBezTo>
                  <a:cubicBezTo>
                    <a:pt x="577" y="93"/>
                    <a:pt x="577" y="93"/>
                    <a:pt x="577" y="93"/>
                  </a:cubicBezTo>
                  <a:cubicBezTo>
                    <a:pt x="577" y="93"/>
                    <a:pt x="576" y="81"/>
                    <a:pt x="582" y="79"/>
                  </a:cubicBezTo>
                  <a:cubicBezTo>
                    <a:pt x="588" y="76"/>
                    <a:pt x="595" y="78"/>
                    <a:pt x="595" y="78"/>
                  </a:cubicBezTo>
                  <a:cubicBezTo>
                    <a:pt x="595" y="78"/>
                    <a:pt x="604" y="66"/>
                    <a:pt x="610" y="65"/>
                  </a:cubicBezTo>
                  <a:cubicBezTo>
                    <a:pt x="616" y="64"/>
                    <a:pt x="625" y="77"/>
                    <a:pt x="625" y="77"/>
                  </a:cubicBezTo>
                  <a:cubicBezTo>
                    <a:pt x="648" y="80"/>
                    <a:pt x="648" y="80"/>
                    <a:pt x="648" y="80"/>
                  </a:cubicBezTo>
                  <a:cubicBezTo>
                    <a:pt x="655" y="91"/>
                    <a:pt x="655" y="91"/>
                    <a:pt x="655" y="91"/>
                  </a:cubicBezTo>
                  <a:cubicBezTo>
                    <a:pt x="655" y="91"/>
                    <a:pt x="647" y="105"/>
                    <a:pt x="647" y="110"/>
                  </a:cubicBezTo>
                  <a:cubicBezTo>
                    <a:pt x="647" y="116"/>
                    <a:pt x="650" y="121"/>
                    <a:pt x="650" y="121"/>
                  </a:cubicBezTo>
                  <a:cubicBezTo>
                    <a:pt x="650" y="121"/>
                    <a:pt x="654" y="125"/>
                    <a:pt x="656" y="123"/>
                  </a:cubicBezTo>
                  <a:cubicBezTo>
                    <a:pt x="659" y="121"/>
                    <a:pt x="658" y="107"/>
                    <a:pt x="658" y="107"/>
                  </a:cubicBezTo>
                  <a:cubicBezTo>
                    <a:pt x="658" y="107"/>
                    <a:pt x="655" y="108"/>
                    <a:pt x="656" y="105"/>
                  </a:cubicBezTo>
                  <a:cubicBezTo>
                    <a:pt x="657" y="102"/>
                    <a:pt x="661" y="102"/>
                    <a:pt x="663" y="100"/>
                  </a:cubicBezTo>
                  <a:cubicBezTo>
                    <a:pt x="666" y="98"/>
                    <a:pt x="665" y="93"/>
                    <a:pt x="666" y="93"/>
                  </a:cubicBezTo>
                  <a:cubicBezTo>
                    <a:pt x="668" y="92"/>
                    <a:pt x="674" y="94"/>
                    <a:pt x="674" y="90"/>
                  </a:cubicBezTo>
                  <a:cubicBezTo>
                    <a:pt x="674" y="85"/>
                    <a:pt x="669" y="78"/>
                    <a:pt x="669" y="78"/>
                  </a:cubicBezTo>
                  <a:cubicBezTo>
                    <a:pt x="669" y="78"/>
                    <a:pt x="673" y="78"/>
                    <a:pt x="675" y="79"/>
                  </a:cubicBezTo>
                  <a:cubicBezTo>
                    <a:pt x="678" y="79"/>
                    <a:pt x="685" y="87"/>
                    <a:pt x="687" y="80"/>
                  </a:cubicBezTo>
                  <a:cubicBezTo>
                    <a:pt x="690" y="74"/>
                    <a:pt x="685" y="71"/>
                    <a:pt x="685" y="71"/>
                  </a:cubicBezTo>
                  <a:close/>
                  <a:moveTo>
                    <a:pt x="8" y="787"/>
                  </a:moveTo>
                  <a:cubicBezTo>
                    <a:pt x="8" y="787"/>
                    <a:pt x="7" y="793"/>
                    <a:pt x="8" y="794"/>
                  </a:cubicBezTo>
                  <a:cubicBezTo>
                    <a:pt x="9" y="796"/>
                    <a:pt x="6" y="800"/>
                    <a:pt x="6" y="800"/>
                  </a:cubicBezTo>
                  <a:cubicBezTo>
                    <a:pt x="9" y="800"/>
                    <a:pt x="9" y="800"/>
                    <a:pt x="9" y="800"/>
                  </a:cubicBezTo>
                  <a:cubicBezTo>
                    <a:pt x="11" y="798"/>
                    <a:pt x="11" y="798"/>
                    <a:pt x="11" y="798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0" y="785"/>
                    <a:pt x="10" y="785"/>
                    <a:pt x="10" y="785"/>
                  </a:cubicBezTo>
                  <a:lnTo>
                    <a:pt x="8" y="787"/>
                  </a:lnTo>
                  <a:close/>
                  <a:moveTo>
                    <a:pt x="27" y="805"/>
                  </a:moveTo>
                  <a:cubicBezTo>
                    <a:pt x="18" y="803"/>
                    <a:pt x="18" y="803"/>
                    <a:pt x="18" y="803"/>
                  </a:cubicBezTo>
                  <a:cubicBezTo>
                    <a:pt x="26" y="808"/>
                    <a:pt x="26" y="808"/>
                    <a:pt x="26" y="808"/>
                  </a:cubicBezTo>
                  <a:lnTo>
                    <a:pt x="27" y="805"/>
                  </a:lnTo>
                  <a:close/>
                  <a:moveTo>
                    <a:pt x="36" y="794"/>
                  </a:moveTo>
                  <a:cubicBezTo>
                    <a:pt x="32" y="794"/>
                    <a:pt x="32" y="794"/>
                    <a:pt x="32" y="794"/>
                  </a:cubicBezTo>
                  <a:cubicBezTo>
                    <a:pt x="30" y="799"/>
                    <a:pt x="30" y="799"/>
                    <a:pt x="30" y="799"/>
                  </a:cubicBezTo>
                  <a:cubicBezTo>
                    <a:pt x="38" y="798"/>
                    <a:pt x="38" y="798"/>
                    <a:pt x="38" y="798"/>
                  </a:cubicBezTo>
                  <a:lnTo>
                    <a:pt x="36" y="794"/>
                  </a:lnTo>
                  <a:close/>
                  <a:moveTo>
                    <a:pt x="16" y="750"/>
                  </a:moveTo>
                  <a:cubicBezTo>
                    <a:pt x="16" y="753"/>
                    <a:pt x="16" y="753"/>
                    <a:pt x="16" y="753"/>
                  </a:cubicBezTo>
                  <a:cubicBezTo>
                    <a:pt x="14" y="754"/>
                    <a:pt x="14" y="754"/>
                    <a:pt x="14" y="754"/>
                  </a:cubicBezTo>
                  <a:cubicBezTo>
                    <a:pt x="14" y="754"/>
                    <a:pt x="16" y="762"/>
                    <a:pt x="20" y="762"/>
                  </a:cubicBezTo>
                  <a:cubicBezTo>
                    <a:pt x="26" y="762"/>
                    <a:pt x="22" y="753"/>
                    <a:pt x="22" y="753"/>
                  </a:cubicBezTo>
                  <a:cubicBezTo>
                    <a:pt x="17" y="750"/>
                    <a:pt x="17" y="750"/>
                    <a:pt x="17" y="750"/>
                  </a:cubicBezTo>
                  <a:lnTo>
                    <a:pt x="16" y="750"/>
                  </a:lnTo>
                  <a:close/>
                  <a:moveTo>
                    <a:pt x="15" y="768"/>
                  </a:moveTo>
                  <a:cubicBezTo>
                    <a:pt x="17" y="766"/>
                    <a:pt x="17" y="766"/>
                    <a:pt x="17" y="766"/>
                  </a:cubicBezTo>
                  <a:cubicBezTo>
                    <a:pt x="15" y="762"/>
                    <a:pt x="15" y="762"/>
                    <a:pt x="15" y="762"/>
                  </a:cubicBezTo>
                  <a:cubicBezTo>
                    <a:pt x="15" y="758"/>
                    <a:pt x="15" y="758"/>
                    <a:pt x="15" y="758"/>
                  </a:cubicBezTo>
                  <a:cubicBezTo>
                    <a:pt x="11" y="756"/>
                    <a:pt x="11" y="756"/>
                    <a:pt x="11" y="756"/>
                  </a:cubicBezTo>
                  <a:cubicBezTo>
                    <a:pt x="11" y="757"/>
                    <a:pt x="11" y="757"/>
                    <a:pt x="11" y="757"/>
                  </a:cubicBezTo>
                  <a:cubicBezTo>
                    <a:pt x="11" y="757"/>
                    <a:pt x="10" y="758"/>
                    <a:pt x="9" y="760"/>
                  </a:cubicBezTo>
                  <a:cubicBezTo>
                    <a:pt x="8" y="762"/>
                    <a:pt x="12" y="764"/>
                    <a:pt x="12" y="764"/>
                  </a:cubicBezTo>
                  <a:cubicBezTo>
                    <a:pt x="9" y="767"/>
                    <a:pt x="9" y="767"/>
                    <a:pt x="9" y="767"/>
                  </a:cubicBezTo>
                  <a:cubicBezTo>
                    <a:pt x="9" y="773"/>
                    <a:pt x="9" y="773"/>
                    <a:pt x="9" y="773"/>
                  </a:cubicBezTo>
                  <a:cubicBezTo>
                    <a:pt x="13" y="772"/>
                    <a:pt x="13" y="772"/>
                    <a:pt x="13" y="772"/>
                  </a:cubicBezTo>
                  <a:cubicBezTo>
                    <a:pt x="10" y="767"/>
                    <a:pt x="10" y="767"/>
                    <a:pt x="10" y="767"/>
                  </a:cubicBezTo>
                  <a:cubicBezTo>
                    <a:pt x="14" y="764"/>
                    <a:pt x="14" y="764"/>
                    <a:pt x="14" y="764"/>
                  </a:cubicBezTo>
                  <a:cubicBezTo>
                    <a:pt x="15" y="764"/>
                    <a:pt x="15" y="764"/>
                    <a:pt x="15" y="764"/>
                  </a:cubicBezTo>
                  <a:cubicBezTo>
                    <a:pt x="14" y="766"/>
                    <a:pt x="14" y="766"/>
                    <a:pt x="14" y="766"/>
                  </a:cubicBezTo>
                  <a:lnTo>
                    <a:pt x="15" y="768"/>
                  </a:lnTo>
                  <a:close/>
                  <a:moveTo>
                    <a:pt x="29" y="766"/>
                  </a:moveTo>
                  <a:cubicBezTo>
                    <a:pt x="33" y="764"/>
                    <a:pt x="33" y="764"/>
                    <a:pt x="33" y="764"/>
                  </a:cubicBezTo>
                  <a:cubicBezTo>
                    <a:pt x="27" y="759"/>
                    <a:pt x="27" y="759"/>
                    <a:pt x="27" y="759"/>
                  </a:cubicBezTo>
                  <a:cubicBezTo>
                    <a:pt x="25" y="761"/>
                    <a:pt x="25" y="761"/>
                    <a:pt x="25" y="761"/>
                  </a:cubicBezTo>
                  <a:lnTo>
                    <a:pt x="29" y="766"/>
                  </a:lnTo>
                  <a:close/>
                  <a:moveTo>
                    <a:pt x="28" y="743"/>
                  </a:moveTo>
                  <a:cubicBezTo>
                    <a:pt x="23" y="744"/>
                    <a:pt x="23" y="744"/>
                    <a:pt x="23" y="744"/>
                  </a:cubicBezTo>
                  <a:cubicBezTo>
                    <a:pt x="23" y="747"/>
                    <a:pt x="23" y="747"/>
                    <a:pt x="23" y="747"/>
                  </a:cubicBezTo>
                  <a:cubicBezTo>
                    <a:pt x="20" y="749"/>
                    <a:pt x="20" y="749"/>
                    <a:pt x="20" y="749"/>
                  </a:cubicBezTo>
                  <a:cubicBezTo>
                    <a:pt x="23" y="751"/>
                    <a:pt x="23" y="751"/>
                    <a:pt x="23" y="751"/>
                  </a:cubicBezTo>
                  <a:cubicBezTo>
                    <a:pt x="25" y="754"/>
                    <a:pt x="25" y="754"/>
                    <a:pt x="25" y="754"/>
                  </a:cubicBezTo>
                  <a:cubicBezTo>
                    <a:pt x="27" y="754"/>
                    <a:pt x="27" y="754"/>
                    <a:pt x="27" y="754"/>
                  </a:cubicBezTo>
                  <a:cubicBezTo>
                    <a:pt x="27" y="751"/>
                    <a:pt x="27" y="751"/>
                    <a:pt x="27" y="751"/>
                  </a:cubicBezTo>
                  <a:cubicBezTo>
                    <a:pt x="29" y="749"/>
                    <a:pt x="29" y="749"/>
                    <a:pt x="29" y="749"/>
                  </a:cubicBezTo>
                  <a:lnTo>
                    <a:pt x="28" y="743"/>
                  </a:lnTo>
                  <a:close/>
                  <a:moveTo>
                    <a:pt x="19" y="743"/>
                  </a:moveTo>
                  <a:cubicBezTo>
                    <a:pt x="16" y="746"/>
                    <a:pt x="19" y="747"/>
                    <a:pt x="20" y="746"/>
                  </a:cubicBezTo>
                  <a:cubicBezTo>
                    <a:pt x="23" y="744"/>
                    <a:pt x="22" y="740"/>
                    <a:pt x="19" y="743"/>
                  </a:cubicBezTo>
                  <a:close/>
                  <a:moveTo>
                    <a:pt x="10" y="738"/>
                  </a:moveTo>
                  <a:cubicBezTo>
                    <a:pt x="11" y="740"/>
                    <a:pt x="11" y="740"/>
                    <a:pt x="11" y="740"/>
                  </a:cubicBezTo>
                  <a:cubicBezTo>
                    <a:pt x="12" y="740"/>
                    <a:pt x="12" y="740"/>
                    <a:pt x="12" y="740"/>
                  </a:cubicBezTo>
                  <a:cubicBezTo>
                    <a:pt x="14" y="743"/>
                    <a:pt x="14" y="743"/>
                    <a:pt x="14" y="743"/>
                  </a:cubicBezTo>
                  <a:cubicBezTo>
                    <a:pt x="12" y="745"/>
                    <a:pt x="12" y="745"/>
                    <a:pt x="12" y="745"/>
                  </a:cubicBezTo>
                  <a:cubicBezTo>
                    <a:pt x="15" y="746"/>
                    <a:pt x="15" y="746"/>
                    <a:pt x="15" y="746"/>
                  </a:cubicBezTo>
                  <a:cubicBezTo>
                    <a:pt x="16" y="742"/>
                    <a:pt x="16" y="742"/>
                    <a:pt x="16" y="742"/>
                  </a:cubicBezTo>
                  <a:cubicBezTo>
                    <a:pt x="12" y="737"/>
                    <a:pt x="12" y="737"/>
                    <a:pt x="12" y="737"/>
                  </a:cubicBezTo>
                  <a:lnTo>
                    <a:pt x="10" y="738"/>
                  </a:lnTo>
                  <a:close/>
                  <a:moveTo>
                    <a:pt x="13" y="749"/>
                  </a:moveTo>
                  <a:cubicBezTo>
                    <a:pt x="11" y="746"/>
                    <a:pt x="11" y="746"/>
                    <a:pt x="11" y="746"/>
                  </a:cubicBezTo>
                  <a:cubicBezTo>
                    <a:pt x="8" y="749"/>
                    <a:pt x="8" y="749"/>
                    <a:pt x="8" y="749"/>
                  </a:cubicBezTo>
                  <a:cubicBezTo>
                    <a:pt x="9" y="751"/>
                    <a:pt x="9" y="751"/>
                    <a:pt x="9" y="751"/>
                  </a:cubicBezTo>
                  <a:lnTo>
                    <a:pt x="13" y="749"/>
                  </a:lnTo>
                  <a:close/>
                  <a:moveTo>
                    <a:pt x="41" y="738"/>
                  </a:moveTo>
                  <a:cubicBezTo>
                    <a:pt x="39" y="740"/>
                    <a:pt x="39" y="740"/>
                    <a:pt x="39" y="740"/>
                  </a:cubicBezTo>
                  <a:cubicBezTo>
                    <a:pt x="40" y="744"/>
                    <a:pt x="40" y="744"/>
                    <a:pt x="40" y="744"/>
                  </a:cubicBezTo>
                  <a:cubicBezTo>
                    <a:pt x="43" y="741"/>
                    <a:pt x="43" y="741"/>
                    <a:pt x="43" y="741"/>
                  </a:cubicBezTo>
                  <a:lnTo>
                    <a:pt x="41" y="738"/>
                  </a:lnTo>
                  <a:close/>
                  <a:moveTo>
                    <a:pt x="9" y="733"/>
                  </a:moveTo>
                  <a:cubicBezTo>
                    <a:pt x="11" y="734"/>
                    <a:pt x="13" y="734"/>
                    <a:pt x="13" y="734"/>
                  </a:cubicBezTo>
                  <a:cubicBezTo>
                    <a:pt x="11" y="729"/>
                    <a:pt x="11" y="729"/>
                    <a:pt x="11" y="729"/>
                  </a:cubicBezTo>
                  <a:cubicBezTo>
                    <a:pt x="13" y="727"/>
                    <a:pt x="13" y="727"/>
                    <a:pt x="13" y="727"/>
                  </a:cubicBezTo>
                  <a:cubicBezTo>
                    <a:pt x="10" y="719"/>
                    <a:pt x="10" y="719"/>
                    <a:pt x="10" y="719"/>
                  </a:cubicBezTo>
                  <a:cubicBezTo>
                    <a:pt x="9" y="722"/>
                    <a:pt x="9" y="722"/>
                    <a:pt x="9" y="722"/>
                  </a:cubicBezTo>
                  <a:cubicBezTo>
                    <a:pt x="11" y="726"/>
                    <a:pt x="11" y="726"/>
                    <a:pt x="11" y="726"/>
                  </a:cubicBezTo>
                  <a:cubicBezTo>
                    <a:pt x="7" y="727"/>
                    <a:pt x="7" y="727"/>
                    <a:pt x="7" y="727"/>
                  </a:cubicBezTo>
                  <a:cubicBezTo>
                    <a:pt x="7" y="727"/>
                    <a:pt x="7" y="731"/>
                    <a:pt x="9" y="733"/>
                  </a:cubicBezTo>
                  <a:close/>
                  <a:moveTo>
                    <a:pt x="16" y="715"/>
                  </a:moveTo>
                  <a:cubicBezTo>
                    <a:pt x="10" y="711"/>
                    <a:pt x="10" y="711"/>
                    <a:pt x="10" y="711"/>
                  </a:cubicBezTo>
                  <a:cubicBezTo>
                    <a:pt x="9" y="712"/>
                    <a:pt x="9" y="712"/>
                    <a:pt x="9" y="712"/>
                  </a:cubicBezTo>
                  <a:cubicBezTo>
                    <a:pt x="12" y="714"/>
                    <a:pt x="12" y="714"/>
                    <a:pt x="12" y="714"/>
                  </a:cubicBezTo>
                  <a:cubicBezTo>
                    <a:pt x="12" y="718"/>
                    <a:pt x="12" y="718"/>
                    <a:pt x="12" y="718"/>
                  </a:cubicBezTo>
                  <a:cubicBezTo>
                    <a:pt x="14" y="721"/>
                    <a:pt x="14" y="721"/>
                    <a:pt x="14" y="721"/>
                  </a:cubicBezTo>
                  <a:cubicBezTo>
                    <a:pt x="17" y="721"/>
                    <a:pt x="17" y="721"/>
                    <a:pt x="17" y="721"/>
                  </a:cubicBezTo>
                  <a:lnTo>
                    <a:pt x="16" y="715"/>
                  </a:lnTo>
                  <a:close/>
                  <a:moveTo>
                    <a:pt x="24" y="713"/>
                  </a:moveTo>
                  <a:cubicBezTo>
                    <a:pt x="28" y="719"/>
                    <a:pt x="28" y="719"/>
                    <a:pt x="28" y="719"/>
                  </a:cubicBezTo>
                  <a:cubicBezTo>
                    <a:pt x="32" y="717"/>
                    <a:pt x="32" y="717"/>
                    <a:pt x="32" y="717"/>
                  </a:cubicBezTo>
                  <a:cubicBezTo>
                    <a:pt x="34" y="706"/>
                    <a:pt x="34" y="706"/>
                    <a:pt x="34" y="706"/>
                  </a:cubicBezTo>
                  <a:cubicBezTo>
                    <a:pt x="33" y="705"/>
                    <a:pt x="33" y="705"/>
                    <a:pt x="33" y="705"/>
                  </a:cubicBezTo>
                  <a:cubicBezTo>
                    <a:pt x="29" y="710"/>
                    <a:pt x="29" y="710"/>
                    <a:pt x="29" y="710"/>
                  </a:cubicBezTo>
                  <a:cubicBezTo>
                    <a:pt x="29" y="710"/>
                    <a:pt x="28" y="710"/>
                    <a:pt x="26" y="711"/>
                  </a:cubicBezTo>
                  <a:cubicBezTo>
                    <a:pt x="24" y="711"/>
                    <a:pt x="24" y="713"/>
                    <a:pt x="24" y="713"/>
                  </a:cubicBezTo>
                  <a:close/>
                  <a:moveTo>
                    <a:pt x="22" y="703"/>
                  </a:moveTo>
                  <a:cubicBezTo>
                    <a:pt x="13" y="694"/>
                    <a:pt x="13" y="694"/>
                    <a:pt x="13" y="694"/>
                  </a:cubicBezTo>
                  <a:cubicBezTo>
                    <a:pt x="12" y="695"/>
                    <a:pt x="12" y="695"/>
                    <a:pt x="12" y="695"/>
                  </a:cubicBezTo>
                  <a:cubicBezTo>
                    <a:pt x="18" y="703"/>
                    <a:pt x="18" y="703"/>
                    <a:pt x="18" y="703"/>
                  </a:cubicBezTo>
                  <a:cubicBezTo>
                    <a:pt x="17" y="705"/>
                    <a:pt x="17" y="705"/>
                    <a:pt x="17" y="705"/>
                  </a:cubicBezTo>
                  <a:cubicBezTo>
                    <a:pt x="15" y="704"/>
                    <a:pt x="15" y="704"/>
                    <a:pt x="15" y="704"/>
                  </a:cubicBezTo>
                  <a:cubicBezTo>
                    <a:pt x="20" y="711"/>
                    <a:pt x="20" y="711"/>
                    <a:pt x="20" y="711"/>
                  </a:cubicBezTo>
                  <a:cubicBezTo>
                    <a:pt x="23" y="711"/>
                    <a:pt x="25" y="708"/>
                    <a:pt x="25" y="708"/>
                  </a:cubicBezTo>
                  <a:cubicBezTo>
                    <a:pt x="23" y="705"/>
                    <a:pt x="23" y="705"/>
                    <a:pt x="23" y="705"/>
                  </a:cubicBezTo>
                  <a:lnTo>
                    <a:pt x="22" y="703"/>
                  </a:lnTo>
                  <a:close/>
                  <a:moveTo>
                    <a:pt x="9" y="699"/>
                  </a:moveTo>
                  <a:cubicBezTo>
                    <a:pt x="8" y="699"/>
                    <a:pt x="8" y="699"/>
                    <a:pt x="8" y="699"/>
                  </a:cubicBezTo>
                  <a:cubicBezTo>
                    <a:pt x="8" y="699"/>
                    <a:pt x="10" y="703"/>
                    <a:pt x="11" y="704"/>
                  </a:cubicBezTo>
                  <a:cubicBezTo>
                    <a:pt x="12" y="705"/>
                    <a:pt x="14" y="707"/>
                    <a:pt x="14" y="707"/>
                  </a:cubicBezTo>
                  <a:cubicBezTo>
                    <a:pt x="14" y="707"/>
                    <a:pt x="15" y="705"/>
                    <a:pt x="13" y="703"/>
                  </a:cubicBezTo>
                  <a:cubicBezTo>
                    <a:pt x="12" y="701"/>
                    <a:pt x="9" y="699"/>
                    <a:pt x="9" y="699"/>
                  </a:cubicBezTo>
                  <a:close/>
                  <a:moveTo>
                    <a:pt x="10" y="707"/>
                  </a:moveTo>
                  <a:cubicBezTo>
                    <a:pt x="9" y="707"/>
                    <a:pt x="10" y="709"/>
                    <a:pt x="11" y="710"/>
                  </a:cubicBezTo>
                  <a:cubicBezTo>
                    <a:pt x="12" y="710"/>
                    <a:pt x="16" y="712"/>
                    <a:pt x="16" y="712"/>
                  </a:cubicBezTo>
                  <a:cubicBezTo>
                    <a:pt x="16" y="710"/>
                    <a:pt x="16" y="710"/>
                    <a:pt x="16" y="710"/>
                  </a:cubicBezTo>
                  <a:cubicBezTo>
                    <a:pt x="16" y="710"/>
                    <a:pt x="11" y="707"/>
                    <a:pt x="10" y="707"/>
                  </a:cubicBezTo>
                  <a:close/>
                  <a:moveTo>
                    <a:pt x="9" y="693"/>
                  </a:moveTo>
                  <a:cubicBezTo>
                    <a:pt x="7" y="695"/>
                    <a:pt x="7" y="695"/>
                    <a:pt x="7" y="695"/>
                  </a:cubicBezTo>
                  <a:cubicBezTo>
                    <a:pt x="11" y="698"/>
                    <a:pt x="11" y="698"/>
                    <a:pt x="11" y="698"/>
                  </a:cubicBezTo>
                  <a:lnTo>
                    <a:pt x="9" y="693"/>
                  </a:lnTo>
                  <a:close/>
                  <a:moveTo>
                    <a:pt x="10" y="692"/>
                  </a:moveTo>
                  <a:cubicBezTo>
                    <a:pt x="9" y="687"/>
                    <a:pt x="9" y="687"/>
                    <a:pt x="9" y="687"/>
                  </a:cubicBezTo>
                  <a:cubicBezTo>
                    <a:pt x="7" y="689"/>
                    <a:pt x="7" y="689"/>
                    <a:pt x="7" y="689"/>
                  </a:cubicBezTo>
                  <a:lnTo>
                    <a:pt x="10" y="692"/>
                  </a:lnTo>
                  <a:close/>
                  <a:moveTo>
                    <a:pt x="9" y="678"/>
                  </a:moveTo>
                  <a:cubicBezTo>
                    <a:pt x="11" y="676"/>
                    <a:pt x="11" y="676"/>
                    <a:pt x="11" y="676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15" y="676"/>
                    <a:pt x="15" y="674"/>
                  </a:cubicBezTo>
                  <a:cubicBezTo>
                    <a:pt x="15" y="671"/>
                    <a:pt x="12" y="670"/>
                    <a:pt x="12" y="670"/>
                  </a:cubicBezTo>
                  <a:cubicBezTo>
                    <a:pt x="10" y="671"/>
                    <a:pt x="10" y="671"/>
                    <a:pt x="10" y="671"/>
                  </a:cubicBezTo>
                  <a:cubicBezTo>
                    <a:pt x="10" y="671"/>
                    <a:pt x="8" y="675"/>
                    <a:pt x="9" y="678"/>
                  </a:cubicBezTo>
                  <a:close/>
                  <a:moveTo>
                    <a:pt x="6" y="680"/>
                  </a:moveTo>
                  <a:cubicBezTo>
                    <a:pt x="7" y="680"/>
                    <a:pt x="7" y="680"/>
                    <a:pt x="7" y="680"/>
                  </a:cubicBezTo>
                  <a:cubicBezTo>
                    <a:pt x="8" y="676"/>
                    <a:pt x="8" y="676"/>
                    <a:pt x="8" y="676"/>
                  </a:cubicBezTo>
                  <a:cubicBezTo>
                    <a:pt x="7" y="676"/>
                    <a:pt x="7" y="676"/>
                    <a:pt x="7" y="676"/>
                  </a:cubicBezTo>
                  <a:lnTo>
                    <a:pt x="6" y="680"/>
                  </a:lnTo>
                  <a:close/>
                  <a:moveTo>
                    <a:pt x="3" y="678"/>
                  </a:moveTo>
                  <a:cubicBezTo>
                    <a:pt x="0" y="678"/>
                    <a:pt x="1" y="681"/>
                    <a:pt x="2" y="681"/>
                  </a:cubicBezTo>
                  <a:cubicBezTo>
                    <a:pt x="4" y="682"/>
                    <a:pt x="7" y="677"/>
                    <a:pt x="3" y="678"/>
                  </a:cubicBezTo>
                  <a:close/>
                  <a:moveTo>
                    <a:pt x="7" y="661"/>
                  </a:moveTo>
                  <a:cubicBezTo>
                    <a:pt x="3" y="661"/>
                    <a:pt x="4" y="663"/>
                    <a:pt x="6" y="663"/>
                  </a:cubicBezTo>
                  <a:cubicBezTo>
                    <a:pt x="9" y="663"/>
                    <a:pt x="10" y="662"/>
                    <a:pt x="7" y="661"/>
                  </a:cubicBezTo>
                  <a:close/>
                  <a:moveTo>
                    <a:pt x="17" y="658"/>
                  </a:moveTo>
                  <a:cubicBezTo>
                    <a:pt x="14" y="657"/>
                    <a:pt x="14" y="657"/>
                    <a:pt x="14" y="657"/>
                  </a:cubicBezTo>
                  <a:cubicBezTo>
                    <a:pt x="11" y="660"/>
                    <a:pt x="11" y="660"/>
                    <a:pt x="11" y="660"/>
                  </a:cubicBezTo>
                  <a:cubicBezTo>
                    <a:pt x="13" y="662"/>
                    <a:pt x="13" y="662"/>
                    <a:pt x="13" y="662"/>
                  </a:cubicBezTo>
                  <a:lnTo>
                    <a:pt x="17" y="658"/>
                  </a:lnTo>
                  <a:close/>
                  <a:moveTo>
                    <a:pt x="18" y="649"/>
                  </a:moveTo>
                  <a:cubicBezTo>
                    <a:pt x="14" y="646"/>
                    <a:pt x="14" y="646"/>
                    <a:pt x="14" y="646"/>
                  </a:cubicBezTo>
                  <a:cubicBezTo>
                    <a:pt x="15" y="650"/>
                    <a:pt x="15" y="650"/>
                    <a:pt x="15" y="650"/>
                  </a:cubicBezTo>
                  <a:lnTo>
                    <a:pt x="18" y="649"/>
                  </a:lnTo>
                  <a:close/>
                  <a:moveTo>
                    <a:pt x="22" y="643"/>
                  </a:moveTo>
                  <a:cubicBezTo>
                    <a:pt x="17" y="645"/>
                    <a:pt x="17" y="645"/>
                    <a:pt x="17" y="645"/>
                  </a:cubicBezTo>
                  <a:cubicBezTo>
                    <a:pt x="22" y="647"/>
                    <a:pt x="22" y="647"/>
                    <a:pt x="22" y="647"/>
                  </a:cubicBezTo>
                  <a:lnTo>
                    <a:pt x="22" y="643"/>
                  </a:lnTo>
                  <a:close/>
                  <a:moveTo>
                    <a:pt x="14" y="639"/>
                  </a:moveTo>
                  <a:cubicBezTo>
                    <a:pt x="14" y="635"/>
                    <a:pt x="11" y="635"/>
                    <a:pt x="12" y="638"/>
                  </a:cubicBezTo>
                  <a:cubicBezTo>
                    <a:pt x="12" y="641"/>
                    <a:pt x="14" y="641"/>
                    <a:pt x="14" y="639"/>
                  </a:cubicBezTo>
                  <a:close/>
                  <a:moveTo>
                    <a:pt x="15" y="632"/>
                  </a:moveTo>
                  <a:cubicBezTo>
                    <a:pt x="24" y="629"/>
                    <a:pt x="24" y="629"/>
                    <a:pt x="24" y="629"/>
                  </a:cubicBezTo>
                  <a:cubicBezTo>
                    <a:pt x="25" y="626"/>
                    <a:pt x="25" y="626"/>
                    <a:pt x="25" y="626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15" y="623"/>
                    <a:pt x="15" y="623"/>
                    <a:pt x="15" y="623"/>
                  </a:cubicBezTo>
                  <a:cubicBezTo>
                    <a:pt x="15" y="626"/>
                    <a:pt x="15" y="626"/>
                    <a:pt x="15" y="626"/>
                  </a:cubicBezTo>
                  <a:cubicBezTo>
                    <a:pt x="12" y="627"/>
                    <a:pt x="12" y="627"/>
                    <a:pt x="12" y="627"/>
                  </a:cubicBezTo>
                  <a:cubicBezTo>
                    <a:pt x="16" y="628"/>
                    <a:pt x="16" y="628"/>
                    <a:pt x="16" y="628"/>
                  </a:cubicBezTo>
                  <a:lnTo>
                    <a:pt x="15" y="632"/>
                  </a:lnTo>
                  <a:close/>
                  <a:moveTo>
                    <a:pt x="12" y="630"/>
                  </a:moveTo>
                  <a:cubicBezTo>
                    <a:pt x="13" y="632"/>
                    <a:pt x="13" y="632"/>
                    <a:pt x="13" y="632"/>
                  </a:cubicBezTo>
                  <a:cubicBezTo>
                    <a:pt x="14" y="633"/>
                    <a:pt x="14" y="633"/>
                    <a:pt x="14" y="633"/>
                  </a:cubicBezTo>
                  <a:cubicBezTo>
                    <a:pt x="14" y="629"/>
                    <a:pt x="14" y="629"/>
                    <a:pt x="14" y="629"/>
                  </a:cubicBezTo>
                  <a:lnTo>
                    <a:pt x="12" y="630"/>
                  </a:lnTo>
                  <a:close/>
                  <a:moveTo>
                    <a:pt x="20" y="618"/>
                  </a:moveTo>
                  <a:cubicBezTo>
                    <a:pt x="22" y="619"/>
                    <a:pt x="22" y="623"/>
                    <a:pt x="22" y="623"/>
                  </a:cubicBezTo>
                  <a:cubicBezTo>
                    <a:pt x="25" y="623"/>
                    <a:pt x="25" y="623"/>
                    <a:pt x="25" y="623"/>
                  </a:cubicBezTo>
                  <a:cubicBezTo>
                    <a:pt x="25" y="616"/>
                    <a:pt x="25" y="616"/>
                    <a:pt x="25" y="616"/>
                  </a:cubicBezTo>
                  <a:cubicBezTo>
                    <a:pt x="20" y="615"/>
                    <a:pt x="20" y="615"/>
                    <a:pt x="20" y="615"/>
                  </a:cubicBezTo>
                  <a:cubicBezTo>
                    <a:pt x="20" y="615"/>
                    <a:pt x="18" y="617"/>
                    <a:pt x="20" y="618"/>
                  </a:cubicBezTo>
                  <a:close/>
                  <a:moveTo>
                    <a:pt x="36" y="604"/>
                  </a:moveTo>
                  <a:cubicBezTo>
                    <a:pt x="36" y="601"/>
                    <a:pt x="36" y="601"/>
                    <a:pt x="36" y="601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4"/>
                    <a:pt x="34" y="604"/>
                    <a:pt x="34" y="604"/>
                  </a:cubicBezTo>
                  <a:lnTo>
                    <a:pt x="36" y="604"/>
                  </a:lnTo>
                  <a:close/>
                  <a:moveTo>
                    <a:pt x="45" y="607"/>
                  </a:moveTo>
                  <a:cubicBezTo>
                    <a:pt x="48" y="605"/>
                    <a:pt x="48" y="601"/>
                    <a:pt x="44" y="600"/>
                  </a:cubicBezTo>
                  <a:cubicBezTo>
                    <a:pt x="40" y="598"/>
                    <a:pt x="40" y="603"/>
                    <a:pt x="40" y="603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7"/>
                    <a:pt x="42" y="608"/>
                    <a:pt x="45" y="607"/>
                  </a:cubicBezTo>
                  <a:close/>
                  <a:moveTo>
                    <a:pt x="42" y="598"/>
                  </a:moveTo>
                  <a:cubicBezTo>
                    <a:pt x="45" y="598"/>
                    <a:pt x="45" y="598"/>
                    <a:pt x="45" y="598"/>
                  </a:cubicBezTo>
                  <a:cubicBezTo>
                    <a:pt x="46" y="596"/>
                    <a:pt x="46" y="596"/>
                    <a:pt x="46" y="596"/>
                  </a:cubicBezTo>
                  <a:cubicBezTo>
                    <a:pt x="43" y="593"/>
                    <a:pt x="43" y="593"/>
                    <a:pt x="43" y="593"/>
                  </a:cubicBezTo>
                  <a:cubicBezTo>
                    <a:pt x="41" y="593"/>
                    <a:pt x="41" y="593"/>
                    <a:pt x="41" y="593"/>
                  </a:cubicBezTo>
                  <a:cubicBezTo>
                    <a:pt x="42" y="596"/>
                    <a:pt x="42" y="596"/>
                    <a:pt x="42" y="596"/>
                  </a:cubicBezTo>
                  <a:lnTo>
                    <a:pt x="42" y="598"/>
                  </a:lnTo>
                  <a:close/>
                  <a:moveTo>
                    <a:pt x="53" y="593"/>
                  </a:moveTo>
                  <a:cubicBezTo>
                    <a:pt x="49" y="594"/>
                    <a:pt x="49" y="594"/>
                    <a:pt x="49" y="594"/>
                  </a:cubicBezTo>
                  <a:cubicBezTo>
                    <a:pt x="49" y="603"/>
                    <a:pt x="49" y="603"/>
                    <a:pt x="49" y="603"/>
                  </a:cubicBezTo>
                  <a:cubicBezTo>
                    <a:pt x="57" y="598"/>
                    <a:pt x="57" y="598"/>
                    <a:pt x="57" y="598"/>
                  </a:cubicBezTo>
                  <a:lnTo>
                    <a:pt x="53" y="593"/>
                  </a:lnTo>
                  <a:close/>
                  <a:moveTo>
                    <a:pt x="57" y="593"/>
                  </a:moveTo>
                  <a:cubicBezTo>
                    <a:pt x="60" y="596"/>
                    <a:pt x="60" y="596"/>
                    <a:pt x="60" y="596"/>
                  </a:cubicBezTo>
                  <a:cubicBezTo>
                    <a:pt x="65" y="594"/>
                    <a:pt x="65" y="594"/>
                    <a:pt x="65" y="594"/>
                  </a:cubicBezTo>
                  <a:cubicBezTo>
                    <a:pt x="61" y="592"/>
                    <a:pt x="61" y="592"/>
                    <a:pt x="61" y="592"/>
                  </a:cubicBezTo>
                  <a:lnTo>
                    <a:pt x="57" y="593"/>
                  </a:lnTo>
                  <a:close/>
                  <a:moveTo>
                    <a:pt x="55" y="587"/>
                  </a:moveTo>
                  <a:cubicBezTo>
                    <a:pt x="51" y="591"/>
                    <a:pt x="51" y="591"/>
                    <a:pt x="51" y="591"/>
                  </a:cubicBezTo>
                  <a:cubicBezTo>
                    <a:pt x="58" y="591"/>
                    <a:pt x="58" y="591"/>
                    <a:pt x="58" y="591"/>
                  </a:cubicBezTo>
                  <a:lnTo>
                    <a:pt x="55" y="587"/>
                  </a:lnTo>
                  <a:close/>
                  <a:moveTo>
                    <a:pt x="57" y="586"/>
                  </a:moveTo>
                  <a:cubicBezTo>
                    <a:pt x="59" y="586"/>
                    <a:pt x="61" y="581"/>
                    <a:pt x="58" y="582"/>
                  </a:cubicBezTo>
                  <a:cubicBezTo>
                    <a:pt x="55" y="583"/>
                    <a:pt x="56" y="586"/>
                    <a:pt x="57" y="586"/>
                  </a:cubicBezTo>
                  <a:close/>
                  <a:moveTo>
                    <a:pt x="63" y="580"/>
                  </a:moveTo>
                  <a:cubicBezTo>
                    <a:pt x="59" y="579"/>
                    <a:pt x="59" y="579"/>
                    <a:pt x="59" y="579"/>
                  </a:cubicBezTo>
                  <a:cubicBezTo>
                    <a:pt x="62" y="582"/>
                    <a:pt x="62" y="582"/>
                    <a:pt x="62" y="582"/>
                  </a:cubicBezTo>
                  <a:lnTo>
                    <a:pt x="63" y="580"/>
                  </a:lnTo>
                  <a:close/>
                  <a:moveTo>
                    <a:pt x="63" y="577"/>
                  </a:moveTo>
                  <a:cubicBezTo>
                    <a:pt x="62" y="578"/>
                    <a:pt x="62" y="578"/>
                    <a:pt x="62" y="578"/>
                  </a:cubicBezTo>
                  <a:cubicBezTo>
                    <a:pt x="65" y="580"/>
                    <a:pt x="65" y="580"/>
                    <a:pt x="65" y="580"/>
                  </a:cubicBezTo>
                  <a:lnTo>
                    <a:pt x="63" y="577"/>
                  </a:lnTo>
                  <a:close/>
                  <a:moveTo>
                    <a:pt x="71" y="575"/>
                  </a:moveTo>
                  <a:cubicBezTo>
                    <a:pt x="71" y="571"/>
                    <a:pt x="71" y="571"/>
                    <a:pt x="71" y="571"/>
                  </a:cubicBezTo>
                  <a:cubicBezTo>
                    <a:pt x="69" y="571"/>
                    <a:pt x="69" y="571"/>
                    <a:pt x="69" y="571"/>
                  </a:cubicBezTo>
                  <a:cubicBezTo>
                    <a:pt x="69" y="575"/>
                    <a:pt x="69" y="575"/>
                    <a:pt x="69" y="575"/>
                  </a:cubicBezTo>
                  <a:lnTo>
                    <a:pt x="71" y="575"/>
                  </a:lnTo>
                  <a:close/>
                  <a:moveTo>
                    <a:pt x="80" y="578"/>
                  </a:moveTo>
                  <a:cubicBezTo>
                    <a:pt x="85" y="576"/>
                    <a:pt x="85" y="575"/>
                    <a:pt x="82" y="575"/>
                  </a:cubicBezTo>
                  <a:cubicBezTo>
                    <a:pt x="78" y="573"/>
                    <a:pt x="77" y="576"/>
                    <a:pt x="77" y="577"/>
                  </a:cubicBezTo>
                  <a:cubicBezTo>
                    <a:pt x="77" y="578"/>
                    <a:pt x="80" y="578"/>
                    <a:pt x="80" y="578"/>
                  </a:cubicBezTo>
                  <a:close/>
                  <a:moveTo>
                    <a:pt x="87" y="568"/>
                  </a:moveTo>
                  <a:cubicBezTo>
                    <a:pt x="82" y="567"/>
                    <a:pt x="82" y="567"/>
                    <a:pt x="82" y="567"/>
                  </a:cubicBezTo>
                  <a:cubicBezTo>
                    <a:pt x="80" y="568"/>
                    <a:pt x="80" y="568"/>
                    <a:pt x="80" y="568"/>
                  </a:cubicBezTo>
                  <a:cubicBezTo>
                    <a:pt x="83" y="571"/>
                    <a:pt x="83" y="571"/>
                    <a:pt x="83" y="571"/>
                  </a:cubicBezTo>
                  <a:lnTo>
                    <a:pt x="87" y="568"/>
                  </a:lnTo>
                  <a:close/>
                  <a:moveTo>
                    <a:pt x="110" y="557"/>
                  </a:moveTo>
                  <a:cubicBezTo>
                    <a:pt x="109" y="551"/>
                    <a:pt x="109" y="551"/>
                    <a:pt x="109" y="551"/>
                  </a:cubicBezTo>
                  <a:cubicBezTo>
                    <a:pt x="106" y="551"/>
                    <a:pt x="106" y="551"/>
                    <a:pt x="106" y="551"/>
                  </a:cubicBezTo>
                  <a:cubicBezTo>
                    <a:pt x="107" y="554"/>
                    <a:pt x="107" y="554"/>
                    <a:pt x="107" y="554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0" y="558"/>
                    <a:pt x="100" y="558"/>
                    <a:pt x="100" y="558"/>
                  </a:cubicBezTo>
                  <a:cubicBezTo>
                    <a:pt x="105" y="562"/>
                    <a:pt x="105" y="562"/>
                    <a:pt x="105" y="562"/>
                  </a:cubicBezTo>
                  <a:lnTo>
                    <a:pt x="110" y="557"/>
                  </a:lnTo>
                  <a:close/>
                  <a:moveTo>
                    <a:pt x="116" y="555"/>
                  </a:moveTo>
                  <a:cubicBezTo>
                    <a:pt x="116" y="552"/>
                    <a:pt x="116" y="552"/>
                    <a:pt x="116" y="552"/>
                  </a:cubicBezTo>
                  <a:cubicBezTo>
                    <a:pt x="111" y="553"/>
                    <a:pt x="111" y="553"/>
                    <a:pt x="111" y="553"/>
                  </a:cubicBezTo>
                  <a:cubicBezTo>
                    <a:pt x="112" y="557"/>
                    <a:pt x="112" y="557"/>
                    <a:pt x="112" y="557"/>
                  </a:cubicBezTo>
                  <a:lnTo>
                    <a:pt x="116" y="555"/>
                  </a:lnTo>
                  <a:close/>
                  <a:moveTo>
                    <a:pt x="113" y="548"/>
                  </a:moveTo>
                  <a:cubicBezTo>
                    <a:pt x="111" y="552"/>
                    <a:pt x="111" y="552"/>
                    <a:pt x="111" y="552"/>
                  </a:cubicBezTo>
                  <a:cubicBezTo>
                    <a:pt x="115" y="551"/>
                    <a:pt x="115" y="551"/>
                    <a:pt x="115" y="551"/>
                  </a:cubicBezTo>
                  <a:lnTo>
                    <a:pt x="113" y="548"/>
                  </a:lnTo>
                  <a:close/>
                  <a:moveTo>
                    <a:pt x="124" y="545"/>
                  </a:moveTo>
                  <a:cubicBezTo>
                    <a:pt x="117" y="545"/>
                    <a:pt x="121" y="549"/>
                    <a:pt x="123" y="549"/>
                  </a:cubicBezTo>
                  <a:cubicBezTo>
                    <a:pt x="126" y="550"/>
                    <a:pt x="130" y="545"/>
                    <a:pt x="124" y="545"/>
                  </a:cubicBezTo>
                  <a:close/>
                  <a:moveTo>
                    <a:pt x="135" y="547"/>
                  </a:moveTo>
                  <a:cubicBezTo>
                    <a:pt x="133" y="542"/>
                    <a:pt x="133" y="542"/>
                    <a:pt x="133" y="542"/>
                  </a:cubicBezTo>
                  <a:cubicBezTo>
                    <a:pt x="132" y="544"/>
                    <a:pt x="132" y="544"/>
                    <a:pt x="132" y="544"/>
                  </a:cubicBezTo>
                  <a:cubicBezTo>
                    <a:pt x="129" y="541"/>
                    <a:pt x="129" y="541"/>
                    <a:pt x="129" y="541"/>
                  </a:cubicBezTo>
                  <a:cubicBezTo>
                    <a:pt x="127" y="542"/>
                    <a:pt x="127" y="542"/>
                    <a:pt x="127" y="542"/>
                  </a:cubicBezTo>
                  <a:cubicBezTo>
                    <a:pt x="132" y="549"/>
                    <a:pt x="132" y="549"/>
                    <a:pt x="132" y="549"/>
                  </a:cubicBezTo>
                  <a:lnTo>
                    <a:pt x="135" y="547"/>
                  </a:lnTo>
                  <a:close/>
                  <a:moveTo>
                    <a:pt x="118" y="535"/>
                  </a:moveTo>
                  <a:cubicBezTo>
                    <a:pt x="123" y="537"/>
                    <a:pt x="123" y="537"/>
                    <a:pt x="123" y="537"/>
                  </a:cubicBezTo>
                  <a:cubicBezTo>
                    <a:pt x="127" y="536"/>
                    <a:pt x="127" y="536"/>
                    <a:pt x="127" y="536"/>
                  </a:cubicBezTo>
                  <a:cubicBezTo>
                    <a:pt x="127" y="536"/>
                    <a:pt x="127" y="529"/>
                    <a:pt x="123" y="530"/>
                  </a:cubicBezTo>
                  <a:cubicBezTo>
                    <a:pt x="117" y="530"/>
                    <a:pt x="115" y="531"/>
                    <a:pt x="115" y="531"/>
                  </a:cubicBezTo>
                  <a:cubicBezTo>
                    <a:pt x="116" y="535"/>
                    <a:pt x="116" y="535"/>
                    <a:pt x="116" y="535"/>
                  </a:cubicBezTo>
                  <a:lnTo>
                    <a:pt x="118" y="535"/>
                  </a:lnTo>
                  <a:close/>
                  <a:moveTo>
                    <a:pt x="138" y="522"/>
                  </a:moveTo>
                  <a:cubicBezTo>
                    <a:pt x="138" y="522"/>
                    <a:pt x="131" y="524"/>
                    <a:pt x="131" y="528"/>
                  </a:cubicBezTo>
                  <a:cubicBezTo>
                    <a:pt x="131" y="533"/>
                    <a:pt x="138" y="530"/>
                    <a:pt x="145" y="529"/>
                  </a:cubicBezTo>
                  <a:cubicBezTo>
                    <a:pt x="154" y="526"/>
                    <a:pt x="158" y="523"/>
                    <a:pt x="156" y="522"/>
                  </a:cubicBezTo>
                  <a:cubicBezTo>
                    <a:pt x="154" y="521"/>
                    <a:pt x="150" y="521"/>
                    <a:pt x="150" y="521"/>
                  </a:cubicBezTo>
                  <a:cubicBezTo>
                    <a:pt x="150" y="518"/>
                    <a:pt x="150" y="518"/>
                    <a:pt x="150" y="518"/>
                  </a:cubicBezTo>
                  <a:cubicBezTo>
                    <a:pt x="150" y="518"/>
                    <a:pt x="147" y="518"/>
                    <a:pt x="143" y="519"/>
                  </a:cubicBezTo>
                  <a:cubicBezTo>
                    <a:pt x="139" y="519"/>
                    <a:pt x="138" y="522"/>
                    <a:pt x="138" y="522"/>
                  </a:cubicBezTo>
                  <a:close/>
                  <a:moveTo>
                    <a:pt x="139" y="516"/>
                  </a:moveTo>
                  <a:cubicBezTo>
                    <a:pt x="147" y="514"/>
                    <a:pt x="147" y="514"/>
                    <a:pt x="147" y="514"/>
                  </a:cubicBezTo>
                  <a:cubicBezTo>
                    <a:pt x="146" y="508"/>
                    <a:pt x="146" y="508"/>
                    <a:pt x="146" y="508"/>
                  </a:cubicBezTo>
                  <a:cubicBezTo>
                    <a:pt x="146" y="508"/>
                    <a:pt x="142" y="513"/>
                    <a:pt x="139" y="513"/>
                  </a:cubicBezTo>
                  <a:cubicBezTo>
                    <a:pt x="137" y="514"/>
                    <a:pt x="131" y="515"/>
                    <a:pt x="131" y="515"/>
                  </a:cubicBezTo>
                  <a:cubicBezTo>
                    <a:pt x="132" y="516"/>
                    <a:pt x="132" y="516"/>
                    <a:pt x="132" y="516"/>
                  </a:cubicBezTo>
                  <a:lnTo>
                    <a:pt x="139" y="516"/>
                  </a:lnTo>
                  <a:close/>
                  <a:moveTo>
                    <a:pt x="159" y="517"/>
                  </a:moveTo>
                  <a:cubicBezTo>
                    <a:pt x="154" y="518"/>
                    <a:pt x="154" y="518"/>
                    <a:pt x="154" y="518"/>
                  </a:cubicBezTo>
                  <a:cubicBezTo>
                    <a:pt x="153" y="519"/>
                    <a:pt x="153" y="519"/>
                    <a:pt x="153" y="519"/>
                  </a:cubicBezTo>
                  <a:cubicBezTo>
                    <a:pt x="159" y="519"/>
                    <a:pt x="159" y="519"/>
                    <a:pt x="159" y="519"/>
                  </a:cubicBezTo>
                  <a:lnTo>
                    <a:pt x="159" y="517"/>
                  </a:lnTo>
                  <a:close/>
                  <a:moveTo>
                    <a:pt x="162" y="515"/>
                  </a:moveTo>
                  <a:cubicBezTo>
                    <a:pt x="162" y="521"/>
                    <a:pt x="162" y="521"/>
                    <a:pt x="162" y="521"/>
                  </a:cubicBezTo>
                  <a:cubicBezTo>
                    <a:pt x="166" y="519"/>
                    <a:pt x="166" y="519"/>
                    <a:pt x="166" y="519"/>
                  </a:cubicBezTo>
                  <a:lnTo>
                    <a:pt x="162" y="515"/>
                  </a:lnTo>
                  <a:close/>
                  <a:moveTo>
                    <a:pt x="235" y="425"/>
                  </a:moveTo>
                  <a:cubicBezTo>
                    <a:pt x="235" y="425"/>
                    <a:pt x="232" y="424"/>
                    <a:pt x="230" y="425"/>
                  </a:cubicBezTo>
                  <a:cubicBezTo>
                    <a:pt x="227" y="427"/>
                    <a:pt x="229" y="430"/>
                    <a:pt x="229" y="430"/>
                  </a:cubicBezTo>
                  <a:lnTo>
                    <a:pt x="235" y="425"/>
                  </a:lnTo>
                  <a:close/>
                  <a:moveTo>
                    <a:pt x="215" y="439"/>
                  </a:moveTo>
                  <a:cubicBezTo>
                    <a:pt x="216" y="439"/>
                    <a:pt x="214" y="441"/>
                    <a:pt x="214" y="441"/>
                  </a:cubicBezTo>
                  <a:cubicBezTo>
                    <a:pt x="216" y="443"/>
                    <a:pt x="216" y="443"/>
                    <a:pt x="216" y="443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9"/>
                    <a:pt x="220" y="434"/>
                    <a:pt x="214" y="435"/>
                  </a:cubicBezTo>
                  <a:cubicBezTo>
                    <a:pt x="210" y="436"/>
                    <a:pt x="207" y="440"/>
                    <a:pt x="207" y="440"/>
                  </a:cubicBezTo>
                  <a:cubicBezTo>
                    <a:pt x="210" y="442"/>
                    <a:pt x="210" y="442"/>
                    <a:pt x="210" y="442"/>
                  </a:cubicBezTo>
                  <a:cubicBezTo>
                    <a:pt x="210" y="442"/>
                    <a:pt x="214" y="438"/>
                    <a:pt x="215" y="439"/>
                  </a:cubicBezTo>
                  <a:close/>
                  <a:moveTo>
                    <a:pt x="239" y="396"/>
                  </a:moveTo>
                  <a:cubicBezTo>
                    <a:pt x="244" y="390"/>
                    <a:pt x="244" y="390"/>
                    <a:pt x="244" y="390"/>
                  </a:cubicBezTo>
                  <a:cubicBezTo>
                    <a:pt x="242" y="387"/>
                    <a:pt x="242" y="387"/>
                    <a:pt x="242" y="387"/>
                  </a:cubicBezTo>
                  <a:cubicBezTo>
                    <a:pt x="242" y="387"/>
                    <a:pt x="236" y="386"/>
                    <a:pt x="237" y="391"/>
                  </a:cubicBezTo>
                  <a:cubicBezTo>
                    <a:pt x="237" y="396"/>
                    <a:pt x="239" y="396"/>
                    <a:pt x="239" y="396"/>
                  </a:cubicBezTo>
                  <a:close/>
                  <a:moveTo>
                    <a:pt x="242" y="408"/>
                  </a:moveTo>
                  <a:cubicBezTo>
                    <a:pt x="244" y="408"/>
                    <a:pt x="244" y="408"/>
                    <a:pt x="244" y="408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4" y="402"/>
                    <a:pt x="244" y="402"/>
                    <a:pt x="244" y="402"/>
                  </a:cubicBezTo>
                  <a:lnTo>
                    <a:pt x="242" y="408"/>
                  </a:lnTo>
                  <a:close/>
                  <a:moveTo>
                    <a:pt x="259" y="367"/>
                  </a:moveTo>
                  <a:cubicBezTo>
                    <a:pt x="259" y="367"/>
                    <a:pt x="254" y="371"/>
                    <a:pt x="253" y="373"/>
                  </a:cubicBezTo>
                  <a:cubicBezTo>
                    <a:pt x="252" y="374"/>
                    <a:pt x="255" y="378"/>
                    <a:pt x="255" y="378"/>
                  </a:cubicBezTo>
                  <a:cubicBezTo>
                    <a:pt x="260" y="373"/>
                    <a:pt x="260" y="373"/>
                    <a:pt x="260" y="373"/>
                  </a:cubicBezTo>
                  <a:cubicBezTo>
                    <a:pt x="265" y="370"/>
                    <a:pt x="265" y="370"/>
                    <a:pt x="265" y="370"/>
                  </a:cubicBezTo>
                  <a:cubicBezTo>
                    <a:pt x="266" y="367"/>
                    <a:pt x="266" y="367"/>
                    <a:pt x="266" y="367"/>
                  </a:cubicBezTo>
                  <a:cubicBezTo>
                    <a:pt x="260" y="370"/>
                    <a:pt x="260" y="370"/>
                    <a:pt x="260" y="370"/>
                  </a:cubicBezTo>
                  <a:lnTo>
                    <a:pt x="259" y="367"/>
                  </a:lnTo>
                  <a:close/>
                  <a:moveTo>
                    <a:pt x="253" y="366"/>
                  </a:moveTo>
                  <a:cubicBezTo>
                    <a:pt x="259" y="363"/>
                    <a:pt x="259" y="363"/>
                    <a:pt x="259" y="363"/>
                  </a:cubicBezTo>
                  <a:cubicBezTo>
                    <a:pt x="260" y="360"/>
                    <a:pt x="260" y="360"/>
                    <a:pt x="260" y="360"/>
                  </a:cubicBezTo>
                  <a:cubicBezTo>
                    <a:pt x="258" y="359"/>
                    <a:pt x="258" y="359"/>
                    <a:pt x="258" y="359"/>
                  </a:cubicBezTo>
                  <a:cubicBezTo>
                    <a:pt x="260" y="357"/>
                    <a:pt x="260" y="357"/>
                    <a:pt x="260" y="357"/>
                  </a:cubicBezTo>
                  <a:cubicBezTo>
                    <a:pt x="259" y="353"/>
                    <a:pt x="259" y="353"/>
                    <a:pt x="259" y="353"/>
                  </a:cubicBezTo>
                  <a:cubicBezTo>
                    <a:pt x="255" y="356"/>
                    <a:pt x="255" y="356"/>
                    <a:pt x="255" y="356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2" y="363"/>
                    <a:pt x="252" y="363"/>
                    <a:pt x="252" y="363"/>
                  </a:cubicBezTo>
                  <a:lnTo>
                    <a:pt x="253" y="366"/>
                  </a:lnTo>
                  <a:close/>
                  <a:moveTo>
                    <a:pt x="263" y="349"/>
                  </a:moveTo>
                  <a:cubicBezTo>
                    <a:pt x="262" y="352"/>
                    <a:pt x="262" y="352"/>
                    <a:pt x="262" y="352"/>
                  </a:cubicBezTo>
                  <a:cubicBezTo>
                    <a:pt x="264" y="355"/>
                    <a:pt x="264" y="355"/>
                    <a:pt x="264" y="355"/>
                  </a:cubicBezTo>
                  <a:cubicBezTo>
                    <a:pt x="268" y="350"/>
                    <a:pt x="268" y="350"/>
                    <a:pt x="268" y="350"/>
                  </a:cubicBezTo>
                  <a:lnTo>
                    <a:pt x="263" y="349"/>
                  </a:lnTo>
                  <a:close/>
                  <a:moveTo>
                    <a:pt x="264" y="359"/>
                  </a:moveTo>
                  <a:cubicBezTo>
                    <a:pt x="265" y="357"/>
                    <a:pt x="265" y="357"/>
                    <a:pt x="265" y="357"/>
                  </a:cubicBezTo>
                  <a:cubicBezTo>
                    <a:pt x="262" y="357"/>
                    <a:pt x="262" y="357"/>
                    <a:pt x="262" y="357"/>
                  </a:cubicBezTo>
                  <a:lnTo>
                    <a:pt x="264" y="359"/>
                  </a:lnTo>
                  <a:close/>
                  <a:moveTo>
                    <a:pt x="266" y="343"/>
                  </a:moveTo>
                  <a:cubicBezTo>
                    <a:pt x="269" y="340"/>
                    <a:pt x="269" y="340"/>
                    <a:pt x="269" y="340"/>
                  </a:cubicBezTo>
                  <a:cubicBezTo>
                    <a:pt x="265" y="339"/>
                    <a:pt x="265" y="339"/>
                    <a:pt x="265" y="339"/>
                  </a:cubicBezTo>
                  <a:lnTo>
                    <a:pt x="266" y="343"/>
                  </a:lnTo>
                  <a:close/>
                  <a:moveTo>
                    <a:pt x="261" y="330"/>
                  </a:moveTo>
                  <a:cubicBezTo>
                    <a:pt x="258" y="329"/>
                    <a:pt x="258" y="329"/>
                    <a:pt x="258" y="329"/>
                  </a:cubicBezTo>
                  <a:cubicBezTo>
                    <a:pt x="257" y="333"/>
                    <a:pt x="257" y="333"/>
                    <a:pt x="257" y="333"/>
                  </a:cubicBezTo>
                  <a:cubicBezTo>
                    <a:pt x="260" y="332"/>
                    <a:pt x="260" y="332"/>
                    <a:pt x="260" y="332"/>
                  </a:cubicBezTo>
                  <a:lnTo>
                    <a:pt x="261" y="330"/>
                  </a:lnTo>
                  <a:close/>
                  <a:moveTo>
                    <a:pt x="272" y="351"/>
                  </a:moveTo>
                  <a:cubicBezTo>
                    <a:pt x="269" y="350"/>
                    <a:pt x="269" y="350"/>
                    <a:pt x="269" y="350"/>
                  </a:cubicBezTo>
                  <a:cubicBezTo>
                    <a:pt x="268" y="356"/>
                    <a:pt x="268" y="356"/>
                    <a:pt x="268" y="356"/>
                  </a:cubicBezTo>
                  <a:lnTo>
                    <a:pt x="272" y="351"/>
                  </a:lnTo>
                  <a:close/>
                  <a:moveTo>
                    <a:pt x="280" y="319"/>
                  </a:moveTo>
                  <a:cubicBezTo>
                    <a:pt x="278" y="317"/>
                    <a:pt x="278" y="317"/>
                    <a:pt x="278" y="317"/>
                  </a:cubicBezTo>
                  <a:cubicBezTo>
                    <a:pt x="276" y="320"/>
                    <a:pt x="276" y="320"/>
                    <a:pt x="276" y="320"/>
                  </a:cubicBezTo>
                  <a:lnTo>
                    <a:pt x="280" y="319"/>
                  </a:lnTo>
                  <a:close/>
                  <a:moveTo>
                    <a:pt x="284" y="313"/>
                  </a:moveTo>
                  <a:cubicBezTo>
                    <a:pt x="279" y="312"/>
                    <a:pt x="279" y="312"/>
                    <a:pt x="279" y="312"/>
                  </a:cubicBezTo>
                  <a:cubicBezTo>
                    <a:pt x="276" y="315"/>
                    <a:pt x="276" y="315"/>
                    <a:pt x="276" y="315"/>
                  </a:cubicBezTo>
                  <a:cubicBezTo>
                    <a:pt x="284" y="315"/>
                    <a:pt x="284" y="315"/>
                    <a:pt x="284" y="315"/>
                  </a:cubicBezTo>
                  <a:lnTo>
                    <a:pt x="284" y="313"/>
                  </a:lnTo>
                  <a:close/>
                  <a:moveTo>
                    <a:pt x="301" y="300"/>
                  </a:moveTo>
                  <a:cubicBezTo>
                    <a:pt x="304" y="290"/>
                    <a:pt x="304" y="290"/>
                    <a:pt x="304" y="290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1" y="294"/>
                    <a:pt x="301" y="294"/>
                    <a:pt x="301" y="294"/>
                  </a:cubicBezTo>
                  <a:cubicBezTo>
                    <a:pt x="297" y="292"/>
                    <a:pt x="297" y="292"/>
                    <a:pt x="297" y="292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300" y="298"/>
                    <a:pt x="300" y="298"/>
                    <a:pt x="300" y="298"/>
                  </a:cubicBezTo>
                  <a:cubicBezTo>
                    <a:pt x="300" y="300"/>
                    <a:pt x="300" y="300"/>
                    <a:pt x="300" y="300"/>
                  </a:cubicBezTo>
                  <a:lnTo>
                    <a:pt x="301" y="300"/>
                  </a:lnTo>
                  <a:close/>
                  <a:moveTo>
                    <a:pt x="305" y="276"/>
                  </a:moveTo>
                  <a:cubicBezTo>
                    <a:pt x="298" y="279"/>
                    <a:pt x="304" y="279"/>
                    <a:pt x="306" y="278"/>
                  </a:cubicBezTo>
                  <a:cubicBezTo>
                    <a:pt x="311" y="276"/>
                    <a:pt x="310" y="273"/>
                    <a:pt x="305" y="276"/>
                  </a:cubicBezTo>
                  <a:close/>
                  <a:moveTo>
                    <a:pt x="262" y="260"/>
                  </a:moveTo>
                  <a:cubicBezTo>
                    <a:pt x="260" y="266"/>
                    <a:pt x="260" y="266"/>
                    <a:pt x="260" y="266"/>
                  </a:cubicBezTo>
                  <a:cubicBezTo>
                    <a:pt x="265" y="263"/>
                    <a:pt x="265" y="263"/>
                    <a:pt x="265" y="263"/>
                  </a:cubicBezTo>
                  <a:lnTo>
                    <a:pt x="262" y="260"/>
                  </a:lnTo>
                  <a:close/>
                  <a:moveTo>
                    <a:pt x="320" y="244"/>
                  </a:moveTo>
                  <a:cubicBezTo>
                    <a:pt x="327" y="242"/>
                    <a:pt x="327" y="242"/>
                    <a:pt x="327" y="242"/>
                  </a:cubicBezTo>
                  <a:cubicBezTo>
                    <a:pt x="327" y="241"/>
                    <a:pt x="327" y="241"/>
                    <a:pt x="327" y="241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44"/>
                  </a:lnTo>
                  <a:close/>
                  <a:moveTo>
                    <a:pt x="323" y="236"/>
                  </a:moveTo>
                  <a:cubicBezTo>
                    <a:pt x="327" y="239"/>
                    <a:pt x="327" y="239"/>
                    <a:pt x="327" y="239"/>
                  </a:cubicBezTo>
                  <a:cubicBezTo>
                    <a:pt x="327" y="238"/>
                    <a:pt x="324" y="234"/>
                    <a:pt x="324" y="234"/>
                  </a:cubicBezTo>
                  <a:lnTo>
                    <a:pt x="323" y="236"/>
                  </a:lnTo>
                  <a:close/>
                  <a:moveTo>
                    <a:pt x="353" y="201"/>
                  </a:moveTo>
                  <a:cubicBezTo>
                    <a:pt x="346" y="195"/>
                    <a:pt x="347" y="207"/>
                    <a:pt x="347" y="207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45" y="210"/>
                    <a:pt x="345" y="210"/>
                    <a:pt x="345" y="210"/>
                  </a:cubicBezTo>
                  <a:cubicBezTo>
                    <a:pt x="351" y="208"/>
                    <a:pt x="351" y="208"/>
                    <a:pt x="351" y="208"/>
                  </a:cubicBezTo>
                  <a:cubicBezTo>
                    <a:pt x="351" y="208"/>
                    <a:pt x="358" y="206"/>
                    <a:pt x="353" y="201"/>
                  </a:cubicBezTo>
                  <a:close/>
                  <a:moveTo>
                    <a:pt x="343" y="217"/>
                  </a:moveTo>
                  <a:cubicBezTo>
                    <a:pt x="348" y="213"/>
                    <a:pt x="348" y="213"/>
                    <a:pt x="348" y="213"/>
                  </a:cubicBezTo>
                  <a:cubicBezTo>
                    <a:pt x="343" y="214"/>
                    <a:pt x="343" y="214"/>
                    <a:pt x="343" y="214"/>
                  </a:cubicBezTo>
                  <a:lnTo>
                    <a:pt x="343" y="217"/>
                  </a:lnTo>
                  <a:close/>
                  <a:moveTo>
                    <a:pt x="350" y="229"/>
                  </a:moveTo>
                  <a:cubicBezTo>
                    <a:pt x="348" y="232"/>
                    <a:pt x="348" y="232"/>
                    <a:pt x="348" y="232"/>
                  </a:cubicBezTo>
                  <a:cubicBezTo>
                    <a:pt x="354" y="232"/>
                    <a:pt x="354" y="232"/>
                    <a:pt x="354" y="232"/>
                  </a:cubicBezTo>
                  <a:lnTo>
                    <a:pt x="350" y="229"/>
                  </a:lnTo>
                  <a:close/>
                  <a:moveTo>
                    <a:pt x="265" y="251"/>
                  </a:moveTo>
                  <a:cubicBezTo>
                    <a:pt x="265" y="251"/>
                    <a:pt x="270" y="250"/>
                    <a:pt x="271" y="247"/>
                  </a:cubicBezTo>
                  <a:cubicBezTo>
                    <a:pt x="271" y="245"/>
                    <a:pt x="270" y="242"/>
                    <a:pt x="271" y="242"/>
                  </a:cubicBezTo>
                  <a:cubicBezTo>
                    <a:pt x="272" y="242"/>
                    <a:pt x="275" y="238"/>
                    <a:pt x="275" y="238"/>
                  </a:cubicBezTo>
                  <a:cubicBezTo>
                    <a:pt x="275" y="238"/>
                    <a:pt x="281" y="237"/>
                    <a:pt x="281" y="232"/>
                  </a:cubicBezTo>
                  <a:cubicBezTo>
                    <a:pt x="281" y="226"/>
                    <a:pt x="278" y="227"/>
                    <a:pt x="278" y="227"/>
                  </a:cubicBezTo>
                  <a:cubicBezTo>
                    <a:pt x="274" y="235"/>
                    <a:pt x="274" y="235"/>
                    <a:pt x="274" y="235"/>
                  </a:cubicBezTo>
                  <a:cubicBezTo>
                    <a:pt x="272" y="232"/>
                    <a:pt x="272" y="232"/>
                    <a:pt x="272" y="232"/>
                  </a:cubicBezTo>
                  <a:cubicBezTo>
                    <a:pt x="272" y="232"/>
                    <a:pt x="266" y="239"/>
                    <a:pt x="266" y="242"/>
                  </a:cubicBezTo>
                  <a:cubicBezTo>
                    <a:pt x="265" y="245"/>
                    <a:pt x="266" y="247"/>
                    <a:pt x="266" y="248"/>
                  </a:cubicBezTo>
                  <a:cubicBezTo>
                    <a:pt x="266" y="249"/>
                    <a:pt x="264" y="250"/>
                    <a:pt x="265" y="251"/>
                  </a:cubicBezTo>
                  <a:close/>
                  <a:moveTo>
                    <a:pt x="282" y="233"/>
                  </a:moveTo>
                  <a:cubicBezTo>
                    <a:pt x="282" y="233"/>
                    <a:pt x="287" y="233"/>
                    <a:pt x="289" y="232"/>
                  </a:cubicBezTo>
                  <a:cubicBezTo>
                    <a:pt x="292" y="231"/>
                    <a:pt x="290" y="226"/>
                    <a:pt x="290" y="226"/>
                  </a:cubicBezTo>
                  <a:cubicBezTo>
                    <a:pt x="290" y="226"/>
                    <a:pt x="297" y="222"/>
                    <a:pt x="301" y="221"/>
                  </a:cubicBezTo>
                  <a:cubicBezTo>
                    <a:pt x="303" y="220"/>
                    <a:pt x="298" y="215"/>
                    <a:pt x="296" y="215"/>
                  </a:cubicBezTo>
                  <a:cubicBezTo>
                    <a:pt x="293" y="215"/>
                    <a:pt x="298" y="219"/>
                    <a:pt x="296" y="220"/>
                  </a:cubicBezTo>
                  <a:cubicBezTo>
                    <a:pt x="294" y="221"/>
                    <a:pt x="292" y="215"/>
                    <a:pt x="292" y="215"/>
                  </a:cubicBezTo>
                  <a:cubicBezTo>
                    <a:pt x="288" y="219"/>
                    <a:pt x="288" y="219"/>
                    <a:pt x="288" y="219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85" y="223"/>
                    <a:pt x="285" y="223"/>
                    <a:pt x="285" y="223"/>
                  </a:cubicBezTo>
                  <a:cubicBezTo>
                    <a:pt x="282" y="224"/>
                    <a:pt x="282" y="224"/>
                    <a:pt x="282" y="224"/>
                  </a:cubicBezTo>
                  <a:cubicBezTo>
                    <a:pt x="282" y="227"/>
                    <a:pt x="282" y="227"/>
                    <a:pt x="282" y="227"/>
                  </a:cubicBezTo>
                  <a:cubicBezTo>
                    <a:pt x="284" y="229"/>
                    <a:pt x="284" y="229"/>
                    <a:pt x="284" y="229"/>
                  </a:cubicBezTo>
                  <a:lnTo>
                    <a:pt x="282" y="233"/>
                  </a:lnTo>
                  <a:close/>
                  <a:moveTo>
                    <a:pt x="303" y="221"/>
                  </a:moveTo>
                  <a:cubicBezTo>
                    <a:pt x="303" y="223"/>
                    <a:pt x="301" y="226"/>
                    <a:pt x="301" y="226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11" y="216"/>
                    <a:pt x="311" y="216"/>
                    <a:pt x="311" y="216"/>
                  </a:cubicBezTo>
                  <a:cubicBezTo>
                    <a:pt x="313" y="220"/>
                    <a:pt x="313" y="220"/>
                    <a:pt x="313" y="220"/>
                  </a:cubicBezTo>
                  <a:cubicBezTo>
                    <a:pt x="322" y="207"/>
                    <a:pt x="322" y="207"/>
                    <a:pt x="322" y="207"/>
                  </a:cubicBezTo>
                  <a:cubicBezTo>
                    <a:pt x="322" y="207"/>
                    <a:pt x="317" y="208"/>
                    <a:pt x="317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05" y="213"/>
                    <a:pt x="305" y="213"/>
                    <a:pt x="305" y="213"/>
                  </a:cubicBezTo>
                  <a:cubicBezTo>
                    <a:pt x="306" y="217"/>
                    <a:pt x="306" y="217"/>
                    <a:pt x="306" y="217"/>
                  </a:cubicBezTo>
                  <a:cubicBezTo>
                    <a:pt x="303" y="216"/>
                    <a:pt x="303" y="216"/>
                    <a:pt x="303" y="216"/>
                  </a:cubicBezTo>
                  <a:cubicBezTo>
                    <a:pt x="303" y="216"/>
                    <a:pt x="304" y="219"/>
                    <a:pt x="303" y="221"/>
                  </a:cubicBezTo>
                  <a:close/>
                  <a:moveTo>
                    <a:pt x="362" y="187"/>
                  </a:moveTo>
                  <a:cubicBezTo>
                    <a:pt x="362" y="187"/>
                    <a:pt x="366" y="187"/>
                    <a:pt x="367" y="186"/>
                  </a:cubicBezTo>
                  <a:cubicBezTo>
                    <a:pt x="369" y="186"/>
                    <a:pt x="372" y="184"/>
                    <a:pt x="372" y="184"/>
                  </a:cubicBezTo>
                  <a:cubicBezTo>
                    <a:pt x="367" y="178"/>
                    <a:pt x="367" y="178"/>
                    <a:pt x="367" y="178"/>
                  </a:cubicBezTo>
                  <a:lnTo>
                    <a:pt x="362" y="187"/>
                  </a:lnTo>
                  <a:close/>
                  <a:moveTo>
                    <a:pt x="378" y="177"/>
                  </a:moveTo>
                  <a:cubicBezTo>
                    <a:pt x="377" y="175"/>
                    <a:pt x="376" y="174"/>
                    <a:pt x="374" y="174"/>
                  </a:cubicBezTo>
                  <a:cubicBezTo>
                    <a:pt x="371" y="173"/>
                    <a:pt x="369" y="175"/>
                    <a:pt x="369" y="175"/>
                  </a:cubicBezTo>
                  <a:cubicBezTo>
                    <a:pt x="369" y="175"/>
                    <a:pt x="370" y="182"/>
                    <a:pt x="373" y="182"/>
                  </a:cubicBezTo>
                  <a:cubicBezTo>
                    <a:pt x="375" y="183"/>
                    <a:pt x="379" y="178"/>
                    <a:pt x="378" y="177"/>
                  </a:cubicBezTo>
                  <a:close/>
                  <a:moveTo>
                    <a:pt x="352" y="177"/>
                  </a:moveTo>
                  <a:cubicBezTo>
                    <a:pt x="355" y="179"/>
                    <a:pt x="357" y="179"/>
                    <a:pt x="357" y="179"/>
                  </a:cubicBezTo>
                  <a:cubicBezTo>
                    <a:pt x="357" y="174"/>
                    <a:pt x="357" y="174"/>
                    <a:pt x="357" y="174"/>
                  </a:cubicBezTo>
                  <a:cubicBezTo>
                    <a:pt x="350" y="171"/>
                    <a:pt x="350" y="171"/>
                    <a:pt x="350" y="171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50" y="177"/>
                    <a:pt x="352" y="177"/>
                  </a:cubicBezTo>
                  <a:close/>
                  <a:moveTo>
                    <a:pt x="348" y="178"/>
                  </a:moveTo>
                  <a:cubicBezTo>
                    <a:pt x="344" y="183"/>
                    <a:pt x="344" y="183"/>
                    <a:pt x="344" y="183"/>
                  </a:cubicBezTo>
                  <a:cubicBezTo>
                    <a:pt x="348" y="188"/>
                    <a:pt x="348" y="188"/>
                    <a:pt x="348" y="188"/>
                  </a:cubicBezTo>
                  <a:cubicBezTo>
                    <a:pt x="344" y="189"/>
                    <a:pt x="344" y="189"/>
                    <a:pt x="344" y="189"/>
                  </a:cubicBezTo>
                  <a:cubicBezTo>
                    <a:pt x="337" y="201"/>
                    <a:pt x="337" y="201"/>
                    <a:pt x="337" y="201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2" y="177"/>
                    <a:pt x="338" y="175"/>
                  </a:cubicBezTo>
                  <a:cubicBezTo>
                    <a:pt x="333" y="173"/>
                    <a:pt x="333" y="185"/>
                    <a:pt x="333" y="185"/>
                  </a:cubicBezTo>
                  <a:cubicBezTo>
                    <a:pt x="330" y="186"/>
                    <a:pt x="330" y="186"/>
                    <a:pt x="330" y="186"/>
                  </a:cubicBezTo>
                  <a:cubicBezTo>
                    <a:pt x="331" y="197"/>
                    <a:pt x="331" y="197"/>
                    <a:pt x="331" y="197"/>
                  </a:cubicBezTo>
                  <a:cubicBezTo>
                    <a:pt x="324" y="202"/>
                    <a:pt x="324" y="202"/>
                    <a:pt x="324" y="202"/>
                  </a:cubicBezTo>
                  <a:cubicBezTo>
                    <a:pt x="325" y="206"/>
                    <a:pt x="325" y="206"/>
                    <a:pt x="325" y="206"/>
                  </a:cubicBezTo>
                  <a:cubicBezTo>
                    <a:pt x="319" y="218"/>
                    <a:pt x="319" y="218"/>
                    <a:pt x="319" y="218"/>
                  </a:cubicBezTo>
                  <a:cubicBezTo>
                    <a:pt x="322" y="218"/>
                    <a:pt x="322" y="218"/>
                    <a:pt x="322" y="218"/>
                  </a:cubicBezTo>
                  <a:cubicBezTo>
                    <a:pt x="331" y="208"/>
                    <a:pt x="331" y="208"/>
                    <a:pt x="331" y="208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35" y="215"/>
                    <a:pt x="335" y="215"/>
                    <a:pt x="335" y="215"/>
                  </a:cubicBezTo>
                  <a:cubicBezTo>
                    <a:pt x="336" y="215"/>
                    <a:pt x="337" y="209"/>
                    <a:pt x="337" y="209"/>
                  </a:cubicBezTo>
                  <a:cubicBezTo>
                    <a:pt x="340" y="211"/>
                    <a:pt x="340" y="211"/>
                    <a:pt x="340" y="211"/>
                  </a:cubicBezTo>
                  <a:cubicBezTo>
                    <a:pt x="340" y="211"/>
                    <a:pt x="345" y="202"/>
                    <a:pt x="346" y="200"/>
                  </a:cubicBezTo>
                  <a:cubicBezTo>
                    <a:pt x="347" y="198"/>
                    <a:pt x="354" y="198"/>
                    <a:pt x="354" y="198"/>
                  </a:cubicBezTo>
                  <a:cubicBezTo>
                    <a:pt x="354" y="198"/>
                    <a:pt x="357" y="193"/>
                    <a:pt x="358" y="188"/>
                  </a:cubicBezTo>
                  <a:cubicBezTo>
                    <a:pt x="359" y="184"/>
                    <a:pt x="348" y="178"/>
                    <a:pt x="348" y="178"/>
                  </a:cubicBezTo>
                  <a:close/>
                  <a:moveTo>
                    <a:pt x="330" y="179"/>
                  </a:moveTo>
                  <a:cubicBezTo>
                    <a:pt x="330" y="174"/>
                    <a:pt x="330" y="174"/>
                    <a:pt x="330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43" y="162"/>
                    <a:pt x="343" y="162"/>
                    <a:pt x="343" y="162"/>
                  </a:cubicBezTo>
                  <a:cubicBezTo>
                    <a:pt x="343" y="162"/>
                    <a:pt x="351" y="146"/>
                    <a:pt x="341" y="155"/>
                  </a:cubicBezTo>
                  <a:cubicBezTo>
                    <a:pt x="331" y="162"/>
                    <a:pt x="326" y="174"/>
                    <a:pt x="327" y="177"/>
                  </a:cubicBezTo>
                  <a:cubicBezTo>
                    <a:pt x="328" y="181"/>
                    <a:pt x="330" y="179"/>
                    <a:pt x="330" y="179"/>
                  </a:cubicBezTo>
                  <a:close/>
                  <a:moveTo>
                    <a:pt x="312" y="197"/>
                  </a:moveTo>
                  <a:cubicBezTo>
                    <a:pt x="315" y="194"/>
                    <a:pt x="319" y="192"/>
                    <a:pt x="319" y="192"/>
                  </a:cubicBezTo>
                  <a:cubicBezTo>
                    <a:pt x="313" y="199"/>
                    <a:pt x="313" y="199"/>
                    <a:pt x="313" y="199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27" y="191"/>
                    <a:pt x="327" y="191"/>
                    <a:pt x="327" y="191"/>
                  </a:cubicBezTo>
                  <a:cubicBezTo>
                    <a:pt x="325" y="187"/>
                    <a:pt x="325" y="187"/>
                    <a:pt x="325" y="187"/>
                  </a:cubicBezTo>
                  <a:cubicBezTo>
                    <a:pt x="327" y="185"/>
                    <a:pt x="327" y="185"/>
                    <a:pt x="327" y="185"/>
                  </a:cubicBezTo>
                  <a:cubicBezTo>
                    <a:pt x="322" y="171"/>
                    <a:pt x="322" y="171"/>
                    <a:pt x="322" y="171"/>
                  </a:cubicBezTo>
                  <a:cubicBezTo>
                    <a:pt x="315" y="172"/>
                    <a:pt x="315" y="172"/>
                    <a:pt x="315" y="172"/>
                  </a:cubicBezTo>
                  <a:cubicBezTo>
                    <a:pt x="320" y="183"/>
                    <a:pt x="320" y="183"/>
                    <a:pt x="320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7" y="188"/>
                    <a:pt x="317" y="188"/>
                    <a:pt x="317" y="188"/>
                  </a:cubicBezTo>
                  <a:cubicBezTo>
                    <a:pt x="309" y="186"/>
                    <a:pt x="309" y="186"/>
                    <a:pt x="309" y="186"/>
                  </a:cubicBezTo>
                  <a:cubicBezTo>
                    <a:pt x="309" y="186"/>
                    <a:pt x="306" y="191"/>
                    <a:pt x="305" y="194"/>
                  </a:cubicBezTo>
                  <a:cubicBezTo>
                    <a:pt x="303" y="199"/>
                    <a:pt x="308" y="198"/>
                    <a:pt x="312" y="197"/>
                  </a:cubicBezTo>
                  <a:close/>
                  <a:moveTo>
                    <a:pt x="309" y="186"/>
                  </a:moveTo>
                  <a:cubicBezTo>
                    <a:pt x="309" y="186"/>
                    <a:pt x="309" y="186"/>
                    <a:pt x="309" y="186"/>
                  </a:cubicBezTo>
                  <a:moveTo>
                    <a:pt x="313" y="206"/>
                  </a:moveTo>
                  <a:cubicBezTo>
                    <a:pt x="322" y="206"/>
                    <a:pt x="319" y="202"/>
                    <a:pt x="313" y="202"/>
                  </a:cubicBezTo>
                  <a:cubicBezTo>
                    <a:pt x="307" y="202"/>
                    <a:pt x="306" y="206"/>
                    <a:pt x="313" y="206"/>
                  </a:cubicBezTo>
                  <a:close/>
                  <a:moveTo>
                    <a:pt x="361" y="157"/>
                  </a:moveTo>
                  <a:cubicBezTo>
                    <a:pt x="367" y="159"/>
                    <a:pt x="367" y="159"/>
                    <a:pt x="367" y="159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62" y="168"/>
                    <a:pt x="368" y="170"/>
                    <a:pt x="371" y="168"/>
                  </a:cubicBezTo>
                  <a:cubicBezTo>
                    <a:pt x="376" y="157"/>
                    <a:pt x="376" y="157"/>
                    <a:pt x="376" y="157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9" y="144"/>
                    <a:pt x="389" y="144"/>
                    <a:pt x="389" y="144"/>
                  </a:cubicBezTo>
                  <a:cubicBezTo>
                    <a:pt x="389" y="144"/>
                    <a:pt x="391" y="135"/>
                    <a:pt x="384" y="132"/>
                  </a:cubicBezTo>
                  <a:cubicBezTo>
                    <a:pt x="376" y="129"/>
                    <a:pt x="370" y="139"/>
                    <a:pt x="370" y="139"/>
                  </a:cubicBezTo>
                  <a:cubicBezTo>
                    <a:pt x="375" y="145"/>
                    <a:pt x="375" y="145"/>
                    <a:pt x="375" y="145"/>
                  </a:cubicBezTo>
                  <a:cubicBezTo>
                    <a:pt x="371" y="143"/>
                    <a:pt x="371" y="143"/>
                    <a:pt x="371" y="143"/>
                  </a:cubicBezTo>
                  <a:cubicBezTo>
                    <a:pt x="371" y="143"/>
                    <a:pt x="362" y="144"/>
                    <a:pt x="362" y="145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7" y="152"/>
                    <a:pt x="367" y="152"/>
                    <a:pt x="367" y="152"/>
                  </a:cubicBezTo>
                  <a:cubicBezTo>
                    <a:pt x="360" y="155"/>
                    <a:pt x="360" y="155"/>
                    <a:pt x="360" y="155"/>
                  </a:cubicBezTo>
                  <a:lnTo>
                    <a:pt x="361" y="157"/>
                  </a:lnTo>
                  <a:close/>
                  <a:moveTo>
                    <a:pt x="401" y="132"/>
                  </a:moveTo>
                  <a:cubicBezTo>
                    <a:pt x="406" y="130"/>
                    <a:pt x="406" y="127"/>
                    <a:pt x="406" y="127"/>
                  </a:cubicBezTo>
                  <a:cubicBezTo>
                    <a:pt x="404" y="127"/>
                    <a:pt x="404" y="127"/>
                    <a:pt x="404" y="127"/>
                  </a:cubicBezTo>
                  <a:cubicBezTo>
                    <a:pt x="404" y="127"/>
                    <a:pt x="405" y="121"/>
                    <a:pt x="407" y="120"/>
                  </a:cubicBezTo>
                  <a:cubicBezTo>
                    <a:pt x="408" y="119"/>
                    <a:pt x="410" y="118"/>
                    <a:pt x="410" y="118"/>
                  </a:cubicBezTo>
                  <a:cubicBezTo>
                    <a:pt x="410" y="118"/>
                    <a:pt x="408" y="111"/>
                    <a:pt x="403" y="112"/>
                  </a:cubicBezTo>
                  <a:cubicBezTo>
                    <a:pt x="399" y="112"/>
                    <a:pt x="401" y="119"/>
                    <a:pt x="401" y="119"/>
                  </a:cubicBezTo>
                  <a:cubicBezTo>
                    <a:pt x="397" y="118"/>
                    <a:pt x="397" y="118"/>
                    <a:pt x="397" y="118"/>
                  </a:cubicBezTo>
                  <a:cubicBezTo>
                    <a:pt x="393" y="121"/>
                    <a:pt x="393" y="121"/>
                    <a:pt x="393" y="121"/>
                  </a:cubicBezTo>
                  <a:cubicBezTo>
                    <a:pt x="394" y="124"/>
                    <a:pt x="394" y="124"/>
                    <a:pt x="394" y="124"/>
                  </a:cubicBezTo>
                  <a:cubicBezTo>
                    <a:pt x="390" y="123"/>
                    <a:pt x="390" y="123"/>
                    <a:pt x="390" y="123"/>
                  </a:cubicBezTo>
                  <a:cubicBezTo>
                    <a:pt x="389" y="126"/>
                    <a:pt x="389" y="126"/>
                    <a:pt x="389" y="126"/>
                  </a:cubicBezTo>
                  <a:cubicBezTo>
                    <a:pt x="390" y="129"/>
                    <a:pt x="390" y="129"/>
                    <a:pt x="390" y="129"/>
                  </a:cubicBezTo>
                  <a:cubicBezTo>
                    <a:pt x="388" y="128"/>
                    <a:pt x="388" y="128"/>
                    <a:pt x="388" y="128"/>
                  </a:cubicBezTo>
                  <a:cubicBezTo>
                    <a:pt x="388" y="132"/>
                    <a:pt x="388" y="132"/>
                    <a:pt x="388" y="132"/>
                  </a:cubicBezTo>
                  <a:cubicBezTo>
                    <a:pt x="388" y="132"/>
                    <a:pt x="395" y="134"/>
                    <a:pt x="401" y="132"/>
                  </a:cubicBezTo>
                  <a:close/>
                  <a:moveTo>
                    <a:pt x="408" y="111"/>
                  </a:moveTo>
                  <a:cubicBezTo>
                    <a:pt x="410" y="112"/>
                    <a:pt x="411" y="112"/>
                    <a:pt x="411" y="112"/>
                  </a:cubicBezTo>
                  <a:cubicBezTo>
                    <a:pt x="412" y="115"/>
                    <a:pt x="412" y="115"/>
                    <a:pt x="412" y="115"/>
                  </a:cubicBezTo>
                  <a:cubicBezTo>
                    <a:pt x="412" y="115"/>
                    <a:pt x="420" y="113"/>
                    <a:pt x="420" y="109"/>
                  </a:cubicBezTo>
                  <a:cubicBezTo>
                    <a:pt x="420" y="106"/>
                    <a:pt x="420" y="106"/>
                    <a:pt x="420" y="106"/>
                  </a:cubicBezTo>
                  <a:cubicBezTo>
                    <a:pt x="420" y="106"/>
                    <a:pt x="426" y="104"/>
                    <a:pt x="424" y="102"/>
                  </a:cubicBezTo>
                  <a:cubicBezTo>
                    <a:pt x="423" y="99"/>
                    <a:pt x="418" y="100"/>
                    <a:pt x="418" y="100"/>
                  </a:cubicBezTo>
                  <a:cubicBezTo>
                    <a:pt x="418" y="100"/>
                    <a:pt x="416" y="96"/>
                    <a:pt x="411" y="97"/>
                  </a:cubicBezTo>
                  <a:cubicBezTo>
                    <a:pt x="408" y="98"/>
                    <a:pt x="403" y="106"/>
                    <a:pt x="403" y="106"/>
                  </a:cubicBezTo>
                  <a:cubicBezTo>
                    <a:pt x="403" y="106"/>
                    <a:pt x="406" y="110"/>
                    <a:pt x="408" y="111"/>
                  </a:cubicBezTo>
                  <a:close/>
                  <a:moveTo>
                    <a:pt x="424" y="106"/>
                  </a:moveTo>
                  <a:cubicBezTo>
                    <a:pt x="421" y="111"/>
                    <a:pt x="421" y="111"/>
                    <a:pt x="421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33" y="100"/>
                    <a:pt x="433" y="100"/>
                    <a:pt x="433" y="100"/>
                  </a:cubicBezTo>
                  <a:cubicBezTo>
                    <a:pt x="429" y="100"/>
                    <a:pt x="429" y="100"/>
                    <a:pt x="429" y="100"/>
                  </a:cubicBezTo>
                  <a:lnTo>
                    <a:pt x="424" y="106"/>
                  </a:lnTo>
                  <a:close/>
                  <a:moveTo>
                    <a:pt x="426" y="97"/>
                  </a:moveTo>
                  <a:cubicBezTo>
                    <a:pt x="433" y="98"/>
                    <a:pt x="434" y="97"/>
                    <a:pt x="433" y="93"/>
                  </a:cubicBezTo>
                  <a:cubicBezTo>
                    <a:pt x="431" y="90"/>
                    <a:pt x="427" y="87"/>
                    <a:pt x="427" y="87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2" y="83"/>
                    <a:pt x="422" y="83"/>
                    <a:pt x="422" y="83"/>
                  </a:cubicBezTo>
                  <a:cubicBezTo>
                    <a:pt x="420" y="87"/>
                    <a:pt x="420" y="87"/>
                    <a:pt x="420" y="87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4" y="94"/>
                    <a:pt x="422" y="96"/>
                    <a:pt x="426" y="97"/>
                  </a:cubicBezTo>
                  <a:close/>
                  <a:moveTo>
                    <a:pt x="421" y="95"/>
                  </a:moveTo>
                  <a:cubicBezTo>
                    <a:pt x="417" y="91"/>
                    <a:pt x="417" y="91"/>
                    <a:pt x="417" y="91"/>
                  </a:cubicBezTo>
                  <a:cubicBezTo>
                    <a:pt x="417" y="94"/>
                    <a:pt x="417" y="94"/>
                    <a:pt x="417" y="94"/>
                  </a:cubicBezTo>
                  <a:lnTo>
                    <a:pt x="421" y="95"/>
                  </a:lnTo>
                  <a:close/>
                  <a:moveTo>
                    <a:pt x="413" y="95"/>
                  </a:moveTo>
                  <a:cubicBezTo>
                    <a:pt x="415" y="87"/>
                    <a:pt x="415" y="87"/>
                    <a:pt x="415" y="87"/>
                  </a:cubicBezTo>
                  <a:cubicBezTo>
                    <a:pt x="409" y="84"/>
                    <a:pt x="409" y="84"/>
                    <a:pt x="409" y="84"/>
                  </a:cubicBezTo>
                  <a:cubicBezTo>
                    <a:pt x="409" y="95"/>
                    <a:pt x="409" y="95"/>
                    <a:pt x="409" y="95"/>
                  </a:cubicBezTo>
                  <a:lnTo>
                    <a:pt x="413" y="95"/>
                  </a:lnTo>
                  <a:close/>
                  <a:moveTo>
                    <a:pt x="407" y="97"/>
                  </a:moveTo>
                  <a:cubicBezTo>
                    <a:pt x="403" y="94"/>
                    <a:pt x="403" y="94"/>
                    <a:pt x="403" y="94"/>
                  </a:cubicBezTo>
                  <a:cubicBezTo>
                    <a:pt x="403" y="98"/>
                    <a:pt x="403" y="98"/>
                    <a:pt x="403" y="98"/>
                  </a:cubicBezTo>
                  <a:cubicBezTo>
                    <a:pt x="397" y="96"/>
                    <a:pt x="397" y="96"/>
                    <a:pt x="397" y="96"/>
                  </a:cubicBezTo>
                  <a:cubicBezTo>
                    <a:pt x="400" y="103"/>
                    <a:pt x="400" y="103"/>
                    <a:pt x="400" y="103"/>
                  </a:cubicBezTo>
                  <a:lnTo>
                    <a:pt x="407" y="97"/>
                  </a:lnTo>
                  <a:close/>
                  <a:moveTo>
                    <a:pt x="443" y="96"/>
                  </a:moveTo>
                  <a:cubicBezTo>
                    <a:pt x="449" y="97"/>
                    <a:pt x="452" y="90"/>
                    <a:pt x="449" y="84"/>
                  </a:cubicBezTo>
                  <a:cubicBezTo>
                    <a:pt x="446" y="79"/>
                    <a:pt x="441" y="83"/>
                    <a:pt x="440" y="90"/>
                  </a:cubicBezTo>
                  <a:cubicBezTo>
                    <a:pt x="439" y="95"/>
                    <a:pt x="443" y="96"/>
                    <a:pt x="443" y="96"/>
                  </a:cubicBezTo>
                  <a:close/>
                  <a:moveTo>
                    <a:pt x="455" y="99"/>
                  </a:moveTo>
                  <a:cubicBezTo>
                    <a:pt x="451" y="96"/>
                    <a:pt x="451" y="96"/>
                    <a:pt x="451" y="96"/>
                  </a:cubicBezTo>
                  <a:cubicBezTo>
                    <a:pt x="451" y="96"/>
                    <a:pt x="449" y="99"/>
                    <a:pt x="448" y="100"/>
                  </a:cubicBezTo>
                  <a:lnTo>
                    <a:pt x="455" y="99"/>
                  </a:lnTo>
                  <a:close/>
                  <a:moveTo>
                    <a:pt x="445" y="105"/>
                  </a:moveTo>
                  <a:cubicBezTo>
                    <a:pt x="444" y="111"/>
                    <a:pt x="444" y="111"/>
                    <a:pt x="444" y="111"/>
                  </a:cubicBezTo>
                  <a:cubicBezTo>
                    <a:pt x="449" y="109"/>
                    <a:pt x="449" y="109"/>
                    <a:pt x="449" y="109"/>
                  </a:cubicBezTo>
                  <a:cubicBezTo>
                    <a:pt x="448" y="104"/>
                    <a:pt x="448" y="104"/>
                    <a:pt x="448" y="104"/>
                  </a:cubicBezTo>
                  <a:lnTo>
                    <a:pt x="445" y="105"/>
                  </a:lnTo>
                  <a:close/>
                  <a:moveTo>
                    <a:pt x="474" y="58"/>
                  </a:moveTo>
                  <a:cubicBezTo>
                    <a:pt x="479" y="58"/>
                    <a:pt x="479" y="58"/>
                    <a:pt x="479" y="58"/>
                  </a:cubicBezTo>
                  <a:cubicBezTo>
                    <a:pt x="476" y="63"/>
                    <a:pt x="476" y="63"/>
                    <a:pt x="476" y="63"/>
                  </a:cubicBezTo>
                  <a:cubicBezTo>
                    <a:pt x="478" y="65"/>
                    <a:pt x="484" y="64"/>
                    <a:pt x="492" y="60"/>
                  </a:cubicBezTo>
                  <a:cubicBezTo>
                    <a:pt x="500" y="56"/>
                    <a:pt x="497" y="50"/>
                    <a:pt x="497" y="50"/>
                  </a:cubicBezTo>
                  <a:cubicBezTo>
                    <a:pt x="504" y="41"/>
                    <a:pt x="504" y="41"/>
                    <a:pt x="504" y="41"/>
                  </a:cubicBezTo>
                  <a:cubicBezTo>
                    <a:pt x="500" y="36"/>
                    <a:pt x="500" y="36"/>
                    <a:pt x="500" y="36"/>
                  </a:cubicBezTo>
                  <a:cubicBezTo>
                    <a:pt x="492" y="40"/>
                    <a:pt x="492" y="40"/>
                    <a:pt x="492" y="40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88" y="44"/>
                    <a:pt x="488" y="44"/>
                    <a:pt x="488" y="44"/>
                  </a:cubicBezTo>
                  <a:cubicBezTo>
                    <a:pt x="486" y="46"/>
                    <a:pt x="486" y="46"/>
                    <a:pt x="486" y="46"/>
                  </a:cubicBezTo>
                  <a:cubicBezTo>
                    <a:pt x="490" y="52"/>
                    <a:pt x="490" y="52"/>
                    <a:pt x="490" y="52"/>
                  </a:cubicBezTo>
                  <a:cubicBezTo>
                    <a:pt x="483" y="48"/>
                    <a:pt x="483" y="48"/>
                    <a:pt x="483" y="48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79" y="53"/>
                    <a:pt x="479" y="53"/>
                    <a:pt x="479" y="53"/>
                  </a:cubicBezTo>
                  <a:cubicBezTo>
                    <a:pt x="472" y="55"/>
                    <a:pt x="472" y="55"/>
                    <a:pt x="472" y="55"/>
                  </a:cubicBezTo>
                  <a:lnTo>
                    <a:pt x="474" y="58"/>
                  </a:lnTo>
                  <a:close/>
                  <a:moveTo>
                    <a:pt x="484" y="73"/>
                  </a:moveTo>
                  <a:cubicBezTo>
                    <a:pt x="484" y="76"/>
                    <a:pt x="489" y="76"/>
                    <a:pt x="489" y="76"/>
                  </a:cubicBezTo>
                  <a:cubicBezTo>
                    <a:pt x="489" y="76"/>
                    <a:pt x="498" y="77"/>
                    <a:pt x="497" y="73"/>
                  </a:cubicBezTo>
                  <a:cubicBezTo>
                    <a:pt x="497" y="68"/>
                    <a:pt x="482" y="66"/>
                    <a:pt x="484" y="73"/>
                  </a:cubicBezTo>
                  <a:close/>
                  <a:moveTo>
                    <a:pt x="503" y="55"/>
                  </a:moveTo>
                  <a:cubicBezTo>
                    <a:pt x="501" y="59"/>
                    <a:pt x="501" y="59"/>
                    <a:pt x="501" y="59"/>
                  </a:cubicBezTo>
                  <a:cubicBezTo>
                    <a:pt x="499" y="57"/>
                    <a:pt x="499" y="57"/>
                    <a:pt x="499" y="57"/>
                  </a:cubicBezTo>
                  <a:cubicBezTo>
                    <a:pt x="493" y="66"/>
                    <a:pt x="493" y="66"/>
                    <a:pt x="493" y="66"/>
                  </a:cubicBezTo>
                  <a:cubicBezTo>
                    <a:pt x="499" y="68"/>
                    <a:pt x="499" y="68"/>
                    <a:pt x="499" y="68"/>
                  </a:cubicBezTo>
                  <a:cubicBezTo>
                    <a:pt x="500" y="66"/>
                    <a:pt x="500" y="66"/>
                    <a:pt x="500" y="66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4" y="72"/>
                    <a:pt x="504" y="72"/>
                    <a:pt x="504" y="72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05" y="48"/>
                    <a:pt x="505" y="48"/>
                    <a:pt x="505" y="48"/>
                  </a:cubicBezTo>
                  <a:cubicBezTo>
                    <a:pt x="501" y="50"/>
                    <a:pt x="501" y="50"/>
                    <a:pt x="501" y="50"/>
                  </a:cubicBezTo>
                  <a:lnTo>
                    <a:pt x="503" y="55"/>
                  </a:lnTo>
                  <a:close/>
                  <a:moveTo>
                    <a:pt x="514" y="56"/>
                  </a:moveTo>
                  <a:cubicBezTo>
                    <a:pt x="517" y="56"/>
                    <a:pt x="521" y="48"/>
                    <a:pt x="516" y="43"/>
                  </a:cubicBezTo>
                  <a:cubicBezTo>
                    <a:pt x="509" y="37"/>
                    <a:pt x="505" y="43"/>
                    <a:pt x="508" y="50"/>
                  </a:cubicBezTo>
                  <a:cubicBezTo>
                    <a:pt x="508" y="50"/>
                    <a:pt x="510" y="56"/>
                    <a:pt x="514" y="56"/>
                  </a:cubicBezTo>
                  <a:close/>
                  <a:moveTo>
                    <a:pt x="513" y="22"/>
                  </a:moveTo>
                  <a:cubicBezTo>
                    <a:pt x="506" y="22"/>
                    <a:pt x="511" y="30"/>
                    <a:pt x="511" y="30"/>
                  </a:cubicBezTo>
                  <a:cubicBezTo>
                    <a:pt x="517" y="29"/>
                    <a:pt x="518" y="22"/>
                    <a:pt x="513" y="22"/>
                  </a:cubicBezTo>
                  <a:close/>
                  <a:moveTo>
                    <a:pt x="528" y="14"/>
                  </a:moveTo>
                  <a:cubicBezTo>
                    <a:pt x="523" y="17"/>
                    <a:pt x="523" y="17"/>
                    <a:pt x="523" y="17"/>
                  </a:cubicBezTo>
                  <a:cubicBezTo>
                    <a:pt x="531" y="19"/>
                    <a:pt x="531" y="19"/>
                    <a:pt x="531" y="19"/>
                  </a:cubicBezTo>
                  <a:lnTo>
                    <a:pt x="528" y="14"/>
                  </a:lnTo>
                  <a:close/>
                  <a:moveTo>
                    <a:pt x="538" y="19"/>
                  </a:moveTo>
                  <a:cubicBezTo>
                    <a:pt x="539" y="19"/>
                    <a:pt x="541" y="17"/>
                    <a:pt x="541" y="17"/>
                  </a:cubicBezTo>
                  <a:cubicBezTo>
                    <a:pt x="541" y="20"/>
                    <a:pt x="541" y="20"/>
                    <a:pt x="541" y="20"/>
                  </a:cubicBezTo>
                  <a:cubicBezTo>
                    <a:pt x="548" y="22"/>
                    <a:pt x="548" y="22"/>
                    <a:pt x="548" y="22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559" y="12"/>
                    <a:pt x="559" y="12"/>
                    <a:pt x="559" y="12"/>
                  </a:cubicBezTo>
                  <a:cubicBezTo>
                    <a:pt x="553" y="16"/>
                    <a:pt x="553" y="16"/>
                    <a:pt x="553" y="16"/>
                  </a:cubicBezTo>
                  <a:cubicBezTo>
                    <a:pt x="550" y="14"/>
                    <a:pt x="550" y="14"/>
                    <a:pt x="550" y="14"/>
                  </a:cubicBezTo>
                  <a:cubicBezTo>
                    <a:pt x="555" y="10"/>
                    <a:pt x="555" y="10"/>
                    <a:pt x="555" y="10"/>
                  </a:cubicBezTo>
                  <a:cubicBezTo>
                    <a:pt x="552" y="6"/>
                    <a:pt x="552" y="6"/>
                    <a:pt x="552" y="6"/>
                  </a:cubicBezTo>
                  <a:cubicBezTo>
                    <a:pt x="550" y="10"/>
                    <a:pt x="550" y="10"/>
                    <a:pt x="550" y="10"/>
                  </a:cubicBezTo>
                  <a:cubicBezTo>
                    <a:pt x="548" y="5"/>
                    <a:pt x="548" y="5"/>
                    <a:pt x="548" y="5"/>
                  </a:cubicBezTo>
                  <a:cubicBezTo>
                    <a:pt x="544" y="8"/>
                    <a:pt x="544" y="8"/>
                    <a:pt x="544" y="8"/>
                  </a:cubicBezTo>
                  <a:cubicBezTo>
                    <a:pt x="546" y="12"/>
                    <a:pt x="546" y="12"/>
                    <a:pt x="546" y="12"/>
                  </a:cubicBezTo>
                  <a:cubicBezTo>
                    <a:pt x="537" y="14"/>
                    <a:pt x="537" y="14"/>
                    <a:pt x="537" y="14"/>
                  </a:cubicBezTo>
                  <a:lnTo>
                    <a:pt x="538" y="19"/>
                  </a:lnTo>
                  <a:close/>
                  <a:moveTo>
                    <a:pt x="658" y="62"/>
                  </a:moveTo>
                  <a:cubicBezTo>
                    <a:pt x="659" y="72"/>
                    <a:pt x="659" y="72"/>
                    <a:pt x="659" y="72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2" y="60"/>
                    <a:pt x="662" y="60"/>
                    <a:pt x="662" y="60"/>
                  </a:cubicBezTo>
                  <a:lnTo>
                    <a:pt x="658" y="6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Es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671E315-3C47-824F-A5A3-69AB71AF8C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9465" y="2996422"/>
              <a:ext cx="513227" cy="326749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Weiß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8C100FD-BEE3-1C42-8D88-5EE56446FF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3604" y="3489846"/>
              <a:ext cx="871330" cy="788819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Let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165B0C-0C09-8A4A-9C6B-43FD4A0558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8112" y="3255510"/>
              <a:ext cx="636995" cy="359755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Moldawien" descr="© INSCALE GmbH, 05.05.2010&#10;http://www.presentationload.com/">
              <a:extLst>
                <a:ext uri="{FF2B5EF4-FFF2-40B4-BE49-F238E27FC236}">
                  <a16:creationId xmlns:a16="http://schemas.microsoft.com/office/drawing/2014/main" id="{49A541BA-EE10-0C4F-96B4-A95A88D331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3924" y="4656571"/>
              <a:ext cx="429064" cy="448867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7" name="Fin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D681938-DCF9-3D4F-9FBD-19B7F7E68B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65919" y="1417135"/>
              <a:ext cx="912587" cy="1608991"/>
            </a:xfrm>
            <a:custGeom>
              <a:avLst/>
              <a:gdLst/>
              <a:ahLst/>
              <a:cxnLst>
                <a:cxn ang="0">
                  <a:pos x="318" y="380"/>
                </a:cxn>
                <a:cxn ang="0">
                  <a:pos x="302" y="312"/>
                </a:cxn>
                <a:cxn ang="0">
                  <a:pos x="283" y="281"/>
                </a:cxn>
                <a:cxn ang="0">
                  <a:pos x="264" y="225"/>
                </a:cxn>
                <a:cxn ang="0">
                  <a:pos x="205" y="113"/>
                </a:cxn>
                <a:cxn ang="0">
                  <a:pos x="202" y="27"/>
                </a:cxn>
                <a:cxn ang="0">
                  <a:pos x="124" y="29"/>
                </a:cxn>
                <a:cxn ang="0">
                  <a:pos x="105" y="103"/>
                </a:cxn>
                <a:cxn ang="0">
                  <a:pos x="51" y="107"/>
                </a:cxn>
                <a:cxn ang="0">
                  <a:pos x="2" y="90"/>
                </a:cxn>
                <a:cxn ang="0">
                  <a:pos x="23" y="108"/>
                </a:cxn>
                <a:cxn ang="0">
                  <a:pos x="63" y="131"/>
                </a:cxn>
                <a:cxn ang="0">
                  <a:pos x="86" y="186"/>
                </a:cxn>
                <a:cxn ang="0">
                  <a:pos x="106" y="229"/>
                </a:cxn>
                <a:cxn ang="0">
                  <a:pos x="116" y="275"/>
                </a:cxn>
                <a:cxn ang="0">
                  <a:pos x="147" y="294"/>
                </a:cxn>
                <a:cxn ang="0">
                  <a:pos x="163" y="331"/>
                </a:cxn>
                <a:cxn ang="0">
                  <a:pos x="147" y="355"/>
                </a:cxn>
                <a:cxn ang="0">
                  <a:pos x="131" y="401"/>
                </a:cxn>
                <a:cxn ang="0">
                  <a:pos x="108" y="414"/>
                </a:cxn>
                <a:cxn ang="0">
                  <a:pos x="111" y="430"/>
                </a:cxn>
                <a:cxn ang="0">
                  <a:pos x="96" y="438"/>
                </a:cxn>
                <a:cxn ang="0">
                  <a:pos x="80" y="462"/>
                </a:cxn>
                <a:cxn ang="0">
                  <a:pos x="77" y="486"/>
                </a:cxn>
                <a:cxn ang="0">
                  <a:pos x="80" y="523"/>
                </a:cxn>
                <a:cxn ang="0">
                  <a:pos x="91" y="559"/>
                </a:cxn>
                <a:cxn ang="0">
                  <a:pos x="93" y="572"/>
                </a:cxn>
                <a:cxn ang="0">
                  <a:pos x="95" y="598"/>
                </a:cxn>
                <a:cxn ang="0">
                  <a:pos x="95" y="613"/>
                </a:cxn>
                <a:cxn ang="0">
                  <a:pos x="104" y="635"/>
                </a:cxn>
                <a:cxn ang="0">
                  <a:pos x="118" y="635"/>
                </a:cxn>
                <a:cxn ang="0">
                  <a:pos x="144" y="645"/>
                </a:cxn>
                <a:cxn ang="0">
                  <a:pos x="157" y="656"/>
                </a:cxn>
                <a:cxn ang="0">
                  <a:pos x="161" y="666"/>
                </a:cxn>
                <a:cxn ang="0">
                  <a:pos x="189" y="654"/>
                </a:cxn>
                <a:cxn ang="0">
                  <a:pos x="206" y="645"/>
                </a:cxn>
                <a:cxn ang="0">
                  <a:pos x="248" y="626"/>
                </a:cxn>
                <a:cxn ang="0">
                  <a:pos x="260" y="617"/>
                </a:cxn>
                <a:cxn ang="0">
                  <a:pos x="293" y="603"/>
                </a:cxn>
                <a:cxn ang="0">
                  <a:pos x="328" y="554"/>
                </a:cxn>
                <a:cxn ang="0">
                  <a:pos x="382" y="418"/>
                </a:cxn>
                <a:cxn ang="0">
                  <a:pos x="60" y="653"/>
                </a:cxn>
                <a:cxn ang="0">
                  <a:pos x="45" y="651"/>
                </a:cxn>
                <a:cxn ang="0">
                  <a:pos x="50" y="670"/>
                </a:cxn>
                <a:cxn ang="0">
                  <a:pos x="39" y="658"/>
                </a:cxn>
                <a:cxn ang="0">
                  <a:pos x="55" y="670"/>
                </a:cxn>
                <a:cxn ang="0">
                  <a:pos x="107" y="657"/>
                </a:cxn>
                <a:cxn ang="0">
                  <a:pos x="113" y="654"/>
                </a:cxn>
                <a:cxn ang="0">
                  <a:pos x="148" y="643"/>
                </a:cxn>
                <a:cxn ang="0">
                  <a:pos x="136" y="655"/>
                </a:cxn>
                <a:cxn ang="0">
                  <a:pos x="147" y="649"/>
                </a:cxn>
                <a:cxn ang="0">
                  <a:pos x="112" y="643"/>
                </a:cxn>
                <a:cxn ang="0">
                  <a:pos x="99" y="634"/>
                </a:cxn>
                <a:cxn ang="0">
                  <a:pos x="94" y="628"/>
                </a:cxn>
                <a:cxn ang="0">
                  <a:pos x="175" y="667"/>
                </a:cxn>
                <a:cxn ang="0">
                  <a:pos x="62" y="461"/>
                </a:cxn>
                <a:cxn ang="0">
                  <a:pos x="72" y="456"/>
                </a:cxn>
                <a:cxn ang="0">
                  <a:pos x="157" y="329"/>
                </a:cxn>
                <a:cxn ang="0">
                  <a:pos x="153" y="336"/>
                </a:cxn>
                <a:cxn ang="0">
                  <a:pos x="243" y="631"/>
                </a:cxn>
                <a:cxn ang="0">
                  <a:pos x="265" y="614"/>
                </a:cxn>
              </a:cxnLst>
              <a:rect l="0" t="0" r="r" b="b"/>
              <a:pathLst>
                <a:path w="382" h="674">
                  <a:moveTo>
                    <a:pt x="382" y="418"/>
                  </a:moveTo>
                  <a:cubicBezTo>
                    <a:pt x="381" y="412"/>
                    <a:pt x="369" y="412"/>
                    <a:pt x="369" y="412"/>
                  </a:cubicBezTo>
                  <a:cubicBezTo>
                    <a:pt x="366" y="404"/>
                    <a:pt x="366" y="404"/>
                    <a:pt x="366" y="404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39" y="394"/>
                    <a:pt x="339" y="394"/>
                    <a:pt x="339" y="394"/>
                  </a:cubicBezTo>
                  <a:cubicBezTo>
                    <a:pt x="318" y="380"/>
                    <a:pt x="318" y="380"/>
                    <a:pt x="318" y="380"/>
                  </a:cubicBezTo>
                  <a:cubicBezTo>
                    <a:pt x="327" y="374"/>
                    <a:pt x="327" y="374"/>
                    <a:pt x="327" y="374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26" y="370"/>
                    <a:pt x="331" y="355"/>
                    <a:pt x="327" y="346"/>
                  </a:cubicBezTo>
                  <a:cubicBezTo>
                    <a:pt x="323" y="338"/>
                    <a:pt x="313" y="344"/>
                    <a:pt x="308" y="335"/>
                  </a:cubicBezTo>
                  <a:cubicBezTo>
                    <a:pt x="301" y="326"/>
                    <a:pt x="307" y="320"/>
                    <a:pt x="307" y="320"/>
                  </a:cubicBezTo>
                  <a:cubicBezTo>
                    <a:pt x="302" y="312"/>
                    <a:pt x="302" y="312"/>
                    <a:pt x="302" y="312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285" y="301"/>
                    <a:pt x="285" y="301"/>
                    <a:pt x="285" y="301"/>
                  </a:cubicBezTo>
                  <a:cubicBezTo>
                    <a:pt x="292" y="296"/>
                    <a:pt x="292" y="296"/>
                    <a:pt x="292" y="296"/>
                  </a:cubicBezTo>
                  <a:cubicBezTo>
                    <a:pt x="291" y="291"/>
                    <a:pt x="291" y="291"/>
                    <a:pt x="291" y="291"/>
                  </a:cubicBezTo>
                  <a:cubicBezTo>
                    <a:pt x="280" y="293"/>
                    <a:pt x="280" y="293"/>
                    <a:pt x="280" y="293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0" y="272"/>
                    <a:pt x="280" y="272"/>
                    <a:pt x="280" y="272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8" y="259"/>
                    <a:pt x="288" y="259"/>
                    <a:pt x="288" y="259"/>
                  </a:cubicBezTo>
                  <a:cubicBezTo>
                    <a:pt x="288" y="259"/>
                    <a:pt x="286" y="249"/>
                    <a:pt x="281" y="240"/>
                  </a:cubicBezTo>
                  <a:cubicBezTo>
                    <a:pt x="277" y="232"/>
                    <a:pt x="264" y="225"/>
                    <a:pt x="264" y="225"/>
                  </a:cubicBezTo>
                  <a:cubicBezTo>
                    <a:pt x="261" y="223"/>
                    <a:pt x="262" y="214"/>
                    <a:pt x="254" y="208"/>
                  </a:cubicBezTo>
                  <a:cubicBezTo>
                    <a:pt x="248" y="204"/>
                    <a:pt x="237" y="187"/>
                    <a:pt x="237" y="187"/>
                  </a:cubicBezTo>
                  <a:cubicBezTo>
                    <a:pt x="237" y="187"/>
                    <a:pt x="252" y="152"/>
                    <a:pt x="251" y="142"/>
                  </a:cubicBezTo>
                  <a:cubicBezTo>
                    <a:pt x="250" y="133"/>
                    <a:pt x="238" y="133"/>
                    <a:pt x="238" y="133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05" y="113"/>
                    <a:pt x="205" y="113"/>
                    <a:pt x="205" y="113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9" y="70"/>
                    <a:pt x="199" y="70"/>
                    <a:pt x="199" y="70"/>
                  </a:cubicBezTo>
                  <a:cubicBezTo>
                    <a:pt x="188" y="68"/>
                    <a:pt x="188" y="68"/>
                    <a:pt x="188" y="68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197" y="57"/>
                    <a:pt x="194" y="52"/>
                    <a:pt x="194" y="46"/>
                  </a:cubicBezTo>
                  <a:cubicBezTo>
                    <a:pt x="194" y="41"/>
                    <a:pt x="202" y="27"/>
                    <a:pt x="202" y="27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13"/>
                    <a:pt x="163" y="0"/>
                    <a:pt x="157" y="1"/>
                  </a:cubicBezTo>
                  <a:cubicBezTo>
                    <a:pt x="151" y="2"/>
                    <a:pt x="142" y="14"/>
                    <a:pt x="142" y="14"/>
                  </a:cubicBezTo>
                  <a:cubicBezTo>
                    <a:pt x="142" y="14"/>
                    <a:pt x="135" y="12"/>
                    <a:pt x="129" y="15"/>
                  </a:cubicBezTo>
                  <a:cubicBezTo>
                    <a:pt x="123" y="17"/>
                    <a:pt x="124" y="29"/>
                    <a:pt x="124" y="29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1" y="75"/>
                    <a:pt x="122" y="80"/>
                  </a:cubicBezTo>
                  <a:cubicBezTo>
                    <a:pt x="122" y="86"/>
                    <a:pt x="119" y="90"/>
                    <a:pt x="117" y="93"/>
                  </a:cubicBezTo>
                  <a:cubicBezTo>
                    <a:pt x="114" y="97"/>
                    <a:pt x="112" y="110"/>
                    <a:pt x="112" y="110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1" y="97"/>
                    <a:pt x="86" y="97"/>
                  </a:cubicBezTo>
                  <a:cubicBezTo>
                    <a:pt x="80" y="97"/>
                    <a:pt x="78" y="105"/>
                    <a:pt x="78" y="105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4" y="99"/>
                    <a:pt x="37" y="93"/>
                  </a:cubicBezTo>
                  <a:cubicBezTo>
                    <a:pt x="32" y="88"/>
                    <a:pt x="25" y="78"/>
                    <a:pt x="25" y="78"/>
                  </a:cubicBezTo>
                  <a:cubicBezTo>
                    <a:pt x="25" y="78"/>
                    <a:pt x="16" y="75"/>
                    <a:pt x="12" y="80"/>
                  </a:cubicBezTo>
                  <a:cubicBezTo>
                    <a:pt x="6" y="84"/>
                    <a:pt x="14" y="91"/>
                    <a:pt x="13" y="93"/>
                  </a:cubicBezTo>
                  <a:cubicBezTo>
                    <a:pt x="11" y="95"/>
                    <a:pt x="2" y="90"/>
                    <a:pt x="2" y="9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53" y="126"/>
                    <a:pt x="63" y="131"/>
                  </a:cubicBezTo>
                  <a:cubicBezTo>
                    <a:pt x="72" y="136"/>
                    <a:pt x="73" y="146"/>
                    <a:pt x="73" y="146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86" y="152"/>
                    <a:pt x="88" y="155"/>
                  </a:cubicBezTo>
                  <a:cubicBezTo>
                    <a:pt x="90" y="158"/>
                    <a:pt x="85" y="158"/>
                    <a:pt x="84" y="162"/>
                  </a:cubicBezTo>
                  <a:cubicBezTo>
                    <a:pt x="83" y="167"/>
                    <a:pt x="85" y="170"/>
                    <a:pt x="86" y="174"/>
                  </a:cubicBezTo>
                  <a:cubicBezTo>
                    <a:pt x="88" y="180"/>
                    <a:pt x="86" y="186"/>
                    <a:pt x="86" y="186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95" y="197"/>
                    <a:pt x="94" y="199"/>
                    <a:pt x="94" y="204"/>
                  </a:cubicBezTo>
                  <a:cubicBezTo>
                    <a:pt x="94" y="210"/>
                    <a:pt x="103" y="215"/>
                    <a:pt x="105" y="218"/>
                  </a:cubicBezTo>
                  <a:cubicBezTo>
                    <a:pt x="107" y="222"/>
                    <a:pt x="106" y="229"/>
                    <a:pt x="106" y="229"/>
                  </a:cubicBezTo>
                  <a:cubicBezTo>
                    <a:pt x="106" y="229"/>
                    <a:pt x="108" y="233"/>
                    <a:pt x="110" y="237"/>
                  </a:cubicBezTo>
                  <a:cubicBezTo>
                    <a:pt x="111" y="240"/>
                    <a:pt x="106" y="243"/>
                    <a:pt x="103" y="248"/>
                  </a:cubicBezTo>
                  <a:cubicBezTo>
                    <a:pt x="101" y="252"/>
                    <a:pt x="106" y="253"/>
                    <a:pt x="106" y="253"/>
                  </a:cubicBezTo>
                  <a:cubicBezTo>
                    <a:pt x="106" y="253"/>
                    <a:pt x="106" y="254"/>
                    <a:pt x="105" y="260"/>
                  </a:cubicBezTo>
                  <a:cubicBezTo>
                    <a:pt x="105" y="264"/>
                    <a:pt x="112" y="265"/>
                    <a:pt x="114" y="266"/>
                  </a:cubicBezTo>
                  <a:cubicBezTo>
                    <a:pt x="116" y="268"/>
                    <a:pt x="115" y="271"/>
                    <a:pt x="116" y="275"/>
                  </a:cubicBezTo>
                  <a:cubicBezTo>
                    <a:pt x="117" y="279"/>
                    <a:pt x="122" y="281"/>
                    <a:pt x="122" y="281"/>
                  </a:cubicBezTo>
                  <a:cubicBezTo>
                    <a:pt x="123" y="288"/>
                    <a:pt x="123" y="288"/>
                    <a:pt x="123" y="288"/>
                  </a:cubicBezTo>
                  <a:cubicBezTo>
                    <a:pt x="128" y="286"/>
                    <a:pt x="128" y="286"/>
                    <a:pt x="128" y="286"/>
                  </a:cubicBezTo>
                  <a:cubicBezTo>
                    <a:pt x="139" y="293"/>
                    <a:pt x="139" y="293"/>
                    <a:pt x="139" y="293"/>
                  </a:cubicBezTo>
                  <a:cubicBezTo>
                    <a:pt x="139" y="295"/>
                    <a:pt x="139" y="295"/>
                    <a:pt x="139" y="295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54" y="297"/>
                    <a:pt x="154" y="297"/>
                    <a:pt x="154" y="297"/>
                  </a:cubicBezTo>
                  <a:cubicBezTo>
                    <a:pt x="154" y="297"/>
                    <a:pt x="159" y="301"/>
                    <a:pt x="162" y="308"/>
                  </a:cubicBezTo>
                  <a:cubicBezTo>
                    <a:pt x="166" y="314"/>
                    <a:pt x="162" y="324"/>
                    <a:pt x="162" y="324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2" y="334"/>
                    <a:pt x="162" y="334"/>
                    <a:pt x="162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7" y="342"/>
                    <a:pt x="160" y="340"/>
                    <a:pt x="154" y="341"/>
                  </a:cubicBezTo>
                  <a:cubicBezTo>
                    <a:pt x="150" y="342"/>
                    <a:pt x="147" y="346"/>
                    <a:pt x="147" y="346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66"/>
                    <a:pt x="145" y="366"/>
                    <a:pt x="145" y="366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37" y="376"/>
                    <a:pt x="137" y="376"/>
                    <a:pt x="137" y="376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1" y="401"/>
                    <a:pt x="131" y="401"/>
                    <a:pt x="131" y="401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409"/>
                    <a:pt x="124" y="409"/>
                    <a:pt x="124" y="409"/>
                  </a:cubicBezTo>
                  <a:cubicBezTo>
                    <a:pt x="117" y="413"/>
                    <a:pt x="117" y="413"/>
                    <a:pt x="117" y="413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2" y="413"/>
                    <a:pt x="112" y="413"/>
                    <a:pt x="112" y="413"/>
                  </a:cubicBezTo>
                  <a:cubicBezTo>
                    <a:pt x="108" y="414"/>
                    <a:pt x="108" y="414"/>
                    <a:pt x="108" y="414"/>
                  </a:cubicBezTo>
                  <a:cubicBezTo>
                    <a:pt x="108" y="417"/>
                    <a:pt x="108" y="417"/>
                    <a:pt x="108" y="417"/>
                  </a:cubicBezTo>
                  <a:cubicBezTo>
                    <a:pt x="106" y="418"/>
                    <a:pt x="106" y="418"/>
                    <a:pt x="106" y="418"/>
                  </a:cubicBezTo>
                  <a:cubicBezTo>
                    <a:pt x="105" y="421"/>
                    <a:pt x="105" y="421"/>
                    <a:pt x="105" y="421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3" y="422"/>
                    <a:pt x="113" y="422"/>
                    <a:pt x="113" y="422"/>
                  </a:cubicBezTo>
                  <a:cubicBezTo>
                    <a:pt x="111" y="430"/>
                    <a:pt x="111" y="430"/>
                    <a:pt x="111" y="430"/>
                  </a:cubicBezTo>
                  <a:cubicBezTo>
                    <a:pt x="111" y="430"/>
                    <a:pt x="107" y="426"/>
                    <a:pt x="104" y="428"/>
                  </a:cubicBezTo>
                  <a:cubicBezTo>
                    <a:pt x="100" y="430"/>
                    <a:pt x="102" y="436"/>
                    <a:pt x="102" y="436"/>
                  </a:cubicBezTo>
                  <a:cubicBezTo>
                    <a:pt x="102" y="439"/>
                    <a:pt x="102" y="439"/>
                    <a:pt x="102" y="439"/>
                  </a:cubicBezTo>
                  <a:cubicBezTo>
                    <a:pt x="101" y="441"/>
                    <a:pt x="100" y="442"/>
                    <a:pt x="100" y="442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6" y="438"/>
                    <a:pt x="96" y="438"/>
                    <a:pt x="96" y="438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444"/>
                    <a:pt x="99" y="455"/>
                    <a:pt x="98" y="457"/>
                  </a:cubicBezTo>
                  <a:cubicBezTo>
                    <a:pt x="97" y="460"/>
                    <a:pt x="91" y="458"/>
                    <a:pt x="89" y="458"/>
                  </a:cubicBezTo>
                  <a:cubicBezTo>
                    <a:pt x="82" y="458"/>
                    <a:pt x="82" y="458"/>
                    <a:pt x="82" y="458"/>
                  </a:cubicBezTo>
                  <a:cubicBezTo>
                    <a:pt x="82" y="458"/>
                    <a:pt x="82" y="462"/>
                    <a:pt x="80" y="462"/>
                  </a:cubicBezTo>
                  <a:cubicBezTo>
                    <a:pt x="79" y="462"/>
                    <a:pt x="77" y="459"/>
                    <a:pt x="77" y="459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83" y="475"/>
                    <a:pt x="83" y="475"/>
                    <a:pt x="83" y="475"/>
                  </a:cubicBezTo>
                  <a:cubicBezTo>
                    <a:pt x="77" y="474"/>
                    <a:pt x="77" y="474"/>
                    <a:pt x="77" y="474"/>
                  </a:cubicBezTo>
                  <a:cubicBezTo>
                    <a:pt x="75" y="482"/>
                    <a:pt x="75" y="482"/>
                    <a:pt x="75" y="482"/>
                  </a:cubicBezTo>
                  <a:cubicBezTo>
                    <a:pt x="75" y="482"/>
                    <a:pt x="77" y="484"/>
                    <a:pt x="77" y="486"/>
                  </a:cubicBezTo>
                  <a:cubicBezTo>
                    <a:pt x="77" y="487"/>
                    <a:pt x="72" y="487"/>
                    <a:pt x="72" y="487"/>
                  </a:cubicBezTo>
                  <a:cubicBezTo>
                    <a:pt x="69" y="492"/>
                    <a:pt x="69" y="492"/>
                    <a:pt x="69" y="492"/>
                  </a:cubicBezTo>
                  <a:cubicBezTo>
                    <a:pt x="68" y="504"/>
                    <a:pt x="68" y="504"/>
                    <a:pt x="68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72" y="504"/>
                    <a:pt x="69" y="508"/>
                    <a:pt x="70" y="513"/>
                  </a:cubicBezTo>
                  <a:cubicBezTo>
                    <a:pt x="70" y="517"/>
                    <a:pt x="78" y="519"/>
                    <a:pt x="80" y="523"/>
                  </a:cubicBezTo>
                  <a:cubicBezTo>
                    <a:pt x="83" y="528"/>
                    <a:pt x="80" y="534"/>
                    <a:pt x="80" y="534"/>
                  </a:cubicBezTo>
                  <a:cubicBezTo>
                    <a:pt x="80" y="543"/>
                    <a:pt x="80" y="543"/>
                    <a:pt x="80" y="543"/>
                  </a:cubicBezTo>
                  <a:cubicBezTo>
                    <a:pt x="83" y="546"/>
                    <a:pt x="83" y="546"/>
                    <a:pt x="83" y="546"/>
                  </a:cubicBezTo>
                  <a:cubicBezTo>
                    <a:pt x="86" y="544"/>
                    <a:pt x="86" y="544"/>
                    <a:pt x="86" y="544"/>
                  </a:cubicBezTo>
                  <a:cubicBezTo>
                    <a:pt x="86" y="544"/>
                    <a:pt x="86" y="550"/>
                    <a:pt x="87" y="552"/>
                  </a:cubicBezTo>
                  <a:cubicBezTo>
                    <a:pt x="88" y="555"/>
                    <a:pt x="91" y="559"/>
                    <a:pt x="91" y="559"/>
                  </a:cubicBezTo>
                  <a:cubicBezTo>
                    <a:pt x="90" y="561"/>
                    <a:pt x="90" y="561"/>
                    <a:pt x="90" y="561"/>
                  </a:cubicBezTo>
                  <a:cubicBezTo>
                    <a:pt x="94" y="562"/>
                    <a:pt x="94" y="562"/>
                    <a:pt x="94" y="562"/>
                  </a:cubicBezTo>
                  <a:cubicBezTo>
                    <a:pt x="95" y="567"/>
                    <a:pt x="95" y="567"/>
                    <a:pt x="95" y="567"/>
                  </a:cubicBezTo>
                  <a:cubicBezTo>
                    <a:pt x="90" y="566"/>
                    <a:pt x="90" y="566"/>
                    <a:pt x="90" y="566"/>
                  </a:cubicBezTo>
                  <a:cubicBezTo>
                    <a:pt x="90" y="569"/>
                    <a:pt x="90" y="569"/>
                    <a:pt x="90" y="569"/>
                  </a:cubicBezTo>
                  <a:cubicBezTo>
                    <a:pt x="93" y="572"/>
                    <a:pt x="93" y="572"/>
                    <a:pt x="93" y="572"/>
                  </a:cubicBezTo>
                  <a:cubicBezTo>
                    <a:pt x="89" y="572"/>
                    <a:pt x="89" y="572"/>
                    <a:pt x="89" y="572"/>
                  </a:cubicBezTo>
                  <a:cubicBezTo>
                    <a:pt x="93" y="577"/>
                    <a:pt x="93" y="577"/>
                    <a:pt x="93" y="577"/>
                  </a:cubicBezTo>
                  <a:cubicBezTo>
                    <a:pt x="90" y="578"/>
                    <a:pt x="90" y="578"/>
                    <a:pt x="90" y="578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5" y="584"/>
                    <a:pt x="96" y="588"/>
                    <a:pt x="94" y="591"/>
                  </a:cubicBezTo>
                  <a:cubicBezTo>
                    <a:pt x="91" y="593"/>
                    <a:pt x="95" y="598"/>
                    <a:pt x="95" y="598"/>
                  </a:cubicBezTo>
                  <a:cubicBezTo>
                    <a:pt x="95" y="598"/>
                    <a:pt x="90" y="599"/>
                    <a:pt x="90" y="603"/>
                  </a:cubicBezTo>
                  <a:cubicBezTo>
                    <a:pt x="91" y="607"/>
                    <a:pt x="94" y="610"/>
                    <a:pt x="94" y="610"/>
                  </a:cubicBezTo>
                  <a:cubicBezTo>
                    <a:pt x="91" y="610"/>
                    <a:pt x="91" y="610"/>
                    <a:pt x="91" y="610"/>
                  </a:cubicBezTo>
                  <a:cubicBezTo>
                    <a:pt x="88" y="607"/>
                    <a:pt x="88" y="607"/>
                    <a:pt x="88" y="607"/>
                  </a:cubicBezTo>
                  <a:cubicBezTo>
                    <a:pt x="87" y="613"/>
                    <a:pt x="87" y="613"/>
                    <a:pt x="87" y="613"/>
                  </a:cubicBezTo>
                  <a:cubicBezTo>
                    <a:pt x="95" y="613"/>
                    <a:pt x="95" y="613"/>
                    <a:pt x="95" y="613"/>
                  </a:cubicBezTo>
                  <a:cubicBezTo>
                    <a:pt x="93" y="614"/>
                    <a:pt x="93" y="614"/>
                    <a:pt x="93" y="614"/>
                  </a:cubicBezTo>
                  <a:cubicBezTo>
                    <a:pt x="94" y="619"/>
                    <a:pt x="94" y="619"/>
                    <a:pt x="94" y="619"/>
                  </a:cubicBezTo>
                  <a:cubicBezTo>
                    <a:pt x="97" y="622"/>
                    <a:pt x="97" y="622"/>
                    <a:pt x="97" y="622"/>
                  </a:cubicBezTo>
                  <a:cubicBezTo>
                    <a:pt x="97" y="622"/>
                    <a:pt x="95" y="624"/>
                    <a:pt x="97" y="628"/>
                  </a:cubicBezTo>
                  <a:cubicBezTo>
                    <a:pt x="99" y="632"/>
                    <a:pt x="101" y="632"/>
                    <a:pt x="101" y="632"/>
                  </a:cubicBezTo>
                  <a:cubicBezTo>
                    <a:pt x="104" y="635"/>
                    <a:pt x="104" y="635"/>
                    <a:pt x="104" y="635"/>
                  </a:cubicBezTo>
                  <a:cubicBezTo>
                    <a:pt x="104" y="630"/>
                    <a:pt x="104" y="630"/>
                    <a:pt x="104" y="630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35"/>
                    <a:pt x="110" y="635"/>
                    <a:pt x="110" y="635"/>
                  </a:cubicBezTo>
                  <a:cubicBezTo>
                    <a:pt x="112" y="635"/>
                    <a:pt x="112" y="635"/>
                    <a:pt x="112" y="635"/>
                  </a:cubicBezTo>
                  <a:cubicBezTo>
                    <a:pt x="113" y="631"/>
                    <a:pt x="113" y="631"/>
                    <a:pt x="113" y="631"/>
                  </a:cubicBezTo>
                  <a:cubicBezTo>
                    <a:pt x="118" y="635"/>
                    <a:pt x="118" y="635"/>
                    <a:pt x="118" y="635"/>
                  </a:cubicBezTo>
                  <a:cubicBezTo>
                    <a:pt x="124" y="635"/>
                    <a:pt x="124" y="635"/>
                    <a:pt x="124" y="635"/>
                  </a:cubicBezTo>
                  <a:cubicBezTo>
                    <a:pt x="131" y="638"/>
                    <a:pt x="131" y="638"/>
                    <a:pt x="131" y="638"/>
                  </a:cubicBezTo>
                  <a:cubicBezTo>
                    <a:pt x="137" y="638"/>
                    <a:pt x="137" y="638"/>
                    <a:pt x="137" y="638"/>
                  </a:cubicBezTo>
                  <a:cubicBezTo>
                    <a:pt x="135" y="646"/>
                    <a:pt x="135" y="646"/>
                    <a:pt x="135" y="646"/>
                  </a:cubicBezTo>
                  <a:cubicBezTo>
                    <a:pt x="137" y="648"/>
                    <a:pt x="137" y="648"/>
                    <a:pt x="137" y="648"/>
                  </a:cubicBezTo>
                  <a:cubicBezTo>
                    <a:pt x="144" y="645"/>
                    <a:pt x="144" y="645"/>
                    <a:pt x="144" y="645"/>
                  </a:cubicBezTo>
                  <a:cubicBezTo>
                    <a:pt x="151" y="639"/>
                    <a:pt x="151" y="639"/>
                    <a:pt x="151" y="639"/>
                  </a:cubicBezTo>
                  <a:cubicBezTo>
                    <a:pt x="152" y="640"/>
                    <a:pt x="152" y="640"/>
                    <a:pt x="152" y="640"/>
                  </a:cubicBezTo>
                  <a:cubicBezTo>
                    <a:pt x="149" y="649"/>
                    <a:pt x="149" y="649"/>
                    <a:pt x="149" y="649"/>
                  </a:cubicBezTo>
                  <a:cubicBezTo>
                    <a:pt x="154" y="653"/>
                    <a:pt x="154" y="653"/>
                    <a:pt x="154" y="653"/>
                  </a:cubicBezTo>
                  <a:cubicBezTo>
                    <a:pt x="153" y="657"/>
                    <a:pt x="153" y="657"/>
                    <a:pt x="153" y="657"/>
                  </a:cubicBezTo>
                  <a:cubicBezTo>
                    <a:pt x="157" y="656"/>
                    <a:pt x="157" y="656"/>
                    <a:pt x="157" y="656"/>
                  </a:cubicBezTo>
                  <a:cubicBezTo>
                    <a:pt x="157" y="658"/>
                    <a:pt x="157" y="658"/>
                    <a:pt x="157" y="658"/>
                  </a:cubicBezTo>
                  <a:cubicBezTo>
                    <a:pt x="150" y="664"/>
                    <a:pt x="150" y="664"/>
                    <a:pt x="150" y="664"/>
                  </a:cubicBezTo>
                  <a:cubicBezTo>
                    <a:pt x="151" y="666"/>
                    <a:pt x="151" y="666"/>
                    <a:pt x="151" y="666"/>
                  </a:cubicBezTo>
                  <a:cubicBezTo>
                    <a:pt x="156" y="666"/>
                    <a:pt x="156" y="666"/>
                    <a:pt x="156" y="666"/>
                  </a:cubicBezTo>
                  <a:cubicBezTo>
                    <a:pt x="159" y="662"/>
                    <a:pt x="159" y="662"/>
                    <a:pt x="159" y="662"/>
                  </a:cubicBezTo>
                  <a:cubicBezTo>
                    <a:pt x="159" y="662"/>
                    <a:pt x="161" y="664"/>
                    <a:pt x="161" y="666"/>
                  </a:cubicBezTo>
                  <a:cubicBezTo>
                    <a:pt x="162" y="669"/>
                    <a:pt x="152" y="674"/>
                    <a:pt x="152" y="674"/>
                  </a:cubicBezTo>
                  <a:cubicBezTo>
                    <a:pt x="163" y="671"/>
                    <a:pt x="163" y="671"/>
                    <a:pt x="163" y="671"/>
                  </a:cubicBezTo>
                  <a:cubicBezTo>
                    <a:pt x="171" y="655"/>
                    <a:pt x="171" y="655"/>
                    <a:pt x="171" y="655"/>
                  </a:cubicBezTo>
                  <a:cubicBezTo>
                    <a:pt x="169" y="663"/>
                    <a:pt x="169" y="663"/>
                    <a:pt x="169" y="663"/>
                  </a:cubicBezTo>
                  <a:cubicBezTo>
                    <a:pt x="181" y="660"/>
                    <a:pt x="181" y="660"/>
                    <a:pt x="181" y="660"/>
                  </a:cubicBezTo>
                  <a:cubicBezTo>
                    <a:pt x="189" y="654"/>
                    <a:pt x="189" y="654"/>
                    <a:pt x="189" y="654"/>
                  </a:cubicBezTo>
                  <a:cubicBezTo>
                    <a:pt x="192" y="654"/>
                    <a:pt x="192" y="654"/>
                    <a:pt x="192" y="654"/>
                  </a:cubicBezTo>
                  <a:cubicBezTo>
                    <a:pt x="198" y="649"/>
                    <a:pt x="198" y="649"/>
                    <a:pt x="198" y="649"/>
                  </a:cubicBezTo>
                  <a:cubicBezTo>
                    <a:pt x="201" y="650"/>
                    <a:pt x="201" y="650"/>
                    <a:pt x="201" y="650"/>
                  </a:cubicBezTo>
                  <a:cubicBezTo>
                    <a:pt x="203" y="655"/>
                    <a:pt x="203" y="655"/>
                    <a:pt x="203" y="655"/>
                  </a:cubicBezTo>
                  <a:cubicBezTo>
                    <a:pt x="206" y="653"/>
                    <a:pt x="206" y="653"/>
                    <a:pt x="206" y="653"/>
                  </a:cubicBezTo>
                  <a:cubicBezTo>
                    <a:pt x="206" y="645"/>
                    <a:pt x="206" y="645"/>
                    <a:pt x="206" y="645"/>
                  </a:cubicBezTo>
                  <a:cubicBezTo>
                    <a:pt x="221" y="638"/>
                    <a:pt x="221" y="638"/>
                    <a:pt x="221" y="638"/>
                  </a:cubicBezTo>
                  <a:cubicBezTo>
                    <a:pt x="222" y="635"/>
                    <a:pt x="222" y="635"/>
                    <a:pt x="222" y="635"/>
                  </a:cubicBezTo>
                  <a:cubicBezTo>
                    <a:pt x="235" y="629"/>
                    <a:pt x="235" y="629"/>
                    <a:pt x="235" y="629"/>
                  </a:cubicBezTo>
                  <a:cubicBezTo>
                    <a:pt x="235" y="622"/>
                    <a:pt x="235" y="622"/>
                    <a:pt x="235" y="622"/>
                  </a:cubicBezTo>
                  <a:cubicBezTo>
                    <a:pt x="235" y="622"/>
                    <a:pt x="237" y="628"/>
                    <a:pt x="241" y="628"/>
                  </a:cubicBezTo>
                  <a:cubicBezTo>
                    <a:pt x="244" y="628"/>
                    <a:pt x="248" y="626"/>
                    <a:pt x="248" y="626"/>
                  </a:cubicBezTo>
                  <a:cubicBezTo>
                    <a:pt x="245" y="624"/>
                    <a:pt x="245" y="624"/>
                    <a:pt x="245" y="624"/>
                  </a:cubicBezTo>
                  <a:cubicBezTo>
                    <a:pt x="246" y="620"/>
                    <a:pt x="246" y="620"/>
                    <a:pt x="246" y="620"/>
                  </a:cubicBezTo>
                  <a:cubicBezTo>
                    <a:pt x="251" y="624"/>
                    <a:pt x="251" y="624"/>
                    <a:pt x="251" y="624"/>
                  </a:cubicBezTo>
                  <a:cubicBezTo>
                    <a:pt x="251" y="622"/>
                    <a:pt x="251" y="622"/>
                    <a:pt x="251" y="622"/>
                  </a:cubicBezTo>
                  <a:cubicBezTo>
                    <a:pt x="245" y="613"/>
                    <a:pt x="245" y="613"/>
                    <a:pt x="245" y="613"/>
                  </a:cubicBezTo>
                  <a:cubicBezTo>
                    <a:pt x="245" y="613"/>
                    <a:pt x="254" y="619"/>
                    <a:pt x="260" y="617"/>
                  </a:cubicBezTo>
                  <a:cubicBezTo>
                    <a:pt x="264" y="614"/>
                    <a:pt x="262" y="611"/>
                    <a:pt x="262" y="611"/>
                  </a:cubicBezTo>
                  <a:cubicBezTo>
                    <a:pt x="268" y="610"/>
                    <a:pt x="268" y="610"/>
                    <a:pt x="268" y="610"/>
                  </a:cubicBezTo>
                  <a:cubicBezTo>
                    <a:pt x="273" y="608"/>
                    <a:pt x="273" y="608"/>
                    <a:pt x="273" y="608"/>
                  </a:cubicBezTo>
                  <a:cubicBezTo>
                    <a:pt x="279" y="608"/>
                    <a:pt x="279" y="608"/>
                    <a:pt x="279" y="608"/>
                  </a:cubicBezTo>
                  <a:cubicBezTo>
                    <a:pt x="283" y="602"/>
                    <a:pt x="283" y="602"/>
                    <a:pt x="283" y="602"/>
                  </a:cubicBezTo>
                  <a:cubicBezTo>
                    <a:pt x="293" y="603"/>
                    <a:pt x="293" y="603"/>
                    <a:pt x="293" y="603"/>
                  </a:cubicBezTo>
                  <a:cubicBezTo>
                    <a:pt x="304" y="598"/>
                    <a:pt x="304" y="598"/>
                    <a:pt x="304" y="598"/>
                  </a:cubicBezTo>
                  <a:cubicBezTo>
                    <a:pt x="304" y="597"/>
                    <a:pt x="304" y="597"/>
                    <a:pt x="304" y="597"/>
                  </a:cubicBezTo>
                  <a:cubicBezTo>
                    <a:pt x="312" y="581"/>
                    <a:pt x="312" y="581"/>
                    <a:pt x="312" y="581"/>
                  </a:cubicBezTo>
                  <a:cubicBezTo>
                    <a:pt x="323" y="566"/>
                    <a:pt x="323" y="566"/>
                    <a:pt x="323" y="566"/>
                  </a:cubicBezTo>
                  <a:cubicBezTo>
                    <a:pt x="327" y="563"/>
                    <a:pt x="327" y="563"/>
                    <a:pt x="327" y="563"/>
                  </a:cubicBezTo>
                  <a:cubicBezTo>
                    <a:pt x="328" y="554"/>
                    <a:pt x="328" y="554"/>
                    <a:pt x="328" y="554"/>
                  </a:cubicBezTo>
                  <a:cubicBezTo>
                    <a:pt x="341" y="540"/>
                    <a:pt x="341" y="540"/>
                    <a:pt x="341" y="540"/>
                  </a:cubicBezTo>
                  <a:cubicBezTo>
                    <a:pt x="341" y="540"/>
                    <a:pt x="346" y="527"/>
                    <a:pt x="349" y="521"/>
                  </a:cubicBezTo>
                  <a:cubicBezTo>
                    <a:pt x="352" y="516"/>
                    <a:pt x="360" y="496"/>
                    <a:pt x="363" y="485"/>
                  </a:cubicBezTo>
                  <a:cubicBezTo>
                    <a:pt x="366" y="473"/>
                    <a:pt x="375" y="460"/>
                    <a:pt x="375" y="460"/>
                  </a:cubicBezTo>
                  <a:cubicBezTo>
                    <a:pt x="375" y="460"/>
                    <a:pt x="377" y="456"/>
                    <a:pt x="378" y="452"/>
                  </a:cubicBezTo>
                  <a:cubicBezTo>
                    <a:pt x="380" y="448"/>
                    <a:pt x="382" y="424"/>
                    <a:pt x="382" y="418"/>
                  </a:cubicBezTo>
                  <a:close/>
                  <a:moveTo>
                    <a:pt x="52" y="662"/>
                  </a:moveTo>
                  <a:cubicBezTo>
                    <a:pt x="52" y="658"/>
                    <a:pt x="52" y="658"/>
                    <a:pt x="52" y="658"/>
                  </a:cubicBezTo>
                  <a:cubicBezTo>
                    <a:pt x="54" y="657"/>
                    <a:pt x="54" y="657"/>
                    <a:pt x="54" y="657"/>
                  </a:cubicBezTo>
                  <a:cubicBezTo>
                    <a:pt x="54" y="657"/>
                    <a:pt x="54" y="659"/>
                    <a:pt x="55" y="661"/>
                  </a:cubicBezTo>
                  <a:cubicBezTo>
                    <a:pt x="56" y="662"/>
                    <a:pt x="61" y="660"/>
                    <a:pt x="61" y="660"/>
                  </a:cubicBezTo>
                  <a:cubicBezTo>
                    <a:pt x="60" y="653"/>
                    <a:pt x="60" y="653"/>
                    <a:pt x="60" y="653"/>
                  </a:cubicBezTo>
                  <a:cubicBezTo>
                    <a:pt x="55" y="653"/>
                    <a:pt x="55" y="653"/>
                    <a:pt x="55" y="653"/>
                  </a:cubicBezTo>
                  <a:cubicBezTo>
                    <a:pt x="55" y="650"/>
                    <a:pt x="55" y="650"/>
                    <a:pt x="55" y="650"/>
                  </a:cubicBezTo>
                  <a:cubicBezTo>
                    <a:pt x="51" y="651"/>
                    <a:pt x="51" y="651"/>
                    <a:pt x="51" y="651"/>
                  </a:cubicBezTo>
                  <a:cubicBezTo>
                    <a:pt x="51" y="651"/>
                    <a:pt x="50" y="649"/>
                    <a:pt x="50" y="647"/>
                  </a:cubicBezTo>
                  <a:cubicBezTo>
                    <a:pt x="50" y="646"/>
                    <a:pt x="47" y="644"/>
                    <a:pt x="45" y="648"/>
                  </a:cubicBezTo>
                  <a:cubicBezTo>
                    <a:pt x="45" y="651"/>
                    <a:pt x="45" y="651"/>
                    <a:pt x="45" y="651"/>
                  </a:cubicBezTo>
                  <a:cubicBezTo>
                    <a:pt x="48" y="657"/>
                    <a:pt x="48" y="657"/>
                    <a:pt x="48" y="657"/>
                  </a:cubicBezTo>
                  <a:cubicBezTo>
                    <a:pt x="45" y="659"/>
                    <a:pt x="45" y="659"/>
                    <a:pt x="45" y="659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1" y="658"/>
                    <a:pt x="41" y="658"/>
                    <a:pt x="41" y="658"/>
                  </a:cubicBezTo>
                  <a:cubicBezTo>
                    <a:pt x="46" y="669"/>
                    <a:pt x="46" y="669"/>
                    <a:pt x="46" y="669"/>
                  </a:cubicBezTo>
                  <a:cubicBezTo>
                    <a:pt x="50" y="670"/>
                    <a:pt x="50" y="670"/>
                    <a:pt x="50" y="670"/>
                  </a:cubicBezTo>
                  <a:cubicBezTo>
                    <a:pt x="54" y="666"/>
                    <a:pt x="54" y="666"/>
                    <a:pt x="54" y="666"/>
                  </a:cubicBezTo>
                  <a:cubicBezTo>
                    <a:pt x="54" y="662"/>
                    <a:pt x="54" y="662"/>
                    <a:pt x="54" y="662"/>
                  </a:cubicBezTo>
                  <a:lnTo>
                    <a:pt x="52" y="662"/>
                  </a:lnTo>
                  <a:close/>
                  <a:moveTo>
                    <a:pt x="37" y="666"/>
                  </a:moveTo>
                  <a:cubicBezTo>
                    <a:pt x="41" y="664"/>
                    <a:pt x="41" y="664"/>
                    <a:pt x="41" y="664"/>
                  </a:cubicBezTo>
                  <a:cubicBezTo>
                    <a:pt x="39" y="658"/>
                    <a:pt x="39" y="658"/>
                    <a:pt x="39" y="658"/>
                  </a:cubicBezTo>
                  <a:lnTo>
                    <a:pt x="37" y="666"/>
                  </a:lnTo>
                  <a:close/>
                  <a:moveTo>
                    <a:pt x="55" y="670"/>
                  </a:moveTo>
                  <a:cubicBezTo>
                    <a:pt x="61" y="674"/>
                    <a:pt x="61" y="674"/>
                    <a:pt x="61" y="674"/>
                  </a:cubicBezTo>
                  <a:cubicBezTo>
                    <a:pt x="63" y="671"/>
                    <a:pt x="63" y="671"/>
                    <a:pt x="63" y="671"/>
                  </a:cubicBezTo>
                  <a:cubicBezTo>
                    <a:pt x="56" y="667"/>
                    <a:pt x="56" y="667"/>
                    <a:pt x="56" y="667"/>
                  </a:cubicBezTo>
                  <a:lnTo>
                    <a:pt x="55" y="670"/>
                  </a:lnTo>
                  <a:close/>
                  <a:moveTo>
                    <a:pt x="63" y="663"/>
                  </a:moveTo>
                  <a:cubicBezTo>
                    <a:pt x="61" y="664"/>
                    <a:pt x="61" y="667"/>
                    <a:pt x="64" y="667"/>
                  </a:cubicBezTo>
                  <a:cubicBezTo>
                    <a:pt x="66" y="666"/>
                    <a:pt x="66" y="662"/>
                    <a:pt x="63" y="663"/>
                  </a:cubicBezTo>
                  <a:close/>
                  <a:moveTo>
                    <a:pt x="107" y="657"/>
                  </a:moveTo>
                  <a:cubicBezTo>
                    <a:pt x="104" y="657"/>
                    <a:pt x="100" y="662"/>
                    <a:pt x="106" y="661"/>
                  </a:cubicBezTo>
                  <a:cubicBezTo>
                    <a:pt x="106" y="661"/>
                    <a:pt x="111" y="657"/>
                    <a:pt x="107" y="657"/>
                  </a:cubicBezTo>
                  <a:close/>
                  <a:moveTo>
                    <a:pt x="113" y="654"/>
                  </a:moveTo>
                  <a:cubicBezTo>
                    <a:pt x="111" y="655"/>
                    <a:pt x="112" y="657"/>
                    <a:pt x="112" y="657"/>
                  </a:cubicBezTo>
                  <a:cubicBezTo>
                    <a:pt x="110" y="659"/>
                    <a:pt x="110" y="659"/>
                    <a:pt x="110" y="659"/>
                  </a:cubicBezTo>
                  <a:cubicBezTo>
                    <a:pt x="111" y="660"/>
                    <a:pt x="111" y="660"/>
                    <a:pt x="111" y="660"/>
                  </a:cubicBezTo>
                  <a:cubicBezTo>
                    <a:pt x="117" y="655"/>
                    <a:pt x="117" y="655"/>
                    <a:pt x="117" y="655"/>
                  </a:cubicBezTo>
                  <a:cubicBezTo>
                    <a:pt x="117" y="655"/>
                    <a:pt x="115" y="653"/>
                    <a:pt x="113" y="654"/>
                  </a:cubicBezTo>
                  <a:close/>
                  <a:moveTo>
                    <a:pt x="119" y="654"/>
                  </a:moveTo>
                  <a:cubicBezTo>
                    <a:pt x="120" y="657"/>
                    <a:pt x="120" y="657"/>
                    <a:pt x="120" y="657"/>
                  </a:cubicBezTo>
                  <a:cubicBezTo>
                    <a:pt x="122" y="656"/>
                    <a:pt x="122" y="656"/>
                    <a:pt x="122" y="656"/>
                  </a:cubicBezTo>
                  <a:cubicBezTo>
                    <a:pt x="122" y="654"/>
                    <a:pt x="122" y="654"/>
                    <a:pt x="122" y="654"/>
                  </a:cubicBezTo>
                  <a:lnTo>
                    <a:pt x="119" y="654"/>
                  </a:lnTo>
                  <a:close/>
                  <a:moveTo>
                    <a:pt x="148" y="643"/>
                  </a:moveTo>
                  <a:cubicBezTo>
                    <a:pt x="146" y="647"/>
                    <a:pt x="146" y="647"/>
                    <a:pt x="146" y="647"/>
                  </a:cubicBezTo>
                  <a:cubicBezTo>
                    <a:pt x="142" y="648"/>
                    <a:pt x="142" y="648"/>
                    <a:pt x="142" y="648"/>
                  </a:cubicBezTo>
                  <a:cubicBezTo>
                    <a:pt x="139" y="650"/>
                    <a:pt x="139" y="650"/>
                    <a:pt x="139" y="650"/>
                  </a:cubicBezTo>
                  <a:cubicBezTo>
                    <a:pt x="134" y="651"/>
                    <a:pt x="134" y="651"/>
                    <a:pt x="134" y="651"/>
                  </a:cubicBezTo>
                  <a:cubicBezTo>
                    <a:pt x="133" y="655"/>
                    <a:pt x="133" y="655"/>
                    <a:pt x="133" y="655"/>
                  </a:cubicBezTo>
                  <a:cubicBezTo>
                    <a:pt x="136" y="655"/>
                    <a:pt x="136" y="655"/>
                    <a:pt x="136" y="655"/>
                  </a:cubicBezTo>
                  <a:cubicBezTo>
                    <a:pt x="133" y="659"/>
                    <a:pt x="133" y="659"/>
                    <a:pt x="133" y="659"/>
                  </a:cubicBezTo>
                  <a:cubicBezTo>
                    <a:pt x="133" y="664"/>
                    <a:pt x="133" y="664"/>
                    <a:pt x="133" y="664"/>
                  </a:cubicBezTo>
                  <a:cubicBezTo>
                    <a:pt x="139" y="661"/>
                    <a:pt x="139" y="661"/>
                    <a:pt x="139" y="661"/>
                  </a:cubicBezTo>
                  <a:cubicBezTo>
                    <a:pt x="145" y="661"/>
                    <a:pt x="145" y="661"/>
                    <a:pt x="145" y="661"/>
                  </a:cubicBezTo>
                  <a:cubicBezTo>
                    <a:pt x="149" y="654"/>
                    <a:pt x="149" y="654"/>
                    <a:pt x="149" y="654"/>
                  </a:cubicBezTo>
                  <a:cubicBezTo>
                    <a:pt x="147" y="649"/>
                    <a:pt x="147" y="649"/>
                    <a:pt x="147" y="649"/>
                  </a:cubicBezTo>
                  <a:cubicBezTo>
                    <a:pt x="149" y="644"/>
                    <a:pt x="149" y="644"/>
                    <a:pt x="149" y="644"/>
                  </a:cubicBezTo>
                  <a:lnTo>
                    <a:pt x="148" y="643"/>
                  </a:lnTo>
                  <a:close/>
                  <a:moveTo>
                    <a:pt x="111" y="639"/>
                  </a:moveTo>
                  <a:cubicBezTo>
                    <a:pt x="112" y="640"/>
                    <a:pt x="112" y="640"/>
                    <a:pt x="112" y="640"/>
                  </a:cubicBezTo>
                  <a:cubicBezTo>
                    <a:pt x="110" y="643"/>
                    <a:pt x="110" y="643"/>
                    <a:pt x="110" y="643"/>
                  </a:cubicBezTo>
                  <a:cubicBezTo>
                    <a:pt x="112" y="643"/>
                    <a:pt x="112" y="643"/>
                    <a:pt x="112" y="643"/>
                  </a:cubicBezTo>
                  <a:cubicBezTo>
                    <a:pt x="114" y="642"/>
                    <a:pt x="114" y="642"/>
                    <a:pt x="114" y="642"/>
                  </a:cubicBezTo>
                  <a:cubicBezTo>
                    <a:pt x="117" y="644"/>
                    <a:pt x="117" y="644"/>
                    <a:pt x="117" y="644"/>
                  </a:cubicBezTo>
                  <a:cubicBezTo>
                    <a:pt x="118" y="641"/>
                    <a:pt x="118" y="641"/>
                    <a:pt x="118" y="641"/>
                  </a:cubicBezTo>
                  <a:cubicBezTo>
                    <a:pt x="113" y="638"/>
                    <a:pt x="113" y="638"/>
                    <a:pt x="113" y="638"/>
                  </a:cubicBezTo>
                  <a:lnTo>
                    <a:pt x="111" y="639"/>
                  </a:lnTo>
                  <a:close/>
                  <a:moveTo>
                    <a:pt x="99" y="634"/>
                  </a:moveTo>
                  <a:cubicBezTo>
                    <a:pt x="95" y="631"/>
                    <a:pt x="94" y="630"/>
                    <a:pt x="95" y="632"/>
                  </a:cubicBezTo>
                  <a:cubicBezTo>
                    <a:pt x="97" y="637"/>
                    <a:pt x="97" y="637"/>
                    <a:pt x="97" y="637"/>
                  </a:cubicBezTo>
                  <a:cubicBezTo>
                    <a:pt x="102" y="637"/>
                    <a:pt x="102" y="637"/>
                    <a:pt x="99" y="634"/>
                  </a:cubicBezTo>
                  <a:close/>
                  <a:moveTo>
                    <a:pt x="90" y="628"/>
                  </a:moveTo>
                  <a:cubicBezTo>
                    <a:pt x="93" y="631"/>
                    <a:pt x="93" y="631"/>
                    <a:pt x="93" y="631"/>
                  </a:cubicBezTo>
                  <a:cubicBezTo>
                    <a:pt x="94" y="628"/>
                    <a:pt x="94" y="628"/>
                    <a:pt x="94" y="628"/>
                  </a:cubicBezTo>
                  <a:cubicBezTo>
                    <a:pt x="91" y="627"/>
                    <a:pt x="91" y="627"/>
                    <a:pt x="91" y="627"/>
                  </a:cubicBezTo>
                  <a:lnTo>
                    <a:pt x="90" y="628"/>
                  </a:lnTo>
                  <a:close/>
                  <a:moveTo>
                    <a:pt x="175" y="667"/>
                  </a:moveTo>
                  <a:cubicBezTo>
                    <a:pt x="175" y="664"/>
                    <a:pt x="175" y="664"/>
                    <a:pt x="175" y="664"/>
                  </a:cubicBezTo>
                  <a:cubicBezTo>
                    <a:pt x="170" y="666"/>
                    <a:pt x="170" y="666"/>
                    <a:pt x="170" y="666"/>
                  </a:cubicBezTo>
                  <a:lnTo>
                    <a:pt x="175" y="667"/>
                  </a:lnTo>
                  <a:close/>
                  <a:moveTo>
                    <a:pt x="74" y="466"/>
                  </a:moveTo>
                  <a:cubicBezTo>
                    <a:pt x="72" y="462"/>
                    <a:pt x="72" y="462"/>
                    <a:pt x="72" y="462"/>
                  </a:cubicBezTo>
                  <a:cubicBezTo>
                    <a:pt x="72" y="462"/>
                    <a:pt x="69" y="464"/>
                    <a:pt x="68" y="464"/>
                  </a:cubicBezTo>
                  <a:cubicBezTo>
                    <a:pt x="66" y="464"/>
                    <a:pt x="67" y="461"/>
                    <a:pt x="67" y="461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6" y="468"/>
                    <a:pt x="66" y="468"/>
                    <a:pt x="66" y="468"/>
                  </a:cubicBezTo>
                  <a:cubicBezTo>
                    <a:pt x="71" y="469"/>
                    <a:pt x="74" y="466"/>
                    <a:pt x="74" y="466"/>
                  </a:cubicBezTo>
                  <a:close/>
                  <a:moveTo>
                    <a:pt x="72" y="456"/>
                  </a:moveTo>
                  <a:cubicBezTo>
                    <a:pt x="67" y="457"/>
                    <a:pt x="67" y="457"/>
                    <a:pt x="67" y="457"/>
                  </a:cubicBezTo>
                  <a:cubicBezTo>
                    <a:pt x="70" y="460"/>
                    <a:pt x="70" y="460"/>
                    <a:pt x="70" y="460"/>
                  </a:cubicBezTo>
                  <a:lnTo>
                    <a:pt x="72" y="456"/>
                  </a:lnTo>
                  <a:close/>
                  <a:moveTo>
                    <a:pt x="93" y="452"/>
                  </a:moveTo>
                  <a:cubicBezTo>
                    <a:pt x="90" y="456"/>
                    <a:pt x="90" y="456"/>
                    <a:pt x="90" y="456"/>
                  </a:cubicBezTo>
                  <a:cubicBezTo>
                    <a:pt x="94" y="456"/>
                    <a:pt x="94" y="456"/>
                    <a:pt x="94" y="456"/>
                  </a:cubicBezTo>
                  <a:cubicBezTo>
                    <a:pt x="97" y="454"/>
                    <a:pt x="97" y="454"/>
                    <a:pt x="97" y="454"/>
                  </a:cubicBezTo>
                  <a:lnTo>
                    <a:pt x="93" y="452"/>
                  </a:lnTo>
                  <a:close/>
                  <a:moveTo>
                    <a:pt x="157" y="329"/>
                  </a:moveTo>
                  <a:cubicBezTo>
                    <a:pt x="153" y="331"/>
                    <a:pt x="153" y="331"/>
                    <a:pt x="153" y="331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45" y="331"/>
                    <a:pt x="145" y="331"/>
                    <a:pt x="145" y="331"/>
                  </a:cubicBezTo>
                  <a:cubicBezTo>
                    <a:pt x="145" y="335"/>
                    <a:pt x="145" y="335"/>
                    <a:pt x="145" y="335"/>
                  </a:cubicBezTo>
                  <a:cubicBezTo>
                    <a:pt x="145" y="336"/>
                    <a:pt x="147" y="338"/>
                    <a:pt x="147" y="338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52" y="332"/>
                    <a:pt x="152" y="332"/>
                    <a:pt x="152" y="332"/>
                  </a:cubicBezTo>
                  <a:cubicBezTo>
                    <a:pt x="157" y="331"/>
                    <a:pt x="157" y="331"/>
                    <a:pt x="157" y="331"/>
                  </a:cubicBezTo>
                  <a:lnTo>
                    <a:pt x="157" y="329"/>
                  </a:lnTo>
                  <a:close/>
                  <a:moveTo>
                    <a:pt x="244" y="634"/>
                  </a:moveTo>
                  <a:cubicBezTo>
                    <a:pt x="247" y="630"/>
                    <a:pt x="247" y="630"/>
                    <a:pt x="247" y="630"/>
                  </a:cubicBezTo>
                  <a:cubicBezTo>
                    <a:pt x="243" y="631"/>
                    <a:pt x="243" y="631"/>
                    <a:pt x="243" y="631"/>
                  </a:cubicBezTo>
                  <a:lnTo>
                    <a:pt x="244" y="634"/>
                  </a:lnTo>
                  <a:close/>
                  <a:moveTo>
                    <a:pt x="260" y="618"/>
                  </a:moveTo>
                  <a:cubicBezTo>
                    <a:pt x="265" y="619"/>
                    <a:pt x="265" y="619"/>
                    <a:pt x="265" y="619"/>
                  </a:cubicBezTo>
                  <a:cubicBezTo>
                    <a:pt x="263" y="616"/>
                    <a:pt x="263" y="616"/>
                    <a:pt x="263" y="616"/>
                  </a:cubicBezTo>
                  <a:lnTo>
                    <a:pt x="260" y="618"/>
                  </a:lnTo>
                  <a:close/>
                  <a:moveTo>
                    <a:pt x="265" y="614"/>
                  </a:moveTo>
                  <a:cubicBezTo>
                    <a:pt x="267" y="617"/>
                    <a:pt x="267" y="617"/>
                    <a:pt x="267" y="617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0" y="613"/>
                    <a:pt x="270" y="613"/>
                    <a:pt x="270" y="613"/>
                  </a:cubicBezTo>
                  <a:lnTo>
                    <a:pt x="265" y="6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Bulgarien" descr="© INSCALE GmbH, 05.05.2010&#10;http://www.presentationload.com/">
              <a:extLst>
                <a:ext uri="{FF2B5EF4-FFF2-40B4-BE49-F238E27FC236}">
                  <a16:creationId xmlns:a16="http://schemas.microsoft.com/office/drawing/2014/main" id="{FFD8B23C-3580-D242-BC2F-EAD95064FB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9023" y="5331521"/>
              <a:ext cx="717858" cy="521478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9" name="Griech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E9E8D4A-2346-0D4F-BF18-89022210D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16437" y="5724279"/>
              <a:ext cx="1150222" cy="1079262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56AD95A7-9F61-E443-A7E4-A416134BA3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30303" y="3909008"/>
              <a:ext cx="1807022" cy="1227784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I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9B613DB-BDAB-E74A-9F2D-354F7F8AC6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4193" y="1559056"/>
              <a:ext cx="679902" cy="561084"/>
            </a:xfrm>
            <a:custGeom>
              <a:avLst/>
              <a:gdLst/>
              <a:ahLst/>
              <a:cxnLst>
                <a:cxn ang="0">
                  <a:pos x="273" y="136"/>
                </a:cxn>
                <a:cxn ang="0">
                  <a:pos x="262" y="113"/>
                </a:cxn>
                <a:cxn ang="0">
                  <a:pos x="268" y="98"/>
                </a:cxn>
                <a:cxn ang="0">
                  <a:pos x="252" y="81"/>
                </a:cxn>
                <a:cxn ang="0">
                  <a:pos x="229" y="89"/>
                </a:cxn>
                <a:cxn ang="0">
                  <a:pos x="206" y="89"/>
                </a:cxn>
                <a:cxn ang="0">
                  <a:pos x="189" y="71"/>
                </a:cxn>
                <a:cxn ang="0">
                  <a:pos x="178" y="102"/>
                </a:cxn>
                <a:cxn ang="0">
                  <a:pos x="177" y="75"/>
                </a:cxn>
                <a:cxn ang="0">
                  <a:pos x="170" y="63"/>
                </a:cxn>
                <a:cxn ang="0">
                  <a:pos x="144" y="81"/>
                </a:cxn>
                <a:cxn ang="0">
                  <a:pos x="141" y="52"/>
                </a:cxn>
                <a:cxn ang="0">
                  <a:pos x="133" y="54"/>
                </a:cxn>
                <a:cxn ang="0">
                  <a:pos x="115" y="81"/>
                </a:cxn>
                <a:cxn ang="0">
                  <a:pos x="110" y="75"/>
                </a:cxn>
                <a:cxn ang="0">
                  <a:pos x="95" y="81"/>
                </a:cxn>
                <a:cxn ang="0">
                  <a:pos x="90" y="75"/>
                </a:cxn>
                <a:cxn ang="0">
                  <a:pos x="92" y="54"/>
                </a:cxn>
                <a:cxn ang="0">
                  <a:pos x="109" y="44"/>
                </a:cxn>
                <a:cxn ang="0">
                  <a:pos x="104" y="23"/>
                </a:cxn>
                <a:cxn ang="0">
                  <a:pos x="97" y="10"/>
                </a:cxn>
                <a:cxn ang="0">
                  <a:pos x="81" y="5"/>
                </a:cxn>
                <a:cxn ang="0">
                  <a:pos x="88" y="13"/>
                </a:cxn>
                <a:cxn ang="0">
                  <a:pos x="87" y="29"/>
                </a:cxn>
                <a:cxn ang="0">
                  <a:pos x="79" y="32"/>
                </a:cxn>
                <a:cxn ang="0">
                  <a:pos x="73" y="27"/>
                </a:cxn>
                <a:cxn ang="0">
                  <a:pos x="71" y="13"/>
                </a:cxn>
                <a:cxn ang="0">
                  <a:pos x="53" y="22"/>
                </a:cxn>
                <a:cxn ang="0">
                  <a:pos x="57" y="38"/>
                </a:cxn>
                <a:cxn ang="0">
                  <a:pos x="38" y="23"/>
                </a:cxn>
                <a:cxn ang="0">
                  <a:pos x="30" y="36"/>
                </a:cxn>
                <a:cxn ang="0">
                  <a:pos x="30" y="49"/>
                </a:cxn>
                <a:cxn ang="0">
                  <a:pos x="60" y="50"/>
                </a:cxn>
                <a:cxn ang="0">
                  <a:pos x="72" y="64"/>
                </a:cxn>
                <a:cxn ang="0">
                  <a:pos x="72" y="75"/>
                </a:cxn>
                <a:cxn ang="0">
                  <a:pos x="69" y="87"/>
                </a:cxn>
                <a:cxn ang="0">
                  <a:pos x="45" y="87"/>
                </a:cxn>
                <a:cxn ang="0">
                  <a:pos x="31" y="83"/>
                </a:cxn>
                <a:cxn ang="0">
                  <a:pos x="4" y="84"/>
                </a:cxn>
                <a:cxn ang="0">
                  <a:pos x="34" y="97"/>
                </a:cxn>
                <a:cxn ang="0">
                  <a:pos x="36" y="117"/>
                </a:cxn>
                <a:cxn ang="0">
                  <a:pos x="48" y="121"/>
                </a:cxn>
                <a:cxn ang="0">
                  <a:pos x="36" y="132"/>
                </a:cxn>
                <a:cxn ang="0">
                  <a:pos x="36" y="141"/>
                </a:cxn>
                <a:cxn ang="0">
                  <a:pos x="14" y="149"/>
                </a:cxn>
                <a:cxn ang="0">
                  <a:pos x="0" y="154"/>
                </a:cxn>
                <a:cxn ang="0">
                  <a:pos x="28" y="168"/>
                </a:cxn>
                <a:cxn ang="0">
                  <a:pos x="45" y="177"/>
                </a:cxn>
                <a:cxn ang="0">
                  <a:pos x="55" y="194"/>
                </a:cxn>
                <a:cxn ang="0">
                  <a:pos x="79" y="224"/>
                </a:cxn>
                <a:cxn ang="0">
                  <a:pos x="123" y="221"/>
                </a:cxn>
                <a:cxn ang="0">
                  <a:pos x="155" y="227"/>
                </a:cxn>
                <a:cxn ang="0">
                  <a:pos x="195" y="217"/>
                </a:cxn>
                <a:cxn ang="0">
                  <a:pos x="212" y="218"/>
                </a:cxn>
                <a:cxn ang="0">
                  <a:pos x="240" y="207"/>
                </a:cxn>
                <a:cxn ang="0">
                  <a:pos x="243" y="194"/>
                </a:cxn>
                <a:cxn ang="0">
                  <a:pos x="258" y="190"/>
                </a:cxn>
                <a:cxn ang="0">
                  <a:pos x="263" y="183"/>
                </a:cxn>
                <a:cxn ang="0">
                  <a:pos x="272" y="183"/>
                </a:cxn>
                <a:cxn ang="0">
                  <a:pos x="278" y="173"/>
                </a:cxn>
                <a:cxn ang="0">
                  <a:pos x="284" y="155"/>
                </a:cxn>
                <a:cxn ang="0">
                  <a:pos x="50" y="205"/>
                </a:cxn>
              </a:cxnLst>
              <a:rect l="0" t="0" r="r" b="b"/>
              <a:pathLst>
                <a:path w="285" h="235">
                  <a:moveTo>
                    <a:pt x="284" y="155"/>
                  </a:moveTo>
                  <a:cubicBezTo>
                    <a:pt x="280" y="156"/>
                    <a:pt x="280" y="156"/>
                    <a:pt x="280" y="156"/>
                  </a:cubicBezTo>
                  <a:cubicBezTo>
                    <a:pt x="280" y="153"/>
                    <a:pt x="280" y="153"/>
                    <a:pt x="280" y="153"/>
                  </a:cubicBezTo>
                  <a:cubicBezTo>
                    <a:pt x="279" y="153"/>
                    <a:pt x="279" y="153"/>
                    <a:pt x="279" y="153"/>
                  </a:cubicBezTo>
                  <a:cubicBezTo>
                    <a:pt x="281" y="150"/>
                    <a:pt x="281" y="150"/>
                    <a:pt x="281" y="150"/>
                  </a:cubicBezTo>
                  <a:cubicBezTo>
                    <a:pt x="280" y="149"/>
                    <a:pt x="280" y="149"/>
                    <a:pt x="280" y="149"/>
                  </a:cubicBezTo>
                  <a:cubicBezTo>
                    <a:pt x="280" y="149"/>
                    <a:pt x="275" y="147"/>
                    <a:pt x="272" y="143"/>
                  </a:cubicBezTo>
                  <a:cubicBezTo>
                    <a:pt x="270" y="139"/>
                    <a:pt x="273" y="136"/>
                    <a:pt x="273" y="136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59" y="130"/>
                    <a:pt x="259" y="130"/>
                    <a:pt x="259" y="130"/>
                  </a:cubicBezTo>
                  <a:cubicBezTo>
                    <a:pt x="259" y="130"/>
                    <a:pt x="260" y="128"/>
                    <a:pt x="262" y="128"/>
                  </a:cubicBezTo>
                  <a:cubicBezTo>
                    <a:pt x="264" y="127"/>
                    <a:pt x="265" y="127"/>
                    <a:pt x="269" y="124"/>
                  </a:cubicBezTo>
                  <a:cubicBezTo>
                    <a:pt x="273" y="122"/>
                    <a:pt x="272" y="116"/>
                    <a:pt x="271" y="115"/>
                  </a:cubicBezTo>
                  <a:cubicBezTo>
                    <a:pt x="270" y="113"/>
                    <a:pt x="268" y="115"/>
                    <a:pt x="265" y="115"/>
                  </a:cubicBezTo>
                  <a:cubicBezTo>
                    <a:pt x="264" y="115"/>
                    <a:pt x="262" y="113"/>
                    <a:pt x="262" y="113"/>
                  </a:cubicBezTo>
                  <a:cubicBezTo>
                    <a:pt x="262" y="113"/>
                    <a:pt x="263" y="112"/>
                    <a:pt x="263" y="110"/>
                  </a:cubicBezTo>
                  <a:cubicBezTo>
                    <a:pt x="263" y="108"/>
                    <a:pt x="260" y="107"/>
                    <a:pt x="260" y="107"/>
                  </a:cubicBezTo>
                  <a:cubicBezTo>
                    <a:pt x="260" y="107"/>
                    <a:pt x="269" y="106"/>
                    <a:pt x="270" y="105"/>
                  </a:cubicBezTo>
                  <a:cubicBezTo>
                    <a:pt x="271" y="102"/>
                    <a:pt x="271" y="99"/>
                    <a:pt x="271" y="99"/>
                  </a:cubicBezTo>
                  <a:cubicBezTo>
                    <a:pt x="284" y="97"/>
                    <a:pt x="284" y="97"/>
                    <a:pt x="284" y="97"/>
                  </a:cubicBezTo>
                  <a:cubicBezTo>
                    <a:pt x="284" y="97"/>
                    <a:pt x="280" y="96"/>
                    <a:pt x="278" y="96"/>
                  </a:cubicBezTo>
                  <a:cubicBezTo>
                    <a:pt x="277" y="95"/>
                    <a:pt x="279" y="94"/>
                    <a:pt x="276" y="93"/>
                  </a:cubicBezTo>
                  <a:cubicBezTo>
                    <a:pt x="274" y="92"/>
                    <a:pt x="270" y="97"/>
                    <a:pt x="268" y="98"/>
                  </a:cubicBezTo>
                  <a:cubicBezTo>
                    <a:pt x="264" y="99"/>
                    <a:pt x="265" y="96"/>
                    <a:pt x="262" y="97"/>
                  </a:cubicBezTo>
                  <a:cubicBezTo>
                    <a:pt x="258" y="97"/>
                    <a:pt x="259" y="101"/>
                    <a:pt x="258" y="102"/>
                  </a:cubicBezTo>
                  <a:cubicBezTo>
                    <a:pt x="257" y="102"/>
                    <a:pt x="256" y="99"/>
                    <a:pt x="256" y="97"/>
                  </a:cubicBezTo>
                  <a:cubicBezTo>
                    <a:pt x="255" y="96"/>
                    <a:pt x="253" y="95"/>
                    <a:pt x="253" y="95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92"/>
                    <a:pt x="255" y="90"/>
                    <a:pt x="256" y="86"/>
                  </a:cubicBezTo>
                  <a:cubicBezTo>
                    <a:pt x="258" y="84"/>
                    <a:pt x="252" y="81"/>
                    <a:pt x="252" y="81"/>
                  </a:cubicBezTo>
                  <a:cubicBezTo>
                    <a:pt x="252" y="81"/>
                    <a:pt x="255" y="79"/>
                    <a:pt x="253" y="74"/>
                  </a:cubicBezTo>
                  <a:cubicBezTo>
                    <a:pt x="251" y="69"/>
                    <a:pt x="245" y="74"/>
                    <a:pt x="245" y="74"/>
                  </a:cubicBezTo>
                  <a:cubicBezTo>
                    <a:pt x="245" y="74"/>
                    <a:pt x="242" y="69"/>
                    <a:pt x="240" y="69"/>
                  </a:cubicBezTo>
                  <a:cubicBezTo>
                    <a:pt x="238" y="69"/>
                    <a:pt x="238" y="75"/>
                    <a:pt x="238" y="77"/>
                  </a:cubicBezTo>
                  <a:cubicBezTo>
                    <a:pt x="238" y="79"/>
                    <a:pt x="236" y="80"/>
                    <a:pt x="236" y="80"/>
                  </a:cubicBezTo>
                  <a:cubicBezTo>
                    <a:pt x="236" y="80"/>
                    <a:pt x="236" y="86"/>
                    <a:pt x="235" y="89"/>
                  </a:cubicBezTo>
                  <a:cubicBezTo>
                    <a:pt x="232" y="90"/>
                    <a:pt x="230" y="90"/>
                    <a:pt x="230" y="90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6" y="89"/>
                    <a:pt x="226" y="89"/>
                    <a:pt x="226" y="89"/>
                  </a:cubicBezTo>
                  <a:cubicBezTo>
                    <a:pt x="226" y="89"/>
                    <a:pt x="224" y="90"/>
                    <a:pt x="223" y="91"/>
                  </a:cubicBezTo>
                  <a:cubicBezTo>
                    <a:pt x="222" y="91"/>
                    <a:pt x="219" y="89"/>
                    <a:pt x="219" y="89"/>
                  </a:cubicBezTo>
                  <a:cubicBezTo>
                    <a:pt x="220" y="84"/>
                    <a:pt x="220" y="84"/>
                    <a:pt x="220" y="84"/>
                  </a:cubicBezTo>
                  <a:cubicBezTo>
                    <a:pt x="220" y="84"/>
                    <a:pt x="217" y="81"/>
                    <a:pt x="214" y="82"/>
                  </a:cubicBezTo>
                  <a:cubicBezTo>
                    <a:pt x="210" y="82"/>
                    <a:pt x="210" y="84"/>
                    <a:pt x="210" y="86"/>
                  </a:cubicBezTo>
                  <a:cubicBezTo>
                    <a:pt x="209" y="87"/>
                    <a:pt x="206" y="87"/>
                    <a:pt x="206" y="87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3"/>
                    <a:pt x="202" y="91"/>
                    <a:pt x="199" y="90"/>
                  </a:cubicBezTo>
                  <a:cubicBezTo>
                    <a:pt x="198" y="89"/>
                    <a:pt x="197" y="90"/>
                    <a:pt x="197" y="90"/>
                  </a:cubicBezTo>
                  <a:cubicBezTo>
                    <a:pt x="196" y="80"/>
                    <a:pt x="196" y="80"/>
                    <a:pt x="196" y="80"/>
                  </a:cubicBezTo>
                  <a:cubicBezTo>
                    <a:pt x="195" y="79"/>
                    <a:pt x="195" y="79"/>
                    <a:pt x="195" y="79"/>
                  </a:cubicBezTo>
                  <a:cubicBezTo>
                    <a:pt x="195" y="76"/>
                    <a:pt x="195" y="76"/>
                    <a:pt x="195" y="76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4" y="71"/>
                    <a:pt x="183" y="78"/>
                  </a:cubicBezTo>
                  <a:cubicBezTo>
                    <a:pt x="181" y="84"/>
                    <a:pt x="183" y="85"/>
                    <a:pt x="183" y="8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1" y="87"/>
                    <a:pt x="181" y="87"/>
                    <a:pt x="181" y="87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93"/>
                    <a:pt x="182" y="93"/>
                    <a:pt x="182" y="93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7" y="98"/>
                    <a:pt x="177" y="98"/>
                    <a:pt x="177" y="98"/>
                  </a:cubicBezTo>
                  <a:cubicBezTo>
                    <a:pt x="177" y="98"/>
                    <a:pt x="177" y="96"/>
                    <a:pt x="178" y="95"/>
                  </a:cubicBezTo>
                  <a:cubicBezTo>
                    <a:pt x="179" y="94"/>
                    <a:pt x="179" y="92"/>
                    <a:pt x="179" y="92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83"/>
                    <a:pt x="175" y="81"/>
                    <a:pt x="175" y="80"/>
                  </a:cubicBezTo>
                  <a:cubicBezTo>
                    <a:pt x="175" y="78"/>
                    <a:pt x="177" y="77"/>
                    <a:pt x="177" y="75"/>
                  </a:cubicBezTo>
                  <a:cubicBezTo>
                    <a:pt x="178" y="74"/>
                    <a:pt x="177" y="71"/>
                    <a:pt x="177" y="71"/>
                  </a:cubicBezTo>
                  <a:cubicBezTo>
                    <a:pt x="178" y="69"/>
                    <a:pt x="178" y="69"/>
                    <a:pt x="178" y="69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5" y="67"/>
                    <a:pt x="175" y="67"/>
                    <a:pt x="175" y="67"/>
                  </a:cubicBezTo>
                  <a:cubicBezTo>
                    <a:pt x="176" y="65"/>
                    <a:pt x="176" y="65"/>
                    <a:pt x="176" y="65"/>
                  </a:cubicBezTo>
                  <a:cubicBezTo>
                    <a:pt x="175" y="64"/>
                    <a:pt x="175" y="64"/>
                    <a:pt x="175" y="64"/>
                  </a:cubicBezTo>
                  <a:cubicBezTo>
                    <a:pt x="172" y="66"/>
                    <a:pt x="172" y="66"/>
                    <a:pt x="172" y="66"/>
                  </a:cubicBezTo>
                  <a:cubicBezTo>
                    <a:pt x="172" y="66"/>
                    <a:pt x="173" y="63"/>
                    <a:pt x="170" y="63"/>
                  </a:cubicBezTo>
                  <a:cubicBezTo>
                    <a:pt x="167" y="62"/>
                    <a:pt x="166" y="66"/>
                    <a:pt x="164" y="66"/>
                  </a:cubicBezTo>
                  <a:cubicBezTo>
                    <a:pt x="162" y="67"/>
                    <a:pt x="161" y="65"/>
                    <a:pt x="159" y="64"/>
                  </a:cubicBezTo>
                  <a:cubicBezTo>
                    <a:pt x="156" y="64"/>
                    <a:pt x="155" y="67"/>
                    <a:pt x="155" y="68"/>
                  </a:cubicBezTo>
                  <a:cubicBezTo>
                    <a:pt x="154" y="69"/>
                    <a:pt x="153" y="68"/>
                    <a:pt x="150" y="70"/>
                  </a:cubicBezTo>
                  <a:cubicBezTo>
                    <a:pt x="149" y="73"/>
                    <a:pt x="151" y="76"/>
                    <a:pt x="150" y="79"/>
                  </a:cubicBezTo>
                  <a:cubicBezTo>
                    <a:pt x="149" y="82"/>
                    <a:pt x="145" y="83"/>
                    <a:pt x="145" y="83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3" y="75"/>
                    <a:pt x="143" y="73"/>
                  </a:cubicBezTo>
                  <a:cubicBezTo>
                    <a:pt x="144" y="71"/>
                    <a:pt x="141" y="69"/>
                    <a:pt x="141" y="69"/>
                  </a:cubicBezTo>
                  <a:cubicBezTo>
                    <a:pt x="141" y="69"/>
                    <a:pt x="141" y="66"/>
                    <a:pt x="142" y="64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2" y="59"/>
                    <a:pt x="143" y="57"/>
                    <a:pt x="143" y="54"/>
                  </a:cubicBezTo>
                  <a:cubicBezTo>
                    <a:pt x="143" y="53"/>
                    <a:pt x="141" y="52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8" y="52"/>
                    <a:pt x="138" y="52"/>
                    <a:pt x="138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0" y="63"/>
                    <a:pt x="128" y="66"/>
                  </a:cubicBezTo>
                  <a:cubicBezTo>
                    <a:pt x="126" y="70"/>
                    <a:pt x="126" y="76"/>
                    <a:pt x="126" y="76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4" y="85"/>
                    <a:pt x="112" y="85"/>
                  </a:cubicBezTo>
                  <a:cubicBezTo>
                    <a:pt x="110" y="84"/>
                    <a:pt x="113" y="79"/>
                    <a:pt x="11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4" y="75"/>
                    <a:pt x="102" y="77"/>
                    <a:pt x="102" y="77"/>
                  </a:cubicBezTo>
                  <a:cubicBezTo>
                    <a:pt x="102" y="77"/>
                    <a:pt x="101" y="78"/>
                    <a:pt x="100" y="80"/>
                  </a:cubicBezTo>
                  <a:cubicBezTo>
                    <a:pt x="99" y="82"/>
                    <a:pt x="98" y="89"/>
                    <a:pt x="98" y="89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6"/>
                    <a:pt x="92" y="89"/>
                    <a:pt x="91" y="90"/>
                  </a:cubicBezTo>
                  <a:cubicBezTo>
                    <a:pt x="90" y="91"/>
                    <a:pt x="90" y="95"/>
                    <a:pt x="90" y="95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97"/>
                    <a:pt x="88" y="92"/>
                    <a:pt x="89" y="89"/>
                  </a:cubicBezTo>
                  <a:cubicBezTo>
                    <a:pt x="89" y="85"/>
                    <a:pt x="93" y="82"/>
                    <a:pt x="93" y="82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2" y="64"/>
                    <a:pt x="91" y="62"/>
                  </a:cubicBezTo>
                  <a:cubicBezTo>
                    <a:pt x="90" y="60"/>
                    <a:pt x="91" y="60"/>
                    <a:pt x="92" y="59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9"/>
                    <a:pt x="94" y="60"/>
                  </a:cubicBezTo>
                  <a:cubicBezTo>
                    <a:pt x="94" y="62"/>
                    <a:pt x="97" y="62"/>
                    <a:pt x="98" y="62"/>
                  </a:cubicBezTo>
                  <a:cubicBezTo>
                    <a:pt x="100" y="62"/>
                    <a:pt x="99" y="59"/>
                    <a:pt x="99" y="59"/>
                  </a:cubicBezTo>
                  <a:cubicBezTo>
                    <a:pt x="99" y="59"/>
                    <a:pt x="101" y="60"/>
                    <a:pt x="107" y="54"/>
                  </a:cubicBezTo>
                  <a:cubicBezTo>
                    <a:pt x="112" y="49"/>
                    <a:pt x="101" y="47"/>
                    <a:pt x="102" y="46"/>
                  </a:cubicBezTo>
                  <a:cubicBezTo>
                    <a:pt x="102" y="44"/>
                    <a:pt x="109" y="46"/>
                    <a:pt x="109" y="46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37"/>
                    <a:pt x="105" y="35"/>
                    <a:pt x="106" y="33"/>
                  </a:cubicBezTo>
                  <a:cubicBezTo>
                    <a:pt x="107" y="30"/>
                    <a:pt x="104" y="30"/>
                    <a:pt x="102" y="28"/>
                  </a:cubicBezTo>
                  <a:cubicBezTo>
                    <a:pt x="101" y="26"/>
                    <a:pt x="104" y="23"/>
                    <a:pt x="104" y="23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9" y="17"/>
                    <a:pt x="100" y="16"/>
                  </a:cubicBezTo>
                  <a:cubicBezTo>
                    <a:pt x="102" y="14"/>
                    <a:pt x="98" y="12"/>
                    <a:pt x="98" y="12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3" y="5"/>
                    <a:pt x="81" y="5"/>
                  </a:cubicBezTo>
                  <a:cubicBezTo>
                    <a:pt x="80" y="6"/>
                    <a:pt x="79" y="3"/>
                    <a:pt x="79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7" y="6"/>
                    <a:pt x="80" y="8"/>
                  </a:cubicBezTo>
                  <a:cubicBezTo>
                    <a:pt x="83" y="11"/>
                    <a:pt x="87" y="8"/>
                    <a:pt x="87" y="8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2" y="19"/>
                    <a:pt x="91" y="18"/>
                  </a:cubicBezTo>
                  <a:cubicBezTo>
                    <a:pt x="89" y="17"/>
                    <a:pt x="87" y="17"/>
                    <a:pt x="85" y="15"/>
                  </a:cubicBezTo>
                  <a:cubicBezTo>
                    <a:pt x="84" y="13"/>
                    <a:pt x="81" y="13"/>
                    <a:pt x="79" y="14"/>
                  </a:cubicBezTo>
                  <a:cubicBezTo>
                    <a:pt x="76" y="16"/>
                    <a:pt x="81" y="22"/>
                    <a:pt x="82" y="23"/>
                  </a:cubicBezTo>
                  <a:cubicBezTo>
                    <a:pt x="83" y="24"/>
                    <a:pt x="87" y="29"/>
                    <a:pt x="87" y="29"/>
                  </a:cubicBezTo>
                  <a:cubicBezTo>
                    <a:pt x="87" y="29"/>
                    <a:pt x="84" y="30"/>
                    <a:pt x="83" y="31"/>
                  </a:cubicBezTo>
                  <a:cubicBezTo>
                    <a:pt x="82" y="32"/>
                    <a:pt x="83" y="34"/>
                    <a:pt x="82" y="37"/>
                  </a:cubicBezTo>
                  <a:cubicBezTo>
                    <a:pt x="82" y="41"/>
                    <a:pt x="78" y="43"/>
                    <a:pt x="78" y="43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80" y="38"/>
                    <a:pt x="80" y="34"/>
                  </a:cubicBezTo>
                  <a:cubicBezTo>
                    <a:pt x="80" y="31"/>
                    <a:pt x="75" y="38"/>
                    <a:pt x="75" y="38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69" y="22"/>
                    <a:pt x="68" y="21"/>
                  </a:cubicBezTo>
                  <a:cubicBezTo>
                    <a:pt x="68" y="20"/>
                    <a:pt x="72" y="19"/>
                    <a:pt x="72" y="19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68" y="10"/>
                    <a:pt x="64" y="10"/>
                  </a:cubicBezTo>
                  <a:cubicBezTo>
                    <a:pt x="60" y="11"/>
                    <a:pt x="65" y="14"/>
                    <a:pt x="65" y="14"/>
                  </a:cubicBezTo>
                  <a:cubicBezTo>
                    <a:pt x="65" y="14"/>
                    <a:pt x="63" y="13"/>
                    <a:pt x="61" y="13"/>
                  </a:cubicBezTo>
                  <a:cubicBezTo>
                    <a:pt x="60" y="13"/>
                    <a:pt x="59" y="13"/>
                    <a:pt x="61" y="16"/>
                  </a:cubicBezTo>
                  <a:cubicBezTo>
                    <a:pt x="62" y="20"/>
                    <a:pt x="63" y="21"/>
                    <a:pt x="62" y="21"/>
                  </a:cubicBezTo>
                  <a:cubicBezTo>
                    <a:pt x="61" y="22"/>
                    <a:pt x="60" y="20"/>
                    <a:pt x="59" y="18"/>
                  </a:cubicBezTo>
                  <a:cubicBezTo>
                    <a:pt x="58" y="15"/>
                    <a:pt x="56" y="13"/>
                    <a:pt x="53" y="14"/>
                  </a:cubicBezTo>
                  <a:cubicBezTo>
                    <a:pt x="50" y="16"/>
                    <a:pt x="53" y="21"/>
                    <a:pt x="53" y="22"/>
                  </a:cubicBezTo>
                  <a:cubicBezTo>
                    <a:pt x="55" y="24"/>
                    <a:pt x="52" y="24"/>
                    <a:pt x="52" y="24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0" y="23"/>
                    <a:pt x="47" y="21"/>
                  </a:cubicBezTo>
                  <a:cubicBezTo>
                    <a:pt x="45" y="20"/>
                    <a:pt x="45" y="29"/>
                    <a:pt x="48" y="32"/>
                  </a:cubicBezTo>
                  <a:cubicBezTo>
                    <a:pt x="51" y="36"/>
                    <a:pt x="58" y="36"/>
                    <a:pt x="58" y="36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5" y="41"/>
                    <a:pt x="46" y="37"/>
                  </a:cubicBezTo>
                  <a:cubicBezTo>
                    <a:pt x="46" y="34"/>
                    <a:pt x="38" y="23"/>
                    <a:pt x="38" y="23"/>
                  </a:cubicBezTo>
                  <a:cubicBezTo>
                    <a:pt x="38" y="23"/>
                    <a:pt x="35" y="26"/>
                    <a:pt x="35" y="29"/>
                  </a:cubicBezTo>
                  <a:cubicBezTo>
                    <a:pt x="35" y="32"/>
                    <a:pt x="38" y="37"/>
                    <a:pt x="38" y="3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41"/>
                    <a:pt x="36" y="43"/>
                    <a:pt x="36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3"/>
                    <a:pt x="32" y="39"/>
                    <a:pt x="32" y="38"/>
                  </a:cubicBezTo>
                  <a:cubicBezTo>
                    <a:pt x="32" y="37"/>
                    <a:pt x="30" y="38"/>
                    <a:pt x="30" y="36"/>
                  </a:cubicBezTo>
                  <a:cubicBezTo>
                    <a:pt x="30" y="34"/>
                    <a:pt x="30" y="31"/>
                    <a:pt x="27" y="30"/>
                  </a:cubicBezTo>
                  <a:cubicBezTo>
                    <a:pt x="24" y="29"/>
                    <a:pt x="23" y="33"/>
                    <a:pt x="22" y="34"/>
                  </a:cubicBezTo>
                  <a:cubicBezTo>
                    <a:pt x="20" y="35"/>
                    <a:pt x="18" y="35"/>
                    <a:pt x="17" y="36"/>
                  </a:cubicBezTo>
                  <a:cubicBezTo>
                    <a:pt x="16" y="37"/>
                    <a:pt x="19" y="37"/>
                    <a:pt x="23" y="38"/>
                  </a:cubicBezTo>
                  <a:cubicBezTo>
                    <a:pt x="25" y="38"/>
                    <a:pt x="25" y="41"/>
                    <a:pt x="26" y="42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6" y="48"/>
                    <a:pt x="30" y="49"/>
                  </a:cubicBezTo>
                  <a:cubicBezTo>
                    <a:pt x="33" y="51"/>
                    <a:pt x="36" y="48"/>
                    <a:pt x="41" y="49"/>
                  </a:cubicBezTo>
                  <a:cubicBezTo>
                    <a:pt x="45" y="50"/>
                    <a:pt x="46" y="52"/>
                    <a:pt x="48" y="52"/>
                  </a:cubicBezTo>
                  <a:cubicBezTo>
                    <a:pt x="49" y="52"/>
                    <a:pt x="51" y="48"/>
                    <a:pt x="51" y="48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6" y="66"/>
                    <a:pt x="77" y="68"/>
                  </a:cubicBezTo>
                  <a:cubicBezTo>
                    <a:pt x="78" y="70"/>
                    <a:pt x="77" y="71"/>
                    <a:pt x="77" y="7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64" y="75"/>
                    <a:pt x="58" y="76"/>
                  </a:cubicBezTo>
                  <a:cubicBezTo>
                    <a:pt x="50" y="76"/>
                    <a:pt x="56" y="79"/>
                    <a:pt x="56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8" y="86"/>
                    <a:pt x="60" y="85"/>
                    <a:pt x="60" y="85"/>
                  </a:cubicBezTo>
                  <a:cubicBezTo>
                    <a:pt x="60" y="85"/>
                    <a:pt x="61" y="90"/>
                    <a:pt x="62" y="90"/>
                  </a:cubicBezTo>
                  <a:cubicBezTo>
                    <a:pt x="64" y="90"/>
                    <a:pt x="69" y="87"/>
                    <a:pt x="69" y="87"/>
                  </a:cubicBezTo>
                  <a:cubicBezTo>
                    <a:pt x="69" y="87"/>
                    <a:pt x="72" y="86"/>
                    <a:pt x="73" y="89"/>
                  </a:cubicBezTo>
                  <a:cubicBezTo>
                    <a:pt x="74" y="92"/>
                    <a:pt x="66" y="93"/>
                    <a:pt x="66" y="93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0" y="96"/>
                    <a:pt x="59" y="92"/>
                    <a:pt x="59" y="92"/>
                  </a:cubicBezTo>
                  <a:cubicBezTo>
                    <a:pt x="59" y="92"/>
                    <a:pt x="58" y="91"/>
                    <a:pt x="57" y="92"/>
                  </a:cubicBezTo>
                  <a:cubicBezTo>
                    <a:pt x="55" y="92"/>
                    <a:pt x="55" y="89"/>
                    <a:pt x="51" y="86"/>
                  </a:cubicBezTo>
                  <a:cubicBezTo>
                    <a:pt x="48" y="84"/>
                    <a:pt x="45" y="87"/>
                    <a:pt x="45" y="87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0" y="85"/>
                    <a:pt x="38" y="85"/>
                  </a:cubicBezTo>
                  <a:cubicBezTo>
                    <a:pt x="36" y="85"/>
                    <a:pt x="36" y="84"/>
                    <a:pt x="35" y="82"/>
                  </a:cubicBezTo>
                  <a:cubicBezTo>
                    <a:pt x="34" y="81"/>
                    <a:pt x="33" y="83"/>
                    <a:pt x="31" y="85"/>
                  </a:cubicBezTo>
                  <a:cubicBezTo>
                    <a:pt x="29" y="87"/>
                    <a:pt x="30" y="83"/>
                    <a:pt x="31" y="83"/>
                  </a:cubicBezTo>
                  <a:cubicBezTo>
                    <a:pt x="32" y="82"/>
                    <a:pt x="32" y="80"/>
                    <a:pt x="30" y="80"/>
                  </a:cubicBezTo>
                  <a:cubicBezTo>
                    <a:pt x="28" y="79"/>
                    <a:pt x="28" y="83"/>
                    <a:pt x="26" y="83"/>
                  </a:cubicBezTo>
                  <a:cubicBezTo>
                    <a:pt x="24" y="83"/>
                    <a:pt x="25" y="81"/>
                    <a:pt x="25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16" y="81"/>
                    <a:pt x="14" y="81"/>
                  </a:cubicBezTo>
                  <a:cubicBezTo>
                    <a:pt x="12" y="80"/>
                    <a:pt x="13" y="76"/>
                    <a:pt x="9" y="76"/>
                  </a:cubicBezTo>
                  <a:cubicBezTo>
                    <a:pt x="4" y="76"/>
                    <a:pt x="3" y="81"/>
                    <a:pt x="4" y="84"/>
                  </a:cubicBezTo>
                  <a:cubicBezTo>
                    <a:pt x="4" y="89"/>
                    <a:pt x="8" y="90"/>
                    <a:pt x="10" y="90"/>
                  </a:cubicBezTo>
                  <a:cubicBezTo>
                    <a:pt x="12" y="90"/>
                    <a:pt x="11" y="87"/>
                    <a:pt x="13" y="86"/>
                  </a:cubicBezTo>
                  <a:cubicBezTo>
                    <a:pt x="15" y="86"/>
                    <a:pt x="16" y="89"/>
                    <a:pt x="17" y="90"/>
                  </a:cubicBezTo>
                  <a:cubicBezTo>
                    <a:pt x="18" y="90"/>
                    <a:pt x="19" y="89"/>
                    <a:pt x="19" y="89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3" y="98"/>
                    <a:pt x="33" y="97"/>
                    <a:pt x="34" y="97"/>
                  </a:cubicBezTo>
                  <a:cubicBezTo>
                    <a:pt x="36" y="98"/>
                    <a:pt x="35" y="99"/>
                    <a:pt x="36" y="100"/>
                  </a:cubicBezTo>
                  <a:cubicBezTo>
                    <a:pt x="38" y="101"/>
                    <a:pt x="40" y="99"/>
                    <a:pt x="41" y="100"/>
                  </a:cubicBezTo>
                  <a:cubicBezTo>
                    <a:pt x="43" y="102"/>
                    <a:pt x="41" y="103"/>
                    <a:pt x="41" y="103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36" y="122"/>
                    <a:pt x="36" y="124"/>
                    <a:pt x="39" y="124"/>
                  </a:cubicBezTo>
                  <a:cubicBezTo>
                    <a:pt x="40" y="124"/>
                    <a:pt x="42" y="122"/>
                    <a:pt x="42" y="122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8" y="125"/>
                    <a:pt x="48" y="125"/>
                    <a:pt x="48" y="125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2" y="125"/>
                    <a:pt x="38" y="128"/>
                    <a:pt x="38" y="128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3" y="134"/>
                    <a:pt x="33" y="134"/>
                    <a:pt x="33" y="134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3" y="136"/>
                    <a:pt x="45" y="133"/>
                    <a:pt x="49" y="136"/>
                  </a:cubicBezTo>
                  <a:cubicBezTo>
                    <a:pt x="52" y="137"/>
                    <a:pt x="50" y="140"/>
                    <a:pt x="50" y="140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7" y="137"/>
                    <a:pt x="44" y="138"/>
                    <a:pt x="41" y="138"/>
                  </a:cubicBezTo>
                  <a:cubicBezTo>
                    <a:pt x="38" y="138"/>
                    <a:pt x="36" y="138"/>
                    <a:pt x="36" y="141"/>
                  </a:cubicBezTo>
                  <a:cubicBezTo>
                    <a:pt x="35" y="143"/>
                    <a:pt x="38" y="147"/>
                    <a:pt x="38" y="147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27" y="146"/>
                    <a:pt x="27" y="146"/>
                    <a:pt x="27" y="146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0"/>
                    <a:pt x="22" y="149"/>
                    <a:pt x="19" y="149"/>
                  </a:cubicBezTo>
                  <a:cubicBezTo>
                    <a:pt x="17" y="148"/>
                    <a:pt x="15" y="149"/>
                    <a:pt x="14" y="149"/>
                  </a:cubicBezTo>
                  <a:cubicBezTo>
                    <a:pt x="12" y="149"/>
                    <a:pt x="10" y="147"/>
                    <a:pt x="10" y="147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9" y="140"/>
                    <a:pt x="9" y="140"/>
                    <a:pt x="9" y="140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2" y="159"/>
                    <a:pt x="13" y="160"/>
                  </a:cubicBezTo>
                  <a:cubicBezTo>
                    <a:pt x="14" y="161"/>
                    <a:pt x="19" y="163"/>
                    <a:pt x="19" y="163"/>
                  </a:cubicBezTo>
                  <a:cubicBezTo>
                    <a:pt x="19" y="163"/>
                    <a:pt x="24" y="163"/>
                    <a:pt x="26" y="164"/>
                  </a:cubicBezTo>
                  <a:cubicBezTo>
                    <a:pt x="28" y="165"/>
                    <a:pt x="28" y="168"/>
                    <a:pt x="28" y="168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42" y="165"/>
                    <a:pt x="44" y="166"/>
                  </a:cubicBezTo>
                  <a:cubicBezTo>
                    <a:pt x="46" y="168"/>
                    <a:pt x="41" y="169"/>
                    <a:pt x="41" y="169"/>
                  </a:cubicBezTo>
                  <a:cubicBezTo>
                    <a:pt x="41" y="169"/>
                    <a:pt x="42" y="170"/>
                    <a:pt x="43" y="172"/>
                  </a:cubicBezTo>
                  <a:cubicBezTo>
                    <a:pt x="43" y="174"/>
                    <a:pt x="43" y="175"/>
                    <a:pt x="45" y="177"/>
                  </a:cubicBezTo>
                  <a:cubicBezTo>
                    <a:pt x="47" y="178"/>
                    <a:pt x="47" y="181"/>
                    <a:pt x="47" y="181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1" y="183"/>
                    <a:pt x="50" y="183"/>
                  </a:cubicBezTo>
                  <a:cubicBezTo>
                    <a:pt x="49" y="184"/>
                    <a:pt x="49" y="184"/>
                    <a:pt x="49" y="184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1" y="189"/>
                    <a:pt x="51" y="189"/>
                    <a:pt x="51" y="189"/>
                  </a:cubicBezTo>
                  <a:cubicBezTo>
                    <a:pt x="51" y="194"/>
                    <a:pt x="51" y="194"/>
                    <a:pt x="51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53" y="196"/>
                    <a:pt x="53" y="196"/>
                    <a:pt x="53" y="196"/>
                  </a:cubicBezTo>
                  <a:cubicBezTo>
                    <a:pt x="53" y="196"/>
                    <a:pt x="55" y="202"/>
                    <a:pt x="56" y="204"/>
                  </a:cubicBezTo>
                  <a:cubicBezTo>
                    <a:pt x="58" y="206"/>
                    <a:pt x="60" y="205"/>
                    <a:pt x="61" y="205"/>
                  </a:cubicBezTo>
                  <a:cubicBezTo>
                    <a:pt x="62" y="205"/>
                    <a:pt x="64" y="208"/>
                    <a:pt x="65" y="208"/>
                  </a:cubicBezTo>
                  <a:cubicBezTo>
                    <a:pt x="66" y="209"/>
                    <a:pt x="67" y="208"/>
                    <a:pt x="67" y="208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7" y="211"/>
                    <a:pt x="72" y="216"/>
                    <a:pt x="74" y="218"/>
                  </a:cubicBezTo>
                  <a:cubicBezTo>
                    <a:pt x="76" y="220"/>
                    <a:pt x="79" y="224"/>
                    <a:pt x="79" y="224"/>
                  </a:cubicBezTo>
                  <a:cubicBezTo>
                    <a:pt x="79" y="224"/>
                    <a:pt x="83" y="224"/>
                    <a:pt x="85" y="226"/>
                  </a:cubicBezTo>
                  <a:cubicBezTo>
                    <a:pt x="89" y="229"/>
                    <a:pt x="91" y="229"/>
                    <a:pt x="91" y="229"/>
                  </a:cubicBezTo>
                  <a:cubicBezTo>
                    <a:pt x="91" y="229"/>
                    <a:pt x="99" y="232"/>
                    <a:pt x="106" y="233"/>
                  </a:cubicBezTo>
                  <a:cubicBezTo>
                    <a:pt x="112" y="235"/>
                    <a:pt x="118" y="227"/>
                    <a:pt x="118" y="227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0" y="224"/>
                    <a:pt x="120" y="224"/>
                    <a:pt x="120" y="224"/>
                  </a:cubicBezTo>
                  <a:cubicBezTo>
                    <a:pt x="120" y="224"/>
                    <a:pt x="120" y="221"/>
                    <a:pt x="123" y="221"/>
                  </a:cubicBezTo>
                  <a:cubicBezTo>
                    <a:pt x="127" y="221"/>
                    <a:pt x="126" y="224"/>
                    <a:pt x="126" y="224"/>
                  </a:cubicBezTo>
                  <a:cubicBezTo>
                    <a:pt x="133" y="223"/>
                    <a:pt x="133" y="223"/>
                    <a:pt x="133" y="223"/>
                  </a:cubicBezTo>
                  <a:cubicBezTo>
                    <a:pt x="133" y="225"/>
                    <a:pt x="133" y="225"/>
                    <a:pt x="133" y="225"/>
                  </a:cubicBezTo>
                  <a:cubicBezTo>
                    <a:pt x="142" y="225"/>
                    <a:pt x="142" y="225"/>
                    <a:pt x="142" y="225"/>
                  </a:cubicBezTo>
                  <a:cubicBezTo>
                    <a:pt x="144" y="225"/>
                    <a:pt x="148" y="228"/>
                    <a:pt x="148" y="228"/>
                  </a:cubicBezTo>
                  <a:cubicBezTo>
                    <a:pt x="153" y="224"/>
                    <a:pt x="153" y="224"/>
                    <a:pt x="153" y="224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61" y="226"/>
                    <a:pt x="161" y="226"/>
                    <a:pt x="161" y="22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9"/>
                    <a:pt x="172" y="222"/>
                    <a:pt x="177" y="220"/>
                  </a:cubicBezTo>
                  <a:cubicBezTo>
                    <a:pt x="181" y="219"/>
                    <a:pt x="193" y="218"/>
                    <a:pt x="193" y="218"/>
                  </a:cubicBezTo>
                  <a:cubicBezTo>
                    <a:pt x="192" y="216"/>
                    <a:pt x="192" y="216"/>
                    <a:pt x="192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195" y="217"/>
                    <a:pt x="195" y="217"/>
                    <a:pt x="195" y="217"/>
                  </a:cubicBezTo>
                  <a:cubicBezTo>
                    <a:pt x="200" y="217"/>
                    <a:pt x="200" y="217"/>
                    <a:pt x="200" y="217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7" y="219"/>
                    <a:pt x="207" y="219"/>
                    <a:pt x="207" y="219"/>
                  </a:cubicBezTo>
                  <a:cubicBezTo>
                    <a:pt x="203" y="216"/>
                    <a:pt x="203" y="216"/>
                    <a:pt x="203" y="216"/>
                  </a:cubicBezTo>
                  <a:cubicBezTo>
                    <a:pt x="206" y="211"/>
                    <a:pt x="206" y="211"/>
                    <a:pt x="206" y="211"/>
                  </a:cubicBezTo>
                  <a:cubicBezTo>
                    <a:pt x="206" y="211"/>
                    <a:pt x="207" y="215"/>
                    <a:pt x="209" y="216"/>
                  </a:cubicBezTo>
                  <a:cubicBezTo>
                    <a:pt x="210" y="217"/>
                    <a:pt x="208" y="218"/>
                    <a:pt x="208" y="218"/>
                  </a:cubicBezTo>
                  <a:cubicBezTo>
                    <a:pt x="208" y="218"/>
                    <a:pt x="210" y="217"/>
                    <a:pt x="212" y="218"/>
                  </a:cubicBezTo>
                  <a:cubicBezTo>
                    <a:pt x="213" y="219"/>
                    <a:pt x="212" y="222"/>
                    <a:pt x="212" y="222"/>
                  </a:cubicBezTo>
                  <a:cubicBezTo>
                    <a:pt x="214" y="222"/>
                    <a:pt x="214" y="222"/>
                    <a:pt x="214" y="222"/>
                  </a:cubicBezTo>
                  <a:cubicBezTo>
                    <a:pt x="216" y="221"/>
                    <a:pt x="216" y="219"/>
                    <a:pt x="216" y="219"/>
                  </a:cubicBezTo>
                  <a:cubicBezTo>
                    <a:pt x="216" y="219"/>
                    <a:pt x="221" y="218"/>
                    <a:pt x="223" y="217"/>
                  </a:cubicBezTo>
                  <a:cubicBezTo>
                    <a:pt x="225" y="216"/>
                    <a:pt x="226" y="212"/>
                    <a:pt x="228" y="213"/>
                  </a:cubicBezTo>
                  <a:cubicBezTo>
                    <a:pt x="229" y="213"/>
                    <a:pt x="227" y="216"/>
                    <a:pt x="227" y="216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40" y="207"/>
                    <a:pt x="240" y="207"/>
                    <a:pt x="240" y="207"/>
                  </a:cubicBezTo>
                  <a:cubicBezTo>
                    <a:pt x="236" y="208"/>
                    <a:pt x="236" y="208"/>
                    <a:pt x="236" y="208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3" y="206"/>
                    <a:pt x="243" y="206"/>
                    <a:pt x="243" y="206"/>
                  </a:cubicBezTo>
                  <a:cubicBezTo>
                    <a:pt x="245" y="204"/>
                    <a:pt x="245" y="204"/>
                    <a:pt x="245" y="204"/>
                  </a:cubicBezTo>
                  <a:cubicBezTo>
                    <a:pt x="243" y="201"/>
                    <a:pt x="243" y="201"/>
                    <a:pt x="243" y="201"/>
                  </a:cubicBezTo>
                  <a:cubicBezTo>
                    <a:pt x="243" y="201"/>
                    <a:pt x="242" y="193"/>
                    <a:pt x="243" y="194"/>
                  </a:cubicBezTo>
                  <a:cubicBezTo>
                    <a:pt x="244" y="194"/>
                    <a:pt x="244" y="199"/>
                    <a:pt x="245" y="201"/>
                  </a:cubicBezTo>
                  <a:cubicBezTo>
                    <a:pt x="245" y="204"/>
                    <a:pt x="254" y="202"/>
                    <a:pt x="254" y="202"/>
                  </a:cubicBezTo>
                  <a:cubicBezTo>
                    <a:pt x="254" y="200"/>
                    <a:pt x="254" y="200"/>
                    <a:pt x="254" y="200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258" y="195"/>
                    <a:pt x="258" y="195"/>
                    <a:pt x="258" y="195"/>
                  </a:cubicBezTo>
                  <a:cubicBezTo>
                    <a:pt x="262" y="197"/>
                    <a:pt x="262" y="197"/>
                    <a:pt x="262" y="197"/>
                  </a:cubicBezTo>
                  <a:cubicBezTo>
                    <a:pt x="264" y="195"/>
                    <a:pt x="264" y="195"/>
                    <a:pt x="264" y="195"/>
                  </a:cubicBezTo>
                  <a:cubicBezTo>
                    <a:pt x="258" y="190"/>
                    <a:pt x="258" y="190"/>
                    <a:pt x="258" y="190"/>
                  </a:cubicBezTo>
                  <a:cubicBezTo>
                    <a:pt x="259" y="189"/>
                    <a:pt x="261" y="191"/>
                    <a:pt x="262" y="192"/>
                  </a:cubicBezTo>
                  <a:cubicBezTo>
                    <a:pt x="263" y="193"/>
                    <a:pt x="268" y="193"/>
                    <a:pt x="268" y="193"/>
                  </a:cubicBezTo>
                  <a:cubicBezTo>
                    <a:pt x="268" y="191"/>
                    <a:pt x="268" y="191"/>
                    <a:pt x="268" y="191"/>
                  </a:cubicBezTo>
                  <a:cubicBezTo>
                    <a:pt x="268" y="191"/>
                    <a:pt x="265" y="191"/>
                    <a:pt x="264" y="190"/>
                  </a:cubicBezTo>
                  <a:cubicBezTo>
                    <a:pt x="263" y="190"/>
                    <a:pt x="264" y="189"/>
                    <a:pt x="263" y="187"/>
                  </a:cubicBezTo>
                  <a:cubicBezTo>
                    <a:pt x="263" y="186"/>
                    <a:pt x="257" y="181"/>
                    <a:pt x="257" y="181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63" y="183"/>
                    <a:pt x="263" y="183"/>
                    <a:pt x="263" y="183"/>
                  </a:cubicBezTo>
                  <a:cubicBezTo>
                    <a:pt x="263" y="183"/>
                    <a:pt x="265" y="189"/>
                    <a:pt x="269" y="190"/>
                  </a:cubicBezTo>
                  <a:cubicBezTo>
                    <a:pt x="273" y="191"/>
                    <a:pt x="273" y="187"/>
                    <a:pt x="273" y="187"/>
                  </a:cubicBezTo>
                  <a:cubicBezTo>
                    <a:pt x="276" y="187"/>
                    <a:pt x="276" y="187"/>
                    <a:pt x="276" y="187"/>
                  </a:cubicBezTo>
                  <a:cubicBezTo>
                    <a:pt x="276" y="184"/>
                    <a:pt x="276" y="184"/>
                    <a:pt x="276" y="184"/>
                  </a:cubicBezTo>
                  <a:cubicBezTo>
                    <a:pt x="278" y="181"/>
                    <a:pt x="278" y="181"/>
                    <a:pt x="278" y="181"/>
                  </a:cubicBezTo>
                  <a:cubicBezTo>
                    <a:pt x="277" y="180"/>
                    <a:pt x="277" y="180"/>
                    <a:pt x="277" y="180"/>
                  </a:cubicBezTo>
                  <a:cubicBezTo>
                    <a:pt x="273" y="184"/>
                    <a:pt x="273" y="184"/>
                    <a:pt x="273" y="184"/>
                  </a:cubicBezTo>
                  <a:cubicBezTo>
                    <a:pt x="272" y="183"/>
                    <a:pt x="272" y="183"/>
                    <a:pt x="272" y="183"/>
                  </a:cubicBezTo>
                  <a:cubicBezTo>
                    <a:pt x="273" y="181"/>
                    <a:pt x="273" y="181"/>
                    <a:pt x="273" y="181"/>
                  </a:cubicBezTo>
                  <a:cubicBezTo>
                    <a:pt x="272" y="180"/>
                    <a:pt x="272" y="180"/>
                    <a:pt x="272" y="180"/>
                  </a:cubicBezTo>
                  <a:cubicBezTo>
                    <a:pt x="276" y="178"/>
                    <a:pt x="276" y="178"/>
                    <a:pt x="276" y="178"/>
                  </a:cubicBezTo>
                  <a:cubicBezTo>
                    <a:pt x="276" y="177"/>
                    <a:pt x="276" y="177"/>
                    <a:pt x="276" y="177"/>
                  </a:cubicBezTo>
                  <a:cubicBezTo>
                    <a:pt x="271" y="177"/>
                    <a:pt x="271" y="177"/>
                    <a:pt x="271" y="177"/>
                  </a:cubicBezTo>
                  <a:cubicBezTo>
                    <a:pt x="269" y="174"/>
                    <a:pt x="269" y="174"/>
                    <a:pt x="269" y="174"/>
                  </a:cubicBezTo>
                  <a:cubicBezTo>
                    <a:pt x="274" y="175"/>
                    <a:pt x="274" y="175"/>
                    <a:pt x="274" y="175"/>
                  </a:cubicBezTo>
                  <a:cubicBezTo>
                    <a:pt x="274" y="175"/>
                    <a:pt x="278" y="176"/>
                    <a:pt x="278" y="173"/>
                  </a:cubicBezTo>
                  <a:cubicBezTo>
                    <a:pt x="279" y="170"/>
                    <a:pt x="269" y="170"/>
                    <a:pt x="269" y="170"/>
                  </a:cubicBezTo>
                  <a:cubicBezTo>
                    <a:pt x="268" y="169"/>
                    <a:pt x="268" y="169"/>
                    <a:pt x="268" y="169"/>
                  </a:cubicBezTo>
                  <a:cubicBezTo>
                    <a:pt x="274" y="169"/>
                    <a:pt x="274" y="169"/>
                    <a:pt x="274" y="169"/>
                  </a:cubicBezTo>
                  <a:cubicBezTo>
                    <a:pt x="276" y="169"/>
                    <a:pt x="275" y="165"/>
                    <a:pt x="275" y="165"/>
                  </a:cubicBezTo>
                  <a:cubicBezTo>
                    <a:pt x="275" y="165"/>
                    <a:pt x="277" y="166"/>
                    <a:pt x="279" y="166"/>
                  </a:cubicBezTo>
                  <a:cubicBezTo>
                    <a:pt x="281" y="166"/>
                    <a:pt x="281" y="162"/>
                    <a:pt x="281" y="162"/>
                  </a:cubicBezTo>
                  <a:cubicBezTo>
                    <a:pt x="284" y="160"/>
                    <a:pt x="284" y="160"/>
                    <a:pt x="284" y="160"/>
                  </a:cubicBezTo>
                  <a:cubicBezTo>
                    <a:pt x="285" y="160"/>
                    <a:pt x="284" y="155"/>
                    <a:pt x="284" y="155"/>
                  </a:cubicBezTo>
                  <a:close/>
                  <a:moveTo>
                    <a:pt x="61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1" y="51"/>
                  </a:lnTo>
                  <a:close/>
                  <a:moveTo>
                    <a:pt x="48" y="210"/>
                  </a:moveTo>
                  <a:cubicBezTo>
                    <a:pt x="52" y="208"/>
                    <a:pt x="52" y="208"/>
                    <a:pt x="52" y="208"/>
                  </a:cubicBezTo>
                  <a:cubicBezTo>
                    <a:pt x="50" y="205"/>
                    <a:pt x="50" y="205"/>
                    <a:pt x="50" y="205"/>
                  </a:cubicBezTo>
                  <a:lnTo>
                    <a:pt x="48" y="210"/>
                  </a:lnTo>
                  <a:close/>
                  <a:moveTo>
                    <a:pt x="122" y="222"/>
                  </a:moveTo>
                  <a:cubicBezTo>
                    <a:pt x="122" y="222"/>
                    <a:pt x="121" y="225"/>
                    <a:pt x="124" y="224"/>
                  </a:cubicBezTo>
                  <a:cubicBezTo>
                    <a:pt x="126" y="224"/>
                    <a:pt x="125" y="221"/>
                    <a:pt x="122" y="2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Färöer" descr="© INSCALE GmbH, 05.05.2010&#10;http://www.presentationload.com/">
              <a:extLst>
                <a:ext uri="{FF2B5EF4-FFF2-40B4-BE49-F238E27FC236}">
                  <a16:creationId xmlns:a16="http://schemas.microsoft.com/office/drawing/2014/main" id="{C77D21BE-99F6-E342-B64C-CD873B8C1C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13677" y="2531052"/>
              <a:ext cx="123768" cy="146871"/>
            </a:xfrm>
            <a:custGeom>
              <a:avLst/>
              <a:gdLst/>
              <a:ahLst/>
              <a:cxnLst>
                <a:cxn ang="0">
                  <a:pos x="7" y="13"/>
                </a:cxn>
                <a:cxn ang="0">
                  <a:pos x="0" y="11"/>
                </a:cxn>
                <a:cxn ang="0">
                  <a:pos x="32" y="30"/>
                </a:cxn>
                <a:cxn ang="0">
                  <a:pos x="29" y="30"/>
                </a:cxn>
                <a:cxn ang="0">
                  <a:pos x="21" y="22"/>
                </a:cxn>
                <a:cxn ang="0">
                  <a:pos x="21" y="26"/>
                </a:cxn>
                <a:cxn ang="0">
                  <a:pos x="19" y="40"/>
                </a:cxn>
                <a:cxn ang="0">
                  <a:pos x="21" y="37"/>
                </a:cxn>
                <a:cxn ang="0">
                  <a:pos x="20" y="30"/>
                </a:cxn>
                <a:cxn ang="0">
                  <a:pos x="23" y="34"/>
                </a:cxn>
                <a:cxn ang="0">
                  <a:pos x="28" y="36"/>
                </a:cxn>
                <a:cxn ang="0">
                  <a:pos x="20" y="30"/>
                </a:cxn>
                <a:cxn ang="0">
                  <a:pos x="19" y="16"/>
                </a:cxn>
                <a:cxn ang="0">
                  <a:pos x="14" y="13"/>
                </a:cxn>
                <a:cxn ang="0">
                  <a:pos x="10" y="11"/>
                </a:cxn>
                <a:cxn ang="0">
                  <a:pos x="11" y="17"/>
                </a:cxn>
                <a:cxn ang="0">
                  <a:pos x="27" y="21"/>
                </a:cxn>
                <a:cxn ang="0">
                  <a:pos x="23" y="11"/>
                </a:cxn>
                <a:cxn ang="0">
                  <a:pos x="19" y="6"/>
                </a:cxn>
                <a:cxn ang="0">
                  <a:pos x="22" y="16"/>
                </a:cxn>
                <a:cxn ang="0">
                  <a:pos x="27" y="30"/>
                </a:cxn>
                <a:cxn ang="0">
                  <a:pos x="27" y="21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4" y="14"/>
                </a:cxn>
                <a:cxn ang="0">
                  <a:pos x="32" y="9"/>
                </a:cxn>
                <a:cxn ang="0">
                  <a:pos x="28" y="6"/>
                </a:cxn>
                <a:cxn ang="0">
                  <a:pos x="29" y="2"/>
                </a:cxn>
                <a:cxn ang="0">
                  <a:pos x="24" y="10"/>
                </a:cxn>
                <a:cxn ang="0">
                  <a:pos x="31" y="14"/>
                </a:cxn>
                <a:cxn ang="0">
                  <a:pos x="30" y="20"/>
                </a:cxn>
                <a:cxn ang="0">
                  <a:pos x="35" y="18"/>
                </a:cxn>
                <a:cxn ang="0">
                  <a:pos x="31" y="14"/>
                </a:cxn>
                <a:cxn ang="0">
                  <a:pos x="38" y="10"/>
                </a:cxn>
                <a:cxn ang="0">
                  <a:pos x="37" y="14"/>
                </a:cxn>
                <a:cxn ang="0">
                  <a:pos x="42" y="13"/>
                </a:cxn>
                <a:cxn ang="0">
                  <a:pos x="38" y="5"/>
                </a:cxn>
                <a:cxn ang="0">
                  <a:pos x="44" y="9"/>
                </a:cxn>
                <a:cxn ang="0">
                  <a:pos x="42" y="1"/>
                </a:cxn>
                <a:cxn ang="0">
                  <a:pos x="38" y="1"/>
                </a:cxn>
                <a:cxn ang="0">
                  <a:pos x="36" y="8"/>
                </a:cxn>
                <a:cxn ang="0">
                  <a:pos x="38" y="1"/>
                </a:cxn>
                <a:cxn ang="0">
                  <a:pos x="32" y="2"/>
                </a:cxn>
                <a:cxn ang="0">
                  <a:pos x="34" y="2"/>
                </a:cxn>
                <a:cxn ang="0">
                  <a:pos x="45" y="14"/>
                </a:cxn>
                <a:cxn ang="0">
                  <a:pos x="47" y="11"/>
                </a:cxn>
                <a:cxn ang="0">
                  <a:pos x="48" y="9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16" y="49"/>
                </a:cxn>
                <a:cxn ang="0">
                  <a:pos x="14" y="45"/>
                </a:cxn>
                <a:cxn ang="0">
                  <a:pos x="13" y="55"/>
                </a:cxn>
                <a:cxn ang="0">
                  <a:pos x="18" y="62"/>
                </a:cxn>
                <a:cxn ang="0">
                  <a:pos x="17" y="57"/>
                </a:cxn>
                <a:cxn ang="0">
                  <a:pos x="19" y="53"/>
                </a:cxn>
              </a:cxnLst>
              <a:rect l="0" t="0" r="r" b="b"/>
              <a:pathLst>
                <a:path w="51" h="62">
                  <a:moveTo>
                    <a:pt x="0" y="11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1"/>
                  </a:lnTo>
                  <a:close/>
                  <a:moveTo>
                    <a:pt x="29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30"/>
                  </a:lnTo>
                  <a:close/>
                  <a:moveTo>
                    <a:pt x="22" y="27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2" y="27"/>
                  </a:lnTo>
                  <a:close/>
                  <a:moveTo>
                    <a:pt x="19" y="40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7"/>
                    <a:pt x="21" y="37"/>
                    <a:pt x="21" y="37"/>
                  </a:cubicBezTo>
                  <a:lnTo>
                    <a:pt x="19" y="40"/>
                  </a:lnTo>
                  <a:close/>
                  <a:moveTo>
                    <a:pt x="20" y="30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7" y="34"/>
                    <a:pt x="24" y="32"/>
                  </a:cubicBezTo>
                  <a:cubicBezTo>
                    <a:pt x="23" y="31"/>
                    <a:pt x="20" y="30"/>
                    <a:pt x="20" y="30"/>
                  </a:cubicBezTo>
                  <a:close/>
                  <a:moveTo>
                    <a:pt x="15" y="20"/>
                  </a:moveTo>
                  <a:cubicBezTo>
                    <a:pt x="18" y="19"/>
                    <a:pt x="19" y="16"/>
                    <a:pt x="19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2" y="13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2" y="20"/>
                    <a:pt x="15" y="20"/>
                  </a:cubicBezTo>
                  <a:close/>
                  <a:moveTo>
                    <a:pt x="27" y="21"/>
                  </a:moveTo>
                  <a:cubicBezTo>
                    <a:pt x="27" y="21"/>
                    <a:pt x="28" y="19"/>
                    <a:pt x="27" y="18"/>
                  </a:cubicBezTo>
                  <a:cubicBezTo>
                    <a:pt x="26" y="17"/>
                    <a:pt x="23" y="11"/>
                    <a:pt x="23" y="11"/>
                  </a:cubicBezTo>
                  <a:cubicBezTo>
                    <a:pt x="23" y="11"/>
                    <a:pt x="23" y="3"/>
                    <a:pt x="21" y="3"/>
                  </a:cubicBezTo>
                  <a:cubicBezTo>
                    <a:pt x="20" y="3"/>
                    <a:pt x="19" y="6"/>
                    <a:pt x="19" y="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4"/>
                    <a:pt x="22" y="13"/>
                    <a:pt x="22" y="16"/>
                  </a:cubicBezTo>
                  <a:cubicBezTo>
                    <a:pt x="22" y="19"/>
                    <a:pt x="23" y="25"/>
                    <a:pt x="24" y="26"/>
                  </a:cubicBezTo>
                  <a:cubicBezTo>
                    <a:pt x="26" y="26"/>
                    <a:pt x="27" y="30"/>
                    <a:pt x="27" y="30"/>
                  </a:cubicBezTo>
                  <a:cubicBezTo>
                    <a:pt x="27" y="30"/>
                    <a:pt x="29" y="26"/>
                    <a:pt x="29" y="24"/>
                  </a:cubicBezTo>
                  <a:cubicBezTo>
                    <a:pt x="28" y="22"/>
                    <a:pt x="27" y="21"/>
                    <a:pt x="27" y="21"/>
                  </a:cubicBezTo>
                  <a:close/>
                  <a:moveTo>
                    <a:pt x="28" y="13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28" y="13"/>
                  </a:lnTo>
                  <a:close/>
                  <a:moveTo>
                    <a:pt x="31" y="14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1" y="14"/>
                  </a:lnTo>
                  <a:close/>
                  <a:moveTo>
                    <a:pt x="38" y="5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9" y="5"/>
                    <a:pt x="39" y="5"/>
                    <a:pt x="39" y="5"/>
                  </a:cubicBezTo>
                  <a:lnTo>
                    <a:pt x="38" y="5"/>
                  </a:lnTo>
                  <a:close/>
                  <a:moveTo>
                    <a:pt x="43" y="8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1"/>
                    <a:pt x="42" y="1"/>
                    <a:pt x="42" y="1"/>
                  </a:cubicBezTo>
                  <a:lnTo>
                    <a:pt x="43" y="8"/>
                  </a:lnTo>
                  <a:close/>
                  <a:moveTo>
                    <a:pt x="38" y="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8" y="1"/>
                  </a:lnTo>
                  <a:close/>
                  <a:moveTo>
                    <a:pt x="34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4" y="9"/>
                    <a:pt x="34" y="9"/>
                    <a:pt x="34" y="9"/>
                  </a:cubicBezTo>
                  <a:lnTo>
                    <a:pt x="34" y="2"/>
                  </a:lnTo>
                  <a:close/>
                  <a:moveTo>
                    <a:pt x="45" y="11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45" y="11"/>
                  </a:lnTo>
                  <a:close/>
                  <a:moveTo>
                    <a:pt x="48" y="5"/>
                  </a:moveTo>
                  <a:cubicBezTo>
                    <a:pt x="45" y="6"/>
                    <a:pt x="48" y="7"/>
                    <a:pt x="48" y="7"/>
                  </a:cubicBezTo>
                  <a:cubicBezTo>
                    <a:pt x="50" y="7"/>
                    <a:pt x="51" y="4"/>
                    <a:pt x="48" y="5"/>
                  </a:cubicBezTo>
                  <a:close/>
                  <a:moveTo>
                    <a:pt x="20" y="51"/>
                  </a:moveTo>
                  <a:cubicBezTo>
                    <a:pt x="18" y="50"/>
                    <a:pt x="16" y="50"/>
                    <a:pt x="16" y="49"/>
                  </a:cubicBezTo>
                  <a:cubicBezTo>
                    <a:pt x="16" y="48"/>
                    <a:pt x="17" y="47"/>
                    <a:pt x="17" y="46"/>
                  </a:cubicBezTo>
                  <a:cubicBezTo>
                    <a:pt x="17" y="45"/>
                    <a:pt x="15" y="42"/>
                    <a:pt x="14" y="45"/>
                  </a:cubicBezTo>
                  <a:cubicBezTo>
                    <a:pt x="13" y="47"/>
                    <a:pt x="14" y="53"/>
                    <a:pt x="14" y="53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1" y="53"/>
                    <a:pt x="20" y="5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" name="Georgien" descr="© INSCALE GmbH, 05.05.2010&#10;http://www.presentationload.com/">
              <a:extLst>
                <a:ext uri="{FF2B5EF4-FFF2-40B4-BE49-F238E27FC236}">
                  <a16:creationId xmlns:a16="http://schemas.microsoft.com/office/drawing/2014/main" id="{956358CE-417E-9643-A5AF-F3643670F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1069" y="4836447"/>
              <a:ext cx="872980" cy="364705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" name="Armenien" descr="© INSCALE GmbH, 05.05.2010&#10;http://www.presentationload.com/">
              <a:extLst>
                <a:ext uri="{FF2B5EF4-FFF2-40B4-BE49-F238E27FC236}">
                  <a16:creationId xmlns:a16="http://schemas.microsoft.com/office/drawing/2014/main" id="{57C09820-4D4F-3E41-AF2B-78E21DF7BB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44295" y="5046029"/>
              <a:ext cx="506627" cy="282191"/>
            </a:xfrm>
            <a:custGeom>
              <a:avLst/>
              <a:gdLst/>
              <a:ahLst/>
              <a:cxnLst>
                <a:cxn ang="0">
                  <a:pos x="103" y="103"/>
                </a:cxn>
                <a:cxn ang="0">
                  <a:pos x="0" y="47"/>
                </a:cxn>
                <a:cxn ang="0">
                  <a:pos x="207" y="104"/>
                </a:cxn>
                <a:cxn ang="0">
                  <a:pos x="196" y="91"/>
                </a:cxn>
                <a:cxn ang="0">
                  <a:pos x="198" y="83"/>
                </a:cxn>
                <a:cxn ang="0">
                  <a:pos x="190" y="74"/>
                </a:cxn>
                <a:cxn ang="0">
                  <a:pos x="174" y="74"/>
                </a:cxn>
                <a:cxn ang="0">
                  <a:pos x="149" y="70"/>
                </a:cxn>
                <a:cxn ang="0">
                  <a:pos x="133" y="66"/>
                </a:cxn>
                <a:cxn ang="0">
                  <a:pos x="142" y="41"/>
                </a:cxn>
                <a:cxn ang="0">
                  <a:pos x="104" y="35"/>
                </a:cxn>
                <a:cxn ang="0">
                  <a:pos x="109" y="13"/>
                </a:cxn>
                <a:cxn ang="0">
                  <a:pos x="96" y="9"/>
                </a:cxn>
                <a:cxn ang="0">
                  <a:pos x="88" y="13"/>
                </a:cxn>
                <a:cxn ang="0">
                  <a:pos x="82" y="11"/>
                </a:cxn>
                <a:cxn ang="0">
                  <a:pos x="81" y="5"/>
                </a:cxn>
                <a:cxn ang="0">
                  <a:pos x="66" y="5"/>
                </a:cxn>
                <a:cxn ang="0">
                  <a:pos x="57" y="8"/>
                </a:cxn>
                <a:cxn ang="0">
                  <a:pos x="43" y="24"/>
                </a:cxn>
                <a:cxn ang="0">
                  <a:pos x="28" y="29"/>
                </a:cxn>
                <a:cxn ang="0">
                  <a:pos x="16" y="40"/>
                </a:cxn>
                <a:cxn ang="0">
                  <a:pos x="1" y="49"/>
                </a:cxn>
                <a:cxn ang="0">
                  <a:pos x="22" y="60"/>
                </a:cxn>
                <a:cxn ang="0">
                  <a:pos x="59" y="103"/>
                </a:cxn>
                <a:cxn ang="0">
                  <a:pos x="103" y="103"/>
                </a:cxn>
                <a:cxn ang="0">
                  <a:pos x="125" y="101"/>
                </a:cxn>
                <a:cxn ang="0">
                  <a:pos x="130" y="97"/>
                </a:cxn>
                <a:cxn ang="0">
                  <a:pos x="144" y="97"/>
                </a:cxn>
                <a:cxn ang="0">
                  <a:pos x="161" y="99"/>
                </a:cxn>
                <a:cxn ang="0">
                  <a:pos x="177" y="105"/>
                </a:cxn>
                <a:cxn ang="0">
                  <a:pos x="201" y="112"/>
                </a:cxn>
                <a:cxn ang="0">
                  <a:pos x="212" y="106"/>
                </a:cxn>
              </a:cxnLst>
              <a:rect l="0" t="0" r="r" b="b"/>
              <a:pathLst>
                <a:path w="212" h="119">
                  <a:moveTo>
                    <a:pt x="103" y="103"/>
                  </a:moveTo>
                  <a:cubicBezTo>
                    <a:pt x="103" y="103"/>
                    <a:pt x="103" y="103"/>
                    <a:pt x="103" y="103"/>
                  </a:cubicBezTo>
                  <a:moveTo>
                    <a:pt x="1" y="49"/>
                  </a:moveTo>
                  <a:cubicBezTo>
                    <a:pt x="1" y="48"/>
                    <a:pt x="1" y="48"/>
                    <a:pt x="0" y="47"/>
                  </a:cubicBezTo>
                  <a:cubicBezTo>
                    <a:pt x="1" y="48"/>
                    <a:pt x="1" y="48"/>
                    <a:pt x="1" y="49"/>
                  </a:cubicBezTo>
                  <a:close/>
                  <a:moveTo>
                    <a:pt x="207" y="104"/>
                  </a:moveTo>
                  <a:cubicBezTo>
                    <a:pt x="207" y="104"/>
                    <a:pt x="206" y="99"/>
                    <a:pt x="205" y="96"/>
                  </a:cubicBezTo>
                  <a:cubicBezTo>
                    <a:pt x="205" y="92"/>
                    <a:pt x="196" y="94"/>
                    <a:pt x="196" y="91"/>
                  </a:cubicBezTo>
                  <a:cubicBezTo>
                    <a:pt x="196" y="88"/>
                    <a:pt x="200" y="90"/>
                    <a:pt x="203" y="88"/>
                  </a:cubicBezTo>
                  <a:cubicBezTo>
                    <a:pt x="207" y="86"/>
                    <a:pt x="203" y="85"/>
                    <a:pt x="198" y="83"/>
                  </a:cubicBezTo>
                  <a:cubicBezTo>
                    <a:pt x="193" y="82"/>
                    <a:pt x="189" y="83"/>
                    <a:pt x="186" y="81"/>
                  </a:cubicBezTo>
                  <a:cubicBezTo>
                    <a:pt x="185" y="77"/>
                    <a:pt x="188" y="75"/>
                    <a:pt x="190" y="74"/>
                  </a:cubicBezTo>
                  <a:cubicBezTo>
                    <a:pt x="192" y="73"/>
                    <a:pt x="191" y="69"/>
                    <a:pt x="183" y="69"/>
                  </a:cubicBezTo>
                  <a:cubicBezTo>
                    <a:pt x="176" y="69"/>
                    <a:pt x="176" y="73"/>
                    <a:pt x="174" y="74"/>
                  </a:cubicBezTo>
                  <a:cubicBezTo>
                    <a:pt x="170" y="75"/>
                    <a:pt x="163" y="70"/>
                    <a:pt x="160" y="68"/>
                  </a:cubicBezTo>
                  <a:cubicBezTo>
                    <a:pt x="157" y="67"/>
                    <a:pt x="151" y="70"/>
                    <a:pt x="149" y="70"/>
                  </a:cubicBezTo>
                  <a:cubicBezTo>
                    <a:pt x="147" y="70"/>
                    <a:pt x="148" y="67"/>
                    <a:pt x="146" y="66"/>
                  </a:cubicBezTo>
                  <a:cubicBezTo>
                    <a:pt x="144" y="65"/>
                    <a:pt x="136" y="68"/>
                    <a:pt x="133" y="66"/>
                  </a:cubicBezTo>
                  <a:cubicBezTo>
                    <a:pt x="130" y="64"/>
                    <a:pt x="144" y="59"/>
                    <a:pt x="146" y="56"/>
                  </a:cubicBezTo>
                  <a:cubicBezTo>
                    <a:pt x="148" y="53"/>
                    <a:pt x="146" y="43"/>
                    <a:pt x="142" y="41"/>
                  </a:cubicBezTo>
                  <a:cubicBezTo>
                    <a:pt x="139" y="38"/>
                    <a:pt x="131" y="43"/>
                    <a:pt x="123" y="41"/>
                  </a:cubicBezTo>
                  <a:cubicBezTo>
                    <a:pt x="114" y="39"/>
                    <a:pt x="104" y="35"/>
                    <a:pt x="104" y="35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4" y="23"/>
                    <a:pt x="111" y="20"/>
                    <a:pt x="109" y="13"/>
                  </a:cubicBezTo>
                  <a:cubicBezTo>
                    <a:pt x="107" y="8"/>
                    <a:pt x="96" y="13"/>
                    <a:pt x="96" y="1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12"/>
                    <a:pt x="88" y="13"/>
                  </a:cubicBezTo>
                  <a:cubicBezTo>
                    <a:pt x="84" y="13"/>
                    <a:pt x="87" y="19"/>
                    <a:pt x="84" y="19"/>
                  </a:cubicBezTo>
                  <a:cubicBezTo>
                    <a:pt x="81" y="19"/>
                    <a:pt x="84" y="12"/>
                    <a:pt x="82" y="11"/>
                  </a:cubicBezTo>
                  <a:cubicBezTo>
                    <a:pt x="80" y="10"/>
                    <a:pt x="77" y="17"/>
                    <a:pt x="74" y="17"/>
                  </a:cubicBezTo>
                  <a:cubicBezTo>
                    <a:pt x="70" y="16"/>
                    <a:pt x="82" y="10"/>
                    <a:pt x="81" y="5"/>
                  </a:cubicBezTo>
                  <a:cubicBezTo>
                    <a:pt x="80" y="0"/>
                    <a:pt x="74" y="5"/>
                    <a:pt x="71" y="6"/>
                  </a:cubicBezTo>
                  <a:cubicBezTo>
                    <a:pt x="70" y="6"/>
                    <a:pt x="68" y="5"/>
                    <a:pt x="66" y="5"/>
                  </a:cubicBezTo>
                  <a:cubicBezTo>
                    <a:pt x="66" y="6"/>
                    <a:pt x="66" y="6"/>
                    <a:pt x="65" y="7"/>
                  </a:cubicBezTo>
                  <a:cubicBezTo>
                    <a:pt x="62" y="10"/>
                    <a:pt x="57" y="8"/>
                    <a:pt x="57" y="8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48" y="22"/>
                    <a:pt x="43" y="24"/>
                  </a:cubicBezTo>
                  <a:cubicBezTo>
                    <a:pt x="36" y="27"/>
                    <a:pt x="31" y="22"/>
                    <a:pt x="31" y="22"/>
                  </a:cubicBezTo>
                  <a:cubicBezTo>
                    <a:pt x="31" y="22"/>
                    <a:pt x="30" y="27"/>
                    <a:pt x="28" y="29"/>
                  </a:cubicBezTo>
                  <a:cubicBezTo>
                    <a:pt x="26" y="31"/>
                    <a:pt x="17" y="36"/>
                    <a:pt x="17" y="36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0" y="43"/>
                    <a:pt x="6" y="43"/>
                  </a:cubicBezTo>
                  <a:cubicBezTo>
                    <a:pt x="5" y="43"/>
                    <a:pt x="3" y="45"/>
                    <a:pt x="1" y="49"/>
                  </a:cubicBezTo>
                  <a:cubicBezTo>
                    <a:pt x="1" y="50"/>
                    <a:pt x="1" y="52"/>
                    <a:pt x="4" y="52"/>
                  </a:cubicBezTo>
                  <a:cubicBezTo>
                    <a:pt x="10" y="52"/>
                    <a:pt x="19" y="51"/>
                    <a:pt x="22" y="60"/>
                  </a:cubicBezTo>
                  <a:cubicBezTo>
                    <a:pt x="25" y="71"/>
                    <a:pt x="22" y="84"/>
                    <a:pt x="32" y="94"/>
                  </a:cubicBezTo>
                  <a:cubicBezTo>
                    <a:pt x="43" y="103"/>
                    <a:pt x="51" y="108"/>
                    <a:pt x="59" y="103"/>
                  </a:cubicBezTo>
                  <a:cubicBezTo>
                    <a:pt x="67" y="97"/>
                    <a:pt x="71" y="90"/>
                    <a:pt x="83" y="94"/>
                  </a:cubicBezTo>
                  <a:cubicBezTo>
                    <a:pt x="95" y="96"/>
                    <a:pt x="103" y="103"/>
                    <a:pt x="103" y="103"/>
                  </a:cubicBezTo>
                  <a:cubicBezTo>
                    <a:pt x="103" y="103"/>
                    <a:pt x="110" y="91"/>
                    <a:pt x="115" y="90"/>
                  </a:cubicBezTo>
                  <a:cubicBezTo>
                    <a:pt x="121" y="89"/>
                    <a:pt x="125" y="101"/>
                    <a:pt x="125" y="101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4" y="97"/>
                    <a:pt x="150" y="86"/>
                    <a:pt x="155" y="86"/>
                  </a:cubicBezTo>
                  <a:cubicBezTo>
                    <a:pt x="160" y="86"/>
                    <a:pt x="161" y="99"/>
                    <a:pt x="161" y="99"/>
                  </a:cubicBezTo>
                  <a:cubicBezTo>
                    <a:pt x="161" y="99"/>
                    <a:pt x="169" y="97"/>
                    <a:pt x="173" y="97"/>
                  </a:cubicBezTo>
                  <a:cubicBezTo>
                    <a:pt x="177" y="98"/>
                    <a:pt x="177" y="105"/>
                    <a:pt x="177" y="105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01" y="112"/>
                    <a:pt x="201" y="112"/>
                    <a:pt x="201" y="112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12" y="106"/>
                    <a:pt x="212" y="106"/>
                    <a:pt x="212" y="106"/>
                  </a:cubicBezTo>
                  <a:lnTo>
                    <a:pt x="207" y="1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" name="Türkei" descr="© INSCALE GmbH, 05.05.2010&#10;http://www.presentationload.com/">
              <a:extLst>
                <a:ext uri="{FF2B5EF4-FFF2-40B4-BE49-F238E27FC236}">
                  <a16:creationId xmlns:a16="http://schemas.microsoft.com/office/drawing/2014/main" id="{B45B3F96-2873-B042-BF63-AC5FC2A442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39245" y="5128541"/>
              <a:ext cx="2440715" cy="1366405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" name="Li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051CAE99-3A6A-294A-8FCF-1890FAB22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4370" y="6452040"/>
              <a:ext cx="151823" cy="306945"/>
            </a:xfrm>
            <a:custGeom>
              <a:avLst/>
              <a:gdLst/>
              <a:ahLst/>
              <a:cxnLst>
                <a:cxn ang="0">
                  <a:pos x="26" y="106"/>
                </a:cxn>
                <a:cxn ang="0">
                  <a:pos x="37" y="87"/>
                </a:cxn>
                <a:cxn ang="0">
                  <a:pos x="36" y="83"/>
                </a:cxn>
                <a:cxn ang="0">
                  <a:pos x="43" y="75"/>
                </a:cxn>
                <a:cxn ang="0">
                  <a:pos x="29" y="74"/>
                </a:cxn>
                <a:cxn ang="0">
                  <a:pos x="31" y="67"/>
                </a:cxn>
                <a:cxn ang="0">
                  <a:pos x="35" y="64"/>
                </a:cxn>
                <a:cxn ang="0">
                  <a:pos x="54" y="56"/>
                </a:cxn>
                <a:cxn ang="0">
                  <a:pos x="48" y="51"/>
                </a:cxn>
                <a:cxn ang="0">
                  <a:pos x="46" y="47"/>
                </a:cxn>
                <a:cxn ang="0">
                  <a:pos x="58" y="45"/>
                </a:cxn>
                <a:cxn ang="0">
                  <a:pos x="48" y="42"/>
                </a:cxn>
                <a:cxn ang="0">
                  <a:pos x="61" y="27"/>
                </a:cxn>
                <a:cxn ang="0">
                  <a:pos x="48" y="17"/>
                </a:cxn>
                <a:cxn ang="0">
                  <a:pos x="48" y="11"/>
                </a:cxn>
                <a:cxn ang="0">
                  <a:pos x="35" y="10"/>
                </a:cxn>
                <a:cxn ang="0">
                  <a:pos x="38" y="0"/>
                </a:cxn>
                <a:cxn ang="0">
                  <a:pos x="29" y="1"/>
                </a:cxn>
                <a:cxn ang="0">
                  <a:pos x="28" y="6"/>
                </a:cxn>
                <a:cxn ang="0">
                  <a:pos x="20" y="7"/>
                </a:cxn>
                <a:cxn ang="0">
                  <a:pos x="14" y="12"/>
                </a:cxn>
                <a:cxn ang="0">
                  <a:pos x="15" y="20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1" y="38"/>
                </a:cxn>
                <a:cxn ang="0">
                  <a:pos x="2" y="49"/>
                </a:cxn>
                <a:cxn ang="0">
                  <a:pos x="10" y="56"/>
                </a:cxn>
                <a:cxn ang="0">
                  <a:pos x="6" y="63"/>
                </a:cxn>
                <a:cxn ang="0">
                  <a:pos x="3" y="77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3" y="109"/>
                </a:cxn>
                <a:cxn ang="0">
                  <a:pos x="0" y="112"/>
                </a:cxn>
                <a:cxn ang="0">
                  <a:pos x="0" y="115"/>
                </a:cxn>
                <a:cxn ang="0">
                  <a:pos x="3" y="115"/>
                </a:cxn>
                <a:cxn ang="0">
                  <a:pos x="2" y="126"/>
                </a:cxn>
                <a:cxn ang="0">
                  <a:pos x="8" y="125"/>
                </a:cxn>
                <a:cxn ang="0">
                  <a:pos x="12" y="121"/>
                </a:cxn>
                <a:cxn ang="0">
                  <a:pos x="19" y="122"/>
                </a:cxn>
                <a:cxn ang="0">
                  <a:pos x="19" y="112"/>
                </a:cxn>
                <a:cxn ang="0">
                  <a:pos x="19" y="106"/>
                </a:cxn>
                <a:cxn ang="0">
                  <a:pos x="26" y="106"/>
                </a:cxn>
              </a:cxnLst>
              <a:rect l="0" t="0" r="r" b="b"/>
              <a:pathLst>
                <a:path w="63" h="129">
                  <a:moveTo>
                    <a:pt x="26" y="106"/>
                  </a:moveTo>
                  <a:cubicBezTo>
                    <a:pt x="37" y="87"/>
                    <a:pt x="37" y="87"/>
                    <a:pt x="37" y="87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3"/>
                    <a:pt x="43" y="79"/>
                    <a:pt x="43" y="75"/>
                  </a:cubicBezTo>
                  <a:cubicBezTo>
                    <a:pt x="44" y="72"/>
                    <a:pt x="29" y="74"/>
                    <a:pt x="29" y="74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5" y="66"/>
                    <a:pt x="35" y="64"/>
                  </a:cubicBezTo>
                  <a:cubicBezTo>
                    <a:pt x="35" y="61"/>
                    <a:pt x="54" y="56"/>
                    <a:pt x="54" y="56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58" y="32"/>
                    <a:pt x="61" y="27"/>
                  </a:cubicBezTo>
                  <a:cubicBezTo>
                    <a:pt x="63" y="22"/>
                    <a:pt x="48" y="17"/>
                    <a:pt x="48" y="1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9" y="24"/>
                    <a:pt x="6" y="28"/>
                  </a:cubicBezTo>
                  <a:cubicBezTo>
                    <a:pt x="4" y="31"/>
                    <a:pt x="6" y="33"/>
                    <a:pt x="5" y="36"/>
                  </a:cubicBezTo>
                  <a:cubicBezTo>
                    <a:pt x="3" y="38"/>
                    <a:pt x="1" y="38"/>
                    <a:pt x="1" y="3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0" y="52"/>
                    <a:pt x="10" y="56"/>
                  </a:cubicBezTo>
                  <a:cubicBezTo>
                    <a:pt x="10" y="60"/>
                    <a:pt x="6" y="63"/>
                    <a:pt x="6" y="63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5"/>
                    <a:pt x="3" y="115"/>
                    <a:pt x="3" y="115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2" y="126"/>
                    <a:pt x="5" y="126"/>
                    <a:pt x="8" y="125"/>
                  </a:cubicBezTo>
                  <a:cubicBezTo>
                    <a:pt x="10" y="123"/>
                    <a:pt x="12" y="121"/>
                    <a:pt x="12" y="121"/>
                  </a:cubicBezTo>
                  <a:cubicBezTo>
                    <a:pt x="12" y="121"/>
                    <a:pt x="15" y="129"/>
                    <a:pt x="19" y="122"/>
                  </a:cubicBezTo>
                  <a:cubicBezTo>
                    <a:pt x="25" y="115"/>
                    <a:pt x="19" y="112"/>
                    <a:pt x="19" y="112"/>
                  </a:cubicBezTo>
                  <a:cubicBezTo>
                    <a:pt x="19" y="106"/>
                    <a:pt x="19" y="106"/>
                    <a:pt x="19" y="106"/>
                  </a:cubicBezTo>
                  <a:lnTo>
                    <a:pt x="26" y="10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" name="Syrien" descr="© INSCALE GmbH, 05.05.2010&#10;http://www.presentationload.com/">
              <a:extLst>
                <a:ext uri="{FF2B5EF4-FFF2-40B4-BE49-F238E27FC236}">
                  <a16:creationId xmlns:a16="http://schemas.microsoft.com/office/drawing/2014/main" id="{00529286-D76C-1F42-B6E2-D487CC64237A}"/>
                </a:ext>
              </a:extLst>
            </p:cNvPr>
            <p:cNvSpPr>
              <a:spLocks/>
            </p:cNvSpPr>
            <p:nvPr/>
          </p:nvSpPr>
          <p:spPr bwMode="gray">
            <a:xfrm>
              <a:off x="7879910" y="5773786"/>
              <a:ext cx="736010" cy="1028105"/>
            </a:xfrm>
            <a:custGeom>
              <a:avLst/>
              <a:gdLst/>
              <a:ahLst/>
              <a:cxnLst>
                <a:cxn ang="0">
                  <a:pos x="294" y="149"/>
                </a:cxn>
                <a:cxn ang="0">
                  <a:pos x="274" y="96"/>
                </a:cxn>
                <a:cxn ang="0">
                  <a:pos x="287" y="50"/>
                </a:cxn>
                <a:cxn ang="0">
                  <a:pos x="302" y="18"/>
                </a:cxn>
                <a:cxn ang="0">
                  <a:pos x="297" y="1"/>
                </a:cxn>
                <a:cxn ang="0">
                  <a:pos x="262" y="26"/>
                </a:cxn>
                <a:cxn ang="0">
                  <a:pos x="178" y="89"/>
                </a:cxn>
                <a:cxn ang="0">
                  <a:pos x="129" y="111"/>
                </a:cxn>
                <a:cxn ang="0">
                  <a:pos x="81" y="127"/>
                </a:cxn>
                <a:cxn ang="0">
                  <a:pos x="72" y="136"/>
                </a:cxn>
                <a:cxn ang="0">
                  <a:pos x="42" y="142"/>
                </a:cxn>
                <a:cxn ang="0">
                  <a:pos x="22" y="168"/>
                </a:cxn>
                <a:cxn ang="0">
                  <a:pos x="21" y="188"/>
                </a:cxn>
                <a:cxn ang="0">
                  <a:pos x="20" y="218"/>
                </a:cxn>
                <a:cxn ang="0">
                  <a:pos x="0" y="224"/>
                </a:cxn>
                <a:cxn ang="0">
                  <a:pos x="4" y="236"/>
                </a:cxn>
                <a:cxn ang="0">
                  <a:pos x="3" y="243"/>
                </a:cxn>
                <a:cxn ang="0">
                  <a:pos x="16" y="254"/>
                </a:cxn>
                <a:cxn ang="0">
                  <a:pos x="22" y="280"/>
                </a:cxn>
                <a:cxn ang="0">
                  <a:pos x="34" y="297"/>
                </a:cxn>
                <a:cxn ang="0">
                  <a:pos x="51" y="290"/>
                </a:cxn>
                <a:cxn ang="0">
                  <a:pos x="61" y="284"/>
                </a:cxn>
                <a:cxn ang="0">
                  <a:pos x="71" y="295"/>
                </a:cxn>
                <a:cxn ang="0">
                  <a:pos x="84" y="311"/>
                </a:cxn>
                <a:cxn ang="0">
                  <a:pos x="81" y="329"/>
                </a:cxn>
                <a:cxn ang="0">
                  <a:pos x="71" y="335"/>
                </a:cxn>
                <a:cxn ang="0">
                  <a:pos x="58" y="348"/>
                </a:cxn>
                <a:cxn ang="0">
                  <a:pos x="52" y="358"/>
                </a:cxn>
                <a:cxn ang="0">
                  <a:pos x="59" y="367"/>
                </a:cxn>
                <a:cxn ang="0">
                  <a:pos x="49" y="390"/>
                </a:cxn>
                <a:cxn ang="0">
                  <a:pos x="54" y="409"/>
                </a:cxn>
                <a:cxn ang="0">
                  <a:pos x="77" y="419"/>
                </a:cxn>
                <a:cxn ang="0">
                  <a:pos x="93" y="429"/>
                </a:cxn>
                <a:cxn ang="0">
                  <a:pos x="108" y="430"/>
                </a:cxn>
                <a:cxn ang="0">
                  <a:pos x="304" y="206"/>
                </a:cxn>
                <a:cxn ang="0">
                  <a:pos x="305" y="189"/>
                </a:cxn>
                <a:cxn ang="0">
                  <a:pos x="307" y="175"/>
                </a:cxn>
              </a:cxnLst>
              <a:rect l="0" t="0" r="r" b="b"/>
              <a:pathLst>
                <a:path w="308" h="430">
                  <a:moveTo>
                    <a:pt x="307" y="175"/>
                  </a:moveTo>
                  <a:cubicBezTo>
                    <a:pt x="307" y="175"/>
                    <a:pt x="297" y="164"/>
                    <a:pt x="294" y="149"/>
                  </a:cubicBezTo>
                  <a:cubicBezTo>
                    <a:pt x="290" y="133"/>
                    <a:pt x="295" y="121"/>
                    <a:pt x="289" y="113"/>
                  </a:cubicBezTo>
                  <a:cubicBezTo>
                    <a:pt x="285" y="105"/>
                    <a:pt x="278" y="106"/>
                    <a:pt x="274" y="96"/>
                  </a:cubicBezTo>
                  <a:cubicBezTo>
                    <a:pt x="270" y="88"/>
                    <a:pt x="264" y="74"/>
                    <a:pt x="268" y="66"/>
                  </a:cubicBezTo>
                  <a:cubicBezTo>
                    <a:pt x="273" y="60"/>
                    <a:pt x="282" y="62"/>
                    <a:pt x="287" y="50"/>
                  </a:cubicBezTo>
                  <a:cubicBezTo>
                    <a:pt x="294" y="39"/>
                    <a:pt x="296" y="26"/>
                    <a:pt x="296" y="26"/>
                  </a:cubicBezTo>
                  <a:cubicBezTo>
                    <a:pt x="296" y="26"/>
                    <a:pt x="302" y="21"/>
                    <a:pt x="302" y="18"/>
                  </a:cubicBezTo>
                  <a:cubicBezTo>
                    <a:pt x="302" y="14"/>
                    <a:pt x="301" y="5"/>
                    <a:pt x="301" y="5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2" y="17"/>
                    <a:pt x="262" y="26"/>
                  </a:cubicBezTo>
                  <a:cubicBezTo>
                    <a:pt x="242" y="34"/>
                    <a:pt x="222" y="42"/>
                    <a:pt x="222" y="42"/>
                  </a:cubicBezTo>
                  <a:cubicBezTo>
                    <a:pt x="222" y="42"/>
                    <a:pt x="193" y="77"/>
                    <a:pt x="178" y="89"/>
                  </a:cubicBezTo>
                  <a:cubicBezTo>
                    <a:pt x="163" y="100"/>
                    <a:pt x="148" y="102"/>
                    <a:pt x="148" y="102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11" y="101"/>
                    <a:pt x="104" y="106"/>
                  </a:cubicBezTo>
                  <a:cubicBezTo>
                    <a:pt x="95" y="109"/>
                    <a:pt x="81" y="127"/>
                    <a:pt x="81" y="127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2" y="142"/>
                    <a:pt x="42" y="142"/>
                    <a:pt x="42" y="142"/>
                  </a:cubicBezTo>
                  <a:cubicBezTo>
                    <a:pt x="42" y="142"/>
                    <a:pt x="23" y="139"/>
                    <a:pt x="23" y="145"/>
                  </a:cubicBezTo>
                  <a:cubicBezTo>
                    <a:pt x="22" y="152"/>
                    <a:pt x="22" y="168"/>
                    <a:pt x="22" y="168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" y="225"/>
                    <a:pt x="6" y="225"/>
                    <a:pt x="6" y="225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3" y="243"/>
                    <a:pt x="3" y="243"/>
                    <a:pt x="3" y="243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248"/>
                    <a:pt x="12" y="250"/>
                    <a:pt x="16" y="254"/>
                  </a:cubicBezTo>
                  <a:cubicBezTo>
                    <a:pt x="18" y="258"/>
                    <a:pt x="22" y="259"/>
                    <a:pt x="22" y="264"/>
                  </a:cubicBezTo>
                  <a:cubicBezTo>
                    <a:pt x="22" y="280"/>
                    <a:pt x="22" y="280"/>
                    <a:pt x="22" y="280"/>
                  </a:cubicBezTo>
                  <a:cubicBezTo>
                    <a:pt x="28" y="283"/>
                    <a:pt x="28" y="283"/>
                    <a:pt x="28" y="283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1" y="290"/>
                    <a:pt x="51" y="290"/>
                    <a:pt x="51" y="290"/>
                  </a:cubicBezTo>
                  <a:cubicBezTo>
                    <a:pt x="52" y="285"/>
                    <a:pt x="52" y="285"/>
                    <a:pt x="52" y="285"/>
                  </a:cubicBezTo>
                  <a:cubicBezTo>
                    <a:pt x="61" y="284"/>
                    <a:pt x="61" y="284"/>
                    <a:pt x="61" y="284"/>
                  </a:cubicBezTo>
                  <a:cubicBezTo>
                    <a:pt x="58" y="294"/>
                    <a:pt x="58" y="294"/>
                    <a:pt x="58" y="294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86" y="306"/>
                    <a:pt x="84" y="311"/>
                  </a:cubicBezTo>
                  <a:cubicBezTo>
                    <a:pt x="81" y="316"/>
                    <a:pt x="71" y="326"/>
                    <a:pt x="71" y="326"/>
                  </a:cubicBezTo>
                  <a:cubicBezTo>
                    <a:pt x="81" y="329"/>
                    <a:pt x="81" y="329"/>
                    <a:pt x="81" y="329"/>
                  </a:cubicBezTo>
                  <a:cubicBezTo>
                    <a:pt x="69" y="331"/>
                    <a:pt x="69" y="331"/>
                    <a:pt x="69" y="331"/>
                  </a:cubicBezTo>
                  <a:cubicBezTo>
                    <a:pt x="71" y="335"/>
                    <a:pt x="71" y="335"/>
                    <a:pt x="71" y="335"/>
                  </a:cubicBezTo>
                  <a:cubicBezTo>
                    <a:pt x="77" y="340"/>
                    <a:pt x="77" y="340"/>
                    <a:pt x="77" y="340"/>
                  </a:cubicBezTo>
                  <a:cubicBezTo>
                    <a:pt x="77" y="340"/>
                    <a:pt x="58" y="345"/>
                    <a:pt x="58" y="348"/>
                  </a:cubicBezTo>
                  <a:cubicBezTo>
                    <a:pt x="58" y="350"/>
                    <a:pt x="54" y="351"/>
                    <a:pt x="54" y="351"/>
                  </a:cubicBezTo>
                  <a:cubicBezTo>
                    <a:pt x="52" y="358"/>
                    <a:pt x="52" y="358"/>
                    <a:pt x="52" y="358"/>
                  </a:cubicBezTo>
                  <a:cubicBezTo>
                    <a:pt x="52" y="358"/>
                    <a:pt x="67" y="356"/>
                    <a:pt x="66" y="359"/>
                  </a:cubicBezTo>
                  <a:cubicBezTo>
                    <a:pt x="66" y="363"/>
                    <a:pt x="59" y="367"/>
                    <a:pt x="59" y="367"/>
                  </a:cubicBezTo>
                  <a:cubicBezTo>
                    <a:pt x="60" y="371"/>
                    <a:pt x="60" y="371"/>
                    <a:pt x="60" y="371"/>
                  </a:cubicBezTo>
                  <a:cubicBezTo>
                    <a:pt x="49" y="390"/>
                    <a:pt x="49" y="390"/>
                    <a:pt x="49" y="390"/>
                  </a:cubicBezTo>
                  <a:cubicBezTo>
                    <a:pt x="54" y="392"/>
                    <a:pt x="54" y="392"/>
                    <a:pt x="54" y="392"/>
                  </a:cubicBezTo>
                  <a:cubicBezTo>
                    <a:pt x="54" y="409"/>
                    <a:pt x="54" y="409"/>
                    <a:pt x="54" y="409"/>
                  </a:cubicBezTo>
                  <a:cubicBezTo>
                    <a:pt x="64" y="427"/>
                    <a:pt x="64" y="427"/>
                    <a:pt x="64" y="427"/>
                  </a:cubicBezTo>
                  <a:cubicBezTo>
                    <a:pt x="64" y="427"/>
                    <a:pt x="69" y="419"/>
                    <a:pt x="77" y="419"/>
                  </a:cubicBezTo>
                  <a:cubicBezTo>
                    <a:pt x="85" y="420"/>
                    <a:pt x="89" y="429"/>
                    <a:pt x="89" y="429"/>
                  </a:cubicBezTo>
                  <a:cubicBezTo>
                    <a:pt x="93" y="429"/>
                    <a:pt x="93" y="429"/>
                    <a:pt x="93" y="429"/>
                  </a:cubicBezTo>
                  <a:cubicBezTo>
                    <a:pt x="93" y="429"/>
                    <a:pt x="94" y="425"/>
                    <a:pt x="101" y="425"/>
                  </a:cubicBezTo>
                  <a:cubicBezTo>
                    <a:pt x="107" y="426"/>
                    <a:pt x="108" y="430"/>
                    <a:pt x="108" y="430"/>
                  </a:cubicBezTo>
                  <a:cubicBezTo>
                    <a:pt x="135" y="429"/>
                    <a:pt x="135" y="429"/>
                    <a:pt x="135" y="429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6" y="205"/>
                    <a:pt x="306" y="205"/>
                    <a:pt x="306" y="205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7" y="17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8" name="Kasac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11672C6-B181-004B-91A4-67E75729AB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168705" y="2215855"/>
              <a:ext cx="975295" cy="2222884"/>
            </a:xfrm>
            <a:custGeom>
              <a:avLst/>
              <a:gdLst/>
              <a:ahLst/>
              <a:cxnLst>
                <a:cxn ang="0">
                  <a:pos x="291" y="856"/>
                </a:cxn>
                <a:cxn ang="0">
                  <a:pos x="395" y="19"/>
                </a:cxn>
                <a:cxn ang="0">
                  <a:pos x="377" y="43"/>
                </a:cxn>
                <a:cxn ang="0">
                  <a:pos x="362" y="71"/>
                </a:cxn>
                <a:cxn ang="0">
                  <a:pos x="341" y="94"/>
                </a:cxn>
                <a:cxn ang="0">
                  <a:pos x="322" y="113"/>
                </a:cxn>
                <a:cxn ang="0">
                  <a:pos x="342" y="125"/>
                </a:cxn>
                <a:cxn ang="0">
                  <a:pos x="358" y="139"/>
                </a:cxn>
                <a:cxn ang="0">
                  <a:pos x="393" y="125"/>
                </a:cxn>
                <a:cxn ang="0">
                  <a:pos x="372" y="151"/>
                </a:cxn>
                <a:cxn ang="0">
                  <a:pos x="378" y="186"/>
                </a:cxn>
                <a:cxn ang="0">
                  <a:pos x="385" y="211"/>
                </a:cxn>
                <a:cxn ang="0">
                  <a:pos x="398" y="240"/>
                </a:cxn>
                <a:cxn ang="0">
                  <a:pos x="379" y="327"/>
                </a:cxn>
                <a:cxn ang="0">
                  <a:pos x="336" y="337"/>
                </a:cxn>
                <a:cxn ang="0">
                  <a:pos x="318" y="353"/>
                </a:cxn>
                <a:cxn ang="0">
                  <a:pos x="297" y="382"/>
                </a:cxn>
                <a:cxn ang="0">
                  <a:pos x="258" y="417"/>
                </a:cxn>
                <a:cxn ang="0">
                  <a:pos x="234" y="423"/>
                </a:cxn>
                <a:cxn ang="0">
                  <a:pos x="239" y="433"/>
                </a:cxn>
                <a:cxn ang="0">
                  <a:pos x="194" y="426"/>
                </a:cxn>
                <a:cxn ang="0">
                  <a:pos x="151" y="437"/>
                </a:cxn>
                <a:cxn ang="0">
                  <a:pos x="116" y="441"/>
                </a:cxn>
                <a:cxn ang="0">
                  <a:pos x="102" y="454"/>
                </a:cxn>
                <a:cxn ang="0">
                  <a:pos x="77" y="471"/>
                </a:cxn>
                <a:cxn ang="0">
                  <a:pos x="65" y="507"/>
                </a:cxn>
                <a:cxn ang="0">
                  <a:pos x="59" y="537"/>
                </a:cxn>
                <a:cxn ang="0">
                  <a:pos x="35" y="572"/>
                </a:cxn>
                <a:cxn ang="0">
                  <a:pos x="67" y="596"/>
                </a:cxn>
                <a:cxn ang="0">
                  <a:pos x="1" y="614"/>
                </a:cxn>
                <a:cxn ang="0">
                  <a:pos x="25" y="685"/>
                </a:cxn>
                <a:cxn ang="0">
                  <a:pos x="60" y="742"/>
                </a:cxn>
                <a:cxn ang="0">
                  <a:pos x="82" y="754"/>
                </a:cxn>
                <a:cxn ang="0">
                  <a:pos x="139" y="754"/>
                </a:cxn>
                <a:cxn ang="0">
                  <a:pos x="166" y="801"/>
                </a:cxn>
                <a:cxn ang="0">
                  <a:pos x="202" y="791"/>
                </a:cxn>
                <a:cxn ang="0">
                  <a:pos x="195" y="782"/>
                </a:cxn>
                <a:cxn ang="0">
                  <a:pos x="209" y="778"/>
                </a:cxn>
                <a:cxn ang="0">
                  <a:pos x="224" y="756"/>
                </a:cxn>
                <a:cxn ang="0">
                  <a:pos x="235" y="733"/>
                </a:cxn>
                <a:cxn ang="0">
                  <a:pos x="266" y="705"/>
                </a:cxn>
                <a:cxn ang="0">
                  <a:pos x="281" y="707"/>
                </a:cxn>
                <a:cxn ang="0">
                  <a:pos x="296" y="707"/>
                </a:cxn>
                <a:cxn ang="0">
                  <a:pos x="309" y="688"/>
                </a:cxn>
                <a:cxn ang="0">
                  <a:pos x="332" y="678"/>
                </a:cxn>
                <a:cxn ang="0">
                  <a:pos x="338" y="696"/>
                </a:cxn>
                <a:cxn ang="0">
                  <a:pos x="352" y="706"/>
                </a:cxn>
                <a:cxn ang="0">
                  <a:pos x="359" y="718"/>
                </a:cxn>
                <a:cxn ang="0">
                  <a:pos x="391" y="756"/>
                </a:cxn>
                <a:cxn ang="0">
                  <a:pos x="331" y="789"/>
                </a:cxn>
                <a:cxn ang="0">
                  <a:pos x="326" y="823"/>
                </a:cxn>
                <a:cxn ang="0">
                  <a:pos x="314" y="838"/>
                </a:cxn>
                <a:cxn ang="0">
                  <a:pos x="328" y="842"/>
                </a:cxn>
                <a:cxn ang="0">
                  <a:pos x="345" y="850"/>
                </a:cxn>
                <a:cxn ang="0">
                  <a:pos x="301" y="879"/>
                </a:cxn>
                <a:cxn ang="0">
                  <a:pos x="385" y="913"/>
                </a:cxn>
                <a:cxn ang="0">
                  <a:pos x="402" y="925"/>
                </a:cxn>
                <a:cxn ang="0">
                  <a:pos x="379" y="327"/>
                </a:cxn>
              </a:cxnLst>
              <a:rect l="0" t="0" r="r" b="b"/>
              <a:pathLst>
                <a:path w="408" h="931">
                  <a:moveTo>
                    <a:pt x="290" y="844"/>
                  </a:moveTo>
                  <a:cubicBezTo>
                    <a:pt x="285" y="844"/>
                    <a:pt x="285" y="844"/>
                    <a:pt x="285" y="844"/>
                  </a:cubicBezTo>
                  <a:cubicBezTo>
                    <a:pt x="287" y="851"/>
                    <a:pt x="287" y="851"/>
                    <a:pt x="287" y="851"/>
                  </a:cubicBezTo>
                  <a:cubicBezTo>
                    <a:pt x="291" y="856"/>
                    <a:pt x="291" y="856"/>
                    <a:pt x="291" y="856"/>
                  </a:cubicBezTo>
                  <a:cubicBezTo>
                    <a:pt x="293" y="855"/>
                    <a:pt x="293" y="855"/>
                    <a:pt x="293" y="855"/>
                  </a:cubicBezTo>
                  <a:cubicBezTo>
                    <a:pt x="291" y="851"/>
                    <a:pt x="291" y="851"/>
                    <a:pt x="291" y="851"/>
                  </a:cubicBezTo>
                  <a:lnTo>
                    <a:pt x="290" y="844"/>
                  </a:lnTo>
                  <a:close/>
                  <a:moveTo>
                    <a:pt x="395" y="19"/>
                  </a:moveTo>
                  <a:cubicBezTo>
                    <a:pt x="395" y="19"/>
                    <a:pt x="400" y="22"/>
                    <a:pt x="398" y="25"/>
                  </a:cubicBezTo>
                  <a:cubicBezTo>
                    <a:pt x="397" y="28"/>
                    <a:pt x="391" y="28"/>
                    <a:pt x="391" y="28"/>
                  </a:cubicBezTo>
                  <a:cubicBezTo>
                    <a:pt x="385" y="40"/>
                    <a:pt x="385" y="40"/>
                    <a:pt x="385" y="40"/>
                  </a:cubicBezTo>
                  <a:cubicBezTo>
                    <a:pt x="377" y="43"/>
                    <a:pt x="377" y="43"/>
                    <a:pt x="377" y="43"/>
                  </a:cubicBezTo>
                  <a:cubicBezTo>
                    <a:pt x="381" y="50"/>
                    <a:pt x="381" y="50"/>
                    <a:pt x="381" y="50"/>
                  </a:cubicBezTo>
                  <a:cubicBezTo>
                    <a:pt x="366" y="63"/>
                    <a:pt x="366" y="63"/>
                    <a:pt x="366" y="63"/>
                  </a:cubicBezTo>
                  <a:cubicBezTo>
                    <a:pt x="366" y="63"/>
                    <a:pt x="376" y="75"/>
                    <a:pt x="371" y="77"/>
                  </a:cubicBezTo>
                  <a:cubicBezTo>
                    <a:pt x="365" y="80"/>
                    <a:pt x="362" y="71"/>
                    <a:pt x="362" y="7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2" y="90"/>
                    <a:pt x="352" y="90"/>
                    <a:pt x="352" y="90"/>
                  </a:cubicBezTo>
                  <a:cubicBezTo>
                    <a:pt x="343" y="88"/>
                    <a:pt x="343" y="88"/>
                    <a:pt x="343" y="88"/>
                  </a:cubicBezTo>
                  <a:cubicBezTo>
                    <a:pt x="341" y="94"/>
                    <a:pt x="341" y="94"/>
                    <a:pt x="341" y="94"/>
                  </a:cubicBezTo>
                  <a:cubicBezTo>
                    <a:pt x="328" y="94"/>
                    <a:pt x="328" y="94"/>
                    <a:pt x="328" y="94"/>
                  </a:cubicBezTo>
                  <a:cubicBezTo>
                    <a:pt x="327" y="102"/>
                    <a:pt x="327" y="102"/>
                    <a:pt x="327" y="102"/>
                  </a:cubicBezTo>
                  <a:cubicBezTo>
                    <a:pt x="331" y="104"/>
                    <a:pt x="331" y="104"/>
                    <a:pt x="331" y="104"/>
                  </a:cubicBezTo>
                  <a:cubicBezTo>
                    <a:pt x="322" y="113"/>
                    <a:pt x="322" y="113"/>
                    <a:pt x="322" y="113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6" y="123"/>
                    <a:pt x="336" y="123"/>
                    <a:pt x="336" y="123"/>
                  </a:cubicBezTo>
                  <a:cubicBezTo>
                    <a:pt x="333" y="129"/>
                    <a:pt x="333" y="129"/>
                    <a:pt x="333" y="129"/>
                  </a:cubicBezTo>
                  <a:cubicBezTo>
                    <a:pt x="342" y="125"/>
                    <a:pt x="342" y="125"/>
                    <a:pt x="342" y="125"/>
                  </a:cubicBezTo>
                  <a:cubicBezTo>
                    <a:pt x="348" y="126"/>
                    <a:pt x="348" y="126"/>
                    <a:pt x="348" y="126"/>
                  </a:cubicBezTo>
                  <a:cubicBezTo>
                    <a:pt x="348" y="126"/>
                    <a:pt x="354" y="114"/>
                    <a:pt x="359" y="118"/>
                  </a:cubicBezTo>
                  <a:cubicBezTo>
                    <a:pt x="364" y="121"/>
                    <a:pt x="354" y="126"/>
                    <a:pt x="354" y="126"/>
                  </a:cubicBezTo>
                  <a:cubicBezTo>
                    <a:pt x="358" y="139"/>
                    <a:pt x="358" y="139"/>
                    <a:pt x="358" y="139"/>
                  </a:cubicBezTo>
                  <a:cubicBezTo>
                    <a:pt x="374" y="134"/>
                    <a:pt x="374" y="134"/>
                    <a:pt x="374" y="134"/>
                  </a:cubicBezTo>
                  <a:cubicBezTo>
                    <a:pt x="373" y="130"/>
                    <a:pt x="373" y="130"/>
                    <a:pt x="373" y="130"/>
                  </a:cubicBezTo>
                  <a:cubicBezTo>
                    <a:pt x="373" y="130"/>
                    <a:pt x="379" y="130"/>
                    <a:pt x="382" y="129"/>
                  </a:cubicBezTo>
                  <a:cubicBezTo>
                    <a:pt x="387" y="127"/>
                    <a:pt x="389" y="121"/>
                    <a:pt x="393" y="125"/>
                  </a:cubicBezTo>
                  <a:cubicBezTo>
                    <a:pt x="398" y="129"/>
                    <a:pt x="400" y="132"/>
                    <a:pt x="396" y="134"/>
                  </a:cubicBezTo>
                  <a:cubicBezTo>
                    <a:pt x="392" y="136"/>
                    <a:pt x="386" y="145"/>
                    <a:pt x="386" y="145"/>
                  </a:cubicBezTo>
                  <a:cubicBezTo>
                    <a:pt x="377" y="146"/>
                    <a:pt x="377" y="146"/>
                    <a:pt x="377" y="146"/>
                  </a:cubicBezTo>
                  <a:cubicBezTo>
                    <a:pt x="372" y="151"/>
                    <a:pt x="372" y="151"/>
                    <a:pt x="372" y="151"/>
                  </a:cubicBezTo>
                  <a:cubicBezTo>
                    <a:pt x="361" y="159"/>
                    <a:pt x="361" y="159"/>
                    <a:pt x="361" y="159"/>
                  </a:cubicBezTo>
                  <a:cubicBezTo>
                    <a:pt x="361" y="159"/>
                    <a:pt x="367" y="161"/>
                    <a:pt x="367" y="162"/>
                  </a:cubicBezTo>
                  <a:cubicBezTo>
                    <a:pt x="367" y="164"/>
                    <a:pt x="364" y="181"/>
                    <a:pt x="364" y="181"/>
                  </a:cubicBezTo>
                  <a:cubicBezTo>
                    <a:pt x="378" y="186"/>
                    <a:pt x="378" y="186"/>
                    <a:pt x="378" y="186"/>
                  </a:cubicBezTo>
                  <a:cubicBezTo>
                    <a:pt x="383" y="184"/>
                    <a:pt x="383" y="184"/>
                    <a:pt x="383" y="184"/>
                  </a:cubicBezTo>
                  <a:cubicBezTo>
                    <a:pt x="393" y="187"/>
                    <a:pt x="393" y="187"/>
                    <a:pt x="393" y="187"/>
                  </a:cubicBezTo>
                  <a:cubicBezTo>
                    <a:pt x="391" y="209"/>
                    <a:pt x="391" y="209"/>
                    <a:pt x="391" y="209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77" y="234"/>
                    <a:pt x="377" y="234"/>
                    <a:pt x="377" y="234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80" y="239"/>
                    <a:pt x="396" y="229"/>
                    <a:pt x="398" y="232"/>
                  </a:cubicBezTo>
                  <a:cubicBezTo>
                    <a:pt x="402" y="236"/>
                    <a:pt x="398" y="240"/>
                    <a:pt x="398" y="240"/>
                  </a:cubicBezTo>
                  <a:cubicBezTo>
                    <a:pt x="408" y="239"/>
                    <a:pt x="408" y="239"/>
                    <a:pt x="408" y="23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395" y="19"/>
                  </a:lnTo>
                  <a:close/>
                  <a:moveTo>
                    <a:pt x="379" y="327"/>
                  </a:moveTo>
                  <a:cubicBezTo>
                    <a:pt x="370" y="322"/>
                    <a:pt x="370" y="316"/>
                    <a:pt x="364" y="316"/>
                  </a:cubicBezTo>
                  <a:cubicBezTo>
                    <a:pt x="359" y="318"/>
                    <a:pt x="354" y="319"/>
                    <a:pt x="354" y="319"/>
                  </a:cubicBezTo>
                  <a:cubicBezTo>
                    <a:pt x="354" y="319"/>
                    <a:pt x="358" y="326"/>
                    <a:pt x="355" y="328"/>
                  </a:cubicBezTo>
                  <a:cubicBezTo>
                    <a:pt x="353" y="330"/>
                    <a:pt x="336" y="337"/>
                    <a:pt x="336" y="337"/>
                  </a:cubicBezTo>
                  <a:cubicBezTo>
                    <a:pt x="345" y="346"/>
                    <a:pt x="345" y="346"/>
                    <a:pt x="345" y="346"/>
                  </a:cubicBezTo>
                  <a:cubicBezTo>
                    <a:pt x="345" y="346"/>
                    <a:pt x="338" y="346"/>
                    <a:pt x="337" y="347"/>
                  </a:cubicBezTo>
                  <a:cubicBezTo>
                    <a:pt x="336" y="350"/>
                    <a:pt x="340" y="354"/>
                    <a:pt x="337" y="356"/>
                  </a:cubicBezTo>
                  <a:cubicBezTo>
                    <a:pt x="332" y="358"/>
                    <a:pt x="318" y="353"/>
                    <a:pt x="318" y="353"/>
                  </a:cubicBezTo>
                  <a:cubicBezTo>
                    <a:pt x="306" y="362"/>
                    <a:pt x="306" y="362"/>
                    <a:pt x="306" y="362"/>
                  </a:cubicBezTo>
                  <a:cubicBezTo>
                    <a:pt x="306" y="362"/>
                    <a:pt x="311" y="370"/>
                    <a:pt x="307" y="371"/>
                  </a:cubicBezTo>
                  <a:cubicBezTo>
                    <a:pt x="303" y="371"/>
                    <a:pt x="296" y="367"/>
                    <a:pt x="296" y="367"/>
                  </a:cubicBezTo>
                  <a:cubicBezTo>
                    <a:pt x="297" y="382"/>
                    <a:pt x="297" y="382"/>
                    <a:pt x="297" y="382"/>
                  </a:cubicBezTo>
                  <a:cubicBezTo>
                    <a:pt x="292" y="384"/>
                    <a:pt x="292" y="384"/>
                    <a:pt x="292" y="384"/>
                  </a:cubicBezTo>
                  <a:cubicBezTo>
                    <a:pt x="292" y="384"/>
                    <a:pt x="298" y="390"/>
                    <a:pt x="296" y="397"/>
                  </a:cubicBezTo>
                  <a:cubicBezTo>
                    <a:pt x="294" y="402"/>
                    <a:pt x="290" y="414"/>
                    <a:pt x="290" y="414"/>
                  </a:cubicBezTo>
                  <a:cubicBezTo>
                    <a:pt x="258" y="417"/>
                    <a:pt x="258" y="417"/>
                    <a:pt x="258" y="417"/>
                  </a:cubicBezTo>
                  <a:cubicBezTo>
                    <a:pt x="258" y="417"/>
                    <a:pt x="258" y="414"/>
                    <a:pt x="255" y="413"/>
                  </a:cubicBezTo>
                  <a:cubicBezTo>
                    <a:pt x="251" y="413"/>
                    <a:pt x="248" y="415"/>
                    <a:pt x="248" y="415"/>
                  </a:cubicBezTo>
                  <a:cubicBezTo>
                    <a:pt x="248" y="415"/>
                    <a:pt x="236" y="410"/>
                    <a:pt x="234" y="415"/>
                  </a:cubicBezTo>
                  <a:cubicBezTo>
                    <a:pt x="232" y="419"/>
                    <a:pt x="232" y="422"/>
                    <a:pt x="234" y="423"/>
                  </a:cubicBezTo>
                  <a:cubicBezTo>
                    <a:pt x="238" y="423"/>
                    <a:pt x="243" y="422"/>
                    <a:pt x="245" y="428"/>
                  </a:cubicBezTo>
                  <a:cubicBezTo>
                    <a:pt x="247" y="432"/>
                    <a:pt x="255" y="432"/>
                    <a:pt x="254" y="436"/>
                  </a:cubicBezTo>
                  <a:cubicBezTo>
                    <a:pt x="252" y="440"/>
                    <a:pt x="251" y="448"/>
                    <a:pt x="246" y="445"/>
                  </a:cubicBezTo>
                  <a:cubicBezTo>
                    <a:pt x="242" y="442"/>
                    <a:pt x="239" y="436"/>
                    <a:pt x="239" y="433"/>
                  </a:cubicBezTo>
                  <a:cubicBezTo>
                    <a:pt x="239" y="429"/>
                    <a:pt x="238" y="428"/>
                    <a:pt x="232" y="428"/>
                  </a:cubicBezTo>
                  <a:cubicBezTo>
                    <a:pt x="227" y="428"/>
                    <a:pt x="221" y="429"/>
                    <a:pt x="215" y="424"/>
                  </a:cubicBezTo>
                  <a:cubicBezTo>
                    <a:pt x="210" y="420"/>
                    <a:pt x="205" y="419"/>
                    <a:pt x="202" y="422"/>
                  </a:cubicBezTo>
                  <a:cubicBezTo>
                    <a:pt x="199" y="426"/>
                    <a:pt x="198" y="428"/>
                    <a:pt x="194" y="426"/>
                  </a:cubicBezTo>
                  <a:cubicBezTo>
                    <a:pt x="189" y="425"/>
                    <a:pt x="191" y="417"/>
                    <a:pt x="182" y="418"/>
                  </a:cubicBezTo>
                  <a:cubicBezTo>
                    <a:pt x="174" y="419"/>
                    <a:pt x="161" y="431"/>
                    <a:pt x="161" y="431"/>
                  </a:cubicBezTo>
                  <a:cubicBezTo>
                    <a:pt x="153" y="431"/>
                    <a:pt x="153" y="431"/>
                    <a:pt x="153" y="431"/>
                  </a:cubicBezTo>
                  <a:cubicBezTo>
                    <a:pt x="153" y="431"/>
                    <a:pt x="157" y="437"/>
                    <a:pt x="151" y="437"/>
                  </a:cubicBezTo>
                  <a:cubicBezTo>
                    <a:pt x="145" y="438"/>
                    <a:pt x="129" y="428"/>
                    <a:pt x="129" y="428"/>
                  </a:cubicBezTo>
                  <a:cubicBezTo>
                    <a:pt x="125" y="430"/>
                    <a:pt x="125" y="430"/>
                    <a:pt x="125" y="430"/>
                  </a:cubicBezTo>
                  <a:cubicBezTo>
                    <a:pt x="127" y="437"/>
                    <a:pt x="127" y="437"/>
                    <a:pt x="127" y="437"/>
                  </a:cubicBezTo>
                  <a:cubicBezTo>
                    <a:pt x="127" y="437"/>
                    <a:pt x="118" y="437"/>
                    <a:pt x="116" y="441"/>
                  </a:cubicBezTo>
                  <a:cubicBezTo>
                    <a:pt x="114" y="446"/>
                    <a:pt x="123" y="452"/>
                    <a:pt x="119" y="454"/>
                  </a:cubicBezTo>
                  <a:cubicBezTo>
                    <a:pt x="116" y="456"/>
                    <a:pt x="111" y="455"/>
                    <a:pt x="111" y="455"/>
                  </a:cubicBezTo>
                  <a:cubicBezTo>
                    <a:pt x="111" y="455"/>
                    <a:pt x="110" y="468"/>
                    <a:pt x="104" y="466"/>
                  </a:cubicBezTo>
                  <a:cubicBezTo>
                    <a:pt x="99" y="465"/>
                    <a:pt x="105" y="455"/>
                    <a:pt x="102" y="454"/>
                  </a:cubicBezTo>
                  <a:cubicBezTo>
                    <a:pt x="99" y="453"/>
                    <a:pt x="88" y="460"/>
                    <a:pt x="88" y="460"/>
                  </a:cubicBezTo>
                  <a:cubicBezTo>
                    <a:pt x="77" y="460"/>
                    <a:pt x="77" y="460"/>
                    <a:pt x="77" y="460"/>
                  </a:cubicBezTo>
                  <a:cubicBezTo>
                    <a:pt x="84" y="466"/>
                    <a:pt x="84" y="466"/>
                    <a:pt x="84" y="466"/>
                  </a:cubicBezTo>
                  <a:cubicBezTo>
                    <a:pt x="84" y="466"/>
                    <a:pt x="79" y="469"/>
                    <a:pt x="77" y="471"/>
                  </a:cubicBezTo>
                  <a:cubicBezTo>
                    <a:pt x="75" y="473"/>
                    <a:pt x="80" y="480"/>
                    <a:pt x="80" y="482"/>
                  </a:cubicBezTo>
                  <a:cubicBezTo>
                    <a:pt x="80" y="485"/>
                    <a:pt x="70" y="487"/>
                    <a:pt x="71" y="489"/>
                  </a:cubicBezTo>
                  <a:cubicBezTo>
                    <a:pt x="72" y="493"/>
                    <a:pt x="79" y="492"/>
                    <a:pt x="78" y="496"/>
                  </a:cubicBezTo>
                  <a:cubicBezTo>
                    <a:pt x="78" y="499"/>
                    <a:pt x="65" y="507"/>
                    <a:pt x="65" y="507"/>
                  </a:cubicBezTo>
                  <a:cubicBezTo>
                    <a:pt x="59" y="518"/>
                    <a:pt x="59" y="518"/>
                    <a:pt x="59" y="518"/>
                  </a:cubicBezTo>
                  <a:cubicBezTo>
                    <a:pt x="49" y="524"/>
                    <a:pt x="49" y="524"/>
                    <a:pt x="49" y="524"/>
                  </a:cubicBezTo>
                  <a:cubicBezTo>
                    <a:pt x="51" y="534"/>
                    <a:pt x="51" y="534"/>
                    <a:pt x="51" y="534"/>
                  </a:cubicBezTo>
                  <a:cubicBezTo>
                    <a:pt x="51" y="534"/>
                    <a:pt x="61" y="533"/>
                    <a:pt x="59" y="537"/>
                  </a:cubicBezTo>
                  <a:cubicBezTo>
                    <a:pt x="58" y="543"/>
                    <a:pt x="51" y="548"/>
                    <a:pt x="51" y="548"/>
                  </a:cubicBezTo>
                  <a:cubicBezTo>
                    <a:pt x="51" y="548"/>
                    <a:pt x="53" y="564"/>
                    <a:pt x="47" y="565"/>
                  </a:cubicBezTo>
                  <a:cubicBezTo>
                    <a:pt x="41" y="566"/>
                    <a:pt x="36" y="568"/>
                    <a:pt x="36" y="568"/>
                  </a:cubicBezTo>
                  <a:cubicBezTo>
                    <a:pt x="35" y="572"/>
                    <a:pt x="35" y="572"/>
                    <a:pt x="35" y="572"/>
                  </a:cubicBezTo>
                  <a:cubicBezTo>
                    <a:pt x="39" y="572"/>
                    <a:pt x="39" y="572"/>
                    <a:pt x="39" y="572"/>
                  </a:cubicBezTo>
                  <a:cubicBezTo>
                    <a:pt x="39" y="572"/>
                    <a:pt x="49" y="584"/>
                    <a:pt x="53" y="588"/>
                  </a:cubicBezTo>
                  <a:cubicBezTo>
                    <a:pt x="58" y="590"/>
                    <a:pt x="61" y="595"/>
                    <a:pt x="61" y="595"/>
                  </a:cubicBezTo>
                  <a:cubicBezTo>
                    <a:pt x="61" y="595"/>
                    <a:pt x="68" y="587"/>
                    <a:pt x="67" y="596"/>
                  </a:cubicBezTo>
                  <a:cubicBezTo>
                    <a:pt x="66" y="606"/>
                    <a:pt x="60" y="620"/>
                    <a:pt x="54" y="620"/>
                  </a:cubicBezTo>
                  <a:cubicBezTo>
                    <a:pt x="48" y="620"/>
                    <a:pt x="41" y="621"/>
                    <a:pt x="37" y="614"/>
                  </a:cubicBezTo>
                  <a:cubicBezTo>
                    <a:pt x="34" y="609"/>
                    <a:pt x="22" y="600"/>
                    <a:pt x="14" y="600"/>
                  </a:cubicBezTo>
                  <a:cubicBezTo>
                    <a:pt x="4" y="600"/>
                    <a:pt x="0" y="607"/>
                    <a:pt x="1" y="614"/>
                  </a:cubicBezTo>
                  <a:cubicBezTo>
                    <a:pt x="1" y="622"/>
                    <a:pt x="10" y="623"/>
                    <a:pt x="9" y="628"/>
                  </a:cubicBezTo>
                  <a:cubicBezTo>
                    <a:pt x="0" y="643"/>
                    <a:pt x="0" y="643"/>
                    <a:pt x="0" y="643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22" y="676"/>
                    <a:pt x="25" y="685"/>
                  </a:cubicBezTo>
                  <a:cubicBezTo>
                    <a:pt x="28" y="693"/>
                    <a:pt x="22" y="703"/>
                    <a:pt x="22" y="703"/>
                  </a:cubicBezTo>
                  <a:cubicBezTo>
                    <a:pt x="28" y="742"/>
                    <a:pt x="28" y="742"/>
                    <a:pt x="28" y="742"/>
                  </a:cubicBezTo>
                  <a:cubicBezTo>
                    <a:pt x="57" y="736"/>
                    <a:pt x="57" y="736"/>
                    <a:pt x="57" y="736"/>
                  </a:cubicBezTo>
                  <a:cubicBezTo>
                    <a:pt x="57" y="736"/>
                    <a:pt x="57" y="740"/>
                    <a:pt x="60" y="742"/>
                  </a:cubicBezTo>
                  <a:cubicBezTo>
                    <a:pt x="62" y="745"/>
                    <a:pt x="67" y="747"/>
                    <a:pt x="65" y="750"/>
                  </a:cubicBezTo>
                  <a:cubicBezTo>
                    <a:pt x="64" y="752"/>
                    <a:pt x="63" y="759"/>
                    <a:pt x="68" y="760"/>
                  </a:cubicBezTo>
                  <a:cubicBezTo>
                    <a:pt x="74" y="762"/>
                    <a:pt x="86" y="762"/>
                    <a:pt x="86" y="762"/>
                  </a:cubicBezTo>
                  <a:cubicBezTo>
                    <a:pt x="82" y="754"/>
                    <a:pt x="82" y="754"/>
                    <a:pt x="82" y="754"/>
                  </a:cubicBezTo>
                  <a:cubicBezTo>
                    <a:pt x="82" y="754"/>
                    <a:pt x="87" y="755"/>
                    <a:pt x="94" y="753"/>
                  </a:cubicBezTo>
                  <a:cubicBezTo>
                    <a:pt x="101" y="751"/>
                    <a:pt x="98" y="739"/>
                    <a:pt x="108" y="742"/>
                  </a:cubicBezTo>
                  <a:cubicBezTo>
                    <a:pt x="117" y="745"/>
                    <a:pt x="118" y="756"/>
                    <a:pt x="125" y="756"/>
                  </a:cubicBezTo>
                  <a:cubicBezTo>
                    <a:pt x="132" y="756"/>
                    <a:pt x="133" y="752"/>
                    <a:pt x="139" y="754"/>
                  </a:cubicBezTo>
                  <a:cubicBezTo>
                    <a:pt x="144" y="757"/>
                    <a:pt x="149" y="768"/>
                    <a:pt x="157" y="770"/>
                  </a:cubicBezTo>
                  <a:cubicBezTo>
                    <a:pt x="164" y="772"/>
                    <a:pt x="183" y="779"/>
                    <a:pt x="178" y="784"/>
                  </a:cubicBezTo>
                  <a:cubicBezTo>
                    <a:pt x="174" y="788"/>
                    <a:pt x="164" y="782"/>
                    <a:pt x="160" y="787"/>
                  </a:cubicBezTo>
                  <a:cubicBezTo>
                    <a:pt x="156" y="794"/>
                    <a:pt x="157" y="800"/>
                    <a:pt x="166" y="801"/>
                  </a:cubicBezTo>
                  <a:cubicBezTo>
                    <a:pt x="177" y="802"/>
                    <a:pt x="200" y="798"/>
                    <a:pt x="200" y="798"/>
                  </a:cubicBezTo>
                  <a:cubicBezTo>
                    <a:pt x="199" y="794"/>
                    <a:pt x="199" y="794"/>
                    <a:pt x="199" y="794"/>
                  </a:cubicBezTo>
                  <a:cubicBezTo>
                    <a:pt x="196" y="793"/>
                    <a:pt x="196" y="793"/>
                    <a:pt x="196" y="793"/>
                  </a:cubicBezTo>
                  <a:cubicBezTo>
                    <a:pt x="202" y="791"/>
                    <a:pt x="202" y="791"/>
                    <a:pt x="202" y="791"/>
                  </a:cubicBezTo>
                  <a:cubicBezTo>
                    <a:pt x="202" y="788"/>
                    <a:pt x="202" y="788"/>
                    <a:pt x="202" y="788"/>
                  </a:cubicBezTo>
                  <a:cubicBezTo>
                    <a:pt x="198" y="789"/>
                    <a:pt x="198" y="789"/>
                    <a:pt x="198" y="789"/>
                  </a:cubicBezTo>
                  <a:cubicBezTo>
                    <a:pt x="198" y="785"/>
                    <a:pt x="198" y="785"/>
                    <a:pt x="198" y="785"/>
                  </a:cubicBezTo>
                  <a:cubicBezTo>
                    <a:pt x="195" y="782"/>
                    <a:pt x="195" y="782"/>
                    <a:pt x="195" y="782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5" y="779"/>
                    <a:pt x="205" y="779"/>
                    <a:pt x="205" y="779"/>
                  </a:cubicBezTo>
                  <a:cubicBezTo>
                    <a:pt x="209" y="784"/>
                    <a:pt x="209" y="784"/>
                    <a:pt x="209" y="784"/>
                  </a:cubicBezTo>
                  <a:cubicBezTo>
                    <a:pt x="209" y="778"/>
                    <a:pt x="209" y="778"/>
                    <a:pt x="209" y="778"/>
                  </a:cubicBezTo>
                  <a:cubicBezTo>
                    <a:pt x="209" y="778"/>
                    <a:pt x="212" y="780"/>
                    <a:pt x="215" y="775"/>
                  </a:cubicBezTo>
                  <a:cubicBezTo>
                    <a:pt x="219" y="770"/>
                    <a:pt x="218" y="765"/>
                    <a:pt x="218" y="765"/>
                  </a:cubicBezTo>
                  <a:cubicBezTo>
                    <a:pt x="218" y="765"/>
                    <a:pt x="222" y="768"/>
                    <a:pt x="223" y="765"/>
                  </a:cubicBezTo>
                  <a:cubicBezTo>
                    <a:pt x="225" y="763"/>
                    <a:pt x="224" y="756"/>
                    <a:pt x="224" y="756"/>
                  </a:cubicBezTo>
                  <a:cubicBezTo>
                    <a:pt x="228" y="754"/>
                    <a:pt x="228" y="754"/>
                    <a:pt x="228" y="754"/>
                  </a:cubicBezTo>
                  <a:cubicBezTo>
                    <a:pt x="228" y="740"/>
                    <a:pt x="228" y="740"/>
                    <a:pt x="228" y="740"/>
                  </a:cubicBezTo>
                  <a:cubicBezTo>
                    <a:pt x="236" y="740"/>
                    <a:pt x="236" y="740"/>
                    <a:pt x="236" y="740"/>
                  </a:cubicBezTo>
                  <a:cubicBezTo>
                    <a:pt x="235" y="733"/>
                    <a:pt x="235" y="733"/>
                    <a:pt x="235" y="733"/>
                  </a:cubicBezTo>
                  <a:cubicBezTo>
                    <a:pt x="243" y="732"/>
                    <a:pt x="243" y="732"/>
                    <a:pt x="243" y="732"/>
                  </a:cubicBezTo>
                  <a:cubicBezTo>
                    <a:pt x="243" y="732"/>
                    <a:pt x="239" y="722"/>
                    <a:pt x="247" y="714"/>
                  </a:cubicBezTo>
                  <a:cubicBezTo>
                    <a:pt x="256" y="705"/>
                    <a:pt x="262" y="707"/>
                    <a:pt x="262" y="707"/>
                  </a:cubicBezTo>
                  <a:cubicBezTo>
                    <a:pt x="266" y="705"/>
                    <a:pt x="266" y="705"/>
                    <a:pt x="266" y="705"/>
                  </a:cubicBezTo>
                  <a:cubicBezTo>
                    <a:pt x="268" y="707"/>
                    <a:pt x="268" y="707"/>
                    <a:pt x="268" y="707"/>
                  </a:cubicBezTo>
                  <a:cubicBezTo>
                    <a:pt x="270" y="703"/>
                    <a:pt x="270" y="703"/>
                    <a:pt x="270" y="703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81" y="707"/>
                    <a:pt x="281" y="707"/>
                    <a:pt x="281" y="707"/>
                  </a:cubicBezTo>
                  <a:cubicBezTo>
                    <a:pt x="283" y="702"/>
                    <a:pt x="283" y="702"/>
                    <a:pt x="283" y="702"/>
                  </a:cubicBezTo>
                  <a:cubicBezTo>
                    <a:pt x="285" y="708"/>
                    <a:pt x="285" y="708"/>
                    <a:pt x="285" y="708"/>
                  </a:cubicBezTo>
                  <a:cubicBezTo>
                    <a:pt x="290" y="703"/>
                    <a:pt x="290" y="703"/>
                    <a:pt x="290" y="703"/>
                  </a:cubicBezTo>
                  <a:cubicBezTo>
                    <a:pt x="290" y="703"/>
                    <a:pt x="293" y="708"/>
                    <a:pt x="296" y="707"/>
                  </a:cubicBezTo>
                  <a:cubicBezTo>
                    <a:pt x="299" y="706"/>
                    <a:pt x="298" y="699"/>
                    <a:pt x="298" y="699"/>
                  </a:cubicBezTo>
                  <a:cubicBezTo>
                    <a:pt x="304" y="696"/>
                    <a:pt x="304" y="696"/>
                    <a:pt x="304" y="696"/>
                  </a:cubicBezTo>
                  <a:cubicBezTo>
                    <a:pt x="304" y="696"/>
                    <a:pt x="301" y="687"/>
                    <a:pt x="304" y="685"/>
                  </a:cubicBezTo>
                  <a:cubicBezTo>
                    <a:pt x="307" y="683"/>
                    <a:pt x="309" y="688"/>
                    <a:pt x="309" y="688"/>
                  </a:cubicBezTo>
                  <a:cubicBezTo>
                    <a:pt x="318" y="683"/>
                    <a:pt x="318" y="683"/>
                    <a:pt x="318" y="683"/>
                  </a:cubicBezTo>
                  <a:cubicBezTo>
                    <a:pt x="318" y="683"/>
                    <a:pt x="318" y="677"/>
                    <a:pt x="322" y="677"/>
                  </a:cubicBezTo>
                  <a:cubicBezTo>
                    <a:pt x="326" y="677"/>
                    <a:pt x="326" y="679"/>
                    <a:pt x="326" y="679"/>
                  </a:cubicBezTo>
                  <a:cubicBezTo>
                    <a:pt x="332" y="678"/>
                    <a:pt x="332" y="678"/>
                    <a:pt x="332" y="678"/>
                  </a:cubicBezTo>
                  <a:cubicBezTo>
                    <a:pt x="332" y="678"/>
                    <a:pt x="333" y="684"/>
                    <a:pt x="337" y="685"/>
                  </a:cubicBezTo>
                  <a:cubicBezTo>
                    <a:pt x="340" y="685"/>
                    <a:pt x="345" y="682"/>
                    <a:pt x="345" y="685"/>
                  </a:cubicBezTo>
                  <a:cubicBezTo>
                    <a:pt x="345" y="689"/>
                    <a:pt x="337" y="691"/>
                    <a:pt x="337" y="691"/>
                  </a:cubicBezTo>
                  <a:cubicBezTo>
                    <a:pt x="338" y="696"/>
                    <a:pt x="338" y="696"/>
                    <a:pt x="338" y="696"/>
                  </a:cubicBezTo>
                  <a:cubicBezTo>
                    <a:pt x="341" y="694"/>
                    <a:pt x="341" y="694"/>
                    <a:pt x="341" y="694"/>
                  </a:cubicBezTo>
                  <a:cubicBezTo>
                    <a:pt x="342" y="701"/>
                    <a:pt x="342" y="701"/>
                    <a:pt x="342" y="701"/>
                  </a:cubicBezTo>
                  <a:cubicBezTo>
                    <a:pt x="352" y="703"/>
                    <a:pt x="352" y="703"/>
                    <a:pt x="352" y="703"/>
                  </a:cubicBezTo>
                  <a:cubicBezTo>
                    <a:pt x="352" y="706"/>
                    <a:pt x="352" y="706"/>
                    <a:pt x="352" y="706"/>
                  </a:cubicBezTo>
                  <a:cubicBezTo>
                    <a:pt x="346" y="706"/>
                    <a:pt x="346" y="706"/>
                    <a:pt x="346" y="706"/>
                  </a:cubicBezTo>
                  <a:cubicBezTo>
                    <a:pt x="348" y="713"/>
                    <a:pt x="348" y="713"/>
                    <a:pt x="348" y="713"/>
                  </a:cubicBezTo>
                  <a:cubicBezTo>
                    <a:pt x="357" y="709"/>
                    <a:pt x="357" y="709"/>
                    <a:pt x="357" y="709"/>
                  </a:cubicBezTo>
                  <a:cubicBezTo>
                    <a:pt x="357" y="709"/>
                    <a:pt x="357" y="716"/>
                    <a:pt x="359" y="718"/>
                  </a:cubicBezTo>
                  <a:cubicBezTo>
                    <a:pt x="361" y="720"/>
                    <a:pt x="364" y="725"/>
                    <a:pt x="363" y="732"/>
                  </a:cubicBezTo>
                  <a:cubicBezTo>
                    <a:pt x="363" y="738"/>
                    <a:pt x="361" y="741"/>
                    <a:pt x="361" y="748"/>
                  </a:cubicBezTo>
                  <a:cubicBezTo>
                    <a:pt x="361" y="753"/>
                    <a:pt x="367" y="760"/>
                    <a:pt x="367" y="760"/>
                  </a:cubicBezTo>
                  <a:cubicBezTo>
                    <a:pt x="391" y="756"/>
                    <a:pt x="391" y="756"/>
                    <a:pt x="391" y="756"/>
                  </a:cubicBezTo>
                  <a:cubicBezTo>
                    <a:pt x="391" y="756"/>
                    <a:pt x="388" y="767"/>
                    <a:pt x="381" y="768"/>
                  </a:cubicBezTo>
                  <a:cubicBezTo>
                    <a:pt x="374" y="770"/>
                    <a:pt x="366" y="769"/>
                    <a:pt x="362" y="772"/>
                  </a:cubicBezTo>
                  <a:cubicBezTo>
                    <a:pt x="358" y="776"/>
                    <a:pt x="350" y="784"/>
                    <a:pt x="346" y="786"/>
                  </a:cubicBezTo>
                  <a:cubicBezTo>
                    <a:pt x="342" y="788"/>
                    <a:pt x="331" y="789"/>
                    <a:pt x="331" y="789"/>
                  </a:cubicBezTo>
                  <a:cubicBezTo>
                    <a:pt x="330" y="799"/>
                    <a:pt x="330" y="799"/>
                    <a:pt x="330" y="799"/>
                  </a:cubicBezTo>
                  <a:cubicBezTo>
                    <a:pt x="323" y="801"/>
                    <a:pt x="323" y="801"/>
                    <a:pt x="323" y="801"/>
                  </a:cubicBezTo>
                  <a:cubicBezTo>
                    <a:pt x="323" y="801"/>
                    <a:pt x="321" y="810"/>
                    <a:pt x="321" y="814"/>
                  </a:cubicBezTo>
                  <a:cubicBezTo>
                    <a:pt x="321" y="818"/>
                    <a:pt x="326" y="823"/>
                    <a:pt x="326" y="823"/>
                  </a:cubicBezTo>
                  <a:cubicBezTo>
                    <a:pt x="326" y="823"/>
                    <a:pt x="323" y="823"/>
                    <a:pt x="321" y="825"/>
                  </a:cubicBezTo>
                  <a:cubicBezTo>
                    <a:pt x="318" y="827"/>
                    <a:pt x="317" y="831"/>
                    <a:pt x="317" y="831"/>
                  </a:cubicBezTo>
                  <a:cubicBezTo>
                    <a:pt x="313" y="834"/>
                    <a:pt x="313" y="834"/>
                    <a:pt x="313" y="834"/>
                  </a:cubicBezTo>
                  <a:cubicBezTo>
                    <a:pt x="314" y="838"/>
                    <a:pt x="314" y="838"/>
                    <a:pt x="314" y="838"/>
                  </a:cubicBezTo>
                  <a:cubicBezTo>
                    <a:pt x="322" y="836"/>
                    <a:pt x="322" y="836"/>
                    <a:pt x="322" y="836"/>
                  </a:cubicBezTo>
                  <a:cubicBezTo>
                    <a:pt x="321" y="842"/>
                    <a:pt x="321" y="842"/>
                    <a:pt x="321" y="842"/>
                  </a:cubicBezTo>
                  <a:cubicBezTo>
                    <a:pt x="327" y="840"/>
                    <a:pt x="327" y="840"/>
                    <a:pt x="327" y="840"/>
                  </a:cubicBezTo>
                  <a:cubicBezTo>
                    <a:pt x="328" y="842"/>
                    <a:pt x="328" y="842"/>
                    <a:pt x="328" y="842"/>
                  </a:cubicBezTo>
                  <a:cubicBezTo>
                    <a:pt x="337" y="842"/>
                    <a:pt x="337" y="842"/>
                    <a:pt x="337" y="842"/>
                  </a:cubicBezTo>
                  <a:cubicBezTo>
                    <a:pt x="337" y="842"/>
                    <a:pt x="339" y="846"/>
                    <a:pt x="342" y="846"/>
                  </a:cubicBezTo>
                  <a:cubicBezTo>
                    <a:pt x="346" y="845"/>
                    <a:pt x="349" y="840"/>
                    <a:pt x="352" y="843"/>
                  </a:cubicBezTo>
                  <a:cubicBezTo>
                    <a:pt x="355" y="847"/>
                    <a:pt x="345" y="850"/>
                    <a:pt x="345" y="850"/>
                  </a:cubicBezTo>
                  <a:cubicBezTo>
                    <a:pt x="345" y="850"/>
                    <a:pt x="344" y="860"/>
                    <a:pt x="340" y="859"/>
                  </a:cubicBezTo>
                  <a:cubicBezTo>
                    <a:pt x="336" y="858"/>
                    <a:pt x="323" y="857"/>
                    <a:pt x="323" y="857"/>
                  </a:cubicBezTo>
                  <a:cubicBezTo>
                    <a:pt x="323" y="857"/>
                    <a:pt x="316" y="863"/>
                    <a:pt x="312" y="864"/>
                  </a:cubicBezTo>
                  <a:cubicBezTo>
                    <a:pt x="309" y="865"/>
                    <a:pt x="297" y="866"/>
                    <a:pt x="301" y="879"/>
                  </a:cubicBezTo>
                  <a:cubicBezTo>
                    <a:pt x="306" y="891"/>
                    <a:pt x="314" y="889"/>
                    <a:pt x="321" y="886"/>
                  </a:cubicBezTo>
                  <a:cubicBezTo>
                    <a:pt x="328" y="883"/>
                    <a:pt x="336" y="879"/>
                    <a:pt x="341" y="886"/>
                  </a:cubicBezTo>
                  <a:cubicBezTo>
                    <a:pt x="346" y="891"/>
                    <a:pt x="363" y="907"/>
                    <a:pt x="367" y="906"/>
                  </a:cubicBezTo>
                  <a:cubicBezTo>
                    <a:pt x="373" y="906"/>
                    <a:pt x="378" y="904"/>
                    <a:pt x="385" y="913"/>
                  </a:cubicBezTo>
                  <a:cubicBezTo>
                    <a:pt x="391" y="922"/>
                    <a:pt x="390" y="931"/>
                    <a:pt x="390" y="931"/>
                  </a:cubicBezTo>
                  <a:cubicBezTo>
                    <a:pt x="393" y="931"/>
                    <a:pt x="393" y="931"/>
                    <a:pt x="393" y="931"/>
                  </a:cubicBezTo>
                  <a:cubicBezTo>
                    <a:pt x="397" y="925"/>
                    <a:pt x="397" y="925"/>
                    <a:pt x="397" y="925"/>
                  </a:cubicBezTo>
                  <a:cubicBezTo>
                    <a:pt x="402" y="925"/>
                    <a:pt x="402" y="925"/>
                    <a:pt x="402" y="925"/>
                  </a:cubicBezTo>
                  <a:cubicBezTo>
                    <a:pt x="402" y="925"/>
                    <a:pt x="402" y="921"/>
                    <a:pt x="406" y="920"/>
                  </a:cubicBezTo>
                  <a:cubicBezTo>
                    <a:pt x="408" y="920"/>
                    <a:pt x="408" y="920"/>
                    <a:pt x="408" y="920"/>
                  </a:cubicBezTo>
                  <a:cubicBezTo>
                    <a:pt x="408" y="320"/>
                    <a:pt x="408" y="320"/>
                    <a:pt x="408" y="320"/>
                  </a:cubicBezTo>
                  <a:cubicBezTo>
                    <a:pt x="399" y="324"/>
                    <a:pt x="387" y="331"/>
                    <a:pt x="379" y="32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9" name="Aserbaidschan" descr="© INSCALE GmbH, 05.05.2010&#10;http://www.presentationload.com/">
              <a:extLst>
                <a:ext uri="{FF2B5EF4-FFF2-40B4-BE49-F238E27FC236}">
                  <a16:creationId xmlns:a16="http://schemas.microsoft.com/office/drawing/2014/main" id="{5529BB09-426F-5E45-9E22-E62931A758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01070" y="4768787"/>
              <a:ext cx="542930" cy="584187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0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BFDF641-D34A-5444-AC30-FB96ABFD25A0}"/>
                </a:ext>
              </a:extLst>
            </p:cNvPr>
            <p:cNvSpPr>
              <a:spLocks/>
            </p:cNvSpPr>
            <p:nvPr/>
          </p:nvSpPr>
          <p:spPr bwMode="gray">
            <a:xfrm>
              <a:off x="8635723" y="5098836"/>
              <a:ext cx="508277" cy="696405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Irak" descr="© INSCALE GmbH, 05.05.2010&#10;http://www.presentationload.com/">
              <a:extLst>
                <a:ext uri="{FF2B5EF4-FFF2-40B4-BE49-F238E27FC236}">
                  <a16:creationId xmlns:a16="http://schemas.microsoft.com/office/drawing/2014/main" id="{9C4718FA-0804-CE45-8B48-D61ECC20E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98088" y="5654970"/>
              <a:ext cx="745912" cy="1082562"/>
            </a:xfrm>
            <a:custGeom>
              <a:avLst/>
              <a:gdLst/>
              <a:ahLst/>
              <a:cxnLst>
                <a:cxn ang="0">
                  <a:pos x="312" y="46"/>
                </a:cxn>
                <a:cxn ang="0">
                  <a:pos x="312" y="47"/>
                </a:cxn>
                <a:cxn ang="0">
                  <a:pos x="306" y="42"/>
                </a:cxn>
                <a:cxn ang="0">
                  <a:pos x="292" y="55"/>
                </a:cxn>
                <a:cxn ang="0">
                  <a:pos x="276" y="50"/>
                </a:cxn>
                <a:cxn ang="0">
                  <a:pos x="264" y="60"/>
                </a:cxn>
                <a:cxn ang="0">
                  <a:pos x="264" y="49"/>
                </a:cxn>
                <a:cxn ang="0">
                  <a:pos x="253" y="44"/>
                </a:cxn>
                <a:cxn ang="0">
                  <a:pos x="245" y="31"/>
                </a:cxn>
                <a:cxn ang="0">
                  <a:pos x="234" y="35"/>
                </a:cxn>
                <a:cxn ang="0">
                  <a:pos x="227" y="20"/>
                </a:cxn>
                <a:cxn ang="0">
                  <a:pos x="213" y="21"/>
                </a:cxn>
                <a:cxn ang="0">
                  <a:pos x="211" y="18"/>
                </a:cxn>
                <a:cxn ang="0">
                  <a:pos x="214" y="8"/>
                </a:cxn>
                <a:cxn ang="0">
                  <a:pos x="203" y="7"/>
                </a:cxn>
                <a:cxn ang="0">
                  <a:pos x="200" y="2"/>
                </a:cxn>
                <a:cxn ang="0">
                  <a:pos x="191" y="3"/>
                </a:cxn>
                <a:cxn ang="0">
                  <a:pos x="182" y="22"/>
                </a:cxn>
                <a:cxn ang="0">
                  <a:pos x="175" y="20"/>
                </a:cxn>
                <a:cxn ang="0">
                  <a:pos x="168" y="5"/>
                </a:cxn>
                <a:cxn ang="0">
                  <a:pos x="155" y="18"/>
                </a:cxn>
                <a:cxn ang="0">
                  <a:pos x="126" y="22"/>
                </a:cxn>
                <a:cxn ang="0">
                  <a:pos x="126" y="26"/>
                </a:cxn>
                <a:cxn ang="0">
                  <a:pos x="113" y="26"/>
                </a:cxn>
                <a:cxn ang="0">
                  <a:pos x="110" y="33"/>
                </a:cxn>
                <a:cxn ang="0">
                  <a:pos x="90" y="33"/>
                </a:cxn>
                <a:cxn ang="0">
                  <a:pos x="96" y="50"/>
                </a:cxn>
                <a:cxn ang="0">
                  <a:pos x="84" y="56"/>
                </a:cxn>
                <a:cxn ang="0">
                  <a:pos x="85" y="69"/>
                </a:cxn>
                <a:cxn ang="0">
                  <a:pos x="79" y="77"/>
                </a:cxn>
                <a:cxn ang="0">
                  <a:pos x="70" y="101"/>
                </a:cxn>
                <a:cxn ang="0">
                  <a:pos x="51" y="117"/>
                </a:cxn>
                <a:cxn ang="0">
                  <a:pos x="57" y="147"/>
                </a:cxn>
                <a:cxn ang="0">
                  <a:pos x="72" y="164"/>
                </a:cxn>
                <a:cxn ang="0">
                  <a:pos x="77" y="200"/>
                </a:cxn>
                <a:cxn ang="0">
                  <a:pos x="90" y="226"/>
                </a:cxn>
                <a:cxn ang="0">
                  <a:pos x="91" y="239"/>
                </a:cxn>
                <a:cxn ang="0">
                  <a:pos x="88" y="240"/>
                </a:cxn>
                <a:cxn ang="0">
                  <a:pos x="89" y="256"/>
                </a:cxn>
                <a:cxn ang="0">
                  <a:pos x="87" y="257"/>
                </a:cxn>
                <a:cxn ang="0">
                  <a:pos x="0" y="371"/>
                </a:cxn>
                <a:cxn ang="0">
                  <a:pos x="57" y="432"/>
                </a:cxn>
                <a:cxn ang="0">
                  <a:pos x="101" y="425"/>
                </a:cxn>
                <a:cxn ang="0">
                  <a:pos x="203" y="436"/>
                </a:cxn>
                <a:cxn ang="0">
                  <a:pos x="298" y="438"/>
                </a:cxn>
                <a:cxn ang="0">
                  <a:pos x="312" y="455"/>
                </a:cxn>
                <a:cxn ang="0">
                  <a:pos x="312" y="46"/>
                </a:cxn>
              </a:cxnLst>
              <a:rect l="0" t="0" r="r" b="b"/>
              <a:pathLst>
                <a:path w="312" h="455">
                  <a:moveTo>
                    <a:pt x="312" y="46"/>
                  </a:moveTo>
                  <a:cubicBezTo>
                    <a:pt x="312" y="47"/>
                    <a:pt x="312" y="47"/>
                    <a:pt x="312" y="47"/>
                  </a:cubicBezTo>
                  <a:cubicBezTo>
                    <a:pt x="306" y="42"/>
                    <a:pt x="306" y="42"/>
                    <a:pt x="306" y="42"/>
                  </a:cubicBezTo>
                  <a:cubicBezTo>
                    <a:pt x="306" y="42"/>
                    <a:pt x="297" y="52"/>
                    <a:pt x="292" y="55"/>
                  </a:cubicBezTo>
                  <a:cubicBezTo>
                    <a:pt x="286" y="57"/>
                    <a:pt x="281" y="51"/>
                    <a:pt x="276" y="50"/>
                  </a:cubicBezTo>
                  <a:cubicBezTo>
                    <a:pt x="271" y="49"/>
                    <a:pt x="264" y="60"/>
                    <a:pt x="264" y="6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4" y="49"/>
                    <a:pt x="258" y="48"/>
                    <a:pt x="253" y="44"/>
                  </a:cubicBezTo>
                  <a:cubicBezTo>
                    <a:pt x="250" y="39"/>
                    <a:pt x="245" y="31"/>
                    <a:pt x="245" y="31"/>
                  </a:cubicBezTo>
                  <a:cubicBezTo>
                    <a:pt x="245" y="31"/>
                    <a:pt x="242" y="36"/>
                    <a:pt x="234" y="35"/>
                  </a:cubicBezTo>
                  <a:cubicBezTo>
                    <a:pt x="227" y="34"/>
                    <a:pt x="230" y="22"/>
                    <a:pt x="227" y="20"/>
                  </a:cubicBezTo>
                  <a:cubicBezTo>
                    <a:pt x="222" y="18"/>
                    <a:pt x="213" y="21"/>
                    <a:pt x="213" y="21"/>
                  </a:cubicBezTo>
                  <a:cubicBezTo>
                    <a:pt x="211" y="18"/>
                    <a:pt x="211" y="18"/>
                    <a:pt x="211" y="18"/>
                  </a:cubicBezTo>
                  <a:cubicBezTo>
                    <a:pt x="211" y="18"/>
                    <a:pt x="214" y="14"/>
                    <a:pt x="214" y="8"/>
                  </a:cubicBezTo>
                  <a:cubicBezTo>
                    <a:pt x="213" y="4"/>
                    <a:pt x="203" y="7"/>
                    <a:pt x="203" y="7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2"/>
                    <a:pt x="193" y="0"/>
                    <a:pt x="191" y="3"/>
                  </a:cubicBezTo>
                  <a:cubicBezTo>
                    <a:pt x="188" y="7"/>
                    <a:pt x="182" y="22"/>
                    <a:pt x="182" y="22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75" y="20"/>
                    <a:pt x="180" y="5"/>
                    <a:pt x="168" y="5"/>
                  </a:cubicBezTo>
                  <a:cubicBezTo>
                    <a:pt x="156" y="5"/>
                    <a:pt x="155" y="18"/>
                    <a:pt x="155" y="18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5" y="65"/>
                    <a:pt x="85" y="69"/>
                  </a:cubicBezTo>
                  <a:cubicBezTo>
                    <a:pt x="85" y="72"/>
                    <a:pt x="79" y="77"/>
                    <a:pt x="79" y="77"/>
                  </a:cubicBezTo>
                  <a:cubicBezTo>
                    <a:pt x="79" y="77"/>
                    <a:pt x="77" y="90"/>
                    <a:pt x="70" y="101"/>
                  </a:cubicBezTo>
                  <a:cubicBezTo>
                    <a:pt x="65" y="113"/>
                    <a:pt x="56" y="111"/>
                    <a:pt x="51" y="117"/>
                  </a:cubicBezTo>
                  <a:cubicBezTo>
                    <a:pt x="47" y="125"/>
                    <a:pt x="53" y="139"/>
                    <a:pt x="57" y="147"/>
                  </a:cubicBezTo>
                  <a:cubicBezTo>
                    <a:pt x="61" y="157"/>
                    <a:pt x="68" y="156"/>
                    <a:pt x="72" y="164"/>
                  </a:cubicBezTo>
                  <a:cubicBezTo>
                    <a:pt x="78" y="172"/>
                    <a:pt x="73" y="184"/>
                    <a:pt x="77" y="200"/>
                  </a:cubicBezTo>
                  <a:cubicBezTo>
                    <a:pt x="80" y="215"/>
                    <a:pt x="90" y="226"/>
                    <a:pt x="90" y="226"/>
                  </a:cubicBezTo>
                  <a:cubicBezTo>
                    <a:pt x="91" y="239"/>
                    <a:pt x="91" y="239"/>
                    <a:pt x="91" y="239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57" y="432"/>
                    <a:pt x="57" y="432"/>
                    <a:pt x="57" y="432"/>
                  </a:cubicBezTo>
                  <a:cubicBezTo>
                    <a:pt x="57" y="432"/>
                    <a:pt x="87" y="425"/>
                    <a:pt x="101" y="425"/>
                  </a:cubicBezTo>
                  <a:cubicBezTo>
                    <a:pt x="114" y="425"/>
                    <a:pt x="176" y="436"/>
                    <a:pt x="203" y="436"/>
                  </a:cubicBezTo>
                  <a:cubicBezTo>
                    <a:pt x="230" y="438"/>
                    <a:pt x="298" y="438"/>
                    <a:pt x="298" y="438"/>
                  </a:cubicBezTo>
                  <a:cubicBezTo>
                    <a:pt x="312" y="455"/>
                    <a:pt x="312" y="455"/>
                    <a:pt x="312" y="455"/>
                  </a:cubicBezTo>
                  <a:lnTo>
                    <a:pt x="312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2" name="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34E1E18-0A34-5041-93BF-BF8328D2C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85402" y="889056"/>
              <a:ext cx="3658598" cy="4107465"/>
            </a:xfrm>
            <a:custGeom>
              <a:avLst/>
              <a:gdLst/>
              <a:ahLst/>
              <a:cxnLst>
                <a:cxn ang="0">
                  <a:pos x="24" y="1219"/>
                </a:cxn>
                <a:cxn ang="0">
                  <a:pos x="8" y="1240"/>
                </a:cxn>
                <a:cxn ang="0">
                  <a:pos x="229" y="230"/>
                </a:cxn>
                <a:cxn ang="0">
                  <a:pos x="352" y="472"/>
                </a:cxn>
                <a:cxn ang="0">
                  <a:pos x="677" y="24"/>
                </a:cxn>
                <a:cxn ang="0">
                  <a:pos x="626" y="78"/>
                </a:cxn>
                <a:cxn ang="0">
                  <a:pos x="603" y="203"/>
                </a:cxn>
                <a:cxn ang="0">
                  <a:pos x="448" y="151"/>
                </a:cxn>
                <a:cxn ang="0">
                  <a:pos x="531" y="298"/>
                </a:cxn>
                <a:cxn ang="0">
                  <a:pos x="472" y="442"/>
                </a:cxn>
                <a:cxn ang="0">
                  <a:pos x="434" y="468"/>
                </a:cxn>
                <a:cxn ang="0">
                  <a:pos x="423" y="504"/>
                </a:cxn>
                <a:cxn ang="0">
                  <a:pos x="396" y="529"/>
                </a:cxn>
                <a:cxn ang="0">
                  <a:pos x="342" y="498"/>
                </a:cxn>
                <a:cxn ang="0">
                  <a:pos x="275" y="414"/>
                </a:cxn>
                <a:cxn ang="0">
                  <a:pos x="257" y="401"/>
                </a:cxn>
                <a:cxn ang="0">
                  <a:pos x="215" y="380"/>
                </a:cxn>
                <a:cxn ang="0">
                  <a:pos x="297" y="390"/>
                </a:cxn>
                <a:cxn ang="0">
                  <a:pos x="444" y="343"/>
                </a:cxn>
                <a:cxn ang="0">
                  <a:pos x="386" y="262"/>
                </a:cxn>
                <a:cxn ang="0">
                  <a:pos x="269" y="230"/>
                </a:cxn>
                <a:cxn ang="0">
                  <a:pos x="212" y="247"/>
                </a:cxn>
                <a:cxn ang="0">
                  <a:pos x="186" y="232"/>
                </a:cxn>
                <a:cxn ang="0">
                  <a:pos x="188" y="225"/>
                </a:cxn>
                <a:cxn ang="0">
                  <a:pos x="143" y="237"/>
                </a:cxn>
                <a:cxn ang="0">
                  <a:pos x="160" y="363"/>
                </a:cxn>
                <a:cxn ang="0">
                  <a:pos x="216" y="541"/>
                </a:cxn>
                <a:cxn ang="0">
                  <a:pos x="237" y="775"/>
                </a:cxn>
                <a:cxn ang="0">
                  <a:pos x="246" y="825"/>
                </a:cxn>
                <a:cxn ang="0">
                  <a:pos x="239" y="876"/>
                </a:cxn>
                <a:cxn ang="0">
                  <a:pos x="242" y="1006"/>
                </a:cxn>
                <a:cxn ang="0">
                  <a:pos x="289" y="1074"/>
                </a:cxn>
                <a:cxn ang="0">
                  <a:pos x="413" y="1136"/>
                </a:cxn>
                <a:cxn ang="0">
                  <a:pos x="490" y="1247"/>
                </a:cxn>
                <a:cxn ang="0">
                  <a:pos x="560" y="1265"/>
                </a:cxn>
                <a:cxn ang="0">
                  <a:pos x="648" y="1333"/>
                </a:cxn>
                <a:cxn ang="0">
                  <a:pos x="764" y="1354"/>
                </a:cxn>
                <a:cxn ang="0">
                  <a:pos x="862" y="1350"/>
                </a:cxn>
                <a:cxn ang="0">
                  <a:pos x="900" y="1455"/>
                </a:cxn>
                <a:cxn ang="0">
                  <a:pos x="871" y="1537"/>
                </a:cxn>
                <a:cxn ang="0">
                  <a:pos x="862" y="1623"/>
                </a:cxn>
                <a:cxn ang="0">
                  <a:pos x="903" y="1684"/>
                </a:cxn>
                <a:cxn ang="0">
                  <a:pos x="1047" y="1703"/>
                </a:cxn>
                <a:cxn ang="0">
                  <a:pos x="1233" y="1674"/>
                </a:cxn>
                <a:cxn ang="0">
                  <a:pos x="1408" y="1689"/>
                </a:cxn>
                <a:cxn ang="0">
                  <a:pos x="1341" y="1543"/>
                </a:cxn>
                <a:cxn ang="0">
                  <a:pos x="1283" y="1465"/>
                </a:cxn>
                <a:cxn ang="0">
                  <a:pos x="1320" y="1398"/>
                </a:cxn>
                <a:cxn ang="0">
                  <a:pos x="1281" y="1326"/>
                </a:cxn>
                <a:cxn ang="0">
                  <a:pos x="1133" y="1184"/>
                </a:cxn>
                <a:cxn ang="0">
                  <a:pos x="1183" y="1074"/>
                </a:cxn>
                <a:cxn ang="0">
                  <a:pos x="1253" y="984"/>
                </a:cxn>
                <a:cxn ang="0">
                  <a:pos x="1379" y="969"/>
                </a:cxn>
                <a:cxn ang="0">
                  <a:pos x="1488" y="872"/>
                </a:cxn>
                <a:cxn ang="0">
                  <a:pos x="1496" y="707"/>
                </a:cxn>
                <a:cxn ang="0">
                  <a:pos x="1446" y="669"/>
                </a:cxn>
                <a:cxn ang="0">
                  <a:pos x="1519" y="575"/>
                </a:cxn>
                <a:cxn ang="0">
                  <a:pos x="266" y="764"/>
                </a:cxn>
                <a:cxn ang="0">
                  <a:pos x="356" y="755"/>
                </a:cxn>
                <a:cxn ang="0">
                  <a:pos x="381" y="658"/>
                </a:cxn>
                <a:cxn ang="0">
                  <a:pos x="422" y="650"/>
                </a:cxn>
                <a:cxn ang="0">
                  <a:pos x="464" y="712"/>
                </a:cxn>
              </a:cxnLst>
              <a:rect l="0" t="0" r="r" b="b"/>
              <a:pathLst>
                <a:path w="1532" h="1721">
                  <a:moveTo>
                    <a:pt x="113" y="1210"/>
                  </a:moveTo>
                  <a:cubicBezTo>
                    <a:pt x="110" y="1208"/>
                    <a:pt x="101" y="1201"/>
                    <a:pt x="101" y="1201"/>
                  </a:cubicBezTo>
                  <a:cubicBezTo>
                    <a:pt x="90" y="1201"/>
                    <a:pt x="90" y="1201"/>
                    <a:pt x="90" y="1201"/>
                  </a:cubicBezTo>
                  <a:cubicBezTo>
                    <a:pt x="80" y="1205"/>
                    <a:pt x="80" y="1205"/>
                    <a:pt x="80" y="1205"/>
                  </a:cubicBezTo>
                  <a:cubicBezTo>
                    <a:pt x="79" y="1201"/>
                    <a:pt x="79" y="1201"/>
                    <a:pt x="79" y="1201"/>
                  </a:cubicBezTo>
                  <a:cubicBezTo>
                    <a:pt x="79" y="1201"/>
                    <a:pt x="73" y="1203"/>
                    <a:pt x="69" y="1200"/>
                  </a:cubicBezTo>
                  <a:cubicBezTo>
                    <a:pt x="64" y="1198"/>
                    <a:pt x="62" y="1197"/>
                    <a:pt x="62" y="1197"/>
                  </a:cubicBezTo>
                  <a:cubicBezTo>
                    <a:pt x="56" y="1198"/>
                    <a:pt x="56" y="1198"/>
                    <a:pt x="56" y="1198"/>
                  </a:cubicBezTo>
                  <a:cubicBezTo>
                    <a:pt x="51" y="1194"/>
                    <a:pt x="51" y="1194"/>
                    <a:pt x="51" y="1194"/>
                  </a:cubicBezTo>
                  <a:cubicBezTo>
                    <a:pt x="49" y="1199"/>
                    <a:pt x="49" y="1199"/>
                    <a:pt x="49" y="1199"/>
                  </a:cubicBezTo>
                  <a:cubicBezTo>
                    <a:pt x="46" y="1199"/>
                    <a:pt x="46" y="1199"/>
                    <a:pt x="46" y="1199"/>
                  </a:cubicBezTo>
                  <a:cubicBezTo>
                    <a:pt x="51" y="1215"/>
                    <a:pt x="51" y="1215"/>
                    <a:pt x="51" y="1215"/>
                  </a:cubicBezTo>
                  <a:cubicBezTo>
                    <a:pt x="44" y="1219"/>
                    <a:pt x="44" y="1219"/>
                    <a:pt x="44" y="1219"/>
                  </a:cubicBezTo>
                  <a:cubicBezTo>
                    <a:pt x="37" y="1219"/>
                    <a:pt x="37" y="1219"/>
                    <a:pt x="37" y="1219"/>
                  </a:cubicBezTo>
                  <a:cubicBezTo>
                    <a:pt x="37" y="1219"/>
                    <a:pt x="33" y="1218"/>
                    <a:pt x="32" y="1218"/>
                  </a:cubicBezTo>
                  <a:cubicBezTo>
                    <a:pt x="31" y="1218"/>
                    <a:pt x="24" y="1219"/>
                    <a:pt x="24" y="1219"/>
                  </a:cubicBezTo>
                  <a:cubicBezTo>
                    <a:pt x="36" y="1202"/>
                    <a:pt x="36" y="1202"/>
                    <a:pt x="36" y="1202"/>
                  </a:cubicBezTo>
                  <a:cubicBezTo>
                    <a:pt x="36" y="1198"/>
                    <a:pt x="36" y="1198"/>
                    <a:pt x="36" y="1198"/>
                  </a:cubicBezTo>
                  <a:cubicBezTo>
                    <a:pt x="41" y="1193"/>
                    <a:pt x="41" y="1193"/>
                    <a:pt x="41" y="1193"/>
                  </a:cubicBezTo>
                  <a:cubicBezTo>
                    <a:pt x="39" y="1191"/>
                    <a:pt x="39" y="1191"/>
                    <a:pt x="39" y="1191"/>
                  </a:cubicBezTo>
                  <a:cubicBezTo>
                    <a:pt x="37" y="1192"/>
                    <a:pt x="37" y="1192"/>
                    <a:pt x="37" y="1192"/>
                  </a:cubicBezTo>
                  <a:cubicBezTo>
                    <a:pt x="32" y="1202"/>
                    <a:pt x="32" y="1202"/>
                    <a:pt x="32" y="1202"/>
                  </a:cubicBezTo>
                  <a:cubicBezTo>
                    <a:pt x="23" y="1215"/>
                    <a:pt x="23" y="1215"/>
                    <a:pt x="23" y="1215"/>
                  </a:cubicBezTo>
                  <a:cubicBezTo>
                    <a:pt x="20" y="1218"/>
                    <a:pt x="20" y="1218"/>
                    <a:pt x="20" y="1218"/>
                  </a:cubicBezTo>
                  <a:cubicBezTo>
                    <a:pt x="2" y="1221"/>
                    <a:pt x="2" y="1221"/>
                    <a:pt x="2" y="1221"/>
                  </a:cubicBezTo>
                  <a:cubicBezTo>
                    <a:pt x="0" y="1226"/>
                    <a:pt x="0" y="1226"/>
                    <a:pt x="0" y="1226"/>
                  </a:cubicBezTo>
                  <a:cubicBezTo>
                    <a:pt x="3" y="1230"/>
                    <a:pt x="3" y="1230"/>
                    <a:pt x="3" y="1230"/>
                  </a:cubicBezTo>
                  <a:cubicBezTo>
                    <a:pt x="0" y="1241"/>
                    <a:pt x="0" y="1241"/>
                    <a:pt x="0" y="1241"/>
                  </a:cubicBezTo>
                  <a:cubicBezTo>
                    <a:pt x="3" y="1242"/>
                    <a:pt x="3" y="1242"/>
                    <a:pt x="3" y="1242"/>
                  </a:cubicBezTo>
                  <a:cubicBezTo>
                    <a:pt x="4" y="1239"/>
                    <a:pt x="4" y="1239"/>
                    <a:pt x="4" y="1239"/>
                  </a:cubicBezTo>
                  <a:cubicBezTo>
                    <a:pt x="6" y="1237"/>
                    <a:pt x="6" y="1237"/>
                    <a:pt x="6" y="1237"/>
                  </a:cubicBezTo>
                  <a:cubicBezTo>
                    <a:pt x="8" y="1240"/>
                    <a:pt x="8" y="1240"/>
                    <a:pt x="8" y="1240"/>
                  </a:cubicBezTo>
                  <a:cubicBezTo>
                    <a:pt x="13" y="1235"/>
                    <a:pt x="13" y="1235"/>
                    <a:pt x="13" y="1235"/>
                  </a:cubicBezTo>
                  <a:cubicBezTo>
                    <a:pt x="21" y="1237"/>
                    <a:pt x="21" y="1237"/>
                    <a:pt x="21" y="1237"/>
                  </a:cubicBezTo>
                  <a:cubicBezTo>
                    <a:pt x="16" y="1239"/>
                    <a:pt x="16" y="1239"/>
                    <a:pt x="16" y="1239"/>
                  </a:cubicBezTo>
                  <a:cubicBezTo>
                    <a:pt x="16" y="1241"/>
                    <a:pt x="16" y="1241"/>
                    <a:pt x="16" y="1241"/>
                  </a:cubicBezTo>
                  <a:cubicBezTo>
                    <a:pt x="8" y="1246"/>
                    <a:pt x="8" y="1246"/>
                    <a:pt x="8" y="1246"/>
                  </a:cubicBezTo>
                  <a:cubicBezTo>
                    <a:pt x="6" y="1245"/>
                    <a:pt x="6" y="1245"/>
                    <a:pt x="6" y="1245"/>
                  </a:cubicBezTo>
                  <a:cubicBezTo>
                    <a:pt x="3" y="1253"/>
                    <a:pt x="3" y="1253"/>
                    <a:pt x="3" y="1253"/>
                  </a:cubicBezTo>
                  <a:cubicBezTo>
                    <a:pt x="11" y="1253"/>
                    <a:pt x="45" y="1255"/>
                    <a:pt x="58" y="1254"/>
                  </a:cubicBezTo>
                  <a:cubicBezTo>
                    <a:pt x="74" y="1254"/>
                    <a:pt x="113" y="1244"/>
                    <a:pt x="113" y="1244"/>
                  </a:cubicBezTo>
                  <a:cubicBezTo>
                    <a:pt x="113" y="1244"/>
                    <a:pt x="106" y="1237"/>
                    <a:pt x="107" y="1229"/>
                  </a:cubicBezTo>
                  <a:cubicBezTo>
                    <a:pt x="107" y="1223"/>
                    <a:pt x="109" y="1218"/>
                    <a:pt x="109" y="1218"/>
                  </a:cubicBezTo>
                  <a:cubicBezTo>
                    <a:pt x="109" y="1218"/>
                    <a:pt x="117" y="1213"/>
                    <a:pt x="113" y="1210"/>
                  </a:cubicBezTo>
                  <a:close/>
                  <a:moveTo>
                    <a:pt x="229" y="228"/>
                  </a:moveTo>
                  <a:cubicBezTo>
                    <a:pt x="222" y="228"/>
                    <a:pt x="222" y="228"/>
                    <a:pt x="222" y="228"/>
                  </a:cubicBezTo>
                  <a:cubicBezTo>
                    <a:pt x="219" y="232"/>
                    <a:pt x="219" y="232"/>
                    <a:pt x="219" y="232"/>
                  </a:cubicBezTo>
                  <a:cubicBezTo>
                    <a:pt x="229" y="230"/>
                    <a:pt x="229" y="230"/>
                    <a:pt x="229" y="230"/>
                  </a:cubicBezTo>
                  <a:lnTo>
                    <a:pt x="229" y="228"/>
                  </a:lnTo>
                  <a:close/>
                  <a:moveTo>
                    <a:pt x="246" y="829"/>
                  </a:moveTo>
                  <a:cubicBezTo>
                    <a:pt x="238" y="825"/>
                    <a:pt x="238" y="825"/>
                    <a:pt x="238" y="825"/>
                  </a:cubicBezTo>
                  <a:cubicBezTo>
                    <a:pt x="239" y="830"/>
                    <a:pt x="239" y="830"/>
                    <a:pt x="239" y="830"/>
                  </a:cubicBezTo>
                  <a:cubicBezTo>
                    <a:pt x="244" y="832"/>
                    <a:pt x="244" y="832"/>
                    <a:pt x="244" y="832"/>
                  </a:cubicBezTo>
                  <a:lnTo>
                    <a:pt x="246" y="829"/>
                  </a:lnTo>
                  <a:close/>
                  <a:moveTo>
                    <a:pt x="363" y="466"/>
                  </a:moveTo>
                  <a:cubicBezTo>
                    <a:pt x="365" y="470"/>
                    <a:pt x="365" y="470"/>
                    <a:pt x="365" y="470"/>
                  </a:cubicBezTo>
                  <a:cubicBezTo>
                    <a:pt x="372" y="462"/>
                    <a:pt x="372" y="462"/>
                    <a:pt x="372" y="462"/>
                  </a:cubicBezTo>
                  <a:lnTo>
                    <a:pt x="363" y="466"/>
                  </a:lnTo>
                  <a:close/>
                  <a:moveTo>
                    <a:pt x="352" y="472"/>
                  </a:moveTo>
                  <a:cubicBezTo>
                    <a:pt x="351" y="476"/>
                    <a:pt x="351" y="476"/>
                    <a:pt x="351" y="476"/>
                  </a:cubicBezTo>
                  <a:cubicBezTo>
                    <a:pt x="356" y="478"/>
                    <a:pt x="356" y="478"/>
                    <a:pt x="356" y="478"/>
                  </a:cubicBezTo>
                  <a:cubicBezTo>
                    <a:pt x="363" y="473"/>
                    <a:pt x="363" y="473"/>
                    <a:pt x="363" y="473"/>
                  </a:cubicBezTo>
                  <a:cubicBezTo>
                    <a:pt x="357" y="468"/>
                    <a:pt x="357" y="468"/>
                    <a:pt x="357" y="468"/>
                  </a:cubicBezTo>
                  <a:lnTo>
                    <a:pt x="352" y="472"/>
                  </a:lnTo>
                  <a:close/>
                  <a:moveTo>
                    <a:pt x="365" y="482"/>
                  </a:moveTo>
                  <a:cubicBezTo>
                    <a:pt x="369" y="478"/>
                    <a:pt x="367" y="475"/>
                    <a:pt x="360" y="480"/>
                  </a:cubicBezTo>
                  <a:cubicBezTo>
                    <a:pt x="360" y="480"/>
                    <a:pt x="362" y="485"/>
                    <a:pt x="365" y="482"/>
                  </a:cubicBezTo>
                  <a:close/>
                  <a:moveTo>
                    <a:pt x="1532" y="0"/>
                  </a:moveTo>
                  <a:cubicBezTo>
                    <a:pt x="716" y="0"/>
                    <a:pt x="716" y="0"/>
                    <a:pt x="716" y="0"/>
                  </a:cubicBezTo>
                  <a:cubicBezTo>
                    <a:pt x="712" y="19"/>
                    <a:pt x="712" y="19"/>
                    <a:pt x="712" y="19"/>
                  </a:cubicBezTo>
                  <a:cubicBezTo>
                    <a:pt x="712" y="19"/>
                    <a:pt x="721" y="31"/>
                    <a:pt x="720" y="35"/>
                  </a:cubicBezTo>
                  <a:cubicBezTo>
                    <a:pt x="719" y="39"/>
                    <a:pt x="708" y="33"/>
                    <a:pt x="708" y="33"/>
                  </a:cubicBezTo>
                  <a:cubicBezTo>
                    <a:pt x="699" y="34"/>
                    <a:pt x="699" y="34"/>
                    <a:pt x="699" y="34"/>
                  </a:cubicBezTo>
                  <a:cubicBezTo>
                    <a:pt x="699" y="34"/>
                    <a:pt x="698" y="39"/>
                    <a:pt x="698" y="42"/>
                  </a:cubicBezTo>
                  <a:cubicBezTo>
                    <a:pt x="698" y="46"/>
                    <a:pt x="694" y="46"/>
                    <a:pt x="690" y="46"/>
                  </a:cubicBezTo>
                  <a:cubicBezTo>
                    <a:pt x="684" y="47"/>
                    <a:pt x="681" y="55"/>
                    <a:pt x="681" y="55"/>
                  </a:cubicBezTo>
                  <a:cubicBezTo>
                    <a:pt x="681" y="55"/>
                    <a:pt x="678" y="50"/>
                    <a:pt x="679" y="46"/>
                  </a:cubicBezTo>
                  <a:cubicBezTo>
                    <a:pt x="681" y="41"/>
                    <a:pt x="693" y="39"/>
                    <a:pt x="693" y="39"/>
                  </a:cubicBezTo>
                  <a:cubicBezTo>
                    <a:pt x="693" y="39"/>
                    <a:pt x="691" y="30"/>
                    <a:pt x="686" y="29"/>
                  </a:cubicBezTo>
                  <a:cubicBezTo>
                    <a:pt x="683" y="28"/>
                    <a:pt x="677" y="24"/>
                    <a:pt x="677" y="24"/>
                  </a:cubicBezTo>
                  <a:cubicBezTo>
                    <a:pt x="677" y="16"/>
                    <a:pt x="677" y="16"/>
                    <a:pt x="677" y="16"/>
                  </a:cubicBezTo>
                  <a:cubicBezTo>
                    <a:pt x="675" y="15"/>
                    <a:pt x="675" y="15"/>
                    <a:pt x="675" y="15"/>
                  </a:cubicBezTo>
                  <a:cubicBezTo>
                    <a:pt x="675" y="15"/>
                    <a:pt x="676" y="9"/>
                    <a:pt x="672" y="9"/>
                  </a:cubicBezTo>
                  <a:cubicBezTo>
                    <a:pt x="669" y="9"/>
                    <a:pt x="667" y="14"/>
                    <a:pt x="667" y="14"/>
                  </a:cubicBezTo>
                  <a:cubicBezTo>
                    <a:pt x="667" y="14"/>
                    <a:pt x="665" y="10"/>
                    <a:pt x="663" y="10"/>
                  </a:cubicBezTo>
                  <a:cubicBezTo>
                    <a:pt x="661" y="10"/>
                    <a:pt x="654" y="18"/>
                    <a:pt x="652" y="27"/>
                  </a:cubicBezTo>
                  <a:cubicBezTo>
                    <a:pt x="650" y="34"/>
                    <a:pt x="651" y="41"/>
                    <a:pt x="651" y="41"/>
                  </a:cubicBezTo>
                  <a:cubicBezTo>
                    <a:pt x="651" y="41"/>
                    <a:pt x="655" y="43"/>
                    <a:pt x="660" y="47"/>
                  </a:cubicBezTo>
                  <a:cubicBezTo>
                    <a:pt x="664" y="50"/>
                    <a:pt x="664" y="57"/>
                    <a:pt x="660" y="62"/>
                  </a:cubicBezTo>
                  <a:cubicBezTo>
                    <a:pt x="657" y="67"/>
                    <a:pt x="651" y="53"/>
                    <a:pt x="651" y="53"/>
                  </a:cubicBezTo>
                  <a:cubicBezTo>
                    <a:pt x="647" y="53"/>
                    <a:pt x="647" y="53"/>
                    <a:pt x="647" y="53"/>
                  </a:cubicBezTo>
                  <a:cubicBezTo>
                    <a:pt x="649" y="45"/>
                    <a:pt x="649" y="45"/>
                    <a:pt x="649" y="45"/>
                  </a:cubicBezTo>
                  <a:cubicBezTo>
                    <a:pt x="649" y="45"/>
                    <a:pt x="644" y="51"/>
                    <a:pt x="643" y="55"/>
                  </a:cubicBezTo>
                  <a:cubicBezTo>
                    <a:pt x="642" y="58"/>
                    <a:pt x="637" y="62"/>
                    <a:pt x="632" y="63"/>
                  </a:cubicBezTo>
                  <a:cubicBezTo>
                    <a:pt x="627" y="63"/>
                    <a:pt x="625" y="71"/>
                    <a:pt x="625" y="71"/>
                  </a:cubicBezTo>
                  <a:cubicBezTo>
                    <a:pt x="626" y="78"/>
                    <a:pt x="626" y="78"/>
                    <a:pt x="626" y="78"/>
                  </a:cubicBezTo>
                  <a:cubicBezTo>
                    <a:pt x="626" y="78"/>
                    <a:pt x="627" y="72"/>
                    <a:pt x="630" y="70"/>
                  </a:cubicBezTo>
                  <a:cubicBezTo>
                    <a:pt x="633" y="67"/>
                    <a:pt x="635" y="65"/>
                    <a:pt x="637" y="66"/>
                  </a:cubicBezTo>
                  <a:cubicBezTo>
                    <a:pt x="641" y="66"/>
                    <a:pt x="637" y="71"/>
                    <a:pt x="634" y="74"/>
                  </a:cubicBezTo>
                  <a:cubicBezTo>
                    <a:pt x="630" y="77"/>
                    <a:pt x="623" y="81"/>
                    <a:pt x="620" y="89"/>
                  </a:cubicBezTo>
                  <a:cubicBezTo>
                    <a:pt x="618" y="96"/>
                    <a:pt x="619" y="112"/>
                    <a:pt x="619" y="112"/>
                  </a:cubicBezTo>
                  <a:cubicBezTo>
                    <a:pt x="615" y="113"/>
                    <a:pt x="615" y="113"/>
                    <a:pt x="615" y="113"/>
                  </a:cubicBezTo>
                  <a:cubicBezTo>
                    <a:pt x="602" y="133"/>
                    <a:pt x="602" y="133"/>
                    <a:pt x="602" y="133"/>
                  </a:cubicBezTo>
                  <a:cubicBezTo>
                    <a:pt x="593" y="135"/>
                    <a:pt x="593" y="135"/>
                    <a:pt x="593" y="135"/>
                  </a:cubicBezTo>
                  <a:cubicBezTo>
                    <a:pt x="602" y="143"/>
                    <a:pt x="602" y="143"/>
                    <a:pt x="602" y="143"/>
                  </a:cubicBezTo>
                  <a:cubicBezTo>
                    <a:pt x="609" y="142"/>
                    <a:pt x="609" y="142"/>
                    <a:pt x="609" y="142"/>
                  </a:cubicBezTo>
                  <a:cubicBezTo>
                    <a:pt x="612" y="146"/>
                    <a:pt x="612" y="146"/>
                    <a:pt x="612" y="146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47"/>
                    <a:pt x="587" y="155"/>
                    <a:pt x="586" y="161"/>
                  </a:cubicBezTo>
                  <a:cubicBezTo>
                    <a:pt x="584" y="168"/>
                    <a:pt x="596" y="184"/>
                    <a:pt x="596" y="184"/>
                  </a:cubicBezTo>
                  <a:cubicBezTo>
                    <a:pt x="594" y="187"/>
                    <a:pt x="594" y="187"/>
                    <a:pt x="594" y="187"/>
                  </a:cubicBezTo>
                  <a:cubicBezTo>
                    <a:pt x="594" y="187"/>
                    <a:pt x="604" y="198"/>
                    <a:pt x="603" y="203"/>
                  </a:cubicBezTo>
                  <a:cubicBezTo>
                    <a:pt x="602" y="209"/>
                    <a:pt x="596" y="208"/>
                    <a:pt x="596" y="208"/>
                  </a:cubicBezTo>
                  <a:cubicBezTo>
                    <a:pt x="596" y="208"/>
                    <a:pt x="593" y="215"/>
                    <a:pt x="590" y="218"/>
                  </a:cubicBezTo>
                  <a:cubicBezTo>
                    <a:pt x="588" y="221"/>
                    <a:pt x="576" y="224"/>
                    <a:pt x="576" y="224"/>
                  </a:cubicBezTo>
                  <a:cubicBezTo>
                    <a:pt x="576" y="224"/>
                    <a:pt x="571" y="232"/>
                    <a:pt x="566" y="232"/>
                  </a:cubicBezTo>
                  <a:cubicBezTo>
                    <a:pt x="561" y="233"/>
                    <a:pt x="547" y="216"/>
                    <a:pt x="547" y="216"/>
                  </a:cubicBezTo>
                  <a:cubicBezTo>
                    <a:pt x="526" y="214"/>
                    <a:pt x="526" y="214"/>
                    <a:pt x="526" y="214"/>
                  </a:cubicBezTo>
                  <a:cubicBezTo>
                    <a:pt x="528" y="192"/>
                    <a:pt x="528" y="192"/>
                    <a:pt x="528" y="192"/>
                  </a:cubicBezTo>
                  <a:cubicBezTo>
                    <a:pt x="521" y="186"/>
                    <a:pt x="521" y="186"/>
                    <a:pt x="521" y="186"/>
                  </a:cubicBezTo>
                  <a:cubicBezTo>
                    <a:pt x="535" y="174"/>
                    <a:pt x="535" y="174"/>
                    <a:pt x="535" y="174"/>
                  </a:cubicBezTo>
                  <a:cubicBezTo>
                    <a:pt x="551" y="162"/>
                    <a:pt x="551" y="162"/>
                    <a:pt x="551" y="162"/>
                  </a:cubicBezTo>
                  <a:cubicBezTo>
                    <a:pt x="551" y="162"/>
                    <a:pt x="543" y="150"/>
                    <a:pt x="538" y="146"/>
                  </a:cubicBezTo>
                  <a:cubicBezTo>
                    <a:pt x="534" y="144"/>
                    <a:pt x="517" y="140"/>
                    <a:pt x="517" y="140"/>
                  </a:cubicBezTo>
                  <a:cubicBezTo>
                    <a:pt x="511" y="133"/>
                    <a:pt x="511" y="133"/>
                    <a:pt x="511" y="133"/>
                  </a:cubicBezTo>
                  <a:cubicBezTo>
                    <a:pt x="511" y="133"/>
                    <a:pt x="499" y="136"/>
                    <a:pt x="490" y="138"/>
                  </a:cubicBezTo>
                  <a:cubicBezTo>
                    <a:pt x="481" y="141"/>
                    <a:pt x="473" y="150"/>
                    <a:pt x="473" y="150"/>
                  </a:cubicBezTo>
                  <a:cubicBezTo>
                    <a:pt x="448" y="151"/>
                    <a:pt x="448" y="151"/>
                    <a:pt x="448" y="151"/>
                  </a:cubicBezTo>
                  <a:cubicBezTo>
                    <a:pt x="448" y="151"/>
                    <a:pt x="452" y="154"/>
                    <a:pt x="457" y="156"/>
                  </a:cubicBezTo>
                  <a:cubicBezTo>
                    <a:pt x="463" y="157"/>
                    <a:pt x="471" y="158"/>
                    <a:pt x="471" y="158"/>
                  </a:cubicBezTo>
                  <a:cubicBezTo>
                    <a:pt x="482" y="168"/>
                    <a:pt x="482" y="168"/>
                    <a:pt x="482" y="168"/>
                  </a:cubicBezTo>
                  <a:cubicBezTo>
                    <a:pt x="482" y="172"/>
                    <a:pt x="482" y="172"/>
                    <a:pt x="482" y="172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91" y="188"/>
                    <a:pt x="491" y="188"/>
                    <a:pt x="491" y="188"/>
                  </a:cubicBezTo>
                  <a:cubicBezTo>
                    <a:pt x="490" y="192"/>
                    <a:pt x="490" y="192"/>
                    <a:pt x="490" y="192"/>
                  </a:cubicBezTo>
                  <a:cubicBezTo>
                    <a:pt x="497" y="204"/>
                    <a:pt x="497" y="204"/>
                    <a:pt x="497" y="204"/>
                  </a:cubicBezTo>
                  <a:cubicBezTo>
                    <a:pt x="497" y="204"/>
                    <a:pt x="498" y="235"/>
                    <a:pt x="503" y="240"/>
                  </a:cubicBezTo>
                  <a:cubicBezTo>
                    <a:pt x="508" y="246"/>
                    <a:pt x="522" y="240"/>
                    <a:pt x="522" y="240"/>
                  </a:cubicBezTo>
                  <a:cubicBezTo>
                    <a:pt x="531" y="249"/>
                    <a:pt x="531" y="249"/>
                    <a:pt x="531" y="249"/>
                  </a:cubicBezTo>
                  <a:cubicBezTo>
                    <a:pt x="529" y="252"/>
                    <a:pt x="529" y="252"/>
                    <a:pt x="529" y="252"/>
                  </a:cubicBezTo>
                  <a:cubicBezTo>
                    <a:pt x="537" y="262"/>
                    <a:pt x="537" y="262"/>
                    <a:pt x="537" y="262"/>
                  </a:cubicBezTo>
                  <a:cubicBezTo>
                    <a:pt x="538" y="292"/>
                    <a:pt x="538" y="292"/>
                    <a:pt x="538" y="292"/>
                  </a:cubicBezTo>
                  <a:cubicBezTo>
                    <a:pt x="538" y="292"/>
                    <a:pt x="549" y="305"/>
                    <a:pt x="547" y="308"/>
                  </a:cubicBezTo>
                  <a:cubicBezTo>
                    <a:pt x="546" y="311"/>
                    <a:pt x="533" y="297"/>
                    <a:pt x="531" y="298"/>
                  </a:cubicBezTo>
                  <a:cubicBezTo>
                    <a:pt x="528" y="298"/>
                    <a:pt x="523" y="311"/>
                    <a:pt x="523" y="311"/>
                  </a:cubicBezTo>
                  <a:cubicBezTo>
                    <a:pt x="526" y="299"/>
                    <a:pt x="526" y="299"/>
                    <a:pt x="526" y="299"/>
                  </a:cubicBezTo>
                  <a:cubicBezTo>
                    <a:pt x="526" y="299"/>
                    <a:pt x="522" y="296"/>
                    <a:pt x="514" y="296"/>
                  </a:cubicBezTo>
                  <a:cubicBezTo>
                    <a:pt x="504" y="295"/>
                    <a:pt x="499" y="303"/>
                    <a:pt x="499" y="303"/>
                  </a:cubicBezTo>
                  <a:cubicBezTo>
                    <a:pt x="499" y="303"/>
                    <a:pt x="494" y="299"/>
                    <a:pt x="488" y="298"/>
                  </a:cubicBezTo>
                  <a:cubicBezTo>
                    <a:pt x="483" y="298"/>
                    <a:pt x="478" y="308"/>
                    <a:pt x="478" y="308"/>
                  </a:cubicBezTo>
                  <a:cubicBezTo>
                    <a:pt x="478" y="308"/>
                    <a:pt x="480" y="325"/>
                    <a:pt x="474" y="334"/>
                  </a:cubicBezTo>
                  <a:cubicBezTo>
                    <a:pt x="468" y="343"/>
                    <a:pt x="459" y="343"/>
                    <a:pt x="459" y="343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59" y="356"/>
                    <a:pt x="457" y="363"/>
                  </a:cubicBezTo>
                  <a:cubicBezTo>
                    <a:pt x="455" y="371"/>
                    <a:pt x="446" y="381"/>
                    <a:pt x="447" y="383"/>
                  </a:cubicBezTo>
                  <a:cubicBezTo>
                    <a:pt x="447" y="387"/>
                    <a:pt x="451" y="383"/>
                    <a:pt x="451" y="383"/>
                  </a:cubicBezTo>
                  <a:cubicBezTo>
                    <a:pt x="451" y="383"/>
                    <a:pt x="452" y="386"/>
                    <a:pt x="452" y="394"/>
                  </a:cubicBezTo>
                  <a:cubicBezTo>
                    <a:pt x="452" y="403"/>
                    <a:pt x="475" y="409"/>
                    <a:pt x="484" y="418"/>
                  </a:cubicBezTo>
                  <a:cubicBezTo>
                    <a:pt x="493" y="426"/>
                    <a:pt x="488" y="426"/>
                    <a:pt x="479" y="427"/>
                  </a:cubicBezTo>
                  <a:cubicBezTo>
                    <a:pt x="470" y="428"/>
                    <a:pt x="472" y="442"/>
                    <a:pt x="472" y="442"/>
                  </a:cubicBezTo>
                  <a:cubicBezTo>
                    <a:pt x="472" y="442"/>
                    <a:pt x="475" y="454"/>
                    <a:pt x="475" y="458"/>
                  </a:cubicBezTo>
                  <a:cubicBezTo>
                    <a:pt x="475" y="462"/>
                    <a:pt x="459" y="462"/>
                    <a:pt x="459" y="462"/>
                  </a:cubicBezTo>
                  <a:cubicBezTo>
                    <a:pt x="451" y="462"/>
                    <a:pt x="451" y="462"/>
                    <a:pt x="451" y="462"/>
                  </a:cubicBezTo>
                  <a:cubicBezTo>
                    <a:pt x="445" y="462"/>
                    <a:pt x="446" y="464"/>
                    <a:pt x="446" y="464"/>
                  </a:cubicBezTo>
                  <a:cubicBezTo>
                    <a:pt x="446" y="464"/>
                    <a:pt x="440" y="462"/>
                    <a:pt x="440" y="464"/>
                  </a:cubicBezTo>
                  <a:cubicBezTo>
                    <a:pt x="439" y="465"/>
                    <a:pt x="442" y="467"/>
                    <a:pt x="442" y="467"/>
                  </a:cubicBezTo>
                  <a:cubicBezTo>
                    <a:pt x="442" y="467"/>
                    <a:pt x="439" y="469"/>
                    <a:pt x="437" y="470"/>
                  </a:cubicBezTo>
                  <a:cubicBezTo>
                    <a:pt x="435" y="471"/>
                    <a:pt x="436" y="475"/>
                    <a:pt x="436" y="475"/>
                  </a:cubicBezTo>
                  <a:cubicBezTo>
                    <a:pt x="436" y="475"/>
                    <a:pt x="437" y="481"/>
                    <a:pt x="435" y="480"/>
                  </a:cubicBezTo>
                  <a:cubicBezTo>
                    <a:pt x="433" y="480"/>
                    <a:pt x="434" y="475"/>
                    <a:pt x="434" y="475"/>
                  </a:cubicBezTo>
                  <a:cubicBezTo>
                    <a:pt x="434" y="475"/>
                    <a:pt x="431" y="472"/>
                    <a:pt x="429" y="471"/>
                  </a:cubicBezTo>
                  <a:cubicBezTo>
                    <a:pt x="428" y="469"/>
                    <a:pt x="432" y="468"/>
                    <a:pt x="432" y="468"/>
                  </a:cubicBezTo>
                  <a:cubicBezTo>
                    <a:pt x="429" y="468"/>
                    <a:pt x="429" y="468"/>
                    <a:pt x="429" y="468"/>
                  </a:cubicBezTo>
                  <a:cubicBezTo>
                    <a:pt x="429" y="467"/>
                    <a:pt x="429" y="467"/>
                    <a:pt x="429" y="467"/>
                  </a:cubicBezTo>
                  <a:cubicBezTo>
                    <a:pt x="429" y="467"/>
                    <a:pt x="430" y="466"/>
                    <a:pt x="432" y="466"/>
                  </a:cubicBezTo>
                  <a:cubicBezTo>
                    <a:pt x="433" y="466"/>
                    <a:pt x="434" y="468"/>
                    <a:pt x="434" y="468"/>
                  </a:cubicBezTo>
                  <a:cubicBezTo>
                    <a:pt x="436" y="467"/>
                    <a:pt x="436" y="467"/>
                    <a:pt x="436" y="467"/>
                  </a:cubicBezTo>
                  <a:cubicBezTo>
                    <a:pt x="435" y="465"/>
                    <a:pt x="435" y="465"/>
                    <a:pt x="435" y="465"/>
                  </a:cubicBezTo>
                  <a:cubicBezTo>
                    <a:pt x="438" y="465"/>
                    <a:pt x="438" y="465"/>
                    <a:pt x="438" y="465"/>
                  </a:cubicBezTo>
                  <a:cubicBezTo>
                    <a:pt x="437" y="461"/>
                    <a:pt x="437" y="461"/>
                    <a:pt x="437" y="461"/>
                  </a:cubicBezTo>
                  <a:cubicBezTo>
                    <a:pt x="437" y="461"/>
                    <a:pt x="425" y="464"/>
                    <a:pt x="422" y="464"/>
                  </a:cubicBezTo>
                  <a:cubicBezTo>
                    <a:pt x="418" y="462"/>
                    <a:pt x="416" y="458"/>
                    <a:pt x="416" y="458"/>
                  </a:cubicBezTo>
                  <a:cubicBezTo>
                    <a:pt x="416" y="458"/>
                    <a:pt x="393" y="456"/>
                    <a:pt x="390" y="458"/>
                  </a:cubicBezTo>
                  <a:cubicBezTo>
                    <a:pt x="387" y="460"/>
                    <a:pt x="393" y="465"/>
                    <a:pt x="393" y="469"/>
                  </a:cubicBezTo>
                  <a:cubicBezTo>
                    <a:pt x="395" y="472"/>
                    <a:pt x="389" y="474"/>
                    <a:pt x="389" y="474"/>
                  </a:cubicBezTo>
                  <a:cubicBezTo>
                    <a:pt x="389" y="476"/>
                    <a:pt x="389" y="476"/>
                    <a:pt x="389" y="476"/>
                  </a:cubicBezTo>
                  <a:cubicBezTo>
                    <a:pt x="389" y="476"/>
                    <a:pt x="386" y="475"/>
                    <a:pt x="385" y="477"/>
                  </a:cubicBezTo>
                  <a:cubicBezTo>
                    <a:pt x="384" y="480"/>
                    <a:pt x="389" y="483"/>
                    <a:pt x="389" y="483"/>
                  </a:cubicBezTo>
                  <a:cubicBezTo>
                    <a:pt x="392" y="487"/>
                    <a:pt x="392" y="487"/>
                    <a:pt x="392" y="487"/>
                  </a:cubicBezTo>
                  <a:cubicBezTo>
                    <a:pt x="392" y="487"/>
                    <a:pt x="395" y="486"/>
                    <a:pt x="397" y="487"/>
                  </a:cubicBezTo>
                  <a:cubicBezTo>
                    <a:pt x="399" y="487"/>
                    <a:pt x="403" y="491"/>
                    <a:pt x="408" y="494"/>
                  </a:cubicBezTo>
                  <a:cubicBezTo>
                    <a:pt x="413" y="499"/>
                    <a:pt x="423" y="504"/>
                    <a:pt x="423" y="504"/>
                  </a:cubicBezTo>
                  <a:cubicBezTo>
                    <a:pt x="425" y="498"/>
                    <a:pt x="425" y="498"/>
                    <a:pt x="425" y="498"/>
                  </a:cubicBezTo>
                  <a:cubicBezTo>
                    <a:pt x="430" y="498"/>
                    <a:pt x="430" y="498"/>
                    <a:pt x="430" y="498"/>
                  </a:cubicBezTo>
                  <a:cubicBezTo>
                    <a:pt x="430" y="498"/>
                    <a:pt x="428" y="496"/>
                    <a:pt x="429" y="494"/>
                  </a:cubicBezTo>
                  <a:cubicBezTo>
                    <a:pt x="429" y="492"/>
                    <a:pt x="433" y="491"/>
                    <a:pt x="433" y="491"/>
                  </a:cubicBezTo>
                  <a:cubicBezTo>
                    <a:pt x="433" y="496"/>
                    <a:pt x="433" y="496"/>
                    <a:pt x="433" y="496"/>
                  </a:cubicBezTo>
                  <a:cubicBezTo>
                    <a:pt x="439" y="496"/>
                    <a:pt x="439" y="496"/>
                    <a:pt x="439" y="496"/>
                  </a:cubicBezTo>
                  <a:cubicBezTo>
                    <a:pt x="442" y="496"/>
                    <a:pt x="441" y="499"/>
                    <a:pt x="441" y="499"/>
                  </a:cubicBezTo>
                  <a:cubicBezTo>
                    <a:pt x="441" y="505"/>
                    <a:pt x="441" y="505"/>
                    <a:pt x="441" y="505"/>
                  </a:cubicBezTo>
                  <a:cubicBezTo>
                    <a:pt x="441" y="505"/>
                    <a:pt x="449" y="508"/>
                    <a:pt x="451" y="516"/>
                  </a:cubicBezTo>
                  <a:cubicBezTo>
                    <a:pt x="454" y="523"/>
                    <a:pt x="444" y="525"/>
                    <a:pt x="444" y="525"/>
                  </a:cubicBezTo>
                  <a:cubicBezTo>
                    <a:pt x="444" y="525"/>
                    <a:pt x="444" y="531"/>
                    <a:pt x="439" y="534"/>
                  </a:cubicBezTo>
                  <a:cubicBezTo>
                    <a:pt x="435" y="537"/>
                    <a:pt x="433" y="532"/>
                    <a:pt x="429" y="531"/>
                  </a:cubicBezTo>
                  <a:cubicBezTo>
                    <a:pt x="425" y="531"/>
                    <a:pt x="422" y="534"/>
                    <a:pt x="420" y="534"/>
                  </a:cubicBezTo>
                  <a:cubicBezTo>
                    <a:pt x="419" y="534"/>
                    <a:pt x="416" y="534"/>
                    <a:pt x="413" y="533"/>
                  </a:cubicBezTo>
                  <a:cubicBezTo>
                    <a:pt x="409" y="533"/>
                    <a:pt x="412" y="535"/>
                    <a:pt x="404" y="534"/>
                  </a:cubicBezTo>
                  <a:cubicBezTo>
                    <a:pt x="396" y="534"/>
                    <a:pt x="396" y="529"/>
                    <a:pt x="396" y="529"/>
                  </a:cubicBezTo>
                  <a:cubicBezTo>
                    <a:pt x="397" y="524"/>
                    <a:pt x="397" y="524"/>
                    <a:pt x="397" y="524"/>
                  </a:cubicBezTo>
                  <a:cubicBezTo>
                    <a:pt x="388" y="523"/>
                    <a:pt x="388" y="523"/>
                    <a:pt x="388" y="523"/>
                  </a:cubicBezTo>
                  <a:cubicBezTo>
                    <a:pt x="388" y="523"/>
                    <a:pt x="386" y="525"/>
                    <a:pt x="384" y="523"/>
                  </a:cubicBezTo>
                  <a:cubicBezTo>
                    <a:pt x="382" y="522"/>
                    <a:pt x="382" y="520"/>
                    <a:pt x="379" y="518"/>
                  </a:cubicBezTo>
                  <a:cubicBezTo>
                    <a:pt x="374" y="515"/>
                    <a:pt x="370" y="518"/>
                    <a:pt x="370" y="518"/>
                  </a:cubicBezTo>
                  <a:cubicBezTo>
                    <a:pt x="370" y="518"/>
                    <a:pt x="371" y="521"/>
                    <a:pt x="370" y="523"/>
                  </a:cubicBezTo>
                  <a:cubicBezTo>
                    <a:pt x="368" y="525"/>
                    <a:pt x="365" y="525"/>
                    <a:pt x="365" y="525"/>
                  </a:cubicBezTo>
                  <a:cubicBezTo>
                    <a:pt x="364" y="523"/>
                    <a:pt x="364" y="523"/>
                    <a:pt x="364" y="523"/>
                  </a:cubicBezTo>
                  <a:cubicBezTo>
                    <a:pt x="360" y="523"/>
                    <a:pt x="360" y="523"/>
                    <a:pt x="360" y="523"/>
                  </a:cubicBezTo>
                  <a:cubicBezTo>
                    <a:pt x="360" y="525"/>
                    <a:pt x="360" y="525"/>
                    <a:pt x="360" y="525"/>
                  </a:cubicBezTo>
                  <a:cubicBezTo>
                    <a:pt x="355" y="519"/>
                    <a:pt x="355" y="519"/>
                    <a:pt x="355" y="519"/>
                  </a:cubicBezTo>
                  <a:cubicBezTo>
                    <a:pt x="354" y="522"/>
                    <a:pt x="354" y="522"/>
                    <a:pt x="354" y="522"/>
                  </a:cubicBezTo>
                  <a:cubicBezTo>
                    <a:pt x="344" y="516"/>
                    <a:pt x="344" y="516"/>
                    <a:pt x="344" y="516"/>
                  </a:cubicBezTo>
                  <a:cubicBezTo>
                    <a:pt x="344" y="516"/>
                    <a:pt x="347" y="512"/>
                    <a:pt x="346" y="509"/>
                  </a:cubicBezTo>
                  <a:cubicBezTo>
                    <a:pt x="344" y="506"/>
                    <a:pt x="340" y="502"/>
                    <a:pt x="340" y="502"/>
                  </a:cubicBezTo>
                  <a:cubicBezTo>
                    <a:pt x="342" y="498"/>
                    <a:pt x="342" y="498"/>
                    <a:pt x="342" y="498"/>
                  </a:cubicBezTo>
                  <a:cubicBezTo>
                    <a:pt x="339" y="492"/>
                    <a:pt x="339" y="492"/>
                    <a:pt x="339" y="492"/>
                  </a:cubicBezTo>
                  <a:cubicBezTo>
                    <a:pt x="333" y="490"/>
                    <a:pt x="333" y="490"/>
                    <a:pt x="333" y="490"/>
                  </a:cubicBezTo>
                  <a:cubicBezTo>
                    <a:pt x="333" y="490"/>
                    <a:pt x="336" y="487"/>
                    <a:pt x="334" y="483"/>
                  </a:cubicBezTo>
                  <a:cubicBezTo>
                    <a:pt x="331" y="478"/>
                    <a:pt x="314" y="469"/>
                    <a:pt x="314" y="469"/>
                  </a:cubicBezTo>
                  <a:cubicBezTo>
                    <a:pt x="314" y="469"/>
                    <a:pt x="321" y="460"/>
                    <a:pt x="321" y="456"/>
                  </a:cubicBezTo>
                  <a:cubicBezTo>
                    <a:pt x="322" y="451"/>
                    <a:pt x="313" y="439"/>
                    <a:pt x="313" y="439"/>
                  </a:cubicBezTo>
                  <a:cubicBezTo>
                    <a:pt x="313" y="439"/>
                    <a:pt x="315" y="438"/>
                    <a:pt x="315" y="437"/>
                  </a:cubicBezTo>
                  <a:cubicBezTo>
                    <a:pt x="316" y="436"/>
                    <a:pt x="317" y="433"/>
                    <a:pt x="317" y="433"/>
                  </a:cubicBezTo>
                  <a:cubicBezTo>
                    <a:pt x="317" y="433"/>
                    <a:pt x="314" y="434"/>
                    <a:pt x="313" y="434"/>
                  </a:cubicBezTo>
                  <a:cubicBezTo>
                    <a:pt x="310" y="433"/>
                    <a:pt x="311" y="427"/>
                    <a:pt x="311" y="427"/>
                  </a:cubicBezTo>
                  <a:cubicBezTo>
                    <a:pt x="311" y="427"/>
                    <a:pt x="293" y="420"/>
                    <a:pt x="290" y="419"/>
                  </a:cubicBezTo>
                  <a:cubicBezTo>
                    <a:pt x="286" y="418"/>
                    <a:pt x="285" y="421"/>
                    <a:pt x="285" y="421"/>
                  </a:cubicBezTo>
                  <a:cubicBezTo>
                    <a:pt x="285" y="421"/>
                    <a:pt x="274" y="419"/>
                    <a:pt x="271" y="419"/>
                  </a:cubicBezTo>
                  <a:cubicBezTo>
                    <a:pt x="268" y="419"/>
                    <a:pt x="264" y="423"/>
                    <a:pt x="264" y="423"/>
                  </a:cubicBezTo>
                  <a:cubicBezTo>
                    <a:pt x="264" y="420"/>
                    <a:pt x="264" y="420"/>
                    <a:pt x="264" y="420"/>
                  </a:cubicBezTo>
                  <a:cubicBezTo>
                    <a:pt x="275" y="414"/>
                    <a:pt x="275" y="414"/>
                    <a:pt x="275" y="414"/>
                  </a:cubicBezTo>
                  <a:cubicBezTo>
                    <a:pt x="270" y="413"/>
                    <a:pt x="270" y="413"/>
                    <a:pt x="270" y="413"/>
                  </a:cubicBezTo>
                  <a:cubicBezTo>
                    <a:pt x="274" y="411"/>
                    <a:pt x="274" y="411"/>
                    <a:pt x="274" y="411"/>
                  </a:cubicBezTo>
                  <a:cubicBezTo>
                    <a:pt x="274" y="409"/>
                    <a:pt x="274" y="409"/>
                    <a:pt x="274" y="409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72" y="406"/>
                    <a:pt x="272" y="406"/>
                    <a:pt x="272" y="406"/>
                  </a:cubicBezTo>
                  <a:cubicBezTo>
                    <a:pt x="270" y="406"/>
                    <a:pt x="270" y="406"/>
                    <a:pt x="270" y="406"/>
                  </a:cubicBezTo>
                  <a:cubicBezTo>
                    <a:pt x="269" y="410"/>
                    <a:pt x="269" y="410"/>
                    <a:pt x="269" y="410"/>
                  </a:cubicBezTo>
                  <a:cubicBezTo>
                    <a:pt x="262" y="411"/>
                    <a:pt x="262" y="411"/>
                    <a:pt x="262" y="411"/>
                  </a:cubicBezTo>
                  <a:cubicBezTo>
                    <a:pt x="259" y="407"/>
                    <a:pt x="259" y="407"/>
                    <a:pt x="259" y="407"/>
                  </a:cubicBezTo>
                  <a:cubicBezTo>
                    <a:pt x="258" y="410"/>
                    <a:pt x="258" y="410"/>
                    <a:pt x="258" y="410"/>
                  </a:cubicBezTo>
                  <a:cubicBezTo>
                    <a:pt x="254" y="409"/>
                    <a:pt x="254" y="409"/>
                    <a:pt x="254" y="409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56" y="406"/>
                    <a:pt x="249" y="406"/>
                    <a:pt x="249" y="405"/>
                  </a:cubicBezTo>
                  <a:cubicBezTo>
                    <a:pt x="249" y="404"/>
                    <a:pt x="254" y="405"/>
                    <a:pt x="254" y="40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1" y="402"/>
                    <a:pt x="261" y="402"/>
                    <a:pt x="261" y="402"/>
                  </a:cubicBezTo>
                  <a:cubicBezTo>
                    <a:pt x="261" y="399"/>
                    <a:pt x="261" y="399"/>
                    <a:pt x="261" y="399"/>
                  </a:cubicBezTo>
                  <a:cubicBezTo>
                    <a:pt x="251" y="399"/>
                    <a:pt x="251" y="399"/>
                    <a:pt x="251" y="399"/>
                  </a:cubicBezTo>
                  <a:cubicBezTo>
                    <a:pt x="248" y="401"/>
                    <a:pt x="244" y="398"/>
                    <a:pt x="244" y="398"/>
                  </a:cubicBezTo>
                  <a:cubicBezTo>
                    <a:pt x="244" y="397"/>
                    <a:pt x="244" y="397"/>
                    <a:pt x="244" y="397"/>
                  </a:cubicBezTo>
                  <a:cubicBezTo>
                    <a:pt x="244" y="396"/>
                    <a:pt x="244" y="396"/>
                    <a:pt x="244" y="396"/>
                  </a:cubicBezTo>
                  <a:cubicBezTo>
                    <a:pt x="246" y="398"/>
                    <a:pt x="246" y="398"/>
                    <a:pt x="246" y="398"/>
                  </a:cubicBezTo>
                  <a:cubicBezTo>
                    <a:pt x="250" y="396"/>
                    <a:pt x="250" y="396"/>
                    <a:pt x="250" y="396"/>
                  </a:cubicBezTo>
                  <a:cubicBezTo>
                    <a:pt x="241" y="394"/>
                    <a:pt x="241" y="394"/>
                    <a:pt x="241" y="394"/>
                  </a:cubicBezTo>
                  <a:cubicBezTo>
                    <a:pt x="234" y="393"/>
                    <a:pt x="234" y="393"/>
                    <a:pt x="234" y="393"/>
                  </a:cubicBezTo>
                  <a:cubicBezTo>
                    <a:pt x="234" y="393"/>
                    <a:pt x="236" y="386"/>
                    <a:pt x="235" y="383"/>
                  </a:cubicBezTo>
                  <a:cubicBezTo>
                    <a:pt x="235" y="382"/>
                    <a:pt x="226" y="382"/>
                    <a:pt x="226" y="382"/>
                  </a:cubicBezTo>
                  <a:cubicBezTo>
                    <a:pt x="226" y="380"/>
                    <a:pt x="226" y="380"/>
                    <a:pt x="226" y="380"/>
                  </a:cubicBezTo>
                  <a:cubicBezTo>
                    <a:pt x="223" y="379"/>
                    <a:pt x="223" y="379"/>
                    <a:pt x="223" y="379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15" y="380"/>
                    <a:pt x="215" y="380"/>
                    <a:pt x="215" y="380"/>
                  </a:cubicBezTo>
                  <a:cubicBezTo>
                    <a:pt x="221" y="378"/>
                    <a:pt x="221" y="378"/>
                    <a:pt x="221" y="378"/>
                  </a:cubicBezTo>
                  <a:cubicBezTo>
                    <a:pt x="221" y="378"/>
                    <a:pt x="221" y="376"/>
                    <a:pt x="227" y="376"/>
                  </a:cubicBezTo>
                  <a:cubicBezTo>
                    <a:pt x="233" y="375"/>
                    <a:pt x="240" y="377"/>
                    <a:pt x="240" y="377"/>
                  </a:cubicBezTo>
                  <a:cubicBezTo>
                    <a:pt x="239" y="381"/>
                    <a:pt x="239" y="381"/>
                    <a:pt x="239" y="381"/>
                  </a:cubicBezTo>
                  <a:cubicBezTo>
                    <a:pt x="239" y="381"/>
                    <a:pt x="244" y="384"/>
                    <a:pt x="251" y="388"/>
                  </a:cubicBezTo>
                  <a:cubicBezTo>
                    <a:pt x="256" y="391"/>
                    <a:pt x="265" y="393"/>
                    <a:pt x="265" y="393"/>
                  </a:cubicBezTo>
                  <a:cubicBezTo>
                    <a:pt x="262" y="387"/>
                    <a:pt x="262" y="387"/>
                    <a:pt x="262" y="387"/>
                  </a:cubicBezTo>
                  <a:cubicBezTo>
                    <a:pt x="264" y="386"/>
                    <a:pt x="264" y="386"/>
                    <a:pt x="264" y="386"/>
                  </a:cubicBezTo>
                  <a:cubicBezTo>
                    <a:pt x="264" y="386"/>
                    <a:pt x="270" y="391"/>
                    <a:pt x="273" y="392"/>
                  </a:cubicBezTo>
                  <a:cubicBezTo>
                    <a:pt x="276" y="393"/>
                    <a:pt x="279" y="390"/>
                    <a:pt x="279" y="390"/>
                  </a:cubicBezTo>
                  <a:cubicBezTo>
                    <a:pt x="281" y="384"/>
                    <a:pt x="281" y="384"/>
                    <a:pt x="281" y="384"/>
                  </a:cubicBezTo>
                  <a:cubicBezTo>
                    <a:pt x="281" y="390"/>
                    <a:pt x="281" y="390"/>
                    <a:pt x="281" y="390"/>
                  </a:cubicBezTo>
                  <a:cubicBezTo>
                    <a:pt x="288" y="390"/>
                    <a:pt x="288" y="390"/>
                    <a:pt x="288" y="390"/>
                  </a:cubicBezTo>
                  <a:cubicBezTo>
                    <a:pt x="288" y="390"/>
                    <a:pt x="288" y="391"/>
                    <a:pt x="289" y="393"/>
                  </a:cubicBezTo>
                  <a:cubicBezTo>
                    <a:pt x="291" y="395"/>
                    <a:pt x="292" y="395"/>
                    <a:pt x="292" y="395"/>
                  </a:cubicBezTo>
                  <a:cubicBezTo>
                    <a:pt x="297" y="390"/>
                    <a:pt x="297" y="390"/>
                    <a:pt x="297" y="39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304" y="391"/>
                    <a:pt x="311" y="394"/>
                    <a:pt x="311" y="394"/>
                  </a:cubicBezTo>
                  <a:cubicBezTo>
                    <a:pt x="314" y="393"/>
                    <a:pt x="314" y="393"/>
                    <a:pt x="314" y="393"/>
                  </a:cubicBezTo>
                  <a:cubicBezTo>
                    <a:pt x="316" y="395"/>
                    <a:pt x="316" y="395"/>
                    <a:pt x="316" y="395"/>
                  </a:cubicBezTo>
                  <a:cubicBezTo>
                    <a:pt x="335" y="395"/>
                    <a:pt x="335" y="395"/>
                    <a:pt x="335" y="395"/>
                  </a:cubicBezTo>
                  <a:cubicBezTo>
                    <a:pt x="349" y="395"/>
                    <a:pt x="355" y="390"/>
                    <a:pt x="364" y="390"/>
                  </a:cubicBezTo>
                  <a:cubicBezTo>
                    <a:pt x="371" y="390"/>
                    <a:pt x="383" y="395"/>
                    <a:pt x="383" y="395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91" y="393"/>
                    <a:pt x="400" y="392"/>
                  </a:cubicBezTo>
                  <a:cubicBezTo>
                    <a:pt x="408" y="391"/>
                    <a:pt x="413" y="381"/>
                    <a:pt x="413" y="381"/>
                  </a:cubicBezTo>
                  <a:cubicBezTo>
                    <a:pt x="417" y="381"/>
                    <a:pt x="417" y="381"/>
                    <a:pt x="417" y="381"/>
                  </a:cubicBezTo>
                  <a:cubicBezTo>
                    <a:pt x="419" y="381"/>
                    <a:pt x="420" y="377"/>
                    <a:pt x="420" y="377"/>
                  </a:cubicBezTo>
                  <a:cubicBezTo>
                    <a:pt x="420" y="377"/>
                    <a:pt x="428" y="371"/>
                    <a:pt x="430" y="368"/>
                  </a:cubicBezTo>
                  <a:cubicBezTo>
                    <a:pt x="432" y="366"/>
                    <a:pt x="439" y="351"/>
                    <a:pt x="439" y="351"/>
                  </a:cubicBezTo>
                  <a:cubicBezTo>
                    <a:pt x="439" y="351"/>
                    <a:pt x="441" y="351"/>
                    <a:pt x="444" y="349"/>
                  </a:cubicBezTo>
                  <a:cubicBezTo>
                    <a:pt x="445" y="346"/>
                    <a:pt x="444" y="343"/>
                    <a:pt x="444" y="343"/>
                  </a:cubicBezTo>
                  <a:cubicBezTo>
                    <a:pt x="444" y="343"/>
                    <a:pt x="444" y="340"/>
                    <a:pt x="446" y="334"/>
                  </a:cubicBezTo>
                  <a:cubicBezTo>
                    <a:pt x="447" y="329"/>
                    <a:pt x="448" y="304"/>
                    <a:pt x="448" y="304"/>
                  </a:cubicBezTo>
                  <a:cubicBezTo>
                    <a:pt x="444" y="300"/>
                    <a:pt x="444" y="300"/>
                    <a:pt x="444" y="300"/>
                  </a:cubicBezTo>
                  <a:cubicBezTo>
                    <a:pt x="439" y="294"/>
                    <a:pt x="439" y="294"/>
                    <a:pt x="439" y="294"/>
                  </a:cubicBezTo>
                  <a:cubicBezTo>
                    <a:pt x="439" y="294"/>
                    <a:pt x="435" y="295"/>
                    <a:pt x="433" y="294"/>
                  </a:cubicBezTo>
                  <a:cubicBezTo>
                    <a:pt x="430" y="293"/>
                    <a:pt x="428" y="283"/>
                    <a:pt x="428" y="283"/>
                  </a:cubicBezTo>
                  <a:cubicBezTo>
                    <a:pt x="424" y="283"/>
                    <a:pt x="424" y="283"/>
                    <a:pt x="424" y="283"/>
                  </a:cubicBezTo>
                  <a:cubicBezTo>
                    <a:pt x="422" y="278"/>
                    <a:pt x="422" y="278"/>
                    <a:pt x="422" y="278"/>
                  </a:cubicBezTo>
                  <a:cubicBezTo>
                    <a:pt x="423" y="275"/>
                    <a:pt x="423" y="275"/>
                    <a:pt x="423" y="275"/>
                  </a:cubicBezTo>
                  <a:cubicBezTo>
                    <a:pt x="415" y="268"/>
                    <a:pt x="415" y="268"/>
                    <a:pt x="415" y="268"/>
                  </a:cubicBezTo>
                  <a:cubicBezTo>
                    <a:pt x="413" y="270"/>
                    <a:pt x="413" y="270"/>
                    <a:pt x="413" y="270"/>
                  </a:cubicBezTo>
                  <a:cubicBezTo>
                    <a:pt x="407" y="268"/>
                    <a:pt x="407" y="268"/>
                    <a:pt x="407" y="268"/>
                  </a:cubicBezTo>
                  <a:cubicBezTo>
                    <a:pt x="407" y="268"/>
                    <a:pt x="407" y="272"/>
                    <a:pt x="405" y="272"/>
                  </a:cubicBezTo>
                  <a:cubicBezTo>
                    <a:pt x="403" y="272"/>
                    <a:pt x="400" y="269"/>
                    <a:pt x="400" y="269"/>
                  </a:cubicBezTo>
                  <a:cubicBezTo>
                    <a:pt x="399" y="265"/>
                    <a:pt x="399" y="265"/>
                    <a:pt x="399" y="265"/>
                  </a:cubicBezTo>
                  <a:cubicBezTo>
                    <a:pt x="386" y="262"/>
                    <a:pt x="386" y="262"/>
                    <a:pt x="386" y="262"/>
                  </a:cubicBezTo>
                  <a:cubicBezTo>
                    <a:pt x="380" y="256"/>
                    <a:pt x="380" y="256"/>
                    <a:pt x="380" y="256"/>
                  </a:cubicBezTo>
                  <a:cubicBezTo>
                    <a:pt x="379" y="257"/>
                    <a:pt x="379" y="257"/>
                    <a:pt x="379" y="257"/>
                  </a:cubicBezTo>
                  <a:cubicBezTo>
                    <a:pt x="379" y="257"/>
                    <a:pt x="384" y="261"/>
                    <a:pt x="381" y="263"/>
                  </a:cubicBezTo>
                  <a:cubicBezTo>
                    <a:pt x="377" y="264"/>
                    <a:pt x="364" y="257"/>
                    <a:pt x="364" y="257"/>
                  </a:cubicBezTo>
                  <a:cubicBezTo>
                    <a:pt x="363" y="260"/>
                    <a:pt x="363" y="260"/>
                    <a:pt x="363" y="260"/>
                  </a:cubicBezTo>
                  <a:cubicBezTo>
                    <a:pt x="356" y="256"/>
                    <a:pt x="356" y="256"/>
                    <a:pt x="356" y="256"/>
                  </a:cubicBezTo>
                  <a:cubicBezTo>
                    <a:pt x="356" y="256"/>
                    <a:pt x="357" y="254"/>
                    <a:pt x="355" y="254"/>
                  </a:cubicBezTo>
                  <a:cubicBezTo>
                    <a:pt x="353" y="254"/>
                    <a:pt x="347" y="253"/>
                    <a:pt x="347" y="253"/>
                  </a:cubicBezTo>
                  <a:cubicBezTo>
                    <a:pt x="348" y="255"/>
                    <a:pt x="348" y="255"/>
                    <a:pt x="348" y="255"/>
                  </a:cubicBezTo>
                  <a:cubicBezTo>
                    <a:pt x="348" y="255"/>
                    <a:pt x="353" y="257"/>
                    <a:pt x="352" y="259"/>
                  </a:cubicBezTo>
                  <a:cubicBezTo>
                    <a:pt x="352" y="261"/>
                    <a:pt x="344" y="257"/>
                    <a:pt x="344" y="257"/>
                  </a:cubicBezTo>
                  <a:cubicBezTo>
                    <a:pt x="344" y="257"/>
                    <a:pt x="331" y="250"/>
                    <a:pt x="325" y="247"/>
                  </a:cubicBezTo>
                  <a:cubicBezTo>
                    <a:pt x="321" y="244"/>
                    <a:pt x="310" y="241"/>
                    <a:pt x="306" y="240"/>
                  </a:cubicBezTo>
                  <a:cubicBezTo>
                    <a:pt x="302" y="239"/>
                    <a:pt x="295" y="235"/>
                    <a:pt x="289" y="233"/>
                  </a:cubicBezTo>
                  <a:cubicBezTo>
                    <a:pt x="282" y="230"/>
                    <a:pt x="270" y="230"/>
                    <a:pt x="270" y="230"/>
                  </a:cubicBezTo>
                  <a:cubicBezTo>
                    <a:pt x="269" y="230"/>
                    <a:pt x="269" y="230"/>
                    <a:pt x="269" y="230"/>
                  </a:cubicBezTo>
                  <a:cubicBezTo>
                    <a:pt x="269" y="230"/>
                    <a:pt x="266" y="228"/>
                    <a:pt x="265" y="226"/>
                  </a:cubicBezTo>
                  <a:cubicBezTo>
                    <a:pt x="264" y="226"/>
                    <a:pt x="262" y="229"/>
                    <a:pt x="262" y="229"/>
                  </a:cubicBezTo>
                  <a:cubicBezTo>
                    <a:pt x="256" y="229"/>
                    <a:pt x="256" y="229"/>
                    <a:pt x="256" y="229"/>
                  </a:cubicBezTo>
                  <a:cubicBezTo>
                    <a:pt x="256" y="228"/>
                    <a:pt x="256" y="228"/>
                    <a:pt x="256" y="228"/>
                  </a:cubicBezTo>
                  <a:cubicBezTo>
                    <a:pt x="248" y="230"/>
                    <a:pt x="248" y="230"/>
                    <a:pt x="248" y="230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8" y="233"/>
                    <a:pt x="246" y="233"/>
                  </a:cubicBezTo>
                  <a:cubicBezTo>
                    <a:pt x="244" y="233"/>
                    <a:pt x="244" y="235"/>
                    <a:pt x="244" y="235"/>
                  </a:cubicBezTo>
                  <a:cubicBezTo>
                    <a:pt x="244" y="235"/>
                    <a:pt x="242" y="234"/>
                    <a:pt x="240" y="233"/>
                  </a:cubicBezTo>
                  <a:cubicBezTo>
                    <a:pt x="238" y="233"/>
                    <a:pt x="231" y="234"/>
                    <a:pt x="231" y="234"/>
                  </a:cubicBezTo>
                  <a:cubicBezTo>
                    <a:pt x="229" y="232"/>
                    <a:pt x="229" y="232"/>
                    <a:pt x="229" y="232"/>
                  </a:cubicBezTo>
                  <a:cubicBezTo>
                    <a:pt x="217" y="234"/>
                    <a:pt x="217" y="234"/>
                    <a:pt x="217" y="234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7" y="236"/>
                    <a:pt x="211" y="234"/>
                    <a:pt x="210" y="236"/>
                  </a:cubicBezTo>
                  <a:cubicBezTo>
                    <a:pt x="209" y="239"/>
                    <a:pt x="212" y="247"/>
                    <a:pt x="212" y="247"/>
                  </a:cubicBezTo>
                  <a:cubicBezTo>
                    <a:pt x="212" y="247"/>
                    <a:pt x="211" y="250"/>
                    <a:pt x="209" y="251"/>
                  </a:cubicBezTo>
                  <a:cubicBezTo>
                    <a:pt x="208" y="253"/>
                    <a:pt x="205" y="255"/>
                    <a:pt x="203" y="254"/>
                  </a:cubicBezTo>
                  <a:cubicBezTo>
                    <a:pt x="202" y="253"/>
                    <a:pt x="207" y="249"/>
                    <a:pt x="208" y="247"/>
                  </a:cubicBezTo>
                  <a:cubicBezTo>
                    <a:pt x="210" y="246"/>
                    <a:pt x="210" y="244"/>
                    <a:pt x="210" y="244"/>
                  </a:cubicBezTo>
                  <a:cubicBezTo>
                    <a:pt x="206" y="241"/>
                    <a:pt x="206" y="241"/>
                    <a:pt x="206" y="241"/>
                  </a:cubicBezTo>
                  <a:cubicBezTo>
                    <a:pt x="207" y="239"/>
                    <a:pt x="207" y="239"/>
                    <a:pt x="207" y="239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241"/>
                    <a:pt x="208" y="234"/>
                    <a:pt x="205" y="231"/>
                  </a:cubicBezTo>
                  <a:cubicBezTo>
                    <a:pt x="201" y="228"/>
                    <a:pt x="194" y="236"/>
                    <a:pt x="194" y="236"/>
                  </a:cubicBezTo>
                  <a:cubicBezTo>
                    <a:pt x="193" y="240"/>
                    <a:pt x="193" y="240"/>
                    <a:pt x="193" y="240"/>
                  </a:cubicBezTo>
                  <a:cubicBezTo>
                    <a:pt x="190" y="240"/>
                    <a:pt x="190" y="240"/>
                    <a:pt x="190" y="240"/>
                  </a:cubicBezTo>
                  <a:cubicBezTo>
                    <a:pt x="193" y="236"/>
                    <a:pt x="193" y="236"/>
                    <a:pt x="193" y="236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1" y="234"/>
                    <a:pt x="191" y="234"/>
                    <a:pt x="191" y="234"/>
                  </a:cubicBezTo>
                  <a:cubicBezTo>
                    <a:pt x="190" y="232"/>
                    <a:pt x="190" y="232"/>
                    <a:pt x="190" y="232"/>
                  </a:cubicBezTo>
                  <a:cubicBezTo>
                    <a:pt x="186" y="232"/>
                    <a:pt x="186" y="232"/>
                    <a:pt x="186" y="232"/>
                  </a:cubicBezTo>
                  <a:cubicBezTo>
                    <a:pt x="186" y="234"/>
                    <a:pt x="186" y="234"/>
                    <a:pt x="186" y="234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6"/>
                    <a:pt x="182" y="236"/>
                    <a:pt x="182" y="236"/>
                  </a:cubicBezTo>
                  <a:cubicBezTo>
                    <a:pt x="177" y="237"/>
                    <a:pt x="177" y="237"/>
                    <a:pt x="177" y="237"/>
                  </a:cubicBezTo>
                  <a:cubicBezTo>
                    <a:pt x="180" y="231"/>
                    <a:pt x="180" y="231"/>
                    <a:pt x="180" y="231"/>
                  </a:cubicBezTo>
                  <a:cubicBezTo>
                    <a:pt x="178" y="231"/>
                    <a:pt x="178" y="231"/>
                    <a:pt x="178" y="231"/>
                  </a:cubicBezTo>
                  <a:cubicBezTo>
                    <a:pt x="178" y="231"/>
                    <a:pt x="178" y="229"/>
                    <a:pt x="175" y="229"/>
                  </a:cubicBezTo>
                  <a:cubicBezTo>
                    <a:pt x="172" y="229"/>
                    <a:pt x="169" y="232"/>
                    <a:pt x="169" y="232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6" y="226"/>
                    <a:pt x="166" y="226"/>
                    <a:pt x="166" y="226"/>
                  </a:cubicBezTo>
                  <a:cubicBezTo>
                    <a:pt x="168" y="223"/>
                    <a:pt x="168" y="223"/>
                    <a:pt x="168" y="223"/>
                  </a:cubicBezTo>
                  <a:cubicBezTo>
                    <a:pt x="167" y="222"/>
                    <a:pt x="167" y="222"/>
                    <a:pt x="167" y="222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71" y="222"/>
                    <a:pt x="169" y="223"/>
                    <a:pt x="171" y="225"/>
                  </a:cubicBezTo>
                  <a:cubicBezTo>
                    <a:pt x="174" y="228"/>
                    <a:pt x="188" y="225"/>
                    <a:pt x="188" y="225"/>
                  </a:cubicBezTo>
                  <a:cubicBezTo>
                    <a:pt x="188" y="225"/>
                    <a:pt x="190" y="223"/>
                    <a:pt x="190" y="221"/>
                  </a:cubicBezTo>
                  <a:cubicBezTo>
                    <a:pt x="190" y="213"/>
                    <a:pt x="190" y="213"/>
                    <a:pt x="190" y="213"/>
                  </a:cubicBezTo>
                  <a:cubicBezTo>
                    <a:pt x="190" y="213"/>
                    <a:pt x="177" y="215"/>
                    <a:pt x="175" y="213"/>
                  </a:cubicBezTo>
                  <a:cubicBezTo>
                    <a:pt x="173" y="212"/>
                    <a:pt x="161" y="207"/>
                    <a:pt x="159" y="208"/>
                  </a:cubicBezTo>
                  <a:cubicBezTo>
                    <a:pt x="158" y="210"/>
                    <a:pt x="161" y="213"/>
                    <a:pt x="161" y="213"/>
                  </a:cubicBezTo>
                  <a:cubicBezTo>
                    <a:pt x="161" y="215"/>
                    <a:pt x="161" y="215"/>
                    <a:pt x="161" y="215"/>
                  </a:cubicBezTo>
                  <a:cubicBezTo>
                    <a:pt x="161" y="215"/>
                    <a:pt x="167" y="217"/>
                    <a:pt x="166" y="219"/>
                  </a:cubicBezTo>
                  <a:cubicBezTo>
                    <a:pt x="164" y="220"/>
                    <a:pt x="160" y="216"/>
                    <a:pt x="157" y="217"/>
                  </a:cubicBezTo>
                  <a:cubicBezTo>
                    <a:pt x="155" y="219"/>
                    <a:pt x="158" y="224"/>
                    <a:pt x="158" y="224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60" y="225"/>
                    <a:pt x="158" y="226"/>
                    <a:pt x="155" y="228"/>
                  </a:cubicBezTo>
                  <a:cubicBezTo>
                    <a:pt x="153" y="228"/>
                    <a:pt x="153" y="231"/>
                    <a:pt x="153" y="231"/>
                  </a:cubicBezTo>
                  <a:cubicBezTo>
                    <a:pt x="153" y="231"/>
                    <a:pt x="151" y="225"/>
                    <a:pt x="145" y="224"/>
                  </a:cubicBezTo>
                  <a:cubicBezTo>
                    <a:pt x="144" y="224"/>
                    <a:pt x="142" y="224"/>
                    <a:pt x="141" y="225"/>
                  </a:cubicBezTo>
                  <a:cubicBezTo>
                    <a:pt x="141" y="228"/>
                    <a:pt x="141" y="228"/>
                    <a:pt x="141" y="228"/>
                  </a:cubicBezTo>
                  <a:cubicBezTo>
                    <a:pt x="141" y="228"/>
                    <a:pt x="146" y="231"/>
                    <a:pt x="143" y="237"/>
                  </a:cubicBezTo>
                  <a:cubicBezTo>
                    <a:pt x="141" y="244"/>
                    <a:pt x="134" y="236"/>
                    <a:pt x="131" y="236"/>
                  </a:cubicBezTo>
                  <a:cubicBezTo>
                    <a:pt x="129" y="235"/>
                    <a:pt x="125" y="235"/>
                    <a:pt x="125" y="235"/>
                  </a:cubicBezTo>
                  <a:cubicBezTo>
                    <a:pt x="125" y="235"/>
                    <a:pt x="130" y="242"/>
                    <a:pt x="130" y="247"/>
                  </a:cubicBezTo>
                  <a:cubicBezTo>
                    <a:pt x="130" y="251"/>
                    <a:pt x="124" y="249"/>
                    <a:pt x="122" y="250"/>
                  </a:cubicBezTo>
                  <a:cubicBezTo>
                    <a:pt x="121" y="250"/>
                    <a:pt x="122" y="255"/>
                    <a:pt x="119" y="257"/>
                  </a:cubicBezTo>
                  <a:cubicBezTo>
                    <a:pt x="117" y="259"/>
                    <a:pt x="113" y="259"/>
                    <a:pt x="112" y="262"/>
                  </a:cubicBezTo>
                  <a:cubicBezTo>
                    <a:pt x="111" y="265"/>
                    <a:pt x="114" y="264"/>
                    <a:pt x="114" y="264"/>
                  </a:cubicBezTo>
                  <a:cubicBezTo>
                    <a:pt x="114" y="264"/>
                    <a:pt x="115" y="278"/>
                    <a:pt x="112" y="280"/>
                  </a:cubicBezTo>
                  <a:cubicBezTo>
                    <a:pt x="110" y="282"/>
                    <a:pt x="106" y="278"/>
                    <a:pt x="106" y="278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108" y="291"/>
                    <a:pt x="108" y="291"/>
                    <a:pt x="108" y="291"/>
                  </a:cubicBezTo>
                  <a:cubicBezTo>
                    <a:pt x="105" y="311"/>
                    <a:pt x="105" y="311"/>
                    <a:pt x="105" y="311"/>
                  </a:cubicBezTo>
                  <a:cubicBezTo>
                    <a:pt x="114" y="334"/>
                    <a:pt x="114" y="334"/>
                    <a:pt x="114" y="334"/>
                  </a:cubicBezTo>
                  <a:cubicBezTo>
                    <a:pt x="135" y="338"/>
                    <a:pt x="135" y="338"/>
                    <a:pt x="135" y="338"/>
                  </a:cubicBezTo>
                  <a:cubicBezTo>
                    <a:pt x="147" y="354"/>
                    <a:pt x="147" y="354"/>
                    <a:pt x="147" y="354"/>
                  </a:cubicBezTo>
                  <a:cubicBezTo>
                    <a:pt x="147" y="354"/>
                    <a:pt x="159" y="354"/>
                    <a:pt x="160" y="363"/>
                  </a:cubicBezTo>
                  <a:cubicBezTo>
                    <a:pt x="161" y="373"/>
                    <a:pt x="146" y="408"/>
                    <a:pt x="146" y="408"/>
                  </a:cubicBezTo>
                  <a:cubicBezTo>
                    <a:pt x="146" y="408"/>
                    <a:pt x="157" y="425"/>
                    <a:pt x="163" y="429"/>
                  </a:cubicBezTo>
                  <a:cubicBezTo>
                    <a:pt x="171" y="435"/>
                    <a:pt x="170" y="444"/>
                    <a:pt x="173" y="446"/>
                  </a:cubicBezTo>
                  <a:cubicBezTo>
                    <a:pt x="173" y="446"/>
                    <a:pt x="186" y="453"/>
                    <a:pt x="190" y="461"/>
                  </a:cubicBezTo>
                  <a:cubicBezTo>
                    <a:pt x="195" y="470"/>
                    <a:pt x="197" y="480"/>
                    <a:pt x="197" y="480"/>
                  </a:cubicBezTo>
                  <a:cubicBezTo>
                    <a:pt x="186" y="486"/>
                    <a:pt x="186" y="486"/>
                    <a:pt x="186" y="486"/>
                  </a:cubicBezTo>
                  <a:cubicBezTo>
                    <a:pt x="193" y="488"/>
                    <a:pt x="193" y="488"/>
                    <a:pt x="193" y="488"/>
                  </a:cubicBezTo>
                  <a:cubicBezTo>
                    <a:pt x="189" y="493"/>
                    <a:pt x="189" y="493"/>
                    <a:pt x="189" y="493"/>
                  </a:cubicBezTo>
                  <a:cubicBezTo>
                    <a:pt x="192" y="502"/>
                    <a:pt x="192" y="502"/>
                    <a:pt x="192" y="502"/>
                  </a:cubicBezTo>
                  <a:cubicBezTo>
                    <a:pt x="189" y="514"/>
                    <a:pt x="189" y="514"/>
                    <a:pt x="189" y="514"/>
                  </a:cubicBezTo>
                  <a:cubicBezTo>
                    <a:pt x="200" y="512"/>
                    <a:pt x="200" y="512"/>
                    <a:pt x="200" y="512"/>
                  </a:cubicBezTo>
                  <a:cubicBezTo>
                    <a:pt x="201" y="517"/>
                    <a:pt x="201" y="517"/>
                    <a:pt x="201" y="517"/>
                  </a:cubicBezTo>
                  <a:cubicBezTo>
                    <a:pt x="194" y="522"/>
                    <a:pt x="194" y="522"/>
                    <a:pt x="194" y="522"/>
                  </a:cubicBezTo>
                  <a:cubicBezTo>
                    <a:pt x="201" y="538"/>
                    <a:pt x="201" y="538"/>
                    <a:pt x="201" y="538"/>
                  </a:cubicBezTo>
                  <a:cubicBezTo>
                    <a:pt x="211" y="533"/>
                    <a:pt x="211" y="533"/>
                    <a:pt x="211" y="533"/>
                  </a:cubicBezTo>
                  <a:cubicBezTo>
                    <a:pt x="216" y="541"/>
                    <a:pt x="216" y="541"/>
                    <a:pt x="216" y="541"/>
                  </a:cubicBezTo>
                  <a:cubicBezTo>
                    <a:pt x="216" y="541"/>
                    <a:pt x="210" y="547"/>
                    <a:pt x="217" y="556"/>
                  </a:cubicBezTo>
                  <a:cubicBezTo>
                    <a:pt x="222" y="565"/>
                    <a:pt x="232" y="559"/>
                    <a:pt x="236" y="567"/>
                  </a:cubicBezTo>
                  <a:cubicBezTo>
                    <a:pt x="240" y="576"/>
                    <a:pt x="235" y="591"/>
                    <a:pt x="235" y="591"/>
                  </a:cubicBezTo>
                  <a:cubicBezTo>
                    <a:pt x="236" y="595"/>
                    <a:pt x="236" y="595"/>
                    <a:pt x="236" y="595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48" y="615"/>
                    <a:pt x="248" y="615"/>
                    <a:pt x="248" y="615"/>
                  </a:cubicBezTo>
                  <a:cubicBezTo>
                    <a:pt x="259" y="617"/>
                    <a:pt x="259" y="617"/>
                    <a:pt x="259" y="617"/>
                  </a:cubicBezTo>
                  <a:cubicBezTo>
                    <a:pt x="275" y="625"/>
                    <a:pt x="275" y="625"/>
                    <a:pt x="275" y="625"/>
                  </a:cubicBezTo>
                  <a:cubicBezTo>
                    <a:pt x="278" y="633"/>
                    <a:pt x="278" y="633"/>
                    <a:pt x="278" y="633"/>
                  </a:cubicBezTo>
                  <a:cubicBezTo>
                    <a:pt x="278" y="633"/>
                    <a:pt x="290" y="633"/>
                    <a:pt x="291" y="639"/>
                  </a:cubicBezTo>
                  <a:cubicBezTo>
                    <a:pt x="291" y="645"/>
                    <a:pt x="289" y="669"/>
                    <a:pt x="287" y="673"/>
                  </a:cubicBezTo>
                  <a:cubicBezTo>
                    <a:pt x="284" y="681"/>
                    <a:pt x="284" y="681"/>
                    <a:pt x="284" y="681"/>
                  </a:cubicBezTo>
                  <a:cubicBezTo>
                    <a:pt x="284" y="681"/>
                    <a:pt x="275" y="694"/>
                    <a:pt x="272" y="706"/>
                  </a:cubicBezTo>
                  <a:cubicBezTo>
                    <a:pt x="269" y="717"/>
                    <a:pt x="261" y="737"/>
                    <a:pt x="258" y="742"/>
                  </a:cubicBezTo>
                  <a:cubicBezTo>
                    <a:pt x="255" y="748"/>
                    <a:pt x="250" y="761"/>
                    <a:pt x="250" y="761"/>
                  </a:cubicBezTo>
                  <a:cubicBezTo>
                    <a:pt x="237" y="775"/>
                    <a:pt x="237" y="775"/>
                    <a:pt x="237" y="775"/>
                  </a:cubicBezTo>
                  <a:cubicBezTo>
                    <a:pt x="236" y="784"/>
                    <a:pt x="236" y="784"/>
                    <a:pt x="236" y="784"/>
                  </a:cubicBezTo>
                  <a:cubicBezTo>
                    <a:pt x="232" y="787"/>
                    <a:pt x="232" y="787"/>
                    <a:pt x="232" y="787"/>
                  </a:cubicBezTo>
                  <a:cubicBezTo>
                    <a:pt x="221" y="802"/>
                    <a:pt x="221" y="802"/>
                    <a:pt x="221" y="802"/>
                  </a:cubicBezTo>
                  <a:cubicBezTo>
                    <a:pt x="213" y="818"/>
                    <a:pt x="213" y="818"/>
                    <a:pt x="213" y="818"/>
                  </a:cubicBezTo>
                  <a:cubicBezTo>
                    <a:pt x="213" y="819"/>
                    <a:pt x="213" y="819"/>
                    <a:pt x="213" y="819"/>
                  </a:cubicBezTo>
                  <a:cubicBezTo>
                    <a:pt x="216" y="820"/>
                    <a:pt x="216" y="820"/>
                    <a:pt x="216" y="820"/>
                  </a:cubicBezTo>
                  <a:cubicBezTo>
                    <a:pt x="225" y="818"/>
                    <a:pt x="225" y="818"/>
                    <a:pt x="225" y="818"/>
                  </a:cubicBezTo>
                  <a:cubicBezTo>
                    <a:pt x="231" y="809"/>
                    <a:pt x="231" y="809"/>
                    <a:pt x="231" y="809"/>
                  </a:cubicBezTo>
                  <a:cubicBezTo>
                    <a:pt x="235" y="805"/>
                    <a:pt x="235" y="805"/>
                    <a:pt x="235" y="805"/>
                  </a:cubicBezTo>
                  <a:cubicBezTo>
                    <a:pt x="235" y="805"/>
                    <a:pt x="236" y="800"/>
                    <a:pt x="238" y="801"/>
                  </a:cubicBezTo>
                  <a:cubicBezTo>
                    <a:pt x="241" y="802"/>
                    <a:pt x="239" y="805"/>
                    <a:pt x="239" y="805"/>
                  </a:cubicBezTo>
                  <a:cubicBezTo>
                    <a:pt x="242" y="819"/>
                    <a:pt x="242" y="819"/>
                    <a:pt x="242" y="819"/>
                  </a:cubicBezTo>
                  <a:cubicBezTo>
                    <a:pt x="235" y="814"/>
                    <a:pt x="235" y="814"/>
                    <a:pt x="235" y="814"/>
                  </a:cubicBezTo>
                  <a:cubicBezTo>
                    <a:pt x="234" y="815"/>
                    <a:pt x="234" y="815"/>
                    <a:pt x="234" y="815"/>
                  </a:cubicBezTo>
                  <a:cubicBezTo>
                    <a:pt x="241" y="823"/>
                    <a:pt x="241" y="823"/>
                    <a:pt x="241" y="823"/>
                  </a:cubicBezTo>
                  <a:cubicBezTo>
                    <a:pt x="246" y="825"/>
                    <a:pt x="246" y="825"/>
                    <a:pt x="246" y="825"/>
                  </a:cubicBezTo>
                  <a:cubicBezTo>
                    <a:pt x="256" y="833"/>
                    <a:pt x="256" y="833"/>
                    <a:pt x="256" y="833"/>
                  </a:cubicBezTo>
                  <a:cubicBezTo>
                    <a:pt x="256" y="833"/>
                    <a:pt x="260" y="835"/>
                    <a:pt x="269" y="832"/>
                  </a:cubicBezTo>
                  <a:cubicBezTo>
                    <a:pt x="276" y="828"/>
                    <a:pt x="281" y="823"/>
                    <a:pt x="286" y="827"/>
                  </a:cubicBezTo>
                  <a:cubicBezTo>
                    <a:pt x="291" y="831"/>
                    <a:pt x="292" y="835"/>
                    <a:pt x="292" y="835"/>
                  </a:cubicBezTo>
                  <a:cubicBezTo>
                    <a:pt x="301" y="836"/>
                    <a:pt x="301" y="836"/>
                    <a:pt x="301" y="836"/>
                  </a:cubicBezTo>
                  <a:cubicBezTo>
                    <a:pt x="299" y="844"/>
                    <a:pt x="299" y="844"/>
                    <a:pt x="299" y="844"/>
                  </a:cubicBezTo>
                  <a:cubicBezTo>
                    <a:pt x="267" y="841"/>
                    <a:pt x="267" y="841"/>
                    <a:pt x="267" y="841"/>
                  </a:cubicBezTo>
                  <a:cubicBezTo>
                    <a:pt x="261" y="847"/>
                    <a:pt x="261" y="847"/>
                    <a:pt x="261" y="847"/>
                  </a:cubicBezTo>
                  <a:cubicBezTo>
                    <a:pt x="261" y="847"/>
                    <a:pt x="270" y="853"/>
                    <a:pt x="262" y="856"/>
                  </a:cubicBezTo>
                  <a:cubicBezTo>
                    <a:pt x="255" y="860"/>
                    <a:pt x="249" y="856"/>
                    <a:pt x="249" y="856"/>
                  </a:cubicBezTo>
                  <a:cubicBezTo>
                    <a:pt x="243" y="860"/>
                    <a:pt x="243" y="860"/>
                    <a:pt x="243" y="860"/>
                  </a:cubicBezTo>
                  <a:cubicBezTo>
                    <a:pt x="243" y="860"/>
                    <a:pt x="251" y="866"/>
                    <a:pt x="245" y="868"/>
                  </a:cubicBezTo>
                  <a:cubicBezTo>
                    <a:pt x="240" y="869"/>
                    <a:pt x="236" y="862"/>
                    <a:pt x="236" y="862"/>
                  </a:cubicBezTo>
                  <a:cubicBezTo>
                    <a:pt x="234" y="865"/>
                    <a:pt x="234" y="865"/>
                    <a:pt x="234" y="865"/>
                  </a:cubicBezTo>
                  <a:cubicBezTo>
                    <a:pt x="234" y="870"/>
                    <a:pt x="234" y="870"/>
                    <a:pt x="234" y="870"/>
                  </a:cubicBezTo>
                  <a:cubicBezTo>
                    <a:pt x="239" y="876"/>
                    <a:pt x="239" y="876"/>
                    <a:pt x="239" y="876"/>
                  </a:cubicBezTo>
                  <a:cubicBezTo>
                    <a:pt x="238" y="883"/>
                    <a:pt x="238" y="883"/>
                    <a:pt x="238" y="883"/>
                  </a:cubicBezTo>
                  <a:cubicBezTo>
                    <a:pt x="244" y="888"/>
                    <a:pt x="244" y="888"/>
                    <a:pt x="244" y="888"/>
                  </a:cubicBezTo>
                  <a:cubicBezTo>
                    <a:pt x="244" y="888"/>
                    <a:pt x="238" y="892"/>
                    <a:pt x="238" y="894"/>
                  </a:cubicBezTo>
                  <a:cubicBezTo>
                    <a:pt x="238" y="895"/>
                    <a:pt x="240" y="897"/>
                    <a:pt x="240" y="897"/>
                  </a:cubicBezTo>
                  <a:cubicBezTo>
                    <a:pt x="237" y="913"/>
                    <a:pt x="237" y="913"/>
                    <a:pt x="237" y="913"/>
                  </a:cubicBezTo>
                  <a:cubicBezTo>
                    <a:pt x="237" y="913"/>
                    <a:pt x="233" y="923"/>
                    <a:pt x="232" y="925"/>
                  </a:cubicBezTo>
                  <a:cubicBezTo>
                    <a:pt x="229" y="927"/>
                    <a:pt x="226" y="930"/>
                    <a:pt x="226" y="930"/>
                  </a:cubicBezTo>
                  <a:cubicBezTo>
                    <a:pt x="226" y="930"/>
                    <a:pt x="232" y="942"/>
                    <a:pt x="235" y="948"/>
                  </a:cubicBezTo>
                  <a:cubicBezTo>
                    <a:pt x="238" y="955"/>
                    <a:pt x="239" y="965"/>
                    <a:pt x="239" y="965"/>
                  </a:cubicBezTo>
                  <a:cubicBezTo>
                    <a:pt x="239" y="965"/>
                    <a:pt x="244" y="969"/>
                    <a:pt x="244" y="972"/>
                  </a:cubicBezTo>
                  <a:cubicBezTo>
                    <a:pt x="245" y="976"/>
                    <a:pt x="245" y="979"/>
                    <a:pt x="245" y="979"/>
                  </a:cubicBezTo>
                  <a:cubicBezTo>
                    <a:pt x="245" y="979"/>
                    <a:pt x="255" y="985"/>
                    <a:pt x="255" y="987"/>
                  </a:cubicBezTo>
                  <a:cubicBezTo>
                    <a:pt x="254" y="989"/>
                    <a:pt x="245" y="991"/>
                    <a:pt x="245" y="991"/>
                  </a:cubicBezTo>
                  <a:cubicBezTo>
                    <a:pt x="245" y="991"/>
                    <a:pt x="248" y="995"/>
                    <a:pt x="248" y="997"/>
                  </a:cubicBezTo>
                  <a:cubicBezTo>
                    <a:pt x="246" y="1000"/>
                    <a:pt x="243" y="1000"/>
                    <a:pt x="243" y="1000"/>
                  </a:cubicBezTo>
                  <a:cubicBezTo>
                    <a:pt x="242" y="1006"/>
                    <a:pt x="242" y="1006"/>
                    <a:pt x="242" y="1006"/>
                  </a:cubicBezTo>
                  <a:cubicBezTo>
                    <a:pt x="243" y="1010"/>
                    <a:pt x="243" y="1010"/>
                    <a:pt x="243" y="1010"/>
                  </a:cubicBezTo>
                  <a:cubicBezTo>
                    <a:pt x="246" y="1009"/>
                    <a:pt x="250" y="1009"/>
                    <a:pt x="250" y="1009"/>
                  </a:cubicBezTo>
                  <a:cubicBezTo>
                    <a:pt x="252" y="1016"/>
                    <a:pt x="252" y="1016"/>
                    <a:pt x="252" y="1016"/>
                  </a:cubicBezTo>
                  <a:cubicBezTo>
                    <a:pt x="252" y="1016"/>
                    <a:pt x="259" y="1017"/>
                    <a:pt x="261" y="1018"/>
                  </a:cubicBezTo>
                  <a:cubicBezTo>
                    <a:pt x="264" y="1019"/>
                    <a:pt x="267" y="1022"/>
                    <a:pt x="267" y="1022"/>
                  </a:cubicBezTo>
                  <a:cubicBezTo>
                    <a:pt x="267" y="1033"/>
                    <a:pt x="267" y="1033"/>
                    <a:pt x="267" y="1033"/>
                  </a:cubicBezTo>
                  <a:cubicBezTo>
                    <a:pt x="264" y="1037"/>
                    <a:pt x="264" y="1037"/>
                    <a:pt x="264" y="1037"/>
                  </a:cubicBezTo>
                  <a:cubicBezTo>
                    <a:pt x="266" y="1041"/>
                    <a:pt x="266" y="1041"/>
                    <a:pt x="266" y="1041"/>
                  </a:cubicBezTo>
                  <a:cubicBezTo>
                    <a:pt x="264" y="1052"/>
                    <a:pt x="264" y="1052"/>
                    <a:pt x="264" y="1052"/>
                  </a:cubicBezTo>
                  <a:cubicBezTo>
                    <a:pt x="264" y="1052"/>
                    <a:pt x="269" y="1049"/>
                    <a:pt x="272" y="1049"/>
                  </a:cubicBezTo>
                  <a:cubicBezTo>
                    <a:pt x="274" y="1049"/>
                    <a:pt x="276" y="1052"/>
                    <a:pt x="276" y="1052"/>
                  </a:cubicBezTo>
                  <a:cubicBezTo>
                    <a:pt x="274" y="1057"/>
                    <a:pt x="274" y="1057"/>
                    <a:pt x="274" y="1057"/>
                  </a:cubicBezTo>
                  <a:cubicBezTo>
                    <a:pt x="282" y="1059"/>
                    <a:pt x="282" y="1059"/>
                    <a:pt x="282" y="1059"/>
                  </a:cubicBezTo>
                  <a:cubicBezTo>
                    <a:pt x="283" y="1064"/>
                    <a:pt x="283" y="1064"/>
                    <a:pt x="283" y="1064"/>
                  </a:cubicBezTo>
                  <a:cubicBezTo>
                    <a:pt x="286" y="1065"/>
                    <a:pt x="286" y="1065"/>
                    <a:pt x="286" y="1065"/>
                  </a:cubicBezTo>
                  <a:cubicBezTo>
                    <a:pt x="289" y="1074"/>
                    <a:pt x="289" y="1074"/>
                    <a:pt x="289" y="1074"/>
                  </a:cubicBezTo>
                  <a:cubicBezTo>
                    <a:pt x="291" y="1080"/>
                    <a:pt x="291" y="1080"/>
                    <a:pt x="291" y="1080"/>
                  </a:cubicBezTo>
                  <a:cubicBezTo>
                    <a:pt x="293" y="1081"/>
                    <a:pt x="293" y="1081"/>
                    <a:pt x="293" y="1081"/>
                  </a:cubicBezTo>
                  <a:cubicBezTo>
                    <a:pt x="293" y="1081"/>
                    <a:pt x="294" y="1088"/>
                    <a:pt x="292" y="1092"/>
                  </a:cubicBezTo>
                  <a:cubicBezTo>
                    <a:pt x="291" y="1092"/>
                    <a:pt x="291" y="1092"/>
                    <a:pt x="291" y="1093"/>
                  </a:cubicBezTo>
                  <a:cubicBezTo>
                    <a:pt x="293" y="1093"/>
                    <a:pt x="295" y="1095"/>
                    <a:pt x="298" y="1095"/>
                  </a:cubicBezTo>
                  <a:cubicBezTo>
                    <a:pt x="301" y="1095"/>
                    <a:pt x="307" y="1090"/>
                    <a:pt x="313" y="1091"/>
                  </a:cubicBezTo>
                  <a:cubicBezTo>
                    <a:pt x="318" y="1092"/>
                    <a:pt x="310" y="1100"/>
                    <a:pt x="317" y="1101"/>
                  </a:cubicBezTo>
                  <a:cubicBezTo>
                    <a:pt x="322" y="1102"/>
                    <a:pt x="321" y="1096"/>
                    <a:pt x="323" y="1095"/>
                  </a:cubicBezTo>
                  <a:cubicBezTo>
                    <a:pt x="324" y="1092"/>
                    <a:pt x="338" y="1090"/>
                    <a:pt x="343" y="1095"/>
                  </a:cubicBezTo>
                  <a:cubicBezTo>
                    <a:pt x="349" y="1099"/>
                    <a:pt x="337" y="1108"/>
                    <a:pt x="348" y="1110"/>
                  </a:cubicBezTo>
                  <a:cubicBezTo>
                    <a:pt x="357" y="1110"/>
                    <a:pt x="351" y="1102"/>
                    <a:pt x="351" y="1102"/>
                  </a:cubicBezTo>
                  <a:cubicBezTo>
                    <a:pt x="351" y="1102"/>
                    <a:pt x="357" y="1100"/>
                    <a:pt x="365" y="1097"/>
                  </a:cubicBezTo>
                  <a:cubicBezTo>
                    <a:pt x="371" y="1093"/>
                    <a:pt x="379" y="1093"/>
                    <a:pt x="384" y="1098"/>
                  </a:cubicBezTo>
                  <a:cubicBezTo>
                    <a:pt x="390" y="1101"/>
                    <a:pt x="396" y="1098"/>
                    <a:pt x="402" y="1104"/>
                  </a:cubicBezTo>
                  <a:cubicBezTo>
                    <a:pt x="409" y="1111"/>
                    <a:pt x="401" y="1120"/>
                    <a:pt x="401" y="1120"/>
                  </a:cubicBezTo>
                  <a:cubicBezTo>
                    <a:pt x="413" y="1136"/>
                    <a:pt x="413" y="1136"/>
                    <a:pt x="413" y="1136"/>
                  </a:cubicBezTo>
                  <a:cubicBezTo>
                    <a:pt x="411" y="1154"/>
                    <a:pt x="411" y="1154"/>
                    <a:pt x="411" y="1154"/>
                  </a:cubicBezTo>
                  <a:cubicBezTo>
                    <a:pt x="411" y="1154"/>
                    <a:pt x="422" y="1156"/>
                    <a:pt x="429" y="1160"/>
                  </a:cubicBezTo>
                  <a:cubicBezTo>
                    <a:pt x="435" y="1163"/>
                    <a:pt x="426" y="1170"/>
                    <a:pt x="426" y="1170"/>
                  </a:cubicBezTo>
                  <a:cubicBezTo>
                    <a:pt x="434" y="1172"/>
                    <a:pt x="434" y="1172"/>
                    <a:pt x="434" y="1172"/>
                  </a:cubicBezTo>
                  <a:cubicBezTo>
                    <a:pt x="434" y="1172"/>
                    <a:pt x="435" y="1177"/>
                    <a:pt x="437" y="1181"/>
                  </a:cubicBezTo>
                  <a:cubicBezTo>
                    <a:pt x="438" y="1185"/>
                    <a:pt x="456" y="1186"/>
                    <a:pt x="456" y="1186"/>
                  </a:cubicBezTo>
                  <a:cubicBezTo>
                    <a:pt x="456" y="1186"/>
                    <a:pt x="462" y="1187"/>
                    <a:pt x="465" y="1191"/>
                  </a:cubicBezTo>
                  <a:cubicBezTo>
                    <a:pt x="468" y="1194"/>
                    <a:pt x="466" y="1207"/>
                    <a:pt x="466" y="1207"/>
                  </a:cubicBezTo>
                  <a:cubicBezTo>
                    <a:pt x="479" y="1203"/>
                    <a:pt x="479" y="1203"/>
                    <a:pt x="479" y="1203"/>
                  </a:cubicBezTo>
                  <a:cubicBezTo>
                    <a:pt x="495" y="1205"/>
                    <a:pt x="495" y="1205"/>
                    <a:pt x="495" y="1205"/>
                  </a:cubicBezTo>
                  <a:cubicBezTo>
                    <a:pt x="490" y="1212"/>
                    <a:pt x="490" y="1212"/>
                    <a:pt x="490" y="1212"/>
                  </a:cubicBezTo>
                  <a:cubicBezTo>
                    <a:pt x="510" y="1221"/>
                    <a:pt x="510" y="1221"/>
                    <a:pt x="510" y="1221"/>
                  </a:cubicBezTo>
                  <a:cubicBezTo>
                    <a:pt x="511" y="1226"/>
                    <a:pt x="511" y="1226"/>
                    <a:pt x="511" y="1226"/>
                  </a:cubicBezTo>
                  <a:cubicBezTo>
                    <a:pt x="500" y="1230"/>
                    <a:pt x="500" y="1230"/>
                    <a:pt x="500" y="1230"/>
                  </a:cubicBezTo>
                  <a:cubicBezTo>
                    <a:pt x="502" y="1235"/>
                    <a:pt x="502" y="1235"/>
                    <a:pt x="502" y="1235"/>
                  </a:cubicBezTo>
                  <a:cubicBezTo>
                    <a:pt x="502" y="1235"/>
                    <a:pt x="499" y="1243"/>
                    <a:pt x="490" y="1247"/>
                  </a:cubicBezTo>
                  <a:cubicBezTo>
                    <a:pt x="481" y="1253"/>
                    <a:pt x="472" y="1245"/>
                    <a:pt x="472" y="1245"/>
                  </a:cubicBezTo>
                  <a:cubicBezTo>
                    <a:pt x="461" y="1248"/>
                    <a:pt x="461" y="1248"/>
                    <a:pt x="461" y="1248"/>
                  </a:cubicBezTo>
                  <a:cubicBezTo>
                    <a:pt x="462" y="1256"/>
                    <a:pt x="462" y="1256"/>
                    <a:pt x="462" y="1256"/>
                  </a:cubicBezTo>
                  <a:cubicBezTo>
                    <a:pt x="459" y="1263"/>
                    <a:pt x="459" y="1263"/>
                    <a:pt x="459" y="1263"/>
                  </a:cubicBezTo>
                  <a:cubicBezTo>
                    <a:pt x="459" y="1263"/>
                    <a:pt x="467" y="1265"/>
                    <a:pt x="472" y="1270"/>
                  </a:cubicBezTo>
                  <a:cubicBezTo>
                    <a:pt x="479" y="1275"/>
                    <a:pt x="477" y="1281"/>
                    <a:pt x="477" y="1281"/>
                  </a:cubicBezTo>
                  <a:cubicBezTo>
                    <a:pt x="477" y="1281"/>
                    <a:pt x="479" y="1282"/>
                    <a:pt x="481" y="1286"/>
                  </a:cubicBezTo>
                  <a:cubicBezTo>
                    <a:pt x="484" y="1290"/>
                    <a:pt x="485" y="1302"/>
                    <a:pt x="485" y="1302"/>
                  </a:cubicBezTo>
                  <a:cubicBezTo>
                    <a:pt x="489" y="1305"/>
                    <a:pt x="489" y="1305"/>
                    <a:pt x="489" y="1305"/>
                  </a:cubicBezTo>
                  <a:cubicBezTo>
                    <a:pt x="493" y="1305"/>
                    <a:pt x="500" y="1306"/>
                    <a:pt x="503" y="1303"/>
                  </a:cubicBezTo>
                  <a:cubicBezTo>
                    <a:pt x="508" y="1300"/>
                    <a:pt x="507" y="1285"/>
                    <a:pt x="507" y="1285"/>
                  </a:cubicBezTo>
                  <a:cubicBezTo>
                    <a:pt x="526" y="1285"/>
                    <a:pt x="526" y="1285"/>
                    <a:pt x="526" y="1285"/>
                  </a:cubicBezTo>
                  <a:cubicBezTo>
                    <a:pt x="529" y="1285"/>
                    <a:pt x="529" y="1285"/>
                    <a:pt x="529" y="1285"/>
                  </a:cubicBezTo>
                  <a:cubicBezTo>
                    <a:pt x="533" y="1284"/>
                    <a:pt x="539" y="1272"/>
                    <a:pt x="539" y="1272"/>
                  </a:cubicBezTo>
                  <a:cubicBezTo>
                    <a:pt x="552" y="1272"/>
                    <a:pt x="552" y="1272"/>
                    <a:pt x="552" y="1272"/>
                  </a:cubicBezTo>
                  <a:cubicBezTo>
                    <a:pt x="552" y="1272"/>
                    <a:pt x="552" y="1266"/>
                    <a:pt x="560" y="1265"/>
                  </a:cubicBezTo>
                  <a:cubicBezTo>
                    <a:pt x="568" y="1265"/>
                    <a:pt x="567" y="1271"/>
                    <a:pt x="567" y="1271"/>
                  </a:cubicBezTo>
                  <a:cubicBezTo>
                    <a:pt x="576" y="1272"/>
                    <a:pt x="576" y="1272"/>
                    <a:pt x="576" y="1272"/>
                  </a:cubicBezTo>
                  <a:cubicBezTo>
                    <a:pt x="576" y="1272"/>
                    <a:pt x="576" y="1279"/>
                    <a:pt x="580" y="1285"/>
                  </a:cubicBezTo>
                  <a:cubicBezTo>
                    <a:pt x="584" y="1290"/>
                    <a:pt x="596" y="1291"/>
                    <a:pt x="599" y="1295"/>
                  </a:cubicBezTo>
                  <a:cubicBezTo>
                    <a:pt x="602" y="1301"/>
                    <a:pt x="584" y="1305"/>
                    <a:pt x="584" y="1305"/>
                  </a:cubicBezTo>
                  <a:cubicBezTo>
                    <a:pt x="584" y="1305"/>
                    <a:pt x="587" y="1306"/>
                    <a:pt x="592" y="1310"/>
                  </a:cubicBezTo>
                  <a:cubicBezTo>
                    <a:pt x="597" y="1313"/>
                    <a:pt x="595" y="1321"/>
                    <a:pt x="595" y="1321"/>
                  </a:cubicBezTo>
                  <a:cubicBezTo>
                    <a:pt x="600" y="1321"/>
                    <a:pt x="600" y="1321"/>
                    <a:pt x="600" y="1321"/>
                  </a:cubicBezTo>
                  <a:cubicBezTo>
                    <a:pt x="599" y="1328"/>
                    <a:pt x="599" y="1328"/>
                    <a:pt x="599" y="1328"/>
                  </a:cubicBezTo>
                  <a:cubicBezTo>
                    <a:pt x="613" y="1325"/>
                    <a:pt x="613" y="1325"/>
                    <a:pt x="613" y="1325"/>
                  </a:cubicBezTo>
                  <a:cubicBezTo>
                    <a:pt x="619" y="1329"/>
                    <a:pt x="619" y="1329"/>
                    <a:pt x="619" y="1329"/>
                  </a:cubicBezTo>
                  <a:cubicBezTo>
                    <a:pt x="619" y="1329"/>
                    <a:pt x="629" y="1319"/>
                    <a:pt x="634" y="1319"/>
                  </a:cubicBezTo>
                  <a:cubicBezTo>
                    <a:pt x="639" y="1319"/>
                    <a:pt x="639" y="1328"/>
                    <a:pt x="639" y="1328"/>
                  </a:cubicBezTo>
                  <a:cubicBezTo>
                    <a:pt x="645" y="1324"/>
                    <a:pt x="645" y="1324"/>
                    <a:pt x="645" y="1324"/>
                  </a:cubicBezTo>
                  <a:cubicBezTo>
                    <a:pt x="645" y="1324"/>
                    <a:pt x="649" y="1325"/>
                    <a:pt x="650" y="1325"/>
                  </a:cubicBezTo>
                  <a:cubicBezTo>
                    <a:pt x="651" y="1325"/>
                    <a:pt x="648" y="1333"/>
                    <a:pt x="648" y="1333"/>
                  </a:cubicBezTo>
                  <a:cubicBezTo>
                    <a:pt x="661" y="1349"/>
                    <a:pt x="661" y="1349"/>
                    <a:pt x="661" y="1349"/>
                  </a:cubicBezTo>
                  <a:cubicBezTo>
                    <a:pt x="659" y="1354"/>
                    <a:pt x="659" y="1354"/>
                    <a:pt x="659" y="1354"/>
                  </a:cubicBezTo>
                  <a:cubicBezTo>
                    <a:pt x="659" y="1354"/>
                    <a:pt x="675" y="1366"/>
                    <a:pt x="680" y="1361"/>
                  </a:cubicBezTo>
                  <a:cubicBezTo>
                    <a:pt x="686" y="1357"/>
                    <a:pt x="687" y="1355"/>
                    <a:pt x="693" y="1354"/>
                  </a:cubicBezTo>
                  <a:cubicBezTo>
                    <a:pt x="698" y="1353"/>
                    <a:pt x="698" y="1360"/>
                    <a:pt x="701" y="1360"/>
                  </a:cubicBezTo>
                  <a:cubicBezTo>
                    <a:pt x="704" y="1360"/>
                    <a:pt x="704" y="1356"/>
                    <a:pt x="704" y="1356"/>
                  </a:cubicBezTo>
                  <a:cubicBezTo>
                    <a:pt x="711" y="1356"/>
                    <a:pt x="711" y="1356"/>
                    <a:pt x="711" y="1356"/>
                  </a:cubicBezTo>
                  <a:cubicBezTo>
                    <a:pt x="712" y="1361"/>
                    <a:pt x="712" y="1361"/>
                    <a:pt x="712" y="1361"/>
                  </a:cubicBezTo>
                  <a:cubicBezTo>
                    <a:pt x="717" y="1363"/>
                    <a:pt x="717" y="1363"/>
                    <a:pt x="717" y="1363"/>
                  </a:cubicBezTo>
                  <a:cubicBezTo>
                    <a:pt x="717" y="1363"/>
                    <a:pt x="720" y="1356"/>
                    <a:pt x="721" y="1352"/>
                  </a:cubicBezTo>
                  <a:cubicBezTo>
                    <a:pt x="723" y="1349"/>
                    <a:pt x="734" y="1345"/>
                    <a:pt x="734" y="1345"/>
                  </a:cubicBezTo>
                  <a:cubicBezTo>
                    <a:pt x="744" y="1334"/>
                    <a:pt x="744" y="1334"/>
                    <a:pt x="744" y="1334"/>
                  </a:cubicBezTo>
                  <a:cubicBezTo>
                    <a:pt x="748" y="1339"/>
                    <a:pt x="748" y="1339"/>
                    <a:pt x="748" y="1339"/>
                  </a:cubicBezTo>
                  <a:cubicBezTo>
                    <a:pt x="753" y="1340"/>
                    <a:pt x="753" y="1340"/>
                    <a:pt x="753" y="1340"/>
                  </a:cubicBezTo>
                  <a:cubicBezTo>
                    <a:pt x="754" y="1344"/>
                    <a:pt x="754" y="1344"/>
                    <a:pt x="754" y="1344"/>
                  </a:cubicBezTo>
                  <a:cubicBezTo>
                    <a:pt x="764" y="1354"/>
                    <a:pt x="764" y="1354"/>
                    <a:pt x="764" y="1354"/>
                  </a:cubicBezTo>
                  <a:cubicBezTo>
                    <a:pt x="774" y="1354"/>
                    <a:pt x="774" y="1354"/>
                    <a:pt x="774" y="1354"/>
                  </a:cubicBezTo>
                  <a:cubicBezTo>
                    <a:pt x="779" y="1357"/>
                    <a:pt x="779" y="1357"/>
                    <a:pt x="779" y="1357"/>
                  </a:cubicBezTo>
                  <a:cubicBezTo>
                    <a:pt x="782" y="1354"/>
                    <a:pt x="782" y="1354"/>
                    <a:pt x="782" y="1354"/>
                  </a:cubicBezTo>
                  <a:cubicBezTo>
                    <a:pt x="782" y="1344"/>
                    <a:pt x="782" y="1344"/>
                    <a:pt x="782" y="1344"/>
                  </a:cubicBezTo>
                  <a:cubicBezTo>
                    <a:pt x="797" y="1349"/>
                    <a:pt x="797" y="1349"/>
                    <a:pt x="797" y="1349"/>
                  </a:cubicBezTo>
                  <a:cubicBezTo>
                    <a:pt x="801" y="1343"/>
                    <a:pt x="801" y="1343"/>
                    <a:pt x="801" y="1343"/>
                  </a:cubicBezTo>
                  <a:cubicBezTo>
                    <a:pt x="811" y="1349"/>
                    <a:pt x="811" y="1349"/>
                    <a:pt x="811" y="1349"/>
                  </a:cubicBezTo>
                  <a:cubicBezTo>
                    <a:pt x="819" y="1349"/>
                    <a:pt x="819" y="1349"/>
                    <a:pt x="819" y="1349"/>
                  </a:cubicBezTo>
                  <a:cubicBezTo>
                    <a:pt x="821" y="1341"/>
                    <a:pt x="821" y="1341"/>
                    <a:pt x="821" y="1341"/>
                  </a:cubicBezTo>
                  <a:cubicBezTo>
                    <a:pt x="826" y="1340"/>
                    <a:pt x="826" y="1340"/>
                    <a:pt x="826" y="1340"/>
                  </a:cubicBezTo>
                  <a:cubicBezTo>
                    <a:pt x="826" y="1340"/>
                    <a:pt x="829" y="1344"/>
                    <a:pt x="830" y="1347"/>
                  </a:cubicBezTo>
                  <a:cubicBezTo>
                    <a:pt x="831" y="1349"/>
                    <a:pt x="836" y="1348"/>
                    <a:pt x="836" y="1348"/>
                  </a:cubicBezTo>
                  <a:cubicBezTo>
                    <a:pt x="838" y="1344"/>
                    <a:pt x="838" y="1344"/>
                    <a:pt x="838" y="1344"/>
                  </a:cubicBezTo>
                  <a:cubicBezTo>
                    <a:pt x="845" y="1344"/>
                    <a:pt x="845" y="1344"/>
                    <a:pt x="845" y="1344"/>
                  </a:cubicBezTo>
                  <a:cubicBezTo>
                    <a:pt x="845" y="1344"/>
                    <a:pt x="847" y="1348"/>
                    <a:pt x="851" y="1350"/>
                  </a:cubicBezTo>
                  <a:cubicBezTo>
                    <a:pt x="856" y="1352"/>
                    <a:pt x="862" y="1350"/>
                    <a:pt x="862" y="1350"/>
                  </a:cubicBezTo>
                  <a:cubicBezTo>
                    <a:pt x="864" y="1343"/>
                    <a:pt x="864" y="1343"/>
                    <a:pt x="864" y="1343"/>
                  </a:cubicBezTo>
                  <a:cubicBezTo>
                    <a:pt x="870" y="1343"/>
                    <a:pt x="870" y="1343"/>
                    <a:pt x="870" y="1343"/>
                  </a:cubicBezTo>
                  <a:cubicBezTo>
                    <a:pt x="870" y="1354"/>
                    <a:pt x="870" y="1354"/>
                    <a:pt x="870" y="1354"/>
                  </a:cubicBezTo>
                  <a:cubicBezTo>
                    <a:pt x="870" y="1354"/>
                    <a:pt x="876" y="1357"/>
                    <a:pt x="879" y="1366"/>
                  </a:cubicBezTo>
                  <a:cubicBezTo>
                    <a:pt x="881" y="1374"/>
                    <a:pt x="868" y="1384"/>
                    <a:pt x="868" y="1384"/>
                  </a:cubicBezTo>
                  <a:cubicBezTo>
                    <a:pt x="868" y="1390"/>
                    <a:pt x="868" y="1390"/>
                    <a:pt x="868" y="1390"/>
                  </a:cubicBezTo>
                  <a:cubicBezTo>
                    <a:pt x="885" y="1389"/>
                    <a:pt x="885" y="1389"/>
                    <a:pt x="885" y="1389"/>
                  </a:cubicBezTo>
                  <a:cubicBezTo>
                    <a:pt x="885" y="1394"/>
                    <a:pt x="885" y="1394"/>
                    <a:pt x="885" y="1394"/>
                  </a:cubicBezTo>
                  <a:cubicBezTo>
                    <a:pt x="876" y="1397"/>
                    <a:pt x="876" y="1397"/>
                    <a:pt x="876" y="1397"/>
                  </a:cubicBezTo>
                  <a:cubicBezTo>
                    <a:pt x="876" y="1412"/>
                    <a:pt x="876" y="1412"/>
                    <a:pt x="876" y="1412"/>
                  </a:cubicBezTo>
                  <a:cubicBezTo>
                    <a:pt x="876" y="1412"/>
                    <a:pt x="882" y="1411"/>
                    <a:pt x="889" y="1415"/>
                  </a:cubicBezTo>
                  <a:cubicBezTo>
                    <a:pt x="896" y="1419"/>
                    <a:pt x="892" y="1427"/>
                    <a:pt x="892" y="1427"/>
                  </a:cubicBezTo>
                  <a:cubicBezTo>
                    <a:pt x="897" y="1428"/>
                    <a:pt x="897" y="1428"/>
                    <a:pt x="897" y="1428"/>
                  </a:cubicBezTo>
                  <a:cubicBezTo>
                    <a:pt x="898" y="1442"/>
                    <a:pt x="898" y="1442"/>
                    <a:pt x="898" y="1442"/>
                  </a:cubicBezTo>
                  <a:cubicBezTo>
                    <a:pt x="895" y="1445"/>
                    <a:pt x="895" y="1445"/>
                    <a:pt x="895" y="1445"/>
                  </a:cubicBezTo>
                  <a:cubicBezTo>
                    <a:pt x="895" y="1445"/>
                    <a:pt x="900" y="1449"/>
                    <a:pt x="900" y="1455"/>
                  </a:cubicBezTo>
                  <a:cubicBezTo>
                    <a:pt x="901" y="1462"/>
                    <a:pt x="874" y="1465"/>
                    <a:pt x="866" y="1467"/>
                  </a:cubicBezTo>
                  <a:cubicBezTo>
                    <a:pt x="859" y="1470"/>
                    <a:pt x="860" y="1475"/>
                    <a:pt x="861" y="1479"/>
                  </a:cubicBezTo>
                  <a:cubicBezTo>
                    <a:pt x="861" y="1482"/>
                    <a:pt x="856" y="1485"/>
                    <a:pt x="849" y="1489"/>
                  </a:cubicBezTo>
                  <a:cubicBezTo>
                    <a:pt x="843" y="1492"/>
                    <a:pt x="843" y="1505"/>
                    <a:pt x="847" y="1511"/>
                  </a:cubicBezTo>
                  <a:cubicBezTo>
                    <a:pt x="850" y="1516"/>
                    <a:pt x="852" y="1521"/>
                    <a:pt x="852" y="1524"/>
                  </a:cubicBezTo>
                  <a:cubicBezTo>
                    <a:pt x="870" y="1520"/>
                    <a:pt x="870" y="1520"/>
                    <a:pt x="870" y="1520"/>
                  </a:cubicBezTo>
                  <a:cubicBezTo>
                    <a:pt x="870" y="1511"/>
                    <a:pt x="870" y="1511"/>
                    <a:pt x="870" y="1511"/>
                  </a:cubicBezTo>
                  <a:cubicBezTo>
                    <a:pt x="881" y="1511"/>
                    <a:pt x="881" y="1511"/>
                    <a:pt x="881" y="1511"/>
                  </a:cubicBezTo>
                  <a:cubicBezTo>
                    <a:pt x="880" y="1506"/>
                    <a:pt x="880" y="1506"/>
                    <a:pt x="880" y="1506"/>
                  </a:cubicBezTo>
                  <a:cubicBezTo>
                    <a:pt x="884" y="1500"/>
                    <a:pt x="884" y="1500"/>
                    <a:pt x="884" y="1500"/>
                  </a:cubicBezTo>
                  <a:cubicBezTo>
                    <a:pt x="894" y="1500"/>
                    <a:pt x="894" y="1500"/>
                    <a:pt x="894" y="1500"/>
                  </a:cubicBezTo>
                  <a:cubicBezTo>
                    <a:pt x="893" y="1506"/>
                    <a:pt x="893" y="1506"/>
                    <a:pt x="893" y="1506"/>
                  </a:cubicBezTo>
                  <a:cubicBezTo>
                    <a:pt x="900" y="1515"/>
                    <a:pt x="900" y="1515"/>
                    <a:pt x="900" y="1515"/>
                  </a:cubicBezTo>
                  <a:cubicBezTo>
                    <a:pt x="891" y="1514"/>
                    <a:pt x="891" y="1514"/>
                    <a:pt x="891" y="1514"/>
                  </a:cubicBezTo>
                  <a:cubicBezTo>
                    <a:pt x="891" y="1514"/>
                    <a:pt x="887" y="1521"/>
                    <a:pt x="883" y="1530"/>
                  </a:cubicBezTo>
                  <a:cubicBezTo>
                    <a:pt x="880" y="1540"/>
                    <a:pt x="871" y="1537"/>
                    <a:pt x="871" y="1537"/>
                  </a:cubicBezTo>
                  <a:cubicBezTo>
                    <a:pt x="870" y="1544"/>
                    <a:pt x="870" y="1544"/>
                    <a:pt x="870" y="1544"/>
                  </a:cubicBezTo>
                  <a:cubicBezTo>
                    <a:pt x="878" y="1543"/>
                    <a:pt x="878" y="1543"/>
                    <a:pt x="878" y="1543"/>
                  </a:cubicBezTo>
                  <a:cubicBezTo>
                    <a:pt x="876" y="1549"/>
                    <a:pt x="876" y="1549"/>
                    <a:pt x="876" y="1549"/>
                  </a:cubicBezTo>
                  <a:cubicBezTo>
                    <a:pt x="866" y="1549"/>
                    <a:pt x="866" y="1549"/>
                    <a:pt x="866" y="1549"/>
                  </a:cubicBezTo>
                  <a:cubicBezTo>
                    <a:pt x="858" y="1558"/>
                    <a:pt x="858" y="1558"/>
                    <a:pt x="858" y="1558"/>
                  </a:cubicBezTo>
                  <a:cubicBezTo>
                    <a:pt x="843" y="1558"/>
                    <a:pt x="843" y="1558"/>
                    <a:pt x="843" y="1558"/>
                  </a:cubicBezTo>
                  <a:cubicBezTo>
                    <a:pt x="855" y="1575"/>
                    <a:pt x="855" y="1575"/>
                    <a:pt x="855" y="1575"/>
                  </a:cubicBezTo>
                  <a:cubicBezTo>
                    <a:pt x="855" y="1575"/>
                    <a:pt x="862" y="1571"/>
                    <a:pt x="867" y="1571"/>
                  </a:cubicBezTo>
                  <a:cubicBezTo>
                    <a:pt x="874" y="1571"/>
                    <a:pt x="876" y="1580"/>
                    <a:pt x="876" y="1580"/>
                  </a:cubicBezTo>
                  <a:cubicBezTo>
                    <a:pt x="876" y="1580"/>
                    <a:pt x="893" y="1578"/>
                    <a:pt x="894" y="1586"/>
                  </a:cubicBezTo>
                  <a:cubicBezTo>
                    <a:pt x="895" y="1592"/>
                    <a:pt x="880" y="1585"/>
                    <a:pt x="880" y="1585"/>
                  </a:cubicBezTo>
                  <a:cubicBezTo>
                    <a:pt x="877" y="1599"/>
                    <a:pt x="877" y="1599"/>
                    <a:pt x="877" y="1599"/>
                  </a:cubicBezTo>
                  <a:cubicBezTo>
                    <a:pt x="873" y="1591"/>
                    <a:pt x="873" y="1591"/>
                    <a:pt x="873" y="1591"/>
                  </a:cubicBezTo>
                  <a:cubicBezTo>
                    <a:pt x="867" y="1594"/>
                    <a:pt x="867" y="1594"/>
                    <a:pt x="867" y="1594"/>
                  </a:cubicBezTo>
                  <a:cubicBezTo>
                    <a:pt x="867" y="1594"/>
                    <a:pt x="871" y="1610"/>
                    <a:pt x="871" y="1615"/>
                  </a:cubicBezTo>
                  <a:cubicBezTo>
                    <a:pt x="871" y="1619"/>
                    <a:pt x="865" y="1619"/>
                    <a:pt x="862" y="1623"/>
                  </a:cubicBezTo>
                  <a:cubicBezTo>
                    <a:pt x="859" y="1626"/>
                    <a:pt x="868" y="1634"/>
                    <a:pt x="866" y="1639"/>
                  </a:cubicBezTo>
                  <a:cubicBezTo>
                    <a:pt x="864" y="1646"/>
                    <a:pt x="859" y="1657"/>
                    <a:pt x="852" y="1658"/>
                  </a:cubicBezTo>
                  <a:cubicBezTo>
                    <a:pt x="846" y="1658"/>
                    <a:pt x="844" y="1650"/>
                    <a:pt x="844" y="1650"/>
                  </a:cubicBezTo>
                  <a:cubicBezTo>
                    <a:pt x="830" y="1651"/>
                    <a:pt x="830" y="1651"/>
                    <a:pt x="830" y="1651"/>
                  </a:cubicBezTo>
                  <a:cubicBezTo>
                    <a:pt x="831" y="1656"/>
                    <a:pt x="831" y="1656"/>
                    <a:pt x="831" y="1656"/>
                  </a:cubicBezTo>
                  <a:cubicBezTo>
                    <a:pt x="831" y="1656"/>
                    <a:pt x="841" y="1657"/>
                    <a:pt x="842" y="1659"/>
                  </a:cubicBezTo>
                  <a:cubicBezTo>
                    <a:pt x="842" y="1662"/>
                    <a:pt x="830" y="1669"/>
                    <a:pt x="830" y="1669"/>
                  </a:cubicBezTo>
                  <a:cubicBezTo>
                    <a:pt x="833" y="1674"/>
                    <a:pt x="833" y="1674"/>
                    <a:pt x="833" y="1674"/>
                  </a:cubicBezTo>
                  <a:cubicBezTo>
                    <a:pt x="847" y="1669"/>
                    <a:pt x="847" y="1669"/>
                    <a:pt x="847" y="1669"/>
                  </a:cubicBezTo>
                  <a:cubicBezTo>
                    <a:pt x="847" y="1669"/>
                    <a:pt x="841" y="1664"/>
                    <a:pt x="851" y="1663"/>
                  </a:cubicBezTo>
                  <a:cubicBezTo>
                    <a:pt x="862" y="1663"/>
                    <a:pt x="852" y="1670"/>
                    <a:pt x="852" y="1670"/>
                  </a:cubicBezTo>
                  <a:cubicBezTo>
                    <a:pt x="865" y="1673"/>
                    <a:pt x="865" y="1673"/>
                    <a:pt x="865" y="1673"/>
                  </a:cubicBezTo>
                  <a:cubicBezTo>
                    <a:pt x="873" y="1686"/>
                    <a:pt x="873" y="1686"/>
                    <a:pt x="873" y="1686"/>
                  </a:cubicBezTo>
                  <a:cubicBezTo>
                    <a:pt x="894" y="1684"/>
                    <a:pt x="894" y="1684"/>
                    <a:pt x="894" y="1684"/>
                  </a:cubicBezTo>
                  <a:cubicBezTo>
                    <a:pt x="895" y="1678"/>
                    <a:pt x="895" y="1678"/>
                    <a:pt x="895" y="1678"/>
                  </a:cubicBezTo>
                  <a:cubicBezTo>
                    <a:pt x="903" y="1684"/>
                    <a:pt x="903" y="1684"/>
                    <a:pt x="903" y="1684"/>
                  </a:cubicBezTo>
                  <a:cubicBezTo>
                    <a:pt x="908" y="1684"/>
                    <a:pt x="908" y="1684"/>
                    <a:pt x="908" y="1684"/>
                  </a:cubicBezTo>
                  <a:cubicBezTo>
                    <a:pt x="911" y="1689"/>
                    <a:pt x="911" y="1689"/>
                    <a:pt x="911" y="1689"/>
                  </a:cubicBezTo>
                  <a:cubicBezTo>
                    <a:pt x="917" y="1688"/>
                    <a:pt x="917" y="1688"/>
                    <a:pt x="917" y="1688"/>
                  </a:cubicBezTo>
                  <a:cubicBezTo>
                    <a:pt x="926" y="1691"/>
                    <a:pt x="926" y="1691"/>
                    <a:pt x="926" y="1691"/>
                  </a:cubicBezTo>
                  <a:cubicBezTo>
                    <a:pt x="929" y="1688"/>
                    <a:pt x="929" y="1688"/>
                    <a:pt x="929" y="1688"/>
                  </a:cubicBezTo>
                  <a:cubicBezTo>
                    <a:pt x="943" y="1687"/>
                    <a:pt x="943" y="1687"/>
                    <a:pt x="943" y="1687"/>
                  </a:cubicBezTo>
                  <a:cubicBezTo>
                    <a:pt x="949" y="1694"/>
                    <a:pt x="949" y="1694"/>
                    <a:pt x="949" y="1694"/>
                  </a:cubicBezTo>
                  <a:cubicBezTo>
                    <a:pt x="949" y="1694"/>
                    <a:pt x="970" y="1696"/>
                    <a:pt x="976" y="1699"/>
                  </a:cubicBezTo>
                  <a:cubicBezTo>
                    <a:pt x="982" y="1702"/>
                    <a:pt x="998" y="1713"/>
                    <a:pt x="998" y="1713"/>
                  </a:cubicBezTo>
                  <a:cubicBezTo>
                    <a:pt x="1003" y="1712"/>
                    <a:pt x="1003" y="1712"/>
                    <a:pt x="1003" y="1712"/>
                  </a:cubicBezTo>
                  <a:cubicBezTo>
                    <a:pt x="1007" y="1716"/>
                    <a:pt x="1007" y="1716"/>
                    <a:pt x="1007" y="1716"/>
                  </a:cubicBezTo>
                  <a:cubicBezTo>
                    <a:pt x="1016" y="1717"/>
                    <a:pt x="1016" y="1717"/>
                    <a:pt x="1016" y="1717"/>
                  </a:cubicBezTo>
                  <a:cubicBezTo>
                    <a:pt x="1019" y="1721"/>
                    <a:pt x="1019" y="1721"/>
                    <a:pt x="1019" y="1721"/>
                  </a:cubicBezTo>
                  <a:cubicBezTo>
                    <a:pt x="1024" y="1720"/>
                    <a:pt x="1024" y="1720"/>
                    <a:pt x="1024" y="1720"/>
                  </a:cubicBezTo>
                  <a:cubicBezTo>
                    <a:pt x="1024" y="1720"/>
                    <a:pt x="1024" y="1710"/>
                    <a:pt x="1028" y="1705"/>
                  </a:cubicBezTo>
                  <a:cubicBezTo>
                    <a:pt x="1031" y="1701"/>
                    <a:pt x="1047" y="1703"/>
                    <a:pt x="1047" y="1703"/>
                  </a:cubicBezTo>
                  <a:cubicBezTo>
                    <a:pt x="1050" y="1698"/>
                    <a:pt x="1050" y="1698"/>
                    <a:pt x="1050" y="1698"/>
                  </a:cubicBezTo>
                  <a:cubicBezTo>
                    <a:pt x="1072" y="1701"/>
                    <a:pt x="1072" y="1701"/>
                    <a:pt x="1072" y="1701"/>
                  </a:cubicBezTo>
                  <a:cubicBezTo>
                    <a:pt x="1073" y="1700"/>
                    <a:pt x="1073" y="1700"/>
                    <a:pt x="1073" y="1700"/>
                  </a:cubicBezTo>
                  <a:cubicBezTo>
                    <a:pt x="1080" y="1700"/>
                    <a:pt x="1080" y="1700"/>
                    <a:pt x="1080" y="1700"/>
                  </a:cubicBezTo>
                  <a:cubicBezTo>
                    <a:pt x="1085" y="1696"/>
                    <a:pt x="1085" y="1696"/>
                    <a:pt x="1085" y="1696"/>
                  </a:cubicBezTo>
                  <a:cubicBezTo>
                    <a:pt x="1085" y="1696"/>
                    <a:pt x="1095" y="1702"/>
                    <a:pt x="1107" y="1699"/>
                  </a:cubicBezTo>
                  <a:cubicBezTo>
                    <a:pt x="1120" y="1697"/>
                    <a:pt x="1137" y="1683"/>
                    <a:pt x="1137" y="1683"/>
                  </a:cubicBezTo>
                  <a:cubicBezTo>
                    <a:pt x="1143" y="1684"/>
                    <a:pt x="1143" y="1684"/>
                    <a:pt x="1143" y="1684"/>
                  </a:cubicBezTo>
                  <a:cubicBezTo>
                    <a:pt x="1143" y="1684"/>
                    <a:pt x="1146" y="1679"/>
                    <a:pt x="1154" y="1679"/>
                  </a:cubicBezTo>
                  <a:cubicBezTo>
                    <a:pt x="1161" y="1678"/>
                    <a:pt x="1162" y="1683"/>
                    <a:pt x="1169" y="1685"/>
                  </a:cubicBezTo>
                  <a:cubicBezTo>
                    <a:pt x="1175" y="1688"/>
                    <a:pt x="1192" y="1683"/>
                    <a:pt x="1192" y="1683"/>
                  </a:cubicBezTo>
                  <a:cubicBezTo>
                    <a:pt x="1210" y="1683"/>
                    <a:pt x="1210" y="1683"/>
                    <a:pt x="1210" y="1683"/>
                  </a:cubicBezTo>
                  <a:cubicBezTo>
                    <a:pt x="1208" y="1689"/>
                    <a:pt x="1208" y="1689"/>
                    <a:pt x="1208" y="1689"/>
                  </a:cubicBezTo>
                  <a:cubicBezTo>
                    <a:pt x="1208" y="1689"/>
                    <a:pt x="1215" y="1691"/>
                    <a:pt x="1221" y="1690"/>
                  </a:cubicBezTo>
                  <a:cubicBezTo>
                    <a:pt x="1227" y="1690"/>
                    <a:pt x="1233" y="1681"/>
                    <a:pt x="1233" y="1681"/>
                  </a:cubicBezTo>
                  <a:cubicBezTo>
                    <a:pt x="1233" y="1674"/>
                    <a:pt x="1233" y="1674"/>
                    <a:pt x="1233" y="1674"/>
                  </a:cubicBezTo>
                  <a:cubicBezTo>
                    <a:pt x="1233" y="1674"/>
                    <a:pt x="1239" y="1669"/>
                    <a:pt x="1243" y="1666"/>
                  </a:cubicBezTo>
                  <a:cubicBezTo>
                    <a:pt x="1248" y="1664"/>
                    <a:pt x="1259" y="1669"/>
                    <a:pt x="1259" y="1669"/>
                  </a:cubicBezTo>
                  <a:cubicBezTo>
                    <a:pt x="1259" y="1659"/>
                    <a:pt x="1259" y="1659"/>
                    <a:pt x="1259" y="1659"/>
                  </a:cubicBezTo>
                  <a:cubicBezTo>
                    <a:pt x="1266" y="1660"/>
                    <a:pt x="1266" y="1660"/>
                    <a:pt x="1266" y="1660"/>
                  </a:cubicBezTo>
                  <a:cubicBezTo>
                    <a:pt x="1274" y="1656"/>
                    <a:pt x="1274" y="1656"/>
                    <a:pt x="1274" y="1656"/>
                  </a:cubicBezTo>
                  <a:cubicBezTo>
                    <a:pt x="1285" y="1663"/>
                    <a:pt x="1285" y="1663"/>
                    <a:pt x="1285" y="1663"/>
                  </a:cubicBezTo>
                  <a:cubicBezTo>
                    <a:pt x="1291" y="1657"/>
                    <a:pt x="1291" y="1657"/>
                    <a:pt x="1291" y="1657"/>
                  </a:cubicBezTo>
                  <a:cubicBezTo>
                    <a:pt x="1302" y="1654"/>
                    <a:pt x="1302" y="1654"/>
                    <a:pt x="1302" y="1654"/>
                  </a:cubicBezTo>
                  <a:cubicBezTo>
                    <a:pt x="1302" y="1654"/>
                    <a:pt x="1305" y="1671"/>
                    <a:pt x="1309" y="1675"/>
                  </a:cubicBezTo>
                  <a:cubicBezTo>
                    <a:pt x="1315" y="1679"/>
                    <a:pt x="1337" y="1674"/>
                    <a:pt x="1347" y="1674"/>
                  </a:cubicBezTo>
                  <a:cubicBezTo>
                    <a:pt x="1357" y="1673"/>
                    <a:pt x="1359" y="1675"/>
                    <a:pt x="1359" y="1675"/>
                  </a:cubicBezTo>
                  <a:cubicBezTo>
                    <a:pt x="1367" y="1671"/>
                    <a:pt x="1367" y="1671"/>
                    <a:pt x="1367" y="1671"/>
                  </a:cubicBezTo>
                  <a:cubicBezTo>
                    <a:pt x="1367" y="1671"/>
                    <a:pt x="1371" y="1672"/>
                    <a:pt x="1378" y="1672"/>
                  </a:cubicBezTo>
                  <a:cubicBezTo>
                    <a:pt x="1383" y="1672"/>
                    <a:pt x="1388" y="1681"/>
                    <a:pt x="1388" y="1681"/>
                  </a:cubicBezTo>
                  <a:cubicBezTo>
                    <a:pt x="1390" y="1678"/>
                    <a:pt x="1390" y="1678"/>
                    <a:pt x="1390" y="1678"/>
                  </a:cubicBezTo>
                  <a:cubicBezTo>
                    <a:pt x="1390" y="1678"/>
                    <a:pt x="1407" y="1689"/>
                    <a:pt x="1408" y="1689"/>
                  </a:cubicBezTo>
                  <a:cubicBezTo>
                    <a:pt x="1411" y="1689"/>
                    <a:pt x="1417" y="1687"/>
                    <a:pt x="1429" y="1686"/>
                  </a:cubicBezTo>
                  <a:cubicBezTo>
                    <a:pt x="1440" y="1685"/>
                    <a:pt x="1435" y="1674"/>
                    <a:pt x="1435" y="1674"/>
                  </a:cubicBezTo>
                  <a:cubicBezTo>
                    <a:pt x="1438" y="1668"/>
                    <a:pt x="1438" y="1668"/>
                    <a:pt x="1438" y="1668"/>
                  </a:cubicBezTo>
                  <a:cubicBezTo>
                    <a:pt x="1437" y="1657"/>
                    <a:pt x="1437" y="1657"/>
                    <a:pt x="1437" y="1657"/>
                  </a:cubicBezTo>
                  <a:cubicBezTo>
                    <a:pt x="1446" y="1644"/>
                    <a:pt x="1446" y="1644"/>
                    <a:pt x="1446" y="1644"/>
                  </a:cubicBezTo>
                  <a:cubicBezTo>
                    <a:pt x="1445" y="1626"/>
                    <a:pt x="1445" y="1626"/>
                    <a:pt x="1445" y="1626"/>
                  </a:cubicBezTo>
                  <a:cubicBezTo>
                    <a:pt x="1434" y="1626"/>
                    <a:pt x="1434" y="1626"/>
                    <a:pt x="1434" y="1626"/>
                  </a:cubicBezTo>
                  <a:cubicBezTo>
                    <a:pt x="1417" y="1613"/>
                    <a:pt x="1417" y="1613"/>
                    <a:pt x="1417" y="1613"/>
                  </a:cubicBezTo>
                  <a:cubicBezTo>
                    <a:pt x="1417" y="1613"/>
                    <a:pt x="1406" y="1612"/>
                    <a:pt x="1404" y="1611"/>
                  </a:cubicBezTo>
                  <a:cubicBezTo>
                    <a:pt x="1402" y="1611"/>
                    <a:pt x="1391" y="1604"/>
                    <a:pt x="1391" y="1604"/>
                  </a:cubicBezTo>
                  <a:cubicBezTo>
                    <a:pt x="1391" y="1604"/>
                    <a:pt x="1387" y="1604"/>
                    <a:pt x="1382" y="1602"/>
                  </a:cubicBezTo>
                  <a:cubicBezTo>
                    <a:pt x="1378" y="1601"/>
                    <a:pt x="1380" y="1599"/>
                    <a:pt x="1376" y="1592"/>
                  </a:cubicBezTo>
                  <a:cubicBezTo>
                    <a:pt x="1372" y="1586"/>
                    <a:pt x="1365" y="1590"/>
                    <a:pt x="1358" y="1584"/>
                  </a:cubicBezTo>
                  <a:cubicBezTo>
                    <a:pt x="1352" y="1578"/>
                    <a:pt x="1356" y="1565"/>
                    <a:pt x="1356" y="1565"/>
                  </a:cubicBezTo>
                  <a:cubicBezTo>
                    <a:pt x="1350" y="1565"/>
                    <a:pt x="1350" y="1565"/>
                    <a:pt x="1350" y="1565"/>
                  </a:cubicBezTo>
                  <a:cubicBezTo>
                    <a:pt x="1341" y="1543"/>
                    <a:pt x="1341" y="1543"/>
                    <a:pt x="1341" y="1543"/>
                  </a:cubicBezTo>
                  <a:cubicBezTo>
                    <a:pt x="1341" y="1530"/>
                    <a:pt x="1341" y="1530"/>
                    <a:pt x="1341" y="1530"/>
                  </a:cubicBezTo>
                  <a:cubicBezTo>
                    <a:pt x="1343" y="1527"/>
                    <a:pt x="1343" y="1527"/>
                    <a:pt x="1343" y="1527"/>
                  </a:cubicBezTo>
                  <a:cubicBezTo>
                    <a:pt x="1343" y="1527"/>
                    <a:pt x="1342" y="1525"/>
                    <a:pt x="1339" y="1525"/>
                  </a:cubicBezTo>
                  <a:cubicBezTo>
                    <a:pt x="1335" y="1526"/>
                    <a:pt x="1338" y="1538"/>
                    <a:pt x="1338" y="1538"/>
                  </a:cubicBezTo>
                  <a:cubicBezTo>
                    <a:pt x="1342" y="1559"/>
                    <a:pt x="1342" y="1559"/>
                    <a:pt x="1342" y="1559"/>
                  </a:cubicBezTo>
                  <a:cubicBezTo>
                    <a:pt x="1339" y="1558"/>
                    <a:pt x="1339" y="1558"/>
                    <a:pt x="1339" y="1558"/>
                  </a:cubicBezTo>
                  <a:cubicBezTo>
                    <a:pt x="1337" y="1540"/>
                    <a:pt x="1337" y="1540"/>
                    <a:pt x="1337" y="1540"/>
                  </a:cubicBezTo>
                  <a:cubicBezTo>
                    <a:pt x="1333" y="1539"/>
                    <a:pt x="1333" y="1539"/>
                    <a:pt x="1333" y="1539"/>
                  </a:cubicBezTo>
                  <a:cubicBezTo>
                    <a:pt x="1313" y="1523"/>
                    <a:pt x="1313" y="1523"/>
                    <a:pt x="1313" y="1523"/>
                  </a:cubicBezTo>
                  <a:cubicBezTo>
                    <a:pt x="1313" y="1523"/>
                    <a:pt x="1310" y="1526"/>
                    <a:pt x="1308" y="1526"/>
                  </a:cubicBezTo>
                  <a:cubicBezTo>
                    <a:pt x="1306" y="1526"/>
                    <a:pt x="1304" y="1521"/>
                    <a:pt x="1301" y="1518"/>
                  </a:cubicBezTo>
                  <a:cubicBezTo>
                    <a:pt x="1297" y="1516"/>
                    <a:pt x="1286" y="1522"/>
                    <a:pt x="1286" y="1522"/>
                  </a:cubicBezTo>
                  <a:cubicBezTo>
                    <a:pt x="1286" y="1522"/>
                    <a:pt x="1277" y="1512"/>
                    <a:pt x="1275" y="1508"/>
                  </a:cubicBezTo>
                  <a:cubicBezTo>
                    <a:pt x="1273" y="1502"/>
                    <a:pt x="1281" y="1496"/>
                    <a:pt x="1285" y="1490"/>
                  </a:cubicBezTo>
                  <a:cubicBezTo>
                    <a:pt x="1290" y="1483"/>
                    <a:pt x="1287" y="1468"/>
                    <a:pt x="1287" y="1468"/>
                  </a:cubicBezTo>
                  <a:cubicBezTo>
                    <a:pt x="1283" y="1465"/>
                    <a:pt x="1283" y="1465"/>
                    <a:pt x="1283" y="1465"/>
                  </a:cubicBezTo>
                  <a:cubicBezTo>
                    <a:pt x="1287" y="1460"/>
                    <a:pt x="1287" y="1460"/>
                    <a:pt x="1287" y="1460"/>
                  </a:cubicBezTo>
                  <a:cubicBezTo>
                    <a:pt x="1284" y="1459"/>
                    <a:pt x="1284" y="1459"/>
                    <a:pt x="1284" y="1459"/>
                  </a:cubicBezTo>
                  <a:cubicBezTo>
                    <a:pt x="1283" y="1443"/>
                    <a:pt x="1283" y="1443"/>
                    <a:pt x="1283" y="1443"/>
                  </a:cubicBezTo>
                  <a:cubicBezTo>
                    <a:pt x="1286" y="1436"/>
                    <a:pt x="1286" y="1436"/>
                    <a:pt x="1286" y="1436"/>
                  </a:cubicBezTo>
                  <a:cubicBezTo>
                    <a:pt x="1286" y="1436"/>
                    <a:pt x="1280" y="1431"/>
                    <a:pt x="1281" y="1428"/>
                  </a:cubicBezTo>
                  <a:cubicBezTo>
                    <a:pt x="1282" y="1424"/>
                    <a:pt x="1291" y="1430"/>
                    <a:pt x="1296" y="1431"/>
                  </a:cubicBezTo>
                  <a:cubicBezTo>
                    <a:pt x="1300" y="1431"/>
                    <a:pt x="1299" y="1428"/>
                    <a:pt x="1299" y="1428"/>
                  </a:cubicBezTo>
                  <a:cubicBezTo>
                    <a:pt x="1299" y="1428"/>
                    <a:pt x="1291" y="1422"/>
                    <a:pt x="1293" y="1419"/>
                  </a:cubicBezTo>
                  <a:cubicBezTo>
                    <a:pt x="1296" y="1416"/>
                    <a:pt x="1306" y="1410"/>
                    <a:pt x="1306" y="1410"/>
                  </a:cubicBezTo>
                  <a:cubicBezTo>
                    <a:pt x="1313" y="1412"/>
                    <a:pt x="1313" y="1412"/>
                    <a:pt x="1313" y="1412"/>
                  </a:cubicBezTo>
                  <a:cubicBezTo>
                    <a:pt x="1317" y="1411"/>
                    <a:pt x="1317" y="1411"/>
                    <a:pt x="1317" y="1411"/>
                  </a:cubicBezTo>
                  <a:cubicBezTo>
                    <a:pt x="1305" y="1402"/>
                    <a:pt x="1305" y="1402"/>
                    <a:pt x="1305" y="1402"/>
                  </a:cubicBezTo>
                  <a:cubicBezTo>
                    <a:pt x="1308" y="1397"/>
                    <a:pt x="1308" y="1397"/>
                    <a:pt x="1308" y="1397"/>
                  </a:cubicBezTo>
                  <a:cubicBezTo>
                    <a:pt x="1322" y="1404"/>
                    <a:pt x="1322" y="1404"/>
                    <a:pt x="1322" y="1404"/>
                  </a:cubicBezTo>
                  <a:cubicBezTo>
                    <a:pt x="1327" y="1402"/>
                    <a:pt x="1327" y="1402"/>
                    <a:pt x="1327" y="1402"/>
                  </a:cubicBezTo>
                  <a:cubicBezTo>
                    <a:pt x="1320" y="1398"/>
                    <a:pt x="1320" y="1398"/>
                    <a:pt x="1320" y="1398"/>
                  </a:cubicBezTo>
                  <a:cubicBezTo>
                    <a:pt x="1323" y="1391"/>
                    <a:pt x="1323" y="1391"/>
                    <a:pt x="1323" y="1391"/>
                  </a:cubicBezTo>
                  <a:cubicBezTo>
                    <a:pt x="1313" y="1386"/>
                    <a:pt x="1313" y="1386"/>
                    <a:pt x="1313" y="1386"/>
                  </a:cubicBezTo>
                  <a:cubicBezTo>
                    <a:pt x="1314" y="1381"/>
                    <a:pt x="1314" y="1381"/>
                    <a:pt x="1314" y="1381"/>
                  </a:cubicBezTo>
                  <a:cubicBezTo>
                    <a:pt x="1322" y="1383"/>
                    <a:pt x="1322" y="1383"/>
                    <a:pt x="1322" y="1383"/>
                  </a:cubicBezTo>
                  <a:cubicBezTo>
                    <a:pt x="1325" y="1383"/>
                    <a:pt x="1325" y="1383"/>
                    <a:pt x="1325" y="1383"/>
                  </a:cubicBezTo>
                  <a:cubicBezTo>
                    <a:pt x="1318" y="1378"/>
                    <a:pt x="1318" y="1378"/>
                    <a:pt x="1318" y="1378"/>
                  </a:cubicBezTo>
                  <a:cubicBezTo>
                    <a:pt x="1323" y="1375"/>
                    <a:pt x="1323" y="1375"/>
                    <a:pt x="1323" y="1375"/>
                  </a:cubicBezTo>
                  <a:cubicBezTo>
                    <a:pt x="1331" y="1379"/>
                    <a:pt x="1331" y="1379"/>
                    <a:pt x="1331" y="1379"/>
                  </a:cubicBezTo>
                  <a:cubicBezTo>
                    <a:pt x="1331" y="1379"/>
                    <a:pt x="1331" y="1372"/>
                    <a:pt x="1329" y="1369"/>
                  </a:cubicBezTo>
                  <a:cubicBezTo>
                    <a:pt x="1326" y="1366"/>
                    <a:pt x="1319" y="1367"/>
                    <a:pt x="1320" y="1363"/>
                  </a:cubicBezTo>
                  <a:cubicBezTo>
                    <a:pt x="1321" y="1357"/>
                    <a:pt x="1332" y="1358"/>
                    <a:pt x="1332" y="1358"/>
                  </a:cubicBezTo>
                  <a:cubicBezTo>
                    <a:pt x="1324" y="1354"/>
                    <a:pt x="1324" y="1354"/>
                    <a:pt x="1324" y="1354"/>
                  </a:cubicBezTo>
                  <a:cubicBezTo>
                    <a:pt x="1324" y="1354"/>
                    <a:pt x="1301" y="1358"/>
                    <a:pt x="1290" y="1357"/>
                  </a:cubicBezTo>
                  <a:cubicBezTo>
                    <a:pt x="1281" y="1356"/>
                    <a:pt x="1280" y="1350"/>
                    <a:pt x="1284" y="1343"/>
                  </a:cubicBezTo>
                  <a:cubicBezTo>
                    <a:pt x="1288" y="1338"/>
                    <a:pt x="1298" y="1344"/>
                    <a:pt x="1302" y="1340"/>
                  </a:cubicBezTo>
                  <a:cubicBezTo>
                    <a:pt x="1307" y="1335"/>
                    <a:pt x="1288" y="1328"/>
                    <a:pt x="1281" y="1326"/>
                  </a:cubicBezTo>
                  <a:cubicBezTo>
                    <a:pt x="1273" y="1324"/>
                    <a:pt x="1268" y="1313"/>
                    <a:pt x="1263" y="1310"/>
                  </a:cubicBezTo>
                  <a:cubicBezTo>
                    <a:pt x="1257" y="1308"/>
                    <a:pt x="1256" y="1312"/>
                    <a:pt x="1249" y="1312"/>
                  </a:cubicBezTo>
                  <a:cubicBezTo>
                    <a:pt x="1242" y="1312"/>
                    <a:pt x="1241" y="1301"/>
                    <a:pt x="1232" y="1298"/>
                  </a:cubicBezTo>
                  <a:cubicBezTo>
                    <a:pt x="1222" y="1295"/>
                    <a:pt x="1225" y="1307"/>
                    <a:pt x="1218" y="1309"/>
                  </a:cubicBezTo>
                  <a:cubicBezTo>
                    <a:pt x="1211" y="1311"/>
                    <a:pt x="1206" y="1310"/>
                    <a:pt x="1206" y="1310"/>
                  </a:cubicBezTo>
                  <a:cubicBezTo>
                    <a:pt x="1210" y="1318"/>
                    <a:pt x="1210" y="1318"/>
                    <a:pt x="1210" y="1318"/>
                  </a:cubicBezTo>
                  <a:cubicBezTo>
                    <a:pt x="1210" y="1318"/>
                    <a:pt x="1198" y="1318"/>
                    <a:pt x="1192" y="1316"/>
                  </a:cubicBezTo>
                  <a:cubicBezTo>
                    <a:pt x="1187" y="1315"/>
                    <a:pt x="1188" y="1308"/>
                    <a:pt x="1189" y="1306"/>
                  </a:cubicBezTo>
                  <a:cubicBezTo>
                    <a:pt x="1191" y="1303"/>
                    <a:pt x="1186" y="1301"/>
                    <a:pt x="1184" y="1298"/>
                  </a:cubicBezTo>
                  <a:cubicBezTo>
                    <a:pt x="1181" y="1296"/>
                    <a:pt x="1181" y="1292"/>
                    <a:pt x="1181" y="1292"/>
                  </a:cubicBezTo>
                  <a:cubicBezTo>
                    <a:pt x="1152" y="1298"/>
                    <a:pt x="1152" y="1298"/>
                    <a:pt x="1152" y="1298"/>
                  </a:cubicBezTo>
                  <a:cubicBezTo>
                    <a:pt x="1146" y="1259"/>
                    <a:pt x="1146" y="1259"/>
                    <a:pt x="1146" y="1259"/>
                  </a:cubicBezTo>
                  <a:cubicBezTo>
                    <a:pt x="1146" y="1259"/>
                    <a:pt x="1152" y="1249"/>
                    <a:pt x="1149" y="1241"/>
                  </a:cubicBezTo>
                  <a:cubicBezTo>
                    <a:pt x="1146" y="1232"/>
                    <a:pt x="1136" y="1234"/>
                    <a:pt x="1136" y="1234"/>
                  </a:cubicBezTo>
                  <a:cubicBezTo>
                    <a:pt x="1124" y="1199"/>
                    <a:pt x="1124" y="1199"/>
                    <a:pt x="1124" y="1199"/>
                  </a:cubicBezTo>
                  <a:cubicBezTo>
                    <a:pt x="1133" y="1184"/>
                    <a:pt x="1133" y="1184"/>
                    <a:pt x="1133" y="1184"/>
                  </a:cubicBezTo>
                  <a:cubicBezTo>
                    <a:pt x="1134" y="1179"/>
                    <a:pt x="1125" y="1178"/>
                    <a:pt x="1125" y="1170"/>
                  </a:cubicBezTo>
                  <a:cubicBezTo>
                    <a:pt x="1124" y="1163"/>
                    <a:pt x="1128" y="1156"/>
                    <a:pt x="1138" y="1156"/>
                  </a:cubicBezTo>
                  <a:cubicBezTo>
                    <a:pt x="1146" y="1156"/>
                    <a:pt x="1158" y="1165"/>
                    <a:pt x="1161" y="1170"/>
                  </a:cubicBezTo>
                  <a:cubicBezTo>
                    <a:pt x="1165" y="1177"/>
                    <a:pt x="1172" y="1176"/>
                    <a:pt x="1178" y="1176"/>
                  </a:cubicBezTo>
                  <a:cubicBezTo>
                    <a:pt x="1184" y="1176"/>
                    <a:pt x="1190" y="1162"/>
                    <a:pt x="1191" y="1152"/>
                  </a:cubicBezTo>
                  <a:cubicBezTo>
                    <a:pt x="1192" y="1143"/>
                    <a:pt x="1185" y="1151"/>
                    <a:pt x="1185" y="1151"/>
                  </a:cubicBezTo>
                  <a:cubicBezTo>
                    <a:pt x="1185" y="1151"/>
                    <a:pt x="1182" y="1146"/>
                    <a:pt x="1177" y="1144"/>
                  </a:cubicBezTo>
                  <a:cubicBezTo>
                    <a:pt x="1173" y="1140"/>
                    <a:pt x="1163" y="1128"/>
                    <a:pt x="1163" y="1128"/>
                  </a:cubicBezTo>
                  <a:cubicBezTo>
                    <a:pt x="1159" y="1128"/>
                    <a:pt x="1159" y="1128"/>
                    <a:pt x="1159" y="1128"/>
                  </a:cubicBezTo>
                  <a:cubicBezTo>
                    <a:pt x="1160" y="1124"/>
                    <a:pt x="1160" y="1124"/>
                    <a:pt x="1160" y="1124"/>
                  </a:cubicBezTo>
                  <a:cubicBezTo>
                    <a:pt x="1160" y="1124"/>
                    <a:pt x="1165" y="1122"/>
                    <a:pt x="1171" y="1121"/>
                  </a:cubicBezTo>
                  <a:cubicBezTo>
                    <a:pt x="1177" y="1120"/>
                    <a:pt x="1175" y="1104"/>
                    <a:pt x="1175" y="1104"/>
                  </a:cubicBezTo>
                  <a:cubicBezTo>
                    <a:pt x="1175" y="1104"/>
                    <a:pt x="1182" y="1099"/>
                    <a:pt x="1183" y="1093"/>
                  </a:cubicBezTo>
                  <a:cubicBezTo>
                    <a:pt x="1185" y="1089"/>
                    <a:pt x="1175" y="1090"/>
                    <a:pt x="1175" y="1090"/>
                  </a:cubicBezTo>
                  <a:cubicBezTo>
                    <a:pt x="1173" y="1080"/>
                    <a:pt x="1173" y="1080"/>
                    <a:pt x="1173" y="1080"/>
                  </a:cubicBezTo>
                  <a:cubicBezTo>
                    <a:pt x="1183" y="1074"/>
                    <a:pt x="1183" y="1074"/>
                    <a:pt x="1183" y="1074"/>
                  </a:cubicBezTo>
                  <a:cubicBezTo>
                    <a:pt x="1189" y="1063"/>
                    <a:pt x="1189" y="1063"/>
                    <a:pt x="1189" y="1063"/>
                  </a:cubicBezTo>
                  <a:cubicBezTo>
                    <a:pt x="1189" y="1063"/>
                    <a:pt x="1202" y="1055"/>
                    <a:pt x="1202" y="1052"/>
                  </a:cubicBezTo>
                  <a:cubicBezTo>
                    <a:pt x="1203" y="1048"/>
                    <a:pt x="1196" y="1049"/>
                    <a:pt x="1195" y="1045"/>
                  </a:cubicBezTo>
                  <a:cubicBezTo>
                    <a:pt x="1194" y="1043"/>
                    <a:pt x="1204" y="1041"/>
                    <a:pt x="1204" y="1038"/>
                  </a:cubicBezTo>
                  <a:cubicBezTo>
                    <a:pt x="1204" y="1036"/>
                    <a:pt x="1199" y="1029"/>
                    <a:pt x="1201" y="1027"/>
                  </a:cubicBezTo>
                  <a:cubicBezTo>
                    <a:pt x="1203" y="1025"/>
                    <a:pt x="1208" y="1022"/>
                    <a:pt x="1208" y="1022"/>
                  </a:cubicBezTo>
                  <a:cubicBezTo>
                    <a:pt x="1201" y="1016"/>
                    <a:pt x="1201" y="1016"/>
                    <a:pt x="1201" y="1016"/>
                  </a:cubicBezTo>
                  <a:cubicBezTo>
                    <a:pt x="1212" y="1016"/>
                    <a:pt x="1212" y="1016"/>
                    <a:pt x="1212" y="1016"/>
                  </a:cubicBezTo>
                  <a:cubicBezTo>
                    <a:pt x="1212" y="1016"/>
                    <a:pt x="1223" y="1009"/>
                    <a:pt x="1226" y="1010"/>
                  </a:cubicBezTo>
                  <a:cubicBezTo>
                    <a:pt x="1229" y="1011"/>
                    <a:pt x="1223" y="1021"/>
                    <a:pt x="1228" y="1022"/>
                  </a:cubicBezTo>
                  <a:cubicBezTo>
                    <a:pt x="1234" y="1024"/>
                    <a:pt x="1235" y="1011"/>
                    <a:pt x="1235" y="1011"/>
                  </a:cubicBezTo>
                  <a:cubicBezTo>
                    <a:pt x="1235" y="1011"/>
                    <a:pt x="1240" y="1012"/>
                    <a:pt x="1243" y="1010"/>
                  </a:cubicBezTo>
                  <a:cubicBezTo>
                    <a:pt x="1247" y="1008"/>
                    <a:pt x="1238" y="1002"/>
                    <a:pt x="1240" y="997"/>
                  </a:cubicBezTo>
                  <a:cubicBezTo>
                    <a:pt x="1242" y="993"/>
                    <a:pt x="1251" y="993"/>
                    <a:pt x="1251" y="993"/>
                  </a:cubicBezTo>
                  <a:cubicBezTo>
                    <a:pt x="1249" y="986"/>
                    <a:pt x="1249" y="986"/>
                    <a:pt x="1249" y="986"/>
                  </a:cubicBezTo>
                  <a:cubicBezTo>
                    <a:pt x="1253" y="984"/>
                    <a:pt x="1253" y="984"/>
                    <a:pt x="1253" y="984"/>
                  </a:cubicBezTo>
                  <a:cubicBezTo>
                    <a:pt x="1253" y="984"/>
                    <a:pt x="1269" y="994"/>
                    <a:pt x="1275" y="993"/>
                  </a:cubicBezTo>
                  <a:cubicBezTo>
                    <a:pt x="1281" y="993"/>
                    <a:pt x="1277" y="987"/>
                    <a:pt x="1277" y="987"/>
                  </a:cubicBezTo>
                  <a:cubicBezTo>
                    <a:pt x="1285" y="987"/>
                    <a:pt x="1285" y="987"/>
                    <a:pt x="1285" y="987"/>
                  </a:cubicBezTo>
                  <a:cubicBezTo>
                    <a:pt x="1285" y="987"/>
                    <a:pt x="1298" y="975"/>
                    <a:pt x="1306" y="974"/>
                  </a:cubicBezTo>
                  <a:cubicBezTo>
                    <a:pt x="1315" y="973"/>
                    <a:pt x="1313" y="981"/>
                    <a:pt x="1318" y="982"/>
                  </a:cubicBezTo>
                  <a:cubicBezTo>
                    <a:pt x="1322" y="984"/>
                    <a:pt x="1323" y="982"/>
                    <a:pt x="1326" y="978"/>
                  </a:cubicBezTo>
                  <a:cubicBezTo>
                    <a:pt x="1329" y="975"/>
                    <a:pt x="1334" y="976"/>
                    <a:pt x="1339" y="980"/>
                  </a:cubicBezTo>
                  <a:cubicBezTo>
                    <a:pt x="1345" y="985"/>
                    <a:pt x="1351" y="984"/>
                    <a:pt x="1356" y="984"/>
                  </a:cubicBezTo>
                  <a:cubicBezTo>
                    <a:pt x="1362" y="984"/>
                    <a:pt x="1363" y="985"/>
                    <a:pt x="1363" y="989"/>
                  </a:cubicBezTo>
                  <a:cubicBezTo>
                    <a:pt x="1363" y="992"/>
                    <a:pt x="1366" y="998"/>
                    <a:pt x="1370" y="1001"/>
                  </a:cubicBezTo>
                  <a:cubicBezTo>
                    <a:pt x="1375" y="1004"/>
                    <a:pt x="1376" y="996"/>
                    <a:pt x="1378" y="992"/>
                  </a:cubicBezTo>
                  <a:cubicBezTo>
                    <a:pt x="1379" y="988"/>
                    <a:pt x="1371" y="988"/>
                    <a:pt x="1369" y="984"/>
                  </a:cubicBezTo>
                  <a:cubicBezTo>
                    <a:pt x="1367" y="978"/>
                    <a:pt x="1362" y="979"/>
                    <a:pt x="1358" y="979"/>
                  </a:cubicBezTo>
                  <a:cubicBezTo>
                    <a:pt x="1356" y="978"/>
                    <a:pt x="1356" y="975"/>
                    <a:pt x="1358" y="971"/>
                  </a:cubicBezTo>
                  <a:cubicBezTo>
                    <a:pt x="1360" y="966"/>
                    <a:pt x="1372" y="971"/>
                    <a:pt x="1372" y="971"/>
                  </a:cubicBezTo>
                  <a:cubicBezTo>
                    <a:pt x="1372" y="971"/>
                    <a:pt x="1375" y="969"/>
                    <a:pt x="1379" y="969"/>
                  </a:cubicBezTo>
                  <a:cubicBezTo>
                    <a:pt x="1382" y="970"/>
                    <a:pt x="1382" y="973"/>
                    <a:pt x="1382" y="973"/>
                  </a:cubicBezTo>
                  <a:cubicBezTo>
                    <a:pt x="1414" y="970"/>
                    <a:pt x="1414" y="970"/>
                    <a:pt x="1414" y="970"/>
                  </a:cubicBezTo>
                  <a:cubicBezTo>
                    <a:pt x="1414" y="970"/>
                    <a:pt x="1418" y="958"/>
                    <a:pt x="1420" y="953"/>
                  </a:cubicBezTo>
                  <a:cubicBezTo>
                    <a:pt x="1422" y="946"/>
                    <a:pt x="1416" y="940"/>
                    <a:pt x="1416" y="940"/>
                  </a:cubicBezTo>
                  <a:cubicBezTo>
                    <a:pt x="1421" y="938"/>
                    <a:pt x="1421" y="938"/>
                    <a:pt x="1421" y="938"/>
                  </a:cubicBezTo>
                  <a:cubicBezTo>
                    <a:pt x="1420" y="923"/>
                    <a:pt x="1420" y="923"/>
                    <a:pt x="1420" y="923"/>
                  </a:cubicBezTo>
                  <a:cubicBezTo>
                    <a:pt x="1420" y="923"/>
                    <a:pt x="1427" y="927"/>
                    <a:pt x="1431" y="927"/>
                  </a:cubicBezTo>
                  <a:cubicBezTo>
                    <a:pt x="1435" y="926"/>
                    <a:pt x="1430" y="918"/>
                    <a:pt x="1430" y="918"/>
                  </a:cubicBezTo>
                  <a:cubicBezTo>
                    <a:pt x="1442" y="909"/>
                    <a:pt x="1442" y="909"/>
                    <a:pt x="1442" y="909"/>
                  </a:cubicBezTo>
                  <a:cubicBezTo>
                    <a:pt x="1442" y="909"/>
                    <a:pt x="1456" y="914"/>
                    <a:pt x="1461" y="912"/>
                  </a:cubicBezTo>
                  <a:cubicBezTo>
                    <a:pt x="1464" y="910"/>
                    <a:pt x="1460" y="906"/>
                    <a:pt x="1461" y="903"/>
                  </a:cubicBezTo>
                  <a:cubicBezTo>
                    <a:pt x="1462" y="902"/>
                    <a:pt x="1469" y="902"/>
                    <a:pt x="1469" y="902"/>
                  </a:cubicBezTo>
                  <a:cubicBezTo>
                    <a:pt x="1460" y="893"/>
                    <a:pt x="1460" y="893"/>
                    <a:pt x="1460" y="893"/>
                  </a:cubicBezTo>
                  <a:cubicBezTo>
                    <a:pt x="1460" y="893"/>
                    <a:pt x="1477" y="886"/>
                    <a:pt x="1479" y="884"/>
                  </a:cubicBezTo>
                  <a:cubicBezTo>
                    <a:pt x="1482" y="882"/>
                    <a:pt x="1478" y="875"/>
                    <a:pt x="1478" y="875"/>
                  </a:cubicBezTo>
                  <a:cubicBezTo>
                    <a:pt x="1478" y="875"/>
                    <a:pt x="1483" y="874"/>
                    <a:pt x="1488" y="872"/>
                  </a:cubicBezTo>
                  <a:cubicBezTo>
                    <a:pt x="1494" y="872"/>
                    <a:pt x="1494" y="878"/>
                    <a:pt x="1503" y="883"/>
                  </a:cubicBezTo>
                  <a:cubicBezTo>
                    <a:pt x="1511" y="887"/>
                    <a:pt x="1523" y="880"/>
                    <a:pt x="1532" y="876"/>
                  </a:cubicBezTo>
                  <a:cubicBezTo>
                    <a:pt x="1532" y="795"/>
                    <a:pt x="1532" y="795"/>
                    <a:pt x="1532" y="795"/>
                  </a:cubicBezTo>
                  <a:cubicBezTo>
                    <a:pt x="1522" y="796"/>
                    <a:pt x="1522" y="796"/>
                    <a:pt x="1522" y="796"/>
                  </a:cubicBezTo>
                  <a:cubicBezTo>
                    <a:pt x="1522" y="796"/>
                    <a:pt x="1526" y="792"/>
                    <a:pt x="1522" y="788"/>
                  </a:cubicBezTo>
                  <a:cubicBezTo>
                    <a:pt x="1520" y="785"/>
                    <a:pt x="1504" y="795"/>
                    <a:pt x="1504" y="795"/>
                  </a:cubicBezTo>
                  <a:cubicBezTo>
                    <a:pt x="1501" y="790"/>
                    <a:pt x="1501" y="790"/>
                    <a:pt x="1501" y="790"/>
                  </a:cubicBezTo>
                  <a:cubicBezTo>
                    <a:pt x="1509" y="767"/>
                    <a:pt x="1509" y="767"/>
                    <a:pt x="1509" y="767"/>
                  </a:cubicBezTo>
                  <a:cubicBezTo>
                    <a:pt x="1515" y="765"/>
                    <a:pt x="1515" y="765"/>
                    <a:pt x="1515" y="765"/>
                  </a:cubicBezTo>
                  <a:cubicBezTo>
                    <a:pt x="1517" y="743"/>
                    <a:pt x="1517" y="743"/>
                    <a:pt x="1517" y="743"/>
                  </a:cubicBezTo>
                  <a:cubicBezTo>
                    <a:pt x="1507" y="740"/>
                    <a:pt x="1507" y="740"/>
                    <a:pt x="1507" y="740"/>
                  </a:cubicBezTo>
                  <a:cubicBezTo>
                    <a:pt x="1502" y="742"/>
                    <a:pt x="1502" y="742"/>
                    <a:pt x="1502" y="742"/>
                  </a:cubicBezTo>
                  <a:cubicBezTo>
                    <a:pt x="1488" y="737"/>
                    <a:pt x="1488" y="737"/>
                    <a:pt x="1488" y="737"/>
                  </a:cubicBezTo>
                  <a:cubicBezTo>
                    <a:pt x="1488" y="737"/>
                    <a:pt x="1491" y="720"/>
                    <a:pt x="1491" y="718"/>
                  </a:cubicBezTo>
                  <a:cubicBezTo>
                    <a:pt x="1491" y="717"/>
                    <a:pt x="1485" y="715"/>
                    <a:pt x="1485" y="715"/>
                  </a:cubicBezTo>
                  <a:cubicBezTo>
                    <a:pt x="1496" y="707"/>
                    <a:pt x="1496" y="707"/>
                    <a:pt x="1496" y="707"/>
                  </a:cubicBezTo>
                  <a:cubicBezTo>
                    <a:pt x="1501" y="702"/>
                    <a:pt x="1501" y="702"/>
                    <a:pt x="1501" y="702"/>
                  </a:cubicBezTo>
                  <a:cubicBezTo>
                    <a:pt x="1510" y="701"/>
                    <a:pt x="1510" y="701"/>
                    <a:pt x="1510" y="701"/>
                  </a:cubicBezTo>
                  <a:cubicBezTo>
                    <a:pt x="1510" y="701"/>
                    <a:pt x="1516" y="692"/>
                    <a:pt x="1520" y="690"/>
                  </a:cubicBezTo>
                  <a:cubicBezTo>
                    <a:pt x="1524" y="688"/>
                    <a:pt x="1522" y="685"/>
                    <a:pt x="1517" y="681"/>
                  </a:cubicBezTo>
                  <a:cubicBezTo>
                    <a:pt x="1513" y="677"/>
                    <a:pt x="1511" y="683"/>
                    <a:pt x="1506" y="685"/>
                  </a:cubicBezTo>
                  <a:cubicBezTo>
                    <a:pt x="1503" y="686"/>
                    <a:pt x="1497" y="686"/>
                    <a:pt x="1497" y="686"/>
                  </a:cubicBezTo>
                  <a:cubicBezTo>
                    <a:pt x="1498" y="690"/>
                    <a:pt x="1498" y="690"/>
                    <a:pt x="1498" y="690"/>
                  </a:cubicBezTo>
                  <a:cubicBezTo>
                    <a:pt x="1482" y="695"/>
                    <a:pt x="1482" y="695"/>
                    <a:pt x="1482" y="695"/>
                  </a:cubicBezTo>
                  <a:cubicBezTo>
                    <a:pt x="1478" y="682"/>
                    <a:pt x="1478" y="682"/>
                    <a:pt x="1478" y="682"/>
                  </a:cubicBezTo>
                  <a:cubicBezTo>
                    <a:pt x="1478" y="682"/>
                    <a:pt x="1488" y="677"/>
                    <a:pt x="1483" y="674"/>
                  </a:cubicBezTo>
                  <a:cubicBezTo>
                    <a:pt x="1478" y="670"/>
                    <a:pt x="1472" y="682"/>
                    <a:pt x="1472" y="682"/>
                  </a:cubicBezTo>
                  <a:cubicBezTo>
                    <a:pt x="1466" y="681"/>
                    <a:pt x="1466" y="681"/>
                    <a:pt x="1466" y="681"/>
                  </a:cubicBezTo>
                  <a:cubicBezTo>
                    <a:pt x="1457" y="685"/>
                    <a:pt x="1457" y="685"/>
                    <a:pt x="1457" y="685"/>
                  </a:cubicBezTo>
                  <a:cubicBezTo>
                    <a:pt x="1460" y="679"/>
                    <a:pt x="1460" y="679"/>
                    <a:pt x="1460" y="679"/>
                  </a:cubicBezTo>
                  <a:cubicBezTo>
                    <a:pt x="1458" y="667"/>
                    <a:pt x="1458" y="667"/>
                    <a:pt x="1458" y="667"/>
                  </a:cubicBezTo>
                  <a:cubicBezTo>
                    <a:pt x="1446" y="669"/>
                    <a:pt x="1446" y="669"/>
                    <a:pt x="1446" y="669"/>
                  </a:cubicBezTo>
                  <a:cubicBezTo>
                    <a:pt x="1455" y="660"/>
                    <a:pt x="1455" y="660"/>
                    <a:pt x="1455" y="660"/>
                  </a:cubicBezTo>
                  <a:cubicBezTo>
                    <a:pt x="1451" y="658"/>
                    <a:pt x="1451" y="658"/>
                    <a:pt x="1451" y="658"/>
                  </a:cubicBezTo>
                  <a:cubicBezTo>
                    <a:pt x="1452" y="650"/>
                    <a:pt x="1452" y="650"/>
                    <a:pt x="1452" y="650"/>
                  </a:cubicBezTo>
                  <a:cubicBezTo>
                    <a:pt x="1465" y="650"/>
                    <a:pt x="1465" y="650"/>
                    <a:pt x="1465" y="650"/>
                  </a:cubicBezTo>
                  <a:cubicBezTo>
                    <a:pt x="1467" y="644"/>
                    <a:pt x="1467" y="644"/>
                    <a:pt x="1467" y="644"/>
                  </a:cubicBezTo>
                  <a:cubicBezTo>
                    <a:pt x="1476" y="646"/>
                    <a:pt x="1476" y="646"/>
                    <a:pt x="1476" y="646"/>
                  </a:cubicBezTo>
                  <a:cubicBezTo>
                    <a:pt x="1478" y="639"/>
                    <a:pt x="1478" y="639"/>
                    <a:pt x="1478" y="639"/>
                  </a:cubicBezTo>
                  <a:cubicBezTo>
                    <a:pt x="1486" y="627"/>
                    <a:pt x="1486" y="627"/>
                    <a:pt x="1486" y="627"/>
                  </a:cubicBezTo>
                  <a:cubicBezTo>
                    <a:pt x="1486" y="627"/>
                    <a:pt x="1489" y="636"/>
                    <a:pt x="1495" y="633"/>
                  </a:cubicBezTo>
                  <a:cubicBezTo>
                    <a:pt x="1500" y="631"/>
                    <a:pt x="1490" y="619"/>
                    <a:pt x="1490" y="619"/>
                  </a:cubicBezTo>
                  <a:cubicBezTo>
                    <a:pt x="1505" y="606"/>
                    <a:pt x="1505" y="606"/>
                    <a:pt x="1505" y="606"/>
                  </a:cubicBezTo>
                  <a:cubicBezTo>
                    <a:pt x="1501" y="599"/>
                    <a:pt x="1501" y="599"/>
                    <a:pt x="1501" y="599"/>
                  </a:cubicBezTo>
                  <a:cubicBezTo>
                    <a:pt x="1509" y="596"/>
                    <a:pt x="1509" y="596"/>
                    <a:pt x="1509" y="596"/>
                  </a:cubicBezTo>
                  <a:cubicBezTo>
                    <a:pt x="1515" y="584"/>
                    <a:pt x="1515" y="584"/>
                    <a:pt x="1515" y="584"/>
                  </a:cubicBezTo>
                  <a:cubicBezTo>
                    <a:pt x="1515" y="584"/>
                    <a:pt x="1521" y="584"/>
                    <a:pt x="1522" y="581"/>
                  </a:cubicBezTo>
                  <a:cubicBezTo>
                    <a:pt x="1524" y="578"/>
                    <a:pt x="1519" y="575"/>
                    <a:pt x="1519" y="575"/>
                  </a:cubicBezTo>
                  <a:cubicBezTo>
                    <a:pt x="1532" y="556"/>
                    <a:pt x="1532" y="556"/>
                    <a:pt x="1532" y="556"/>
                  </a:cubicBezTo>
                  <a:lnTo>
                    <a:pt x="1532" y="0"/>
                  </a:lnTo>
                  <a:close/>
                  <a:moveTo>
                    <a:pt x="375" y="778"/>
                  </a:moveTo>
                  <a:cubicBezTo>
                    <a:pt x="373" y="786"/>
                    <a:pt x="367" y="785"/>
                    <a:pt x="367" y="785"/>
                  </a:cubicBezTo>
                  <a:cubicBezTo>
                    <a:pt x="367" y="785"/>
                    <a:pt x="377" y="803"/>
                    <a:pt x="372" y="806"/>
                  </a:cubicBezTo>
                  <a:cubicBezTo>
                    <a:pt x="366" y="809"/>
                    <a:pt x="357" y="806"/>
                    <a:pt x="357" y="806"/>
                  </a:cubicBezTo>
                  <a:cubicBezTo>
                    <a:pt x="346" y="807"/>
                    <a:pt x="346" y="807"/>
                    <a:pt x="346" y="807"/>
                  </a:cubicBezTo>
                  <a:cubicBezTo>
                    <a:pt x="340" y="816"/>
                    <a:pt x="340" y="816"/>
                    <a:pt x="340" y="816"/>
                  </a:cubicBezTo>
                  <a:cubicBezTo>
                    <a:pt x="340" y="816"/>
                    <a:pt x="350" y="830"/>
                    <a:pt x="341" y="830"/>
                  </a:cubicBezTo>
                  <a:cubicBezTo>
                    <a:pt x="334" y="831"/>
                    <a:pt x="324" y="830"/>
                    <a:pt x="324" y="830"/>
                  </a:cubicBezTo>
                  <a:cubicBezTo>
                    <a:pt x="324" y="818"/>
                    <a:pt x="324" y="818"/>
                    <a:pt x="324" y="818"/>
                  </a:cubicBezTo>
                  <a:cubicBezTo>
                    <a:pt x="316" y="814"/>
                    <a:pt x="316" y="814"/>
                    <a:pt x="316" y="814"/>
                  </a:cubicBezTo>
                  <a:cubicBezTo>
                    <a:pt x="316" y="814"/>
                    <a:pt x="319" y="808"/>
                    <a:pt x="313" y="803"/>
                  </a:cubicBezTo>
                  <a:cubicBezTo>
                    <a:pt x="307" y="798"/>
                    <a:pt x="299" y="792"/>
                    <a:pt x="299" y="792"/>
                  </a:cubicBezTo>
                  <a:cubicBezTo>
                    <a:pt x="299" y="792"/>
                    <a:pt x="299" y="786"/>
                    <a:pt x="295" y="781"/>
                  </a:cubicBezTo>
                  <a:cubicBezTo>
                    <a:pt x="291" y="775"/>
                    <a:pt x="266" y="769"/>
                    <a:pt x="266" y="764"/>
                  </a:cubicBezTo>
                  <a:cubicBezTo>
                    <a:pt x="267" y="758"/>
                    <a:pt x="277" y="754"/>
                    <a:pt x="277" y="754"/>
                  </a:cubicBezTo>
                  <a:cubicBezTo>
                    <a:pt x="275" y="744"/>
                    <a:pt x="275" y="744"/>
                    <a:pt x="275" y="744"/>
                  </a:cubicBezTo>
                  <a:cubicBezTo>
                    <a:pt x="275" y="744"/>
                    <a:pt x="285" y="740"/>
                    <a:pt x="285" y="736"/>
                  </a:cubicBezTo>
                  <a:cubicBezTo>
                    <a:pt x="285" y="730"/>
                    <a:pt x="286" y="722"/>
                    <a:pt x="286" y="722"/>
                  </a:cubicBezTo>
                  <a:cubicBezTo>
                    <a:pt x="291" y="723"/>
                    <a:pt x="297" y="724"/>
                    <a:pt x="297" y="724"/>
                  </a:cubicBezTo>
                  <a:cubicBezTo>
                    <a:pt x="301" y="729"/>
                    <a:pt x="301" y="729"/>
                    <a:pt x="301" y="729"/>
                  </a:cubicBezTo>
                  <a:cubicBezTo>
                    <a:pt x="302" y="726"/>
                    <a:pt x="302" y="726"/>
                    <a:pt x="302" y="726"/>
                  </a:cubicBezTo>
                  <a:cubicBezTo>
                    <a:pt x="310" y="726"/>
                    <a:pt x="310" y="726"/>
                    <a:pt x="310" y="726"/>
                  </a:cubicBezTo>
                  <a:cubicBezTo>
                    <a:pt x="316" y="735"/>
                    <a:pt x="316" y="735"/>
                    <a:pt x="316" y="735"/>
                  </a:cubicBezTo>
                  <a:cubicBezTo>
                    <a:pt x="319" y="732"/>
                    <a:pt x="319" y="732"/>
                    <a:pt x="319" y="732"/>
                  </a:cubicBezTo>
                  <a:cubicBezTo>
                    <a:pt x="325" y="739"/>
                    <a:pt x="325" y="739"/>
                    <a:pt x="325" y="739"/>
                  </a:cubicBezTo>
                  <a:cubicBezTo>
                    <a:pt x="315" y="739"/>
                    <a:pt x="315" y="739"/>
                    <a:pt x="315" y="739"/>
                  </a:cubicBezTo>
                  <a:cubicBezTo>
                    <a:pt x="315" y="739"/>
                    <a:pt x="313" y="742"/>
                    <a:pt x="316" y="743"/>
                  </a:cubicBezTo>
                  <a:cubicBezTo>
                    <a:pt x="319" y="744"/>
                    <a:pt x="321" y="741"/>
                    <a:pt x="321" y="741"/>
                  </a:cubicBezTo>
                  <a:cubicBezTo>
                    <a:pt x="321" y="741"/>
                    <a:pt x="341" y="739"/>
                    <a:pt x="349" y="744"/>
                  </a:cubicBezTo>
                  <a:cubicBezTo>
                    <a:pt x="355" y="751"/>
                    <a:pt x="356" y="755"/>
                    <a:pt x="356" y="755"/>
                  </a:cubicBezTo>
                  <a:cubicBezTo>
                    <a:pt x="366" y="760"/>
                    <a:pt x="366" y="760"/>
                    <a:pt x="366" y="760"/>
                  </a:cubicBezTo>
                  <a:cubicBezTo>
                    <a:pt x="369" y="770"/>
                    <a:pt x="369" y="770"/>
                    <a:pt x="369" y="770"/>
                  </a:cubicBezTo>
                  <a:cubicBezTo>
                    <a:pt x="369" y="770"/>
                    <a:pt x="376" y="771"/>
                    <a:pt x="375" y="778"/>
                  </a:cubicBezTo>
                  <a:close/>
                  <a:moveTo>
                    <a:pt x="464" y="712"/>
                  </a:moveTo>
                  <a:cubicBezTo>
                    <a:pt x="462" y="717"/>
                    <a:pt x="462" y="724"/>
                    <a:pt x="462" y="724"/>
                  </a:cubicBezTo>
                  <a:cubicBezTo>
                    <a:pt x="449" y="726"/>
                    <a:pt x="449" y="726"/>
                    <a:pt x="449" y="726"/>
                  </a:cubicBezTo>
                  <a:cubicBezTo>
                    <a:pt x="449" y="726"/>
                    <a:pt x="454" y="717"/>
                    <a:pt x="446" y="708"/>
                  </a:cubicBezTo>
                  <a:cubicBezTo>
                    <a:pt x="437" y="698"/>
                    <a:pt x="425" y="697"/>
                    <a:pt x="425" y="697"/>
                  </a:cubicBezTo>
                  <a:cubicBezTo>
                    <a:pt x="408" y="694"/>
                    <a:pt x="408" y="694"/>
                    <a:pt x="408" y="694"/>
                  </a:cubicBezTo>
                  <a:cubicBezTo>
                    <a:pt x="388" y="677"/>
                    <a:pt x="388" y="677"/>
                    <a:pt x="388" y="677"/>
                  </a:cubicBezTo>
                  <a:cubicBezTo>
                    <a:pt x="398" y="683"/>
                    <a:pt x="398" y="683"/>
                    <a:pt x="398" y="683"/>
                  </a:cubicBezTo>
                  <a:cubicBezTo>
                    <a:pt x="401" y="683"/>
                    <a:pt x="401" y="683"/>
                    <a:pt x="401" y="683"/>
                  </a:cubicBezTo>
                  <a:cubicBezTo>
                    <a:pt x="401" y="674"/>
                    <a:pt x="401" y="674"/>
                    <a:pt x="401" y="674"/>
                  </a:cubicBezTo>
                  <a:cubicBezTo>
                    <a:pt x="392" y="669"/>
                    <a:pt x="392" y="669"/>
                    <a:pt x="392" y="669"/>
                  </a:cubicBezTo>
                  <a:cubicBezTo>
                    <a:pt x="389" y="667"/>
                    <a:pt x="389" y="667"/>
                    <a:pt x="389" y="667"/>
                  </a:cubicBezTo>
                  <a:cubicBezTo>
                    <a:pt x="381" y="658"/>
                    <a:pt x="381" y="658"/>
                    <a:pt x="381" y="658"/>
                  </a:cubicBezTo>
                  <a:cubicBezTo>
                    <a:pt x="373" y="650"/>
                    <a:pt x="373" y="650"/>
                    <a:pt x="373" y="650"/>
                  </a:cubicBezTo>
                  <a:cubicBezTo>
                    <a:pt x="375" y="650"/>
                    <a:pt x="375" y="650"/>
                    <a:pt x="375" y="650"/>
                  </a:cubicBezTo>
                  <a:cubicBezTo>
                    <a:pt x="384" y="656"/>
                    <a:pt x="384" y="656"/>
                    <a:pt x="384" y="656"/>
                  </a:cubicBezTo>
                  <a:cubicBezTo>
                    <a:pt x="386" y="661"/>
                    <a:pt x="386" y="661"/>
                    <a:pt x="386" y="661"/>
                  </a:cubicBezTo>
                  <a:cubicBezTo>
                    <a:pt x="401" y="669"/>
                    <a:pt x="401" y="669"/>
                    <a:pt x="401" y="669"/>
                  </a:cubicBezTo>
                  <a:cubicBezTo>
                    <a:pt x="401" y="666"/>
                    <a:pt x="401" y="666"/>
                    <a:pt x="401" y="666"/>
                  </a:cubicBezTo>
                  <a:cubicBezTo>
                    <a:pt x="395" y="658"/>
                    <a:pt x="395" y="658"/>
                    <a:pt x="395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85" y="646"/>
                    <a:pt x="385" y="646"/>
                    <a:pt x="385" y="646"/>
                  </a:cubicBezTo>
                  <a:cubicBezTo>
                    <a:pt x="398" y="653"/>
                    <a:pt x="398" y="653"/>
                    <a:pt x="398" y="653"/>
                  </a:cubicBezTo>
                  <a:cubicBezTo>
                    <a:pt x="385" y="638"/>
                    <a:pt x="385" y="638"/>
                    <a:pt x="385" y="638"/>
                  </a:cubicBezTo>
                  <a:cubicBezTo>
                    <a:pt x="385" y="638"/>
                    <a:pt x="401" y="649"/>
                    <a:pt x="402" y="653"/>
                  </a:cubicBezTo>
                  <a:cubicBezTo>
                    <a:pt x="404" y="656"/>
                    <a:pt x="411" y="662"/>
                    <a:pt x="413" y="663"/>
                  </a:cubicBezTo>
                  <a:cubicBezTo>
                    <a:pt x="414" y="663"/>
                    <a:pt x="414" y="660"/>
                    <a:pt x="414" y="660"/>
                  </a:cubicBezTo>
                  <a:cubicBezTo>
                    <a:pt x="414" y="660"/>
                    <a:pt x="407" y="656"/>
                    <a:pt x="408" y="654"/>
                  </a:cubicBezTo>
                  <a:cubicBezTo>
                    <a:pt x="409" y="651"/>
                    <a:pt x="422" y="660"/>
                    <a:pt x="422" y="650"/>
                  </a:cubicBezTo>
                  <a:cubicBezTo>
                    <a:pt x="423" y="641"/>
                    <a:pt x="411" y="632"/>
                    <a:pt x="411" y="632"/>
                  </a:cubicBezTo>
                  <a:cubicBezTo>
                    <a:pt x="405" y="632"/>
                    <a:pt x="405" y="632"/>
                    <a:pt x="405" y="632"/>
                  </a:cubicBezTo>
                  <a:cubicBezTo>
                    <a:pt x="397" y="629"/>
                    <a:pt x="397" y="629"/>
                    <a:pt x="397" y="629"/>
                  </a:cubicBezTo>
                  <a:cubicBezTo>
                    <a:pt x="393" y="629"/>
                    <a:pt x="393" y="629"/>
                    <a:pt x="393" y="629"/>
                  </a:cubicBezTo>
                  <a:cubicBezTo>
                    <a:pt x="404" y="643"/>
                    <a:pt x="404" y="643"/>
                    <a:pt x="404" y="643"/>
                  </a:cubicBezTo>
                  <a:cubicBezTo>
                    <a:pt x="404" y="643"/>
                    <a:pt x="374" y="620"/>
                    <a:pt x="376" y="618"/>
                  </a:cubicBezTo>
                  <a:cubicBezTo>
                    <a:pt x="379" y="615"/>
                    <a:pt x="385" y="620"/>
                    <a:pt x="385" y="620"/>
                  </a:cubicBezTo>
                  <a:cubicBezTo>
                    <a:pt x="385" y="620"/>
                    <a:pt x="390" y="618"/>
                    <a:pt x="393" y="619"/>
                  </a:cubicBezTo>
                  <a:cubicBezTo>
                    <a:pt x="397" y="619"/>
                    <a:pt x="407" y="625"/>
                    <a:pt x="407" y="625"/>
                  </a:cubicBezTo>
                  <a:cubicBezTo>
                    <a:pt x="407" y="625"/>
                    <a:pt x="421" y="622"/>
                    <a:pt x="426" y="632"/>
                  </a:cubicBezTo>
                  <a:cubicBezTo>
                    <a:pt x="433" y="642"/>
                    <a:pt x="424" y="654"/>
                    <a:pt x="429" y="657"/>
                  </a:cubicBezTo>
                  <a:cubicBezTo>
                    <a:pt x="433" y="660"/>
                    <a:pt x="440" y="670"/>
                    <a:pt x="440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8" y="677"/>
                    <a:pt x="448" y="677"/>
                    <a:pt x="448" y="677"/>
                  </a:cubicBezTo>
                  <a:cubicBezTo>
                    <a:pt x="448" y="677"/>
                    <a:pt x="466" y="682"/>
                    <a:pt x="468" y="692"/>
                  </a:cubicBezTo>
                  <a:cubicBezTo>
                    <a:pt x="470" y="702"/>
                    <a:pt x="467" y="707"/>
                    <a:pt x="464" y="71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3" name="Litauen" descr="© INSCALE GmbH, 05.05.2010&#10;http://www.presentationload.com/">
              <a:extLst>
                <a:ext uri="{FF2B5EF4-FFF2-40B4-BE49-F238E27FC236}">
                  <a16:creationId xmlns:a16="http://schemas.microsoft.com/office/drawing/2014/main" id="{41FA55F6-8DB9-EE46-8377-E9170A569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1314" y="3509648"/>
              <a:ext cx="529729" cy="401010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" name="Sp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EFFD3AF0-CFA3-1843-8C92-5D8CC952D9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28478" y="5334821"/>
              <a:ext cx="1506677" cy="1242637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" name="Italien" descr="© INSCALE GmbH, 05.05.2010&#10;http://www.presentationload.com/">
              <a:extLst>
                <a:ext uri="{FF2B5EF4-FFF2-40B4-BE49-F238E27FC236}">
                  <a16:creationId xmlns:a16="http://schemas.microsoft.com/office/drawing/2014/main" id="{43940C29-EB74-654C-AC81-0E5F42E5BE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63553" y="5059231"/>
              <a:ext cx="1407662" cy="1617242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FCE53FAD-B49D-114A-8F48-8D3BBB21AB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529858" y="5691275"/>
              <a:ext cx="47858" cy="41257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" name="Deutsch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8080B04-E69A-C643-A257-81203151C1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50351" y="3808344"/>
              <a:ext cx="909287" cy="1227784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" name="Saudi-Arabien" descr="© INSCALE GmbH, 05.05.2010&#10;http://www.presentationload.com/">
              <a:extLst>
                <a:ext uri="{FF2B5EF4-FFF2-40B4-BE49-F238E27FC236}">
                  <a16:creationId xmlns:a16="http://schemas.microsoft.com/office/drawing/2014/main" id="{40EA2FBF-960D-B249-B720-F96918CB742E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8580" y="6668221"/>
              <a:ext cx="795420" cy="189779"/>
            </a:xfrm>
            <a:custGeom>
              <a:avLst/>
              <a:gdLst/>
              <a:ahLst/>
              <a:cxnLst>
                <a:cxn ang="0">
                  <a:pos x="333" y="80"/>
                </a:cxn>
                <a:cxn ang="0">
                  <a:pos x="333" y="30"/>
                </a:cxn>
                <a:cxn ang="0">
                  <a:pos x="319" y="13"/>
                </a:cxn>
                <a:cxn ang="0">
                  <a:pos x="224" y="11"/>
                </a:cxn>
                <a:cxn ang="0">
                  <a:pos x="122" y="0"/>
                </a:cxn>
                <a:cxn ang="0">
                  <a:pos x="78" y="7"/>
                </a:cxn>
                <a:cxn ang="0">
                  <a:pos x="66" y="29"/>
                </a:cxn>
                <a:cxn ang="0">
                  <a:pos x="15" y="68"/>
                </a:cxn>
                <a:cxn ang="0">
                  <a:pos x="0" y="80"/>
                </a:cxn>
                <a:cxn ang="0">
                  <a:pos x="333" y="80"/>
                </a:cxn>
              </a:cxnLst>
              <a:rect l="0" t="0" r="r" b="b"/>
              <a:pathLst>
                <a:path w="333" h="80">
                  <a:moveTo>
                    <a:pt x="333" y="80"/>
                  </a:moveTo>
                  <a:cubicBezTo>
                    <a:pt x="333" y="30"/>
                    <a:pt x="333" y="30"/>
                    <a:pt x="333" y="30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9" y="13"/>
                    <a:pt x="251" y="13"/>
                    <a:pt x="224" y="11"/>
                  </a:cubicBezTo>
                  <a:cubicBezTo>
                    <a:pt x="197" y="11"/>
                    <a:pt x="135" y="0"/>
                    <a:pt x="122" y="0"/>
                  </a:cubicBezTo>
                  <a:cubicBezTo>
                    <a:pt x="108" y="0"/>
                    <a:pt x="78" y="7"/>
                    <a:pt x="78" y="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25" y="61"/>
                    <a:pt x="15" y="68"/>
                  </a:cubicBezTo>
                  <a:cubicBezTo>
                    <a:pt x="11" y="70"/>
                    <a:pt x="6" y="74"/>
                    <a:pt x="0" y="80"/>
                  </a:cubicBezTo>
                  <a:lnTo>
                    <a:pt x="333" y="8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9" name="Jord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2556CF34-5F6F-8A40-A05E-6560E9DF22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21832" y="6537852"/>
              <a:ext cx="513227" cy="320148"/>
            </a:xfrm>
            <a:custGeom>
              <a:avLst/>
              <a:gdLst/>
              <a:ahLst/>
              <a:cxnLst>
                <a:cxn ang="0">
                  <a:pos x="5" y="128"/>
                </a:cxn>
                <a:cxn ang="0">
                  <a:pos x="7" y="134"/>
                </a:cxn>
                <a:cxn ang="0">
                  <a:pos x="137" y="134"/>
                </a:cxn>
                <a:cxn ang="0">
                  <a:pos x="152" y="122"/>
                </a:cxn>
                <a:cxn ang="0">
                  <a:pos x="203" y="83"/>
                </a:cxn>
                <a:cxn ang="0">
                  <a:pos x="215" y="61"/>
                </a:cxn>
                <a:cxn ang="0">
                  <a:pos x="158" y="0"/>
                </a:cxn>
                <a:cxn ang="0">
                  <a:pos x="76" y="109"/>
                </a:cxn>
                <a:cxn ang="0">
                  <a:pos x="49" y="110"/>
                </a:cxn>
                <a:cxn ang="0">
                  <a:pos x="42" y="105"/>
                </a:cxn>
                <a:cxn ang="0">
                  <a:pos x="34" y="109"/>
                </a:cxn>
                <a:cxn ang="0">
                  <a:pos x="30" y="109"/>
                </a:cxn>
                <a:cxn ang="0">
                  <a:pos x="18" y="99"/>
                </a:cxn>
                <a:cxn ang="0">
                  <a:pos x="5" y="107"/>
                </a:cxn>
                <a:cxn ang="0">
                  <a:pos x="0" y="110"/>
                </a:cxn>
                <a:cxn ang="0">
                  <a:pos x="3" y="120"/>
                </a:cxn>
                <a:cxn ang="0">
                  <a:pos x="5" y="128"/>
                </a:cxn>
              </a:cxnLst>
              <a:rect l="0" t="0" r="r" b="b"/>
              <a:pathLst>
                <a:path w="215" h="134">
                  <a:moveTo>
                    <a:pt x="5" y="128"/>
                  </a:moveTo>
                  <a:cubicBezTo>
                    <a:pt x="7" y="134"/>
                    <a:pt x="7" y="134"/>
                    <a:pt x="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43" y="128"/>
                    <a:pt x="148" y="124"/>
                    <a:pt x="152" y="122"/>
                  </a:cubicBezTo>
                  <a:cubicBezTo>
                    <a:pt x="162" y="115"/>
                    <a:pt x="203" y="83"/>
                    <a:pt x="203" y="83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0"/>
                    <a:pt x="48" y="106"/>
                    <a:pt x="42" y="105"/>
                  </a:cubicBezTo>
                  <a:cubicBezTo>
                    <a:pt x="35" y="105"/>
                    <a:pt x="34" y="109"/>
                    <a:pt x="34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26" y="100"/>
                    <a:pt x="18" y="99"/>
                  </a:cubicBezTo>
                  <a:cubicBezTo>
                    <a:pt x="10" y="99"/>
                    <a:pt x="5" y="107"/>
                    <a:pt x="5" y="10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8"/>
                    <a:pt x="3" y="120"/>
                  </a:cubicBezTo>
                  <a:cubicBezTo>
                    <a:pt x="7" y="123"/>
                    <a:pt x="5" y="128"/>
                    <a:pt x="5" y="12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0" name="Freeform 9" descr="© INSCALE GmbH, 05.05.2010&#10;http://www.presentationload.com/">
              <a:extLst>
                <a:ext uri="{FF2B5EF4-FFF2-40B4-BE49-F238E27FC236}">
                  <a16:creationId xmlns:a16="http://schemas.microsoft.com/office/drawing/2014/main" id="{AF809ACA-1D57-7D48-86F1-A4CAC2CE4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1017" y="5077384"/>
              <a:ext cx="344901" cy="242586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1" name="Freeform 79" descr="© INSCALE GmbH, 05.05.2010&#10;http://www.presentationload.com/">
              <a:extLst>
                <a:ext uri="{FF2B5EF4-FFF2-40B4-BE49-F238E27FC236}">
                  <a16:creationId xmlns:a16="http://schemas.microsoft.com/office/drawing/2014/main" id="{F93E05D2-73D9-D84A-94A9-519D5AB92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3260" y="5561736"/>
              <a:ext cx="207930" cy="26074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9" y="9"/>
                </a:cxn>
                <a:cxn ang="0">
                  <a:pos x="44" y="9"/>
                </a:cxn>
                <a:cxn ang="0">
                  <a:pos x="34" y="2"/>
                </a:cxn>
                <a:cxn ang="0">
                  <a:pos x="32" y="13"/>
                </a:cxn>
                <a:cxn ang="0">
                  <a:pos x="49" y="36"/>
                </a:cxn>
                <a:cxn ang="0">
                  <a:pos x="30" y="32"/>
                </a:cxn>
                <a:cxn ang="0">
                  <a:pos x="13" y="43"/>
                </a:cxn>
                <a:cxn ang="0">
                  <a:pos x="15" y="70"/>
                </a:cxn>
                <a:cxn ang="0">
                  <a:pos x="2" y="78"/>
                </a:cxn>
                <a:cxn ang="0">
                  <a:pos x="3" y="108"/>
                </a:cxn>
                <a:cxn ang="0">
                  <a:pos x="9" y="108"/>
                </a:cxn>
                <a:cxn ang="0">
                  <a:pos x="9" y="127"/>
                </a:cxn>
                <a:cxn ang="0">
                  <a:pos x="0" y="133"/>
                </a:cxn>
                <a:cxn ang="0">
                  <a:pos x="0" y="144"/>
                </a:cxn>
                <a:cxn ang="0">
                  <a:pos x="7" y="148"/>
                </a:cxn>
                <a:cxn ang="0">
                  <a:pos x="19" y="136"/>
                </a:cxn>
                <a:cxn ang="0">
                  <a:pos x="28" y="138"/>
                </a:cxn>
                <a:cxn ang="0">
                  <a:pos x="25" y="159"/>
                </a:cxn>
                <a:cxn ang="0">
                  <a:pos x="34" y="165"/>
                </a:cxn>
                <a:cxn ang="0">
                  <a:pos x="47" y="163"/>
                </a:cxn>
                <a:cxn ang="0">
                  <a:pos x="49" y="170"/>
                </a:cxn>
                <a:cxn ang="0">
                  <a:pos x="72" y="189"/>
                </a:cxn>
                <a:cxn ang="0">
                  <a:pos x="72" y="199"/>
                </a:cxn>
                <a:cxn ang="0">
                  <a:pos x="82" y="205"/>
                </a:cxn>
                <a:cxn ang="0">
                  <a:pos x="93" y="208"/>
                </a:cxn>
                <a:cxn ang="0">
                  <a:pos x="91" y="193"/>
                </a:cxn>
                <a:cxn ang="0">
                  <a:pos x="87" y="174"/>
                </a:cxn>
                <a:cxn ang="0">
                  <a:pos x="82" y="172"/>
                </a:cxn>
                <a:cxn ang="0">
                  <a:pos x="116" y="106"/>
                </a:cxn>
                <a:cxn ang="0">
                  <a:pos x="121" y="108"/>
                </a:cxn>
                <a:cxn ang="0">
                  <a:pos x="121" y="121"/>
                </a:cxn>
                <a:cxn ang="0">
                  <a:pos x="135" y="129"/>
                </a:cxn>
                <a:cxn ang="0">
                  <a:pos x="145" y="122"/>
                </a:cxn>
                <a:cxn ang="0">
                  <a:pos x="140" y="116"/>
                </a:cxn>
                <a:cxn ang="0">
                  <a:pos x="130" y="96"/>
                </a:cxn>
                <a:cxn ang="0">
                  <a:pos x="138" y="90"/>
                </a:cxn>
                <a:cxn ang="0">
                  <a:pos x="146" y="90"/>
                </a:cxn>
                <a:cxn ang="0">
                  <a:pos x="153" y="92"/>
                </a:cxn>
                <a:cxn ang="0">
                  <a:pos x="158" y="83"/>
                </a:cxn>
                <a:cxn ang="0">
                  <a:pos x="164" y="78"/>
                </a:cxn>
                <a:cxn ang="0">
                  <a:pos x="166" y="66"/>
                </a:cxn>
                <a:cxn ang="0">
                  <a:pos x="153" y="63"/>
                </a:cxn>
                <a:cxn ang="0">
                  <a:pos x="120" y="47"/>
                </a:cxn>
                <a:cxn ang="0">
                  <a:pos x="109" y="43"/>
                </a:cxn>
                <a:cxn ang="0">
                  <a:pos x="94" y="30"/>
                </a:cxn>
                <a:cxn ang="0">
                  <a:pos x="78" y="19"/>
                </a:cxn>
                <a:cxn ang="0">
                  <a:pos x="66" y="10"/>
                </a:cxn>
                <a:cxn ang="0">
                  <a:pos x="60" y="0"/>
                </a:cxn>
              </a:cxnLst>
              <a:rect l="0" t="0" r="r" b="b"/>
              <a:pathLst>
                <a:path w="166" h="208">
                  <a:moveTo>
                    <a:pt x="60" y="0"/>
                  </a:moveTo>
                  <a:cubicBezTo>
                    <a:pt x="59" y="9"/>
                    <a:pt x="59" y="9"/>
                    <a:pt x="5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53" y="30"/>
                    <a:pt x="49" y="36"/>
                  </a:cubicBezTo>
                  <a:cubicBezTo>
                    <a:pt x="44" y="42"/>
                    <a:pt x="36" y="32"/>
                    <a:pt x="30" y="32"/>
                  </a:cubicBezTo>
                  <a:cubicBezTo>
                    <a:pt x="21" y="32"/>
                    <a:pt x="15" y="40"/>
                    <a:pt x="13" y="43"/>
                  </a:cubicBezTo>
                  <a:cubicBezTo>
                    <a:pt x="9" y="49"/>
                    <a:pt x="19" y="66"/>
                    <a:pt x="15" y="70"/>
                  </a:cubicBezTo>
                  <a:cubicBezTo>
                    <a:pt x="11" y="72"/>
                    <a:pt x="6" y="72"/>
                    <a:pt x="2" y="78"/>
                  </a:cubicBezTo>
                  <a:cubicBezTo>
                    <a:pt x="0" y="83"/>
                    <a:pt x="3" y="108"/>
                    <a:pt x="3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2" y="199"/>
                    <a:pt x="72" y="199"/>
                    <a:pt x="72" y="199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82" y="172"/>
                    <a:pt x="82" y="172"/>
                    <a:pt x="82" y="172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21" y="108"/>
                    <a:pt x="121" y="108"/>
                    <a:pt x="121" y="108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53" y="63"/>
                    <a:pt x="153" y="63"/>
                    <a:pt x="153" y="63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2" name="Freeform 141" descr="© INSCALE GmbH, 05.05.2010&#10;http://www.presentationload.com/">
              <a:extLst>
                <a:ext uri="{FF2B5EF4-FFF2-40B4-BE49-F238E27FC236}">
                  <a16:creationId xmlns:a16="http://schemas.microsoft.com/office/drawing/2014/main" id="{29987B60-09DE-B649-90F9-CD11C7246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6659" y="5147524"/>
              <a:ext cx="519827" cy="585114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3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F3F863CD-0F50-7045-83C7-04713D0C0D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4838" y="5592658"/>
              <a:ext cx="223776" cy="228166"/>
            </a:xfrm>
            <a:custGeom>
              <a:avLst/>
              <a:gdLst/>
              <a:ahLst/>
              <a:cxnLst>
                <a:cxn ang="0">
                  <a:pos x="63" y="40"/>
                </a:cxn>
                <a:cxn ang="0">
                  <a:pos x="65" y="36"/>
                </a:cxn>
                <a:cxn ang="0">
                  <a:pos x="68" y="29"/>
                </a:cxn>
                <a:cxn ang="0">
                  <a:pos x="66" y="24"/>
                </a:cxn>
                <a:cxn ang="0">
                  <a:pos x="61" y="22"/>
                </a:cxn>
                <a:cxn ang="0">
                  <a:pos x="59" y="21"/>
                </a:cxn>
                <a:cxn ang="0">
                  <a:pos x="54" y="19"/>
                </a:cxn>
                <a:cxn ang="0">
                  <a:pos x="51" y="16"/>
                </a:cxn>
                <a:cxn ang="0">
                  <a:pos x="47" y="15"/>
                </a:cxn>
                <a:cxn ang="0">
                  <a:pos x="44" y="11"/>
                </a:cxn>
                <a:cxn ang="0">
                  <a:pos x="39" y="9"/>
                </a:cxn>
                <a:cxn ang="0">
                  <a:pos x="37" y="8"/>
                </a:cxn>
                <a:cxn ang="0">
                  <a:pos x="34" y="7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1" y="1"/>
                </a:cxn>
                <a:cxn ang="0">
                  <a:pos x="27" y="4"/>
                </a:cxn>
                <a:cxn ang="0">
                  <a:pos x="24" y="9"/>
                </a:cxn>
                <a:cxn ang="0">
                  <a:pos x="25" y="15"/>
                </a:cxn>
                <a:cxn ang="0">
                  <a:pos x="22" y="20"/>
                </a:cxn>
                <a:cxn ang="0">
                  <a:pos x="18" y="24"/>
                </a:cxn>
                <a:cxn ang="0">
                  <a:pos x="10" y="24"/>
                </a:cxn>
                <a:cxn ang="0">
                  <a:pos x="6" y="25"/>
                </a:cxn>
                <a:cxn ang="0">
                  <a:pos x="0" y="27"/>
                </a:cxn>
                <a:cxn ang="0">
                  <a:pos x="5" y="37"/>
                </a:cxn>
                <a:cxn ang="0">
                  <a:pos x="12" y="38"/>
                </a:cxn>
                <a:cxn ang="0">
                  <a:pos x="26" y="48"/>
                </a:cxn>
                <a:cxn ang="0">
                  <a:pos x="29" y="69"/>
                </a:cxn>
                <a:cxn ang="0">
                  <a:pos x="35" y="55"/>
                </a:cxn>
                <a:cxn ang="0">
                  <a:pos x="46" y="47"/>
                </a:cxn>
                <a:cxn ang="0">
                  <a:pos x="58" y="43"/>
                </a:cxn>
                <a:cxn ang="0">
                  <a:pos x="63" y="42"/>
                </a:cxn>
              </a:cxnLst>
              <a:rect l="0" t="0" r="r" b="b"/>
              <a:pathLst>
                <a:path w="68" h="69">
                  <a:moveTo>
                    <a:pt x="63" y="42"/>
                  </a:moveTo>
                  <a:cubicBezTo>
                    <a:pt x="63" y="41"/>
                    <a:pt x="63" y="40"/>
                    <a:pt x="63" y="40"/>
                  </a:cubicBezTo>
                  <a:cubicBezTo>
                    <a:pt x="63" y="40"/>
                    <a:pt x="64" y="39"/>
                    <a:pt x="64" y="38"/>
                  </a:cubicBezTo>
                  <a:cubicBezTo>
                    <a:pt x="64" y="38"/>
                    <a:pt x="65" y="36"/>
                    <a:pt x="65" y="3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8" y="30"/>
                    <a:pt x="68" y="29"/>
                  </a:cubicBezTo>
                  <a:cubicBezTo>
                    <a:pt x="68" y="29"/>
                    <a:pt x="67" y="27"/>
                    <a:pt x="67" y="27"/>
                  </a:cubicBezTo>
                  <a:cubicBezTo>
                    <a:pt x="67" y="27"/>
                    <a:pt x="66" y="24"/>
                    <a:pt x="66" y="24"/>
                  </a:cubicBezTo>
                  <a:cubicBezTo>
                    <a:pt x="65" y="23"/>
                    <a:pt x="63" y="23"/>
                    <a:pt x="63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8" y="16"/>
                    <a:pt x="47" y="15"/>
                    <a:pt x="47" y="15"/>
                  </a:cubicBezTo>
                  <a:cubicBezTo>
                    <a:pt x="47" y="15"/>
                    <a:pt x="47" y="12"/>
                    <a:pt x="47" y="12"/>
                  </a:cubicBezTo>
                  <a:cubicBezTo>
                    <a:pt x="46" y="11"/>
                    <a:pt x="44" y="11"/>
                    <a:pt x="44" y="11"/>
                  </a:cubicBezTo>
                  <a:cubicBezTo>
                    <a:pt x="44" y="11"/>
                    <a:pt x="44" y="9"/>
                    <a:pt x="43" y="9"/>
                  </a:cubicBezTo>
                  <a:cubicBezTo>
                    <a:pt x="42" y="9"/>
                    <a:pt x="40" y="10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8" y="8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2" y="6"/>
                    <a:pt x="33" y="5"/>
                    <a:pt x="34" y="4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1" y="1"/>
                  </a:cubicBezTo>
                  <a:cubicBezTo>
                    <a:pt x="31" y="1"/>
                    <a:pt x="30" y="4"/>
                    <a:pt x="30" y="4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8"/>
                    <a:pt x="24" y="9"/>
                  </a:cubicBezTo>
                  <a:cubicBezTo>
                    <a:pt x="25" y="9"/>
                    <a:pt x="25" y="10"/>
                    <a:pt x="26" y="11"/>
                  </a:cubicBezTo>
                  <a:cubicBezTo>
                    <a:pt x="26" y="11"/>
                    <a:pt x="25" y="15"/>
                    <a:pt x="25" y="15"/>
                  </a:cubicBezTo>
                  <a:cubicBezTo>
                    <a:pt x="25" y="15"/>
                    <a:pt x="23" y="17"/>
                    <a:pt x="22" y="18"/>
                  </a:cubicBezTo>
                  <a:cubicBezTo>
                    <a:pt x="21" y="19"/>
                    <a:pt x="22" y="20"/>
                    <a:pt x="22" y="20"/>
                  </a:cubicBezTo>
                  <a:cubicBezTo>
                    <a:pt x="21" y="21"/>
                    <a:pt x="21" y="22"/>
                    <a:pt x="20" y="23"/>
                  </a:cubicBezTo>
                  <a:cubicBezTo>
                    <a:pt x="20" y="23"/>
                    <a:pt x="18" y="24"/>
                    <a:pt x="1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1" y="36"/>
                    <a:pt x="12" y="38"/>
                  </a:cubicBezTo>
                  <a:cubicBezTo>
                    <a:pt x="14" y="40"/>
                    <a:pt x="15" y="45"/>
                    <a:pt x="15" y="45"/>
                  </a:cubicBezTo>
                  <a:cubicBezTo>
                    <a:pt x="15" y="45"/>
                    <a:pt x="23" y="46"/>
                    <a:pt x="26" y="48"/>
                  </a:cubicBezTo>
                  <a:cubicBezTo>
                    <a:pt x="28" y="52"/>
                    <a:pt x="31" y="59"/>
                    <a:pt x="31" y="5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3" y="58"/>
                    <a:pt x="35" y="55"/>
                  </a:cubicBezTo>
                  <a:cubicBezTo>
                    <a:pt x="37" y="51"/>
                    <a:pt x="42" y="51"/>
                    <a:pt x="42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60" y="43"/>
                    <a:pt x="61" y="43"/>
                  </a:cubicBezTo>
                  <a:cubicBezTo>
                    <a:pt x="62" y="42"/>
                    <a:pt x="63" y="42"/>
                    <a:pt x="63" y="4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4" name="Freeform 7" descr="© INSCALE GmbH, 05.05.2010&#10;http://www.presentationload.com/">
              <a:extLst>
                <a:ext uri="{FF2B5EF4-FFF2-40B4-BE49-F238E27FC236}">
                  <a16:creationId xmlns:a16="http://schemas.microsoft.com/office/drawing/2014/main" id="{0F12AA26-9A8C-D243-8FAD-8ACD6B875E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9195" y="4433787"/>
              <a:ext cx="704656" cy="397709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5" name="Freeform 20" descr="© INSCALE GmbH, 05.05.2010&#10;http://www.presentationload.com/">
              <a:extLst>
                <a:ext uri="{FF2B5EF4-FFF2-40B4-BE49-F238E27FC236}">
                  <a16:creationId xmlns:a16="http://schemas.microsoft.com/office/drawing/2014/main" id="{3D2CD66F-2E2B-FD4B-AABE-3E54572497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30918" y="5130191"/>
              <a:ext cx="668349" cy="613892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6" name="Freeform 26" descr="© INSCALE GmbH, 05.05.2010&#10;http://www.presentationload.com/">
              <a:extLst>
                <a:ext uri="{FF2B5EF4-FFF2-40B4-BE49-F238E27FC236}">
                  <a16:creationId xmlns:a16="http://schemas.microsoft.com/office/drawing/2014/main" id="{1F4AD5A9-1CB7-AE4B-A406-F5C0281171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820" y="4623566"/>
              <a:ext cx="587488" cy="310247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7" name="Freeform 27" descr="© INSCALE GmbH, 05.05.2010&#10;http://www.presentationload.com/">
              <a:extLst>
                <a:ext uri="{FF2B5EF4-FFF2-40B4-BE49-F238E27FC236}">
                  <a16:creationId xmlns:a16="http://schemas.microsoft.com/office/drawing/2014/main" id="{46302BA9-37CC-C045-9471-C3C5ECBCD18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410" y="4762187"/>
              <a:ext cx="716207" cy="478571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8" name="Freeform 32" descr="© INSCALE GmbH, 05.05.2010&#10;http://www.presentationload.com/">
              <a:extLst>
                <a:ext uri="{FF2B5EF4-FFF2-40B4-BE49-F238E27FC236}">
                  <a16:creationId xmlns:a16="http://schemas.microsoft.com/office/drawing/2014/main" id="{FDE6B26E-0DA2-C349-99AB-CE70EEC855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5180" y="4712680"/>
              <a:ext cx="1071010" cy="760763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9" name="Freeform 52" descr="© INSCALE GmbH, 05.05.2010&#10;http://www.presentationload.com/">
              <a:extLst>
                <a:ext uri="{FF2B5EF4-FFF2-40B4-BE49-F238E27FC236}">
                  <a16:creationId xmlns:a16="http://schemas.microsoft.com/office/drawing/2014/main" id="{2D7945EE-E5D4-0C4D-BE10-BFAAC73CAF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4022" y="3836397"/>
              <a:ext cx="1029753" cy="849878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0" name="Frank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4F4FCEBA-5739-0943-B838-DE52D460DB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478" y="4395832"/>
              <a:ext cx="1496774" cy="1554533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1" name="Sch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6D2684C6-DB94-E042-8D36-6E707F59D0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88331" y="1638269"/>
              <a:ext cx="872981" cy="2145322"/>
            </a:xfrm>
            <a:custGeom>
              <a:avLst/>
              <a:gdLst/>
              <a:ahLst/>
              <a:cxnLst>
                <a:cxn ang="0">
                  <a:pos x="336" y="111"/>
                </a:cxn>
                <a:cxn ang="0">
                  <a:pos x="305" y="38"/>
                </a:cxn>
                <a:cxn ang="0">
                  <a:pos x="247" y="2"/>
                </a:cxn>
                <a:cxn ang="0">
                  <a:pos x="194" y="36"/>
                </a:cxn>
                <a:cxn ang="0">
                  <a:pos x="136" y="151"/>
                </a:cxn>
                <a:cxn ang="0">
                  <a:pos x="98" y="268"/>
                </a:cxn>
                <a:cxn ang="0">
                  <a:pos x="33" y="410"/>
                </a:cxn>
                <a:cxn ang="0">
                  <a:pos x="41" y="538"/>
                </a:cxn>
                <a:cxn ang="0">
                  <a:pos x="12" y="671"/>
                </a:cxn>
                <a:cxn ang="0">
                  <a:pos x="9" y="707"/>
                </a:cxn>
                <a:cxn ang="0">
                  <a:pos x="18" y="737"/>
                </a:cxn>
                <a:cxn ang="0">
                  <a:pos x="37" y="779"/>
                </a:cxn>
                <a:cxn ang="0">
                  <a:pos x="52" y="826"/>
                </a:cxn>
                <a:cxn ang="0">
                  <a:pos x="64" y="871"/>
                </a:cxn>
                <a:cxn ang="0">
                  <a:pos x="106" y="895"/>
                </a:cxn>
                <a:cxn ang="0">
                  <a:pos x="172" y="847"/>
                </a:cxn>
                <a:cxn ang="0">
                  <a:pos x="197" y="756"/>
                </a:cxn>
                <a:cxn ang="0">
                  <a:pos x="196" y="719"/>
                </a:cxn>
                <a:cxn ang="0">
                  <a:pos x="192" y="677"/>
                </a:cxn>
                <a:cxn ang="0">
                  <a:pos x="226" y="648"/>
                </a:cxn>
                <a:cxn ang="0">
                  <a:pos x="237" y="628"/>
                </a:cxn>
                <a:cxn ang="0">
                  <a:pos x="267" y="592"/>
                </a:cxn>
                <a:cxn ang="0">
                  <a:pos x="216" y="557"/>
                </a:cxn>
                <a:cxn ang="0">
                  <a:pos x="193" y="502"/>
                </a:cxn>
                <a:cxn ang="0">
                  <a:pos x="201" y="450"/>
                </a:cxn>
                <a:cxn ang="0">
                  <a:pos x="207" y="432"/>
                </a:cxn>
                <a:cxn ang="0">
                  <a:pos x="225" y="405"/>
                </a:cxn>
                <a:cxn ang="0">
                  <a:pos x="233" y="375"/>
                </a:cxn>
                <a:cxn ang="0">
                  <a:pos x="262" y="357"/>
                </a:cxn>
                <a:cxn ang="0">
                  <a:pos x="290" y="333"/>
                </a:cxn>
                <a:cxn ang="0">
                  <a:pos x="309" y="283"/>
                </a:cxn>
                <a:cxn ang="0">
                  <a:pos x="307" y="221"/>
                </a:cxn>
                <a:cxn ang="0">
                  <a:pos x="329" y="199"/>
                </a:cxn>
                <a:cxn ang="0">
                  <a:pos x="365" y="195"/>
                </a:cxn>
                <a:cxn ang="0">
                  <a:pos x="14" y="718"/>
                </a:cxn>
                <a:cxn ang="0">
                  <a:pos x="207" y="765"/>
                </a:cxn>
                <a:cxn ang="0">
                  <a:pos x="190" y="816"/>
                </a:cxn>
                <a:cxn ang="0">
                  <a:pos x="208" y="788"/>
                </a:cxn>
                <a:cxn ang="0">
                  <a:pos x="277" y="731"/>
                </a:cxn>
                <a:cxn ang="0">
                  <a:pos x="248" y="746"/>
                </a:cxn>
                <a:cxn ang="0">
                  <a:pos x="253" y="787"/>
                </a:cxn>
                <a:cxn ang="0">
                  <a:pos x="277" y="750"/>
                </a:cxn>
                <a:cxn ang="0">
                  <a:pos x="281" y="712"/>
                </a:cxn>
                <a:cxn ang="0">
                  <a:pos x="281" y="689"/>
                </a:cxn>
                <a:cxn ang="0">
                  <a:pos x="243" y="630"/>
                </a:cxn>
                <a:cxn ang="0">
                  <a:pos x="258" y="630"/>
                </a:cxn>
                <a:cxn ang="0">
                  <a:pos x="247" y="656"/>
                </a:cxn>
                <a:cxn ang="0">
                  <a:pos x="251" y="636"/>
                </a:cxn>
                <a:cxn ang="0">
                  <a:pos x="241" y="554"/>
                </a:cxn>
                <a:cxn ang="0">
                  <a:pos x="256" y="573"/>
                </a:cxn>
                <a:cxn ang="0">
                  <a:pos x="195" y="740"/>
                </a:cxn>
                <a:cxn ang="0">
                  <a:pos x="205" y="485"/>
                </a:cxn>
                <a:cxn ang="0">
                  <a:pos x="214" y="425"/>
                </a:cxn>
                <a:cxn ang="0">
                  <a:pos x="294" y="343"/>
                </a:cxn>
                <a:cxn ang="0">
                  <a:pos x="307" y="241"/>
                </a:cxn>
                <a:cxn ang="0">
                  <a:pos x="312" y="222"/>
                </a:cxn>
                <a:cxn ang="0">
                  <a:pos x="325" y="217"/>
                </a:cxn>
                <a:cxn ang="0">
                  <a:pos x="356" y="200"/>
                </a:cxn>
              </a:cxnLst>
              <a:rect l="0" t="0" r="r" b="b"/>
              <a:pathLst>
                <a:path w="365" h="899">
                  <a:moveTo>
                    <a:pt x="364" y="188"/>
                  </a:moveTo>
                  <a:cubicBezTo>
                    <a:pt x="364" y="188"/>
                    <a:pt x="359" y="186"/>
                    <a:pt x="358" y="182"/>
                  </a:cubicBezTo>
                  <a:cubicBezTo>
                    <a:pt x="357" y="178"/>
                    <a:pt x="358" y="175"/>
                    <a:pt x="356" y="173"/>
                  </a:cubicBezTo>
                  <a:cubicBezTo>
                    <a:pt x="354" y="172"/>
                    <a:pt x="347" y="171"/>
                    <a:pt x="347" y="167"/>
                  </a:cubicBezTo>
                  <a:cubicBezTo>
                    <a:pt x="348" y="161"/>
                    <a:pt x="348" y="160"/>
                    <a:pt x="348" y="160"/>
                  </a:cubicBezTo>
                  <a:cubicBezTo>
                    <a:pt x="348" y="160"/>
                    <a:pt x="343" y="159"/>
                    <a:pt x="345" y="155"/>
                  </a:cubicBezTo>
                  <a:cubicBezTo>
                    <a:pt x="348" y="150"/>
                    <a:pt x="353" y="147"/>
                    <a:pt x="352" y="144"/>
                  </a:cubicBezTo>
                  <a:cubicBezTo>
                    <a:pt x="350" y="140"/>
                    <a:pt x="348" y="136"/>
                    <a:pt x="348" y="136"/>
                  </a:cubicBezTo>
                  <a:cubicBezTo>
                    <a:pt x="348" y="136"/>
                    <a:pt x="349" y="129"/>
                    <a:pt x="347" y="125"/>
                  </a:cubicBezTo>
                  <a:cubicBezTo>
                    <a:pt x="345" y="122"/>
                    <a:pt x="336" y="117"/>
                    <a:pt x="336" y="111"/>
                  </a:cubicBezTo>
                  <a:cubicBezTo>
                    <a:pt x="336" y="106"/>
                    <a:pt x="337" y="104"/>
                    <a:pt x="337" y="104"/>
                  </a:cubicBezTo>
                  <a:cubicBezTo>
                    <a:pt x="340" y="101"/>
                    <a:pt x="340" y="101"/>
                    <a:pt x="340" y="101"/>
                  </a:cubicBezTo>
                  <a:cubicBezTo>
                    <a:pt x="339" y="95"/>
                    <a:pt x="339" y="95"/>
                    <a:pt x="339" y="95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93"/>
                    <a:pt x="330" y="87"/>
                    <a:pt x="328" y="81"/>
                  </a:cubicBezTo>
                  <a:cubicBezTo>
                    <a:pt x="327" y="77"/>
                    <a:pt x="325" y="74"/>
                    <a:pt x="326" y="69"/>
                  </a:cubicBezTo>
                  <a:cubicBezTo>
                    <a:pt x="327" y="65"/>
                    <a:pt x="332" y="65"/>
                    <a:pt x="330" y="62"/>
                  </a:cubicBezTo>
                  <a:cubicBezTo>
                    <a:pt x="328" y="59"/>
                    <a:pt x="319" y="50"/>
                    <a:pt x="319" y="50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53"/>
                    <a:pt x="314" y="43"/>
                    <a:pt x="305" y="38"/>
                  </a:cubicBezTo>
                  <a:cubicBezTo>
                    <a:pt x="295" y="33"/>
                    <a:pt x="282" y="31"/>
                    <a:pt x="282" y="31"/>
                  </a:cubicBezTo>
                  <a:cubicBezTo>
                    <a:pt x="278" y="27"/>
                    <a:pt x="278" y="27"/>
                    <a:pt x="278" y="27"/>
                  </a:cubicBezTo>
                  <a:cubicBezTo>
                    <a:pt x="274" y="27"/>
                    <a:pt x="274" y="27"/>
                    <a:pt x="274" y="27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0" y="5"/>
                    <a:pt x="250" y="5"/>
                    <a:pt x="250" y="5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30" y="2"/>
                    <a:pt x="237" y="11"/>
                    <a:pt x="238" y="17"/>
                  </a:cubicBezTo>
                  <a:cubicBezTo>
                    <a:pt x="239" y="25"/>
                    <a:pt x="231" y="34"/>
                    <a:pt x="231" y="34"/>
                  </a:cubicBezTo>
                  <a:cubicBezTo>
                    <a:pt x="239" y="38"/>
                    <a:pt x="239" y="38"/>
                    <a:pt x="239" y="38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198" y="41"/>
                    <a:pt x="198" y="41"/>
                    <a:pt x="198" y="41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9" y="56"/>
                    <a:pt x="188" y="61"/>
                  </a:cubicBezTo>
                  <a:cubicBezTo>
                    <a:pt x="186" y="66"/>
                    <a:pt x="183" y="77"/>
                    <a:pt x="183" y="77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4"/>
                    <a:pt x="149" y="101"/>
                    <a:pt x="149" y="106"/>
                  </a:cubicBezTo>
                  <a:cubicBezTo>
                    <a:pt x="148" y="111"/>
                    <a:pt x="140" y="109"/>
                    <a:pt x="140" y="109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7" y="127"/>
                    <a:pt x="148" y="135"/>
                  </a:cubicBezTo>
                  <a:cubicBezTo>
                    <a:pt x="150" y="141"/>
                    <a:pt x="144" y="143"/>
                    <a:pt x="136" y="151"/>
                  </a:cubicBezTo>
                  <a:cubicBezTo>
                    <a:pt x="130" y="157"/>
                    <a:pt x="132" y="162"/>
                    <a:pt x="130" y="169"/>
                  </a:cubicBezTo>
                  <a:cubicBezTo>
                    <a:pt x="128" y="175"/>
                    <a:pt x="123" y="176"/>
                    <a:pt x="123" y="176"/>
                  </a:cubicBezTo>
                  <a:cubicBezTo>
                    <a:pt x="126" y="189"/>
                    <a:pt x="126" y="189"/>
                    <a:pt x="126" y="18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00" y="201"/>
                    <a:pt x="100" y="201"/>
                    <a:pt x="100" y="201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03" y="253"/>
                    <a:pt x="103" y="253"/>
                    <a:pt x="103" y="253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79" y="300"/>
                    <a:pt x="79" y="300"/>
                    <a:pt x="79" y="300"/>
                  </a:cubicBezTo>
                  <a:cubicBezTo>
                    <a:pt x="93" y="310"/>
                    <a:pt x="93" y="310"/>
                    <a:pt x="93" y="310"/>
                  </a:cubicBezTo>
                  <a:cubicBezTo>
                    <a:pt x="94" y="325"/>
                    <a:pt x="94" y="325"/>
                    <a:pt x="94" y="325"/>
                  </a:cubicBezTo>
                  <a:cubicBezTo>
                    <a:pt x="89" y="337"/>
                    <a:pt x="89" y="337"/>
                    <a:pt x="89" y="337"/>
                  </a:cubicBezTo>
                  <a:cubicBezTo>
                    <a:pt x="89" y="337"/>
                    <a:pt x="69" y="331"/>
                    <a:pt x="59" y="334"/>
                  </a:cubicBezTo>
                  <a:cubicBezTo>
                    <a:pt x="47" y="337"/>
                    <a:pt x="35" y="365"/>
                    <a:pt x="35" y="365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30" y="385"/>
                    <a:pt x="30" y="385"/>
                    <a:pt x="30" y="385"/>
                  </a:cubicBezTo>
                  <a:cubicBezTo>
                    <a:pt x="37" y="404"/>
                    <a:pt x="37" y="404"/>
                    <a:pt x="37" y="404"/>
                  </a:cubicBezTo>
                  <a:cubicBezTo>
                    <a:pt x="33" y="410"/>
                    <a:pt x="33" y="410"/>
                    <a:pt x="33" y="410"/>
                  </a:cubicBezTo>
                  <a:cubicBezTo>
                    <a:pt x="36" y="421"/>
                    <a:pt x="36" y="421"/>
                    <a:pt x="36" y="421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41" y="452"/>
                    <a:pt x="41" y="452"/>
                    <a:pt x="41" y="452"/>
                  </a:cubicBezTo>
                  <a:cubicBezTo>
                    <a:pt x="35" y="487"/>
                    <a:pt x="35" y="487"/>
                    <a:pt x="35" y="487"/>
                  </a:cubicBezTo>
                  <a:cubicBezTo>
                    <a:pt x="45" y="497"/>
                    <a:pt x="45" y="497"/>
                    <a:pt x="45" y="497"/>
                  </a:cubicBezTo>
                  <a:cubicBezTo>
                    <a:pt x="45" y="497"/>
                    <a:pt x="50" y="500"/>
                    <a:pt x="54" y="503"/>
                  </a:cubicBezTo>
                  <a:cubicBezTo>
                    <a:pt x="58" y="507"/>
                    <a:pt x="59" y="511"/>
                    <a:pt x="55" y="523"/>
                  </a:cubicBezTo>
                  <a:cubicBezTo>
                    <a:pt x="53" y="535"/>
                    <a:pt x="45" y="529"/>
                    <a:pt x="45" y="529"/>
                  </a:cubicBezTo>
                  <a:cubicBezTo>
                    <a:pt x="36" y="532"/>
                    <a:pt x="36" y="532"/>
                    <a:pt x="36" y="532"/>
                  </a:cubicBezTo>
                  <a:cubicBezTo>
                    <a:pt x="41" y="538"/>
                    <a:pt x="41" y="538"/>
                    <a:pt x="41" y="538"/>
                  </a:cubicBezTo>
                  <a:cubicBezTo>
                    <a:pt x="43" y="547"/>
                    <a:pt x="43" y="547"/>
                    <a:pt x="43" y="547"/>
                  </a:cubicBezTo>
                  <a:cubicBezTo>
                    <a:pt x="43" y="547"/>
                    <a:pt x="49" y="561"/>
                    <a:pt x="51" y="568"/>
                  </a:cubicBezTo>
                  <a:cubicBezTo>
                    <a:pt x="54" y="576"/>
                    <a:pt x="46" y="572"/>
                    <a:pt x="45" y="577"/>
                  </a:cubicBezTo>
                  <a:cubicBezTo>
                    <a:pt x="44" y="581"/>
                    <a:pt x="48" y="584"/>
                    <a:pt x="45" y="597"/>
                  </a:cubicBezTo>
                  <a:cubicBezTo>
                    <a:pt x="41" y="609"/>
                    <a:pt x="30" y="603"/>
                    <a:pt x="26" y="607"/>
                  </a:cubicBezTo>
                  <a:cubicBezTo>
                    <a:pt x="21" y="610"/>
                    <a:pt x="28" y="611"/>
                    <a:pt x="27" y="616"/>
                  </a:cubicBezTo>
                  <a:cubicBezTo>
                    <a:pt x="27" y="620"/>
                    <a:pt x="21" y="619"/>
                    <a:pt x="19" y="623"/>
                  </a:cubicBezTo>
                  <a:cubicBezTo>
                    <a:pt x="16" y="625"/>
                    <a:pt x="25" y="643"/>
                    <a:pt x="25" y="643"/>
                  </a:cubicBezTo>
                  <a:cubicBezTo>
                    <a:pt x="25" y="643"/>
                    <a:pt x="21" y="651"/>
                    <a:pt x="19" y="658"/>
                  </a:cubicBezTo>
                  <a:cubicBezTo>
                    <a:pt x="17" y="665"/>
                    <a:pt x="16" y="671"/>
                    <a:pt x="12" y="671"/>
                  </a:cubicBezTo>
                  <a:cubicBezTo>
                    <a:pt x="8" y="671"/>
                    <a:pt x="11" y="662"/>
                    <a:pt x="10" y="657"/>
                  </a:cubicBezTo>
                  <a:cubicBezTo>
                    <a:pt x="9" y="652"/>
                    <a:pt x="1" y="657"/>
                    <a:pt x="1" y="657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0" y="664"/>
                    <a:pt x="3" y="668"/>
                    <a:pt x="3" y="673"/>
                  </a:cubicBezTo>
                  <a:cubicBezTo>
                    <a:pt x="3" y="676"/>
                    <a:pt x="0" y="679"/>
                    <a:pt x="0" y="679"/>
                  </a:cubicBezTo>
                  <a:cubicBezTo>
                    <a:pt x="0" y="679"/>
                    <a:pt x="5" y="693"/>
                    <a:pt x="5" y="696"/>
                  </a:cubicBezTo>
                  <a:cubicBezTo>
                    <a:pt x="5" y="699"/>
                    <a:pt x="1" y="699"/>
                    <a:pt x="1" y="699"/>
                  </a:cubicBezTo>
                  <a:cubicBezTo>
                    <a:pt x="2" y="703"/>
                    <a:pt x="2" y="703"/>
                    <a:pt x="2" y="703"/>
                  </a:cubicBezTo>
                  <a:cubicBezTo>
                    <a:pt x="2" y="703"/>
                    <a:pt x="6" y="700"/>
                    <a:pt x="9" y="702"/>
                  </a:cubicBezTo>
                  <a:cubicBezTo>
                    <a:pt x="10" y="703"/>
                    <a:pt x="9" y="707"/>
                    <a:pt x="9" y="707"/>
                  </a:cubicBezTo>
                  <a:cubicBezTo>
                    <a:pt x="11" y="707"/>
                    <a:pt x="11" y="707"/>
                    <a:pt x="11" y="707"/>
                  </a:cubicBezTo>
                  <a:cubicBezTo>
                    <a:pt x="14" y="697"/>
                    <a:pt x="14" y="697"/>
                    <a:pt x="14" y="697"/>
                  </a:cubicBezTo>
                  <a:cubicBezTo>
                    <a:pt x="17" y="700"/>
                    <a:pt x="17" y="700"/>
                    <a:pt x="17" y="700"/>
                  </a:cubicBezTo>
                  <a:cubicBezTo>
                    <a:pt x="10" y="710"/>
                    <a:pt x="10" y="710"/>
                    <a:pt x="10" y="710"/>
                  </a:cubicBezTo>
                  <a:cubicBezTo>
                    <a:pt x="10" y="712"/>
                    <a:pt x="10" y="712"/>
                    <a:pt x="10" y="712"/>
                  </a:cubicBezTo>
                  <a:cubicBezTo>
                    <a:pt x="25" y="704"/>
                    <a:pt x="25" y="704"/>
                    <a:pt x="25" y="704"/>
                  </a:cubicBezTo>
                  <a:cubicBezTo>
                    <a:pt x="22" y="709"/>
                    <a:pt x="22" y="709"/>
                    <a:pt x="22" y="709"/>
                  </a:cubicBezTo>
                  <a:cubicBezTo>
                    <a:pt x="25" y="713"/>
                    <a:pt x="25" y="713"/>
                    <a:pt x="25" y="713"/>
                  </a:cubicBezTo>
                  <a:cubicBezTo>
                    <a:pt x="21" y="730"/>
                    <a:pt x="21" y="730"/>
                    <a:pt x="21" y="730"/>
                  </a:cubicBezTo>
                  <a:cubicBezTo>
                    <a:pt x="18" y="737"/>
                    <a:pt x="18" y="737"/>
                    <a:pt x="18" y="737"/>
                  </a:cubicBezTo>
                  <a:cubicBezTo>
                    <a:pt x="22" y="741"/>
                    <a:pt x="22" y="741"/>
                    <a:pt x="22" y="741"/>
                  </a:cubicBezTo>
                  <a:cubicBezTo>
                    <a:pt x="17" y="746"/>
                    <a:pt x="17" y="746"/>
                    <a:pt x="17" y="746"/>
                  </a:cubicBezTo>
                  <a:cubicBezTo>
                    <a:pt x="22" y="746"/>
                    <a:pt x="22" y="746"/>
                    <a:pt x="22" y="746"/>
                  </a:cubicBezTo>
                  <a:cubicBezTo>
                    <a:pt x="24" y="746"/>
                    <a:pt x="26" y="754"/>
                    <a:pt x="26" y="757"/>
                  </a:cubicBezTo>
                  <a:cubicBezTo>
                    <a:pt x="26" y="761"/>
                    <a:pt x="27" y="768"/>
                    <a:pt x="29" y="768"/>
                  </a:cubicBezTo>
                  <a:cubicBezTo>
                    <a:pt x="31" y="768"/>
                    <a:pt x="32" y="761"/>
                    <a:pt x="32" y="761"/>
                  </a:cubicBezTo>
                  <a:cubicBezTo>
                    <a:pt x="32" y="770"/>
                    <a:pt x="32" y="770"/>
                    <a:pt x="32" y="770"/>
                  </a:cubicBezTo>
                  <a:cubicBezTo>
                    <a:pt x="34" y="771"/>
                    <a:pt x="34" y="771"/>
                    <a:pt x="34" y="771"/>
                  </a:cubicBezTo>
                  <a:cubicBezTo>
                    <a:pt x="32" y="777"/>
                    <a:pt x="32" y="777"/>
                    <a:pt x="32" y="777"/>
                  </a:cubicBezTo>
                  <a:cubicBezTo>
                    <a:pt x="37" y="779"/>
                    <a:pt x="37" y="779"/>
                    <a:pt x="37" y="779"/>
                  </a:cubicBezTo>
                  <a:cubicBezTo>
                    <a:pt x="37" y="786"/>
                    <a:pt x="37" y="786"/>
                    <a:pt x="37" y="786"/>
                  </a:cubicBezTo>
                  <a:cubicBezTo>
                    <a:pt x="42" y="791"/>
                    <a:pt x="42" y="791"/>
                    <a:pt x="42" y="791"/>
                  </a:cubicBezTo>
                  <a:cubicBezTo>
                    <a:pt x="42" y="796"/>
                    <a:pt x="42" y="796"/>
                    <a:pt x="42" y="796"/>
                  </a:cubicBezTo>
                  <a:cubicBezTo>
                    <a:pt x="48" y="804"/>
                    <a:pt x="48" y="804"/>
                    <a:pt x="48" y="804"/>
                  </a:cubicBezTo>
                  <a:cubicBezTo>
                    <a:pt x="50" y="803"/>
                    <a:pt x="50" y="803"/>
                    <a:pt x="50" y="803"/>
                  </a:cubicBezTo>
                  <a:cubicBezTo>
                    <a:pt x="50" y="803"/>
                    <a:pt x="52" y="815"/>
                    <a:pt x="55" y="816"/>
                  </a:cubicBezTo>
                  <a:cubicBezTo>
                    <a:pt x="60" y="818"/>
                    <a:pt x="61" y="814"/>
                    <a:pt x="61" y="814"/>
                  </a:cubicBezTo>
                  <a:cubicBezTo>
                    <a:pt x="61" y="814"/>
                    <a:pt x="64" y="822"/>
                    <a:pt x="64" y="825"/>
                  </a:cubicBezTo>
                  <a:cubicBezTo>
                    <a:pt x="64" y="829"/>
                    <a:pt x="58" y="828"/>
                    <a:pt x="58" y="828"/>
                  </a:cubicBezTo>
                  <a:cubicBezTo>
                    <a:pt x="58" y="828"/>
                    <a:pt x="57" y="823"/>
                    <a:pt x="52" y="826"/>
                  </a:cubicBezTo>
                  <a:cubicBezTo>
                    <a:pt x="48" y="830"/>
                    <a:pt x="58" y="834"/>
                    <a:pt x="58" y="834"/>
                  </a:cubicBezTo>
                  <a:cubicBezTo>
                    <a:pt x="58" y="834"/>
                    <a:pt x="61" y="839"/>
                    <a:pt x="59" y="841"/>
                  </a:cubicBezTo>
                  <a:cubicBezTo>
                    <a:pt x="55" y="844"/>
                    <a:pt x="51" y="838"/>
                    <a:pt x="49" y="837"/>
                  </a:cubicBezTo>
                  <a:cubicBezTo>
                    <a:pt x="47" y="835"/>
                    <a:pt x="44" y="835"/>
                    <a:pt x="43" y="836"/>
                  </a:cubicBezTo>
                  <a:cubicBezTo>
                    <a:pt x="42" y="837"/>
                    <a:pt x="47" y="839"/>
                    <a:pt x="47" y="839"/>
                  </a:cubicBezTo>
                  <a:cubicBezTo>
                    <a:pt x="48" y="844"/>
                    <a:pt x="48" y="844"/>
                    <a:pt x="48" y="844"/>
                  </a:cubicBezTo>
                  <a:cubicBezTo>
                    <a:pt x="48" y="844"/>
                    <a:pt x="54" y="852"/>
                    <a:pt x="58" y="856"/>
                  </a:cubicBezTo>
                  <a:cubicBezTo>
                    <a:pt x="61" y="861"/>
                    <a:pt x="61" y="865"/>
                    <a:pt x="61" y="865"/>
                  </a:cubicBezTo>
                  <a:cubicBezTo>
                    <a:pt x="65" y="866"/>
                    <a:pt x="65" y="866"/>
                    <a:pt x="65" y="866"/>
                  </a:cubicBezTo>
                  <a:cubicBezTo>
                    <a:pt x="64" y="871"/>
                    <a:pt x="64" y="871"/>
                    <a:pt x="64" y="871"/>
                  </a:cubicBezTo>
                  <a:cubicBezTo>
                    <a:pt x="64" y="871"/>
                    <a:pt x="67" y="871"/>
                    <a:pt x="69" y="877"/>
                  </a:cubicBezTo>
                  <a:cubicBezTo>
                    <a:pt x="71" y="881"/>
                    <a:pt x="64" y="882"/>
                    <a:pt x="64" y="882"/>
                  </a:cubicBezTo>
                  <a:cubicBezTo>
                    <a:pt x="64" y="888"/>
                    <a:pt x="64" y="888"/>
                    <a:pt x="64" y="888"/>
                  </a:cubicBezTo>
                  <a:cubicBezTo>
                    <a:pt x="64" y="888"/>
                    <a:pt x="67" y="891"/>
                    <a:pt x="66" y="894"/>
                  </a:cubicBezTo>
                  <a:cubicBezTo>
                    <a:pt x="65" y="896"/>
                    <a:pt x="62" y="893"/>
                    <a:pt x="62" y="893"/>
                  </a:cubicBezTo>
                  <a:cubicBezTo>
                    <a:pt x="61" y="897"/>
                    <a:pt x="61" y="897"/>
                    <a:pt x="61" y="897"/>
                  </a:cubicBezTo>
                  <a:cubicBezTo>
                    <a:pt x="65" y="896"/>
                    <a:pt x="65" y="896"/>
                    <a:pt x="65" y="896"/>
                  </a:cubicBezTo>
                  <a:cubicBezTo>
                    <a:pt x="65" y="896"/>
                    <a:pt x="78" y="899"/>
                    <a:pt x="82" y="899"/>
                  </a:cubicBezTo>
                  <a:cubicBezTo>
                    <a:pt x="85" y="899"/>
                    <a:pt x="91" y="895"/>
                    <a:pt x="97" y="893"/>
                  </a:cubicBezTo>
                  <a:cubicBezTo>
                    <a:pt x="103" y="891"/>
                    <a:pt x="106" y="895"/>
                    <a:pt x="106" y="895"/>
                  </a:cubicBezTo>
                  <a:cubicBezTo>
                    <a:pt x="112" y="894"/>
                    <a:pt x="112" y="894"/>
                    <a:pt x="112" y="894"/>
                  </a:cubicBezTo>
                  <a:cubicBezTo>
                    <a:pt x="112" y="894"/>
                    <a:pt x="117" y="885"/>
                    <a:pt x="118" y="880"/>
                  </a:cubicBezTo>
                  <a:cubicBezTo>
                    <a:pt x="119" y="876"/>
                    <a:pt x="111" y="875"/>
                    <a:pt x="111" y="869"/>
                  </a:cubicBezTo>
                  <a:cubicBezTo>
                    <a:pt x="111" y="865"/>
                    <a:pt x="118" y="854"/>
                    <a:pt x="120" y="852"/>
                  </a:cubicBezTo>
                  <a:cubicBezTo>
                    <a:pt x="123" y="851"/>
                    <a:pt x="129" y="855"/>
                    <a:pt x="131" y="854"/>
                  </a:cubicBezTo>
                  <a:cubicBezTo>
                    <a:pt x="133" y="852"/>
                    <a:pt x="129" y="844"/>
                    <a:pt x="129" y="844"/>
                  </a:cubicBezTo>
                  <a:cubicBezTo>
                    <a:pt x="147" y="842"/>
                    <a:pt x="147" y="842"/>
                    <a:pt x="147" y="842"/>
                  </a:cubicBezTo>
                  <a:cubicBezTo>
                    <a:pt x="155" y="844"/>
                    <a:pt x="155" y="844"/>
                    <a:pt x="155" y="844"/>
                  </a:cubicBezTo>
                  <a:cubicBezTo>
                    <a:pt x="161" y="839"/>
                    <a:pt x="161" y="839"/>
                    <a:pt x="161" y="839"/>
                  </a:cubicBezTo>
                  <a:cubicBezTo>
                    <a:pt x="172" y="847"/>
                    <a:pt x="172" y="847"/>
                    <a:pt x="172" y="847"/>
                  </a:cubicBezTo>
                  <a:cubicBezTo>
                    <a:pt x="172" y="847"/>
                    <a:pt x="176" y="838"/>
                    <a:pt x="178" y="837"/>
                  </a:cubicBezTo>
                  <a:cubicBezTo>
                    <a:pt x="179" y="835"/>
                    <a:pt x="181" y="820"/>
                    <a:pt x="181" y="820"/>
                  </a:cubicBezTo>
                  <a:cubicBezTo>
                    <a:pt x="184" y="810"/>
                    <a:pt x="184" y="810"/>
                    <a:pt x="184" y="810"/>
                  </a:cubicBezTo>
                  <a:cubicBezTo>
                    <a:pt x="188" y="807"/>
                    <a:pt x="188" y="807"/>
                    <a:pt x="188" y="807"/>
                  </a:cubicBezTo>
                  <a:cubicBezTo>
                    <a:pt x="192" y="791"/>
                    <a:pt x="192" y="791"/>
                    <a:pt x="192" y="791"/>
                  </a:cubicBezTo>
                  <a:cubicBezTo>
                    <a:pt x="190" y="785"/>
                    <a:pt x="190" y="785"/>
                    <a:pt x="190" y="785"/>
                  </a:cubicBezTo>
                  <a:cubicBezTo>
                    <a:pt x="190" y="785"/>
                    <a:pt x="193" y="784"/>
                    <a:pt x="194" y="781"/>
                  </a:cubicBezTo>
                  <a:cubicBezTo>
                    <a:pt x="195" y="777"/>
                    <a:pt x="191" y="775"/>
                    <a:pt x="191" y="775"/>
                  </a:cubicBezTo>
                  <a:cubicBezTo>
                    <a:pt x="192" y="761"/>
                    <a:pt x="192" y="761"/>
                    <a:pt x="192" y="761"/>
                  </a:cubicBezTo>
                  <a:cubicBezTo>
                    <a:pt x="192" y="761"/>
                    <a:pt x="195" y="762"/>
                    <a:pt x="197" y="756"/>
                  </a:cubicBezTo>
                  <a:cubicBezTo>
                    <a:pt x="200" y="751"/>
                    <a:pt x="191" y="746"/>
                    <a:pt x="191" y="746"/>
                  </a:cubicBezTo>
                  <a:cubicBezTo>
                    <a:pt x="193" y="744"/>
                    <a:pt x="193" y="744"/>
                    <a:pt x="193" y="744"/>
                  </a:cubicBezTo>
                  <a:cubicBezTo>
                    <a:pt x="194" y="735"/>
                    <a:pt x="194" y="735"/>
                    <a:pt x="194" y="735"/>
                  </a:cubicBezTo>
                  <a:cubicBezTo>
                    <a:pt x="192" y="728"/>
                    <a:pt x="192" y="728"/>
                    <a:pt x="192" y="728"/>
                  </a:cubicBezTo>
                  <a:cubicBezTo>
                    <a:pt x="188" y="728"/>
                    <a:pt x="188" y="728"/>
                    <a:pt x="188" y="728"/>
                  </a:cubicBezTo>
                  <a:cubicBezTo>
                    <a:pt x="188" y="728"/>
                    <a:pt x="188" y="726"/>
                    <a:pt x="191" y="725"/>
                  </a:cubicBezTo>
                  <a:cubicBezTo>
                    <a:pt x="195" y="725"/>
                    <a:pt x="198" y="728"/>
                    <a:pt x="198" y="728"/>
                  </a:cubicBezTo>
                  <a:cubicBezTo>
                    <a:pt x="197" y="722"/>
                    <a:pt x="197" y="722"/>
                    <a:pt x="197" y="722"/>
                  </a:cubicBezTo>
                  <a:cubicBezTo>
                    <a:pt x="193" y="720"/>
                    <a:pt x="193" y="720"/>
                    <a:pt x="193" y="720"/>
                  </a:cubicBezTo>
                  <a:cubicBezTo>
                    <a:pt x="196" y="719"/>
                    <a:pt x="196" y="719"/>
                    <a:pt x="196" y="719"/>
                  </a:cubicBezTo>
                  <a:cubicBezTo>
                    <a:pt x="196" y="719"/>
                    <a:pt x="196" y="711"/>
                    <a:pt x="198" y="707"/>
                  </a:cubicBezTo>
                  <a:cubicBezTo>
                    <a:pt x="201" y="703"/>
                    <a:pt x="192" y="698"/>
                    <a:pt x="192" y="698"/>
                  </a:cubicBezTo>
                  <a:cubicBezTo>
                    <a:pt x="195" y="697"/>
                    <a:pt x="195" y="697"/>
                    <a:pt x="195" y="697"/>
                  </a:cubicBezTo>
                  <a:cubicBezTo>
                    <a:pt x="192" y="692"/>
                    <a:pt x="192" y="692"/>
                    <a:pt x="192" y="692"/>
                  </a:cubicBezTo>
                  <a:cubicBezTo>
                    <a:pt x="192" y="692"/>
                    <a:pt x="198" y="694"/>
                    <a:pt x="201" y="687"/>
                  </a:cubicBezTo>
                  <a:cubicBezTo>
                    <a:pt x="204" y="679"/>
                    <a:pt x="183" y="679"/>
                    <a:pt x="183" y="679"/>
                  </a:cubicBezTo>
                  <a:cubicBezTo>
                    <a:pt x="182" y="682"/>
                    <a:pt x="182" y="682"/>
                    <a:pt x="182" y="682"/>
                  </a:cubicBezTo>
                  <a:cubicBezTo>
                    <a:pt x="176" y="681"/>
                    <a:pt x="176" y="681"/>
                    <a:pt x="176" y="681"/>
                  </a:cubicBezTo>
                  <a:cubicBezTo>
                    <a:pt x="176" y="677"/>
                    <a:pt x="176" y="677"/>
                    <a:pt x="176" y="677"/>
                  </a:cubicBezTo>
                  <a:cubicBezTo>
                    <a:pt x="192" y="677"/>
                    <a:pt x="192" y="677"/>
                    <a:pt x="192" y="677"/>
                  </a:cubicBezTo>
                  <a:cubicBezTo>
                    <a:pt x="195" y="677"/>
                    <a:pt x="201" y="680"/>
                    <a:pt x="201" y="680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2" y="668"/>
                    <a:pt x="202" y="668"/>
                    <a:pt x="202" y="668"/>
                  </a:cubicBezTo>
                  <a:cubicBezTo>
                    <a:pt x="208" y="672"/>
                    <a:pt x="208" y="672"/>
                    <a:pt x="208" y="672"/>
                  </a:cubicBezTo>
                  <a:cubicBezTo>
                    <a:pt x="208" y="672"/>
                    <a:pt x="212" y="671"/>
                    <a:pt x="213" y="671"/>
                  </a:cubicBezTo>
                  <a:cubicBezTo>
                    <a:pt x="214" y="671"/>
                    <a:pt x="218" y="666"/>
                    <a:pt x="218" y="666"/>
                  </a:cubicBezTo>
                  <a:cubicBezTo>
                    <a:pt x="218" y="661"/>
                    <a:pt x="218" y="661"/>
                    <a:pt x="218" y="661"/>
                  </a:cubicBezTo>
                  <a:cubicBezTo>
                    <a:pt x="222" y="662"/>
                    <a:pt x="222" y="662"/>
                    <a:pt x="222" y="662"/>
                  </a:cubicBezTo>
                  <a:cubicBezTo>
                    <a:pt x="223" y="647"/>
                    <a:pt x="223" y="647"/>
                    <a:pt x="223" y="647"/>
                  </a:cubicBezTo>
                  <a:cubicBezTo>
                    <a:pt x="226" y="648"/>
                    <a:pt x="226" y="648"/>
                    <a:pt x="226" y="648"/>
                  </a:cubicBezTo>
                  <a:cubicBezTo>
                    <a:pt x="228" y="658"/>
                    <a:pt x="228" y="658"/>
                    <a:pt x="228" y="658"/>
                  </a:cubicBezTo>
                  <a:cubicBezTo>
                    <a:pt x="235" y="659"/>
                    <a:pt x="235" y="659"/>
                    <a:pt x="235" y="659"/>
                  </a:cubicBezTo>
                  <a:cubicBezTo>
                    <a:pt x="237" y="649"/>
                    <a:pt x="237" y="649"/>
                    <a:pt x="237" y="649"/>
                  </a:cubicBezTo>
                  <a:cubicBezTo>
                    <a:pt x="237" y="649"/>
                    <a:pt x="239" y="649"/>
                    <a:pt x="241" y="648"/>
                  </a:cubicBezTo>
                  <a:cubicBezTo>
                    <a:pt x="242" y="647"/>
                    <a:pt x="242" y="643"/>
                    <a:pt x="242" y="643"/>
                  </a:cubicBezTo>
                  <a:cubicBezTo>
                    <a:pt x="246" y="642"/>
                    <a:pt x="246" y="642"/>
                    <a:pt x="246" y="642"/>
                  </a:cubicBezTo>
                  <a:cubicBezTo>
                    <a:pt x="248" y="640"/>
                    <a:pt x="248" y="640"/>
                    <a:pt x="248" y="640"/>
                  </a:cubicBezTo>
                  <a:cubicBezTo>
                    <a:pt x="245" y="639"/>
                    <a:pt x="245" y="639"/>
                    <a:pt x="245" y="639"/>
                  </a:cubicBezTo>
                  <a:cubicBezTo>
                    <a:pt x="243" y="633"/>
                    <a:pt x="243" y="633"/>
                    <a:pt x="243" y="633"/>
                  </a:cubicBezTo>
                  <a:cubicBezTo>
                    <a:pt x="237" y="628"/>
                    <a:pt x="237" y="628"/>
                    <a:pt x="237" y="628"/>
                  </a:cubicBezTo>
                  <a:cubicBezTo>
                    <a:pt x="239" y="625"/>
                    <a:pt x="239" y="625"/>
                    <a:pt x="239" y="625"/>
                  </a:cubicBezTo>
                  <a:cubicBezTo>
                    <a:pt x="244" y="625"/>
                    <a:pt x="244" y="625"/>
                    <a:pt x="244" y="625"/>
                  </a:cubicBezTo>
                  <a:cubicBezTo>
                    <a:pt x="258" y="610"/>
                    <a:pt x="258" y="610"/>
                    <a:pt x="258" y="610"/>
                  </a:cubicBezTo>
                  <a:cubicBezTo>
                    <a:pt x="258" y="607"/>
                    <a:pt x="258" y="607"/>
                    <a:pt x="258" y="607"/>
                  </a:cubicBezTo>
                  <a:cubicBezTo>
                    <a:pt x="266" y="601"/>
                    <a:pt x="266" y="601"/>
                    <a:pt x="266" y="601"/>
                  </a:cubicBezTo>
                  <a:cubicBezTo>
                    <a:pt x="267" y="600"/>
                    <a:pt x="267" y="600"/>
                    <a:pt x="267" y="600"/>
                  </a:cubicBezTo>
                  <a:cubicBezTo>
                    <a:pt x="259" y="600"/>
                    <a:pt x="259" y="600"/>
                    <a:pt x="259" y="600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67" y="592"/>
                    <a:pt x="267" y="592"/>
                    <a:pt x="267" y="592"/>
                  </a:cubicBezTo>
                  <a:cubicBezTo>
                    <a:pt x="261" y="588"/>
                    <a:pt x="261" y="588"/>
                    <a:pt x="261" y="588"/>
                  </a:cubicBezTo>
                  <a:cubicBezTo>
                    <a:pt x="256" y="578"/>
                    <a:pt x="256" y="578"/>
                    <a:pt x="256" y="578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5" y="578"/>
                    <a:pt x="242" y="570"/>
                    <a:pt x="242" y="570"/>
                  </a:cubicBezTo>
                  <a:cubicBezTo>
                    <a:pt x="242" y="566"/>
                    <a:pt x="242" y="566"/>
                    <a:pt x="242" y="566"/>
                  </a:cubicBezTo>
                  <a:cubicBezTo>
                    <a:pt x="241" y="564"/>
                    <a:pt x="241" y="564"/>
                    <a:pt x="241" y="564"/>
                  </a:cubicBezTo>
                  <a:cubicBezTo>
                    <a:pt x="237" y="565"/>
                    <a:pt x="237" y="565"/>
                    <a:pt x="237" y="565"/>
                  </a:cubicBezTo>
                  <a:cubicBezTo>
                    <a:pt x="227" y="554"/>
                    <a:pt x="227" y="554"/>
                    <a:pt x="227" y="554"/>
                  </a:cubicBezTo>
                  <a:cubicBezTo>
                    <a:pt x="227" y="554"/>
                    <a:pt x="228" y="550"/>
                    <a:pt x="225" y="549"/>
                  </a:cubicBezTo>
                  <a:cubicBezTo>
                    <a:pt x="221" y="548"/>
                    <a:pt x="216" y="557"/>
                    <a:pt x="216" y="557"/>
                  </a:cubicBezTo>
                  <a:cubicBezTo>
                    <a:pt x="213" y="552"/>
                    <a:pt x="213" y="552"/>
                    <a:pt x="213" y="552"/>
                  </a:cubicBezTo>
                  <a:cubicBezTo>
                    <a:pt x="213" y="552"/>
                    <a:pt x="215" y="550"/>
                    <a:pt x="213" y="548"/>
                  </a:cubicBezTo>
                  <a:cubicBezTo>
                    <a:pt x="210" y="546"/>
                    <a:pt x="198" y="548"/>
                    <a:pt x="198" y="548"/>
                  </a:cubicBezTo>
                  <a:cubicBezTo>
                    <a:pt x="205" y="541"/>
                    <a:pt x="205" y="541"/>
                    <a:pt x="205" y="541"/>
                  </a:cubicBezTo>
                  <a:cubicBezTo>
                    <a:pt x="200" y="534"/>
                    <a:pt x="200" y="534"/>
                    <a:pt x="200" y="534"/>
                  </a:cubicBezTo>
                  <a:cubicBezTo>
                    <a:pt x="196" y="533"/>
                    <a:pt x="196" y="533"/>
                    <a:pt x="196" y="533"/>
                  </a:cubicBezTo>
                  <a:cubicBezTo>
                    <a:pt x="198" y="525"/>
                    <a:pt x="198" y="525"/>
                    <a:pt x="198" y="525"/>
                  </a:cubicBezTo>
                  <a:cubicBezTo>
                    <a:pt x="196" y="515"/>
                    <a:pt x="196" y="515"/>
                    <a:pt x="196" y="515"/>
                  </a:cubicBezTo>
                  <a:cubicBezTo>
                    <a:pt x="196" y="515"/>
                    <a:pt x="198" y="509"/>
                    <a:pt x="198" y="506"/>
                  </a:cubicBezTo>
                  <a:cubicBezTo>
                    <a:pt x="198" y="504"/>
                    <a:pt x="193" y="502"/>
                    <a:pt x="193" y="502"/>
                  </a:cubicBezTo>
                  <a:cubicBezTo>
                    <a:pt x="195" y="491"/>
                    <a:pt x="195" y="491"/>
                    <a:pt x="195" y="491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6" y="488"/>
                    <a:pt x="196" y="488"/>
                    <a:pt x="196" y="488"/>
                  </a:cubicBezTo>
                  <a:cubicBezTo>
                    <a:pt x="192" y="479"/>
                    <a:pt x="192" y="479"/>
                    <a:pt x="192" y="479"/>
                  </a:cubicBezTo>
                  <a:cubicBezTo>
                    <a:pt x="198" y="483"/>
                    <a:pt x="198" y="483"/>
                    <a:pt x="198" y="483"/>
                  </a:cubicBezTo>
                  <a:cubicBezTo>
                    <a:pt x="201" y="479"/>
                    <a:pt x="201" y="479"/>
                    <a:pt x="201" y="479"/>
                  </a:cubicBezTo>
                  <a:cubicBezTo>
                    <a:pt x="201" y="479"/>
                    <a:pt x="200" y="475"/>
                    <a:pt x="198" y="473"/>
                  </a:cubicBezTo>
                  <a:cubicBezTo>
                    <a:pt x="195" y="472"/>
                    <a:pt x="197" y="464"/>
                    <a:pt x="197" y="464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201" y="450"/>
                    <a:pt x="201" y="450"/>
                    <a:pt x="201" y="450"/>
                  </a:cubicBezTo>
                  <a:cubicBezTo>
                    <a:pt x="206" y="448"/>
                    <a:pt x="206" y="448"/>
                    <a:pt x="206" y="448"/>
                  </a:cubicBezTo>
                  <a:cubicBezTo>
                    <a:pt x="206" y="445"/>
                    <a:pt x="206" y="445"/>
                    <a:pt x="206" y="445"/>
                  </a:cubicBezTo>
                  <a:cubicBezTo>
                    <a:pt x="200" y="445"/>
                    <a:pt x="200" y="445"/>
                    <a:pt x="200" y="445"/>
                  </a:cubicBezTo>
                  <a:cubicBezTo>
                    <a:pt x="199" y="441"/>
                    <a:pt x="199" y="441"/>
                    <a:pt x="199" y="441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196" y="432"/>
                    <a:pt x="196" y="432"/>
                    <a:pt x="196" y="432"/>
                  </a:cubicBezTo>
                  <a:cubicBezTo>
                    <a:pt x="194" y="430"/>
                    <a:pt x="194" y="430"/>
                    <a:pt x="194" y="430"/>
                  </a:cubicBezTo>
                  <a:cubicBezTo>
                    <a:pt x="199" y="428"/>
                    <a:pt x="199" y="428"/>
                    <a:pt x="199" y="428"/>
                  </a:cubicBezTo>
                  <a:cubicBezTo>
                    <a:pt x="202" y="434"/>
                    <a:pt x="202" y="434"/>
                    <a:pt x="202" y="434"/>
                  </a:cubicBezTo>
                  <a:cubicBezTo>
                    <a:pt x="207" y="432"/>
                    <a:pt x="207" y="432"/>
                    <a:pt x="207" y="432"/>
                  </a:cubicBezTo>
                  <a:cubicBezTo>
                    <a:pt x="205" y="430"/>
                    <a:pt x="205" y="430"/>
                    <a:pt x="205" y="430"/>
                  </a:cubicBezTo>
                  <a:cubicBezTo>
                    <a:pt x="207" y="427"/>
                    <a:pt x="207" y="427"/>
                    <a:pt x="207" y="427"/>
                  </a:cubicBezTo>
                  <a:cubicBezTo>
                    <a:pt x="207" y="427"/>
                    <a:pt x="212" y="427"/>
                    <a:pt x="212" y="425"/>
                  </a:cubicBezTo>
                  <a:cubicBezTo>
                    <a:pt x="212" y="418"/>
                    <a:pt x="212" y="418"/>
                    <a:pt x="212" y="418"/>
                  </a:cubicBezTo>
                  <a:cubicBezTo>
                    <a:pt x="213" y="414"/>
                    <a:pt x="213" y="414"/>
                    <a:pt x="213" y="414"/>
                  </a:cubicBezTo>
                  <a:cubicBezTo>
                    <a:pt x="213" y="414"/>
                    <a:pt x="211" y="408"/>
                    <a:pt x="213" y="408"/>
                  </a:cubicBezTo>
                  <a:cubicBezTo>
                    <a:pt x="215" y="407"/>
                    <a:pt x="216" y="410"/>
                    <a:pt x="216" y="410"/>
                  </a:cubicBezTo>
                  <a:cubicBezTo>
                    <a:pt x="221" y="407"/>
                    <a:pt x="221" y="407"/>
                    <a:pt x="221" y="407"/>
                  </a:cubicBezTo>
                  <a:cubicBezTo>
                    <a:pt x="221" y="407"/>
                    <a:pt x="218" y="403"/>
                    <a:pt x="221" y="401"/>
                  </a:cubicBezTo>
                  <a:cubicBezTo>
                    <a:pt x="222" y="400"/>
                    <a:pt x="225" y="405"/>
                    <a:pt x="225" y="405"/>
                  </a:cubicBezTo>
                  <a:cubicBezTo>
                    <a:pt x="229" y="399"/>
                    <a:pt x="229" y="399"/>
                    <a:pt x="229" y="399"/>
                  </a:cubicBezTo>
                  <a:cubicBezTo>
                    <a:pt x="225" y="397"/>
                    <a:pt x="225" y="397"/>
                    <a:pt x="225" y="397"/>
                  </a:cubicBezTo>
                  <a:cubicBezTo>
                    <a:pt x="228" y="396"/>
                    <a:pt x="228" y="396"/>
                    <a:pt x="228" y="396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22" y="395"/>
                    <a:pt x="222" y="395"/>
                    <a:pt x="222" y="395"/>
                  </a:cubicBezTo>
                  <a:cubicBezTo>
                    <a:pt x="226" y="392"/>
                    <a:pt x="226" y="392"/>
                    <a:pt x="226" y="392"/>
                  </a:cubicBezTo>
                  <a:cubicBezTo>
                    <a:pt x="231" y="380"/>
                    <a:pt x="231" y="380"/>
                    <a:pt x="231" y="380"/>
                  </a:cubicBezTo>
                  <a:cubicBezTo>
                    <a:pt x="234" y="380"/>
                    <a:pt x="234" y="380"/>
                    <a:pt x="234" y="380"/>
                  </a:cubicBezTo>
                  <a:cubicBezTo>
                    <a:pt x="239" y="377"/>
                    <a:pt x="239" y="377"/>
                    <a:pt x="239" y="377"/>
                  </a:cubicBezTo>
                  <a:cubicBezTo>
                    <a:pt x="233" y="375"/>
                    <a:pt x="233" y="375"/>
                    <a:pt x="233" y="375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43" y="378"/>
                    <a:pt x="243" y="378"/>
                    <a:pt x="243" y="378"/>
                  </a:cubicBezTo>
                  <a:cubicBezTo>
                    <a:pt x="243" y="378"/>
                    <a:pt x="244" y="374"/>
                    <a:pt x="246" y="371"/>
                  </a:cubicBezTo>
                  <a:cubicBezTo>
                    <a:pt x="248" y="368"/>
                    <a:pt x="249" y="361"/>
                    <a:pt x="249" y="361"/>
                  </a:cubicBezTo>
                  <a:cubicBezTo>
                    <a:pt x="249" y="361"/>
                    <a:pt x="251" y="362"/>
                    <a:pt x="254" y="360"/>
                  </a:cubicBezTo>
                  <a:cubicBezTo>
                    <a:pt x="256" y="359"/>
                    <a:pt x="255" y="353"/>
                    <a:pt x="255" y="35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61" y="363"/>
                    <a:pt x="261" y="363"/>
                    <a:pt x="261" y="363"/>
                  </a:cubicBezTo>
                  <a:cubicBezTo>
                    <a:pt x="263" y="361"/>
                    <a:pt x="263" y="361"/>
                    <a:pt x="263" y="361"/>
                  </a:cubicBezTo>
                  <a:cubicBezTo>
                    <a:pt x="262" y="357"/>
                    <a:pt x="262" y="357"/>
                    <a:pt x="262" y="357"/>
                  </a:cubicBezTo>
                  <a:cubicBezTo>
                    <a:pt x="270" y="348"/>
                    <a:pt x="270" y="348"/>
                    <a:pt x="270" y="34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8" y="344"/>
                    <a:pt x="278" y="344"/>
                    <a:pt x="278" y="344"/>
                  </a:cubicBezTo>
                  <a:cubicBezTo>
                    <a:pt x="278" y="340"/>
                    <a:pt x="278" y="340"/>
                    <a:pt x="278" y="340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1" y="334"/>
                    <a:pt x="281" y="334"/>
                    <a:pt x="281" y="334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0" y="333"/>
                    <a:pt x="290" y="333"/>
                    <a:pt x="290" y="333"/>
                  </a:cubicBezTo>
                  <a:cubicBezTo>
                    <a:pt x="290" y="333"/>
                    <a:pt x="293" y="325"/>
                    <a:pt x="294" y="321"/>
                  </a:cubicBezTo>
                  <a:cubicBezTo>
                    <a:pt x="295" y="318"/>
                    <a:pt x="293" y="313"/>
                    <a:pt x="293" y="313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9" y="302"/>
                    <a:pt x="299" y="302"/>
                    <a:pt x="299" y="3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06" y="288"/>
                    <a:pt x="306" y="288"/>
                    <a:pt x="306" y="288"/>
                  </a:cubicBezTo>
                  <a:cubicBezTo>
                    <a:pt x="304" y="286"/>
                    <a:pt x="304" y="286"/>
                    <a:pt x="304" y="286"/>
                  </a:cubicBezTo>
                  <a:cubicBezTo>
                    <a:pt x="308" y="285"/>
                    <a:pt x="308" y="285"/>
                    <a:pt x="308" y="285"/>
                  </a:cubicBezTo>
                  <a:cubicBezTo>
                    <a:pt x="309" y="283"/>
                    <a:pt x="309" y="283"/>
                    <a:pt x="309" y="283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295" y="277"/>
                    <a:pt x="295" y="277"/>
                    <a:pt x="295" y="277"/>
                  </a:cubicBezTo>
                  <a:cubicBezTo>
                    <a:pt x="298" y="269"/>
                    <a:pt x="298" y="269"/>
                    <a:pt x="298" y="269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98" y="259"/>
                    <a:pt x="298" y="259"/>
                    <a:pt x="298" y="259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3" y="246"/>
                    <a:pt x="293" y="238"/>
                    <a:pt x="295" y="234"/>
                  </a:cubicBezTo>
                  <a:cubicBezTo>
                    <a:pt x="296" y="230"/>
                    <a:pt x="304" y="231"/>
                    <a:pt x="309" y="229"/>
                  </a:cubicBezTo>
                  <a:cubicBezTo>
                    <a:pt x="315" y="226"/>
                    <a:pt x="307" y="221"/>
                    <a:pt x="307" y="221"/>
                  </a:cubicBezTo>
                  <a:cubicBezTo>
                    <a:pt x="313" y="219"/>
                    <a:pt x="313" y="219"/>
                    <a:pt x="313" y="219"/>
                  </a:cubicBezTo>
                  <a:cubicBezTo>
                    <a:pt x="313" y="216"/>
                    <a:pt x="313" y="216"/>
                    <a:pt x="313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5" y="196"/>
                    <a:pt x="315" y="196"/>
                    <a:pt x="315" y="196"/>
                  </a:cubicBezTo>
                  <a:cubicBezTo>
                    <a:pt x="319" y="196"/>
                    <a:pt x="319" y="196"/>
                    <a:pt x="319" y="196"/>
                  </a:cubicBezTo>
                  <a:cubicBezTo>
                    <a:pt x="322" y="201"/>
                    <a:pt x="322" y="201"/>
                    <a:pt x="322" y="201"/>
                  </a:cubicBezTo>
                  <a:cubicBezTo>
                    <a:pt x="326" y="201"/>
                    <a:pt x="326" y="201"/>
                    <a:pt x="326" y="201"/>
                  </a:cubicBezTo>
                  <a:cubicBezTo>
                    <a:pt x="324" y="193"/>
                    <a:pt x="324" y="193"/>
                    <a:pt x="324" y="193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6" y="201"/>
                    <a:pt x="336" y="201"/>
                    <a:pt x="336" y="201"/>
                  </a:cubicBezTo>
                  <a:cubicBezTo>
                    <a:pt x="337" y="205"/>
                    <a:pt x="337" y="205"/>
                    <a:pt x="337" y="205"/>
                  </a:cubicBezTo>
                  <a:cubicBezTo>
                    <a:pt x="340" y="200"/>
                    <a:pt x="340" y="200"/>
                    <a:pt x="340" y="200"/>
                  </a:cubicBezTo>
                  <a:cubicBezTo>
                    <a:pt x="339" y="196"/>
                    <a:pt x="339" y="196"/>
                    <a:pt x="339" y="196"/>
                  </a:cubicBezTo>
                  <a:cubicBezTo>
                    <a:pt x="350" y="196"/>
                    <a:pt x="350" y="196"/>
                    <a:pt x="350" y="196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4" y="188"/>
                  </a:lnTo>
                  <a:close/>
                  <a:moveTo>
                    <a:pt x="14" y="718"/>
                  </a:moveTo>
                  <a:cubicBezTo>
                    <a:pt x="21" y="719"/>
                    <a:pt x="21" y="719"/>
                    <a:pt x="21" y="719"/>
                  </a:cubicBezTo>
                  <a:cubicBezTo>
                    <a:pt x="22" y="712"/>
                    <a:pt x="22" y="712"/>
                    <a:pt x="22" y="712"/>
                  </a:cubicBezTo>
                  <a:cubicBezTo>
                    <a:pt x="19" y="709"/>
                    <a:pt x="19" y="709"/>
                    <a:pt x="19" y="709"/>
                  </a:cubicBezTo>
                  <a:cubicBezTo>
                    <a:pt x="17" y="712"/>
                    <a:pt x="17" y="712"/>
                    <a:pt x="17" y="712"/>
                  </a:cubicBezTo>
                  <a:cubicBezTo>
                    <a:pt x="16" y="712"/>
                    <a:pt x="16" y="712"/>
                    <a:pt x="16" y="712"/>
                  </a:cubicBezTo>
                  <a:cubicBezTo>
                    <a:pt x="8" y="720"/>
                    <a:pt x="8" y="720"/>
                    <a:pt x="8" y="720"/>
                  </a:cubicBezTo>
                  <a:cubicBezTo>
                    <a:pt x="14" y="721"/>
                    <a:pt x="14" y="721"/>
                    <a:pt x="14" y="721"/>
                  </a:cubicBezTo>
                  <a:lnTo>
                    <a:pt x="14" y="718"/>
                  </a:lnTo>
                  <a:close/>
                  <a:moveTo>
                    <a:pt x="20" y="727"/>
                  </a:moveTo>
                  <a:cubicBezTo>
                    <a:pt x="19" y="723"/>
                    <a:pt x="19" y="723"/>
                    <a:pt x="19" y="723"/>
                  </a:cubicBezTo>
                  <a:cubicBezTo>
                    <a:pt x="11" y="725"/>
                    <a:pt x="11" y="725"/>
                    <a:pt x="11" y="725"/>
                  </a:cubicBezTo>
                  <a:cubicBezTo>
                    <a:pt x="13" y="728"/>
                    <a:pt x="13" y="728"/>
                    <a:pt x="13" y="728"/>
                  </a:cubicBezTo>
                  <a:cubicBezTo>
                    <a:pt x="13" y="730"/>
                    <a:pt x="13" y="730"/>
                    <a:pt x="13" y="730"/>
                  </a:cubicBezTo>
                  <a:cubicBezTo>
                    <a:pt x="16" y="730"/>
                    <a:pt x="16" y="730"/>
                    <a:pt x="16" y="730"/>
                  </a:cubicBezTo>
                  <a:cubicBezTo>
                    <a:pt x="17" y="727"/>
                    <a:pt x="17" y="727"/>
                    <a:pt x="17" y="727"/>
                  </a:cubicBezTo>
                  <a:lnTo>
                    <a:pt x="20" y="727"/>
                  </a:lnTo>
                  <a:close/>
                  <a:moveTo>
                    <a:pt x="211" y="760"/>
                  </a:moveTo>
                  <a:cubicBezTo>
                    <a:pt x="207" y="765"/>
                    <a:pt x="207" y="765"/>
                    <a:pt x="207" y="765"/>
                  </a:cubicBezTo>
                  <a:cubicBezTo>
                    <a:pt x="208" y="771"/>
                    <a:pt x="208" y="771"/>
                    <a:pt x="208" y="771"/>
                  </a:cubicBezTo>
                  <a:cubicBezTo>
                    <a:pt x="207" y="771"/>
                    <a:pt x="207" y="771"/>
                    <a:pt x="207" y="771"/>
                  </a:cubicBezTo>
                  <a:cubicBezTo>
                    <a:pt x="207" y="773"/>
                    <a:pt x="207" y="773"/>
                    <a:pt x="207" y="773"/>
                  </a:cubicBezTo>
                  <a:cubicBezTo>
                    <a:pt x="205" y="783"/>
                    <a:pt x="205" y="783"/>
                    <a:pt x="205" y="783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0" y="792"/>
                    <a:pt x="200" y="792"/>
                    <a:pt x="200" y="792"/>
                  </a:cubicBezTo>
                  <a:cubicBezTo>
                    <a:pt x="198" y="792"/>
                    <a:pt x="198" y="792"/>
                    <a:pt x="198" y="792"/>
                  </a:cubicBezTo>
                  <a:cubicBezTo>
                    <a:pt x="198" y="792"/>
                    <a:pt x="195" y="797"/>
                    <a:pt x="194" y="801"/>
                  </a:cubicBezTo>
                  <a:cubicBezTo>
                    <a:pt x="193" y="804"/>
                    <a:pt x="194" y="807"/>
                    <a:pt x="193" y="808"/>
                  </a:cubicBezTo>
                  <a:cubicBezTo>
                    <a:pt x="193" y="810"/>
                    <a:pt x="190" y="812"/>
                    <a:pt x="190" y="816"/>
                  </a:cubicBezTo>
                  <a:cubicBezTo>
                    <a:pt x="190" y="821"/>
                    <a:pt x="190" y="821"/>
                    <a:pt x="190" y="821"/>
                  </a:cubicBezTo>
                  <a:cubicBezTo>
                    <a:pt x="193" y="823"/>
                    <a:pt x="193" y="823"/>
                    <a:pt x="193" y="823"/>
                  </a:cubicBezTo>
                  <a:cubicBezTo>
                    <a:pt x="192" y="836"/>
                    <a:pt x="192" y="836"/>
                    <a:pt x="192" y="836"/>
                  </a:cubicBezTo>
                  <a:cubicBezTo>
                    <a:pt x="192" y="836"/>
                    <a:pt x="196" y="833"/>
                    <a:pt x="197" y="830"/>
                  </a:cubicBezTo>
                  <a:cubicBezTo>
                    <a:pt x="198" y="825"/>
                    <a:pt x="197" y="824"/>
                    <a:pt x="197" y="822"/>
                  </a:cubicBezTo>
                  <a:cubicBezTo>
                    <a:pt x="197" y="820"/>
                    <a:pt x="199" y="817"/>
                    <a:pt x="200" y="815"/>
                  </a:cubicBezTo>
                  <a:cubicBezTo>
                    <a:pt x="201" y="813"/>
                    <a:pt x="200" y="807"/>
                    <a:pt x="200" y="807"/>
                  </a:cubicBezTo>
                  <a:cubicBezTo>
                    <a:pt x="204" y="796"/>
                    <a:pt x="204" y="796"/>
                    <a:pt x="204" y="796"/>
                  </a:cubicBezTo>
                  <a:cubicBezTo>
                    <a:pt x="206" y="796"/>
                    <a:pt x="206" y="796"/>
                    <a:pt x="206" y="796"/>
                  </a:cubicBezTo>
                  <a:cubicBezTo>
                    <a:pt x="208" y="788"/>
                    <a:pt x="208" y="788"/>
                    <a:pt x="208" y="788"/>
                  </a:cubicBezTo>
                  <a:cubicBezTo>
                    <a:pt x="207" y="785"/>
                    <a:pt x="207" y="785"/>
                    <a:pt x="207" y="785"/>
                  </a:cubicBezTo>
                  <a:cubicBezTo>
                    <a:pt x="209" y="783"/>
                    <a:pt x="209" y="783"/>
                    <a:pt x="209" y="783"/>
                  </a:cubicBezTo>
                  <a:cubicBezTo>
                    <a:pt x="208" y="782"/>
                    <a:pt x="208" y="782"/>
                    <a:pt x="208" y="782"/>
                  </a:cubicBezTo>
                  <a:cubicBezTo>
                    <a:pt x="210" y="779"/>
                    <a:pt x="210" y="779"/>
                    <a:pt x="210" y="779"/>
                  </a:cubicBezTo>
                  <a:cubicBezTo>
                    <a:pt x="209" y="777"/>
                    <a:pt x="209" y="777"/>
                    <a:pt x="209" y="777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4" y="763"/>
                    <a:pt x="214" y="763"/>
                    <a:pt x="214" y="763"/>
                  </a:cubicBezTo>
                  <a:lnTo>
                    <a:pt x="211" y="760"/>
                  </a:lnTo>
                  <a:close/>
                  <a:moveTo>
                    <a:pt x="277" y="731"/>
                  </a:moveTo>
                  <a:cubicBezTo>
                    <a:pt x="281" y="724"/>
                    <a:pt x="281" y="724"/>
                    <a:pt x="281" y="724"/>
                  </a:cubicBezTo>
                  <a:cubicBezTo>
                    <a:pt x="278" y="718"/>
                    <a:pt x="278" y="718"/>
                    <a:pt x="278" y="718"/>
                  </a:cubicBezTo>
                  <a:cubicBezTo>
                    <a:pt x="272" y="719"/>
                    <a:pt x="272" y="719"/>
                    <a:pt x="272" y="719"/>
                  </a:cubicBezTo>
                  <a:cubicBezTo>
                    <a:pt x="270" y="724"/>
                    <a:pt x="270" y="724"/>
                    <a:pt x="270" y="724"/>
                  </a:cubicBezTo>
                  <a:cubicBezTo>
                    <a:pt x="270" y="719"/>
                    <a:pt x="270" y="719"/>
                    <a:pt x="270" y="719"/>
                  </a:cubicBezTo>
                  <a:cubicBezTo>
                    <a:pt x="270" y="719"/>
                    <a:pt x="267" y="719"/>
                    <a:pt x="266" y="720"/>
                  </a:cubicBezTo>
                  <a:cubicBezTo>
                    <a:pt x="264" y="721"/>
                    <a:pt x="263" y="724"/>
                    <a:pt x="263" y="724"/>
                  </a:cubicBezTo>
                  <a:cubicBezTo>
                    <a:pt x="263" y="724"/>
                    <a:pt x="262" y="723"/>
                    <a:pt x="259" y="726"/>
                  </a:cubicBezTo>
                  <a:cubicBezTo>
                    <a:pt x="257" y="729"/>
                    <a:pt x="253" y="739"/>
                    <a:pt x="253" y="739"/>
                  </a:cubicBezTo>
                  <a:cubicBezTo>
                    <a:pt x="253" y="739"/>
                    <a:pt x="248" y="741"/>
                    <a:pt x="248" y="746"/>
                  </a:cubicBezTo>
                  <a:cubicBezTo>
                    <a:pt x="247" y="753"/>
                    <a:pt x="253" y="753"/>
                    <a:pt x="253" y="757"/>
                  </a:cubicBezTo>
                  <a:cubicBezTo>
                    <a:pt x="251" y="762"/>
                    <a:pt x="249" y="763"/>
                    <a:pt x="249" y="763"/>
                  </a:cubicBezTo>
                  <a:cubicBezTo>
                    <a:pt x="251" y="765"/>
                    <a:pt x="251" y="765"/>
                    <a:pt x="251" y="765"/>
                  </a:cubicBezTo>
                  <a:cubicBezTo>
                    <a:pt x="251" y="772"/>
                    <a:pt x="251" y="772"/>
                    <a:pt x="251" y="772"/>
                  </a:cubicBezTo>
                  <a:cubicBezTo>
                    <a:pt x="254" y="773"/>
                    <a:pt x="254" y="773"/>
                    <a:pt x="254" y="773"/>
                  </a:cubicBezTo>
                  <a:cubicBezTo>
                    <a:pt x="254" y="776"/>
                    <a:pt x="254" y="776"/>
                    <a:pt x="254" y="776"/>
                  </a:cubicBezTo>
                  <a:cubicBezTo>
                    <a:pt x="254" y="776"/>
                    <a:pt x="257" y="775"/>
                    <a:pt x="257" y="776"/>
                  </a:cubicBezTo>
                  <a:cubicBezTo>
                    <a:pt x="257" y="777"/>
                    <a:pt x="255" y="778"/>
                    <a:pt x="255" y="778"/>
                  </a:cubicBezTo>
                  <a:cubicBezTo>
                    <a:pt x="255" y="782"/>
                    <a:pt x="255" y="782"/>
                    <a:pt x="255" y="782"/>
                  </a:cubicBezTo>
                  <a:cubicBezTo>
                    <a:pt x="255" y="783"/>
                    <a:pt x="253" y="787"/>
                    <a:pt x="253" y="787"/>
                  </a:cubicBezTo>
                  <a:cubicBezTo>
                    <a:pt x="258" y="785"/>
                    <a:pt x="258" y="785"/>
                    <a:pt x="258" y="785"/>
                  </a:cubicBezTo>
                  <a:cubicBezTo>
                    <a:pt x="261" y="779"/>
                    <a:pt x="261" y="779"/>
                    <a:pt x="261" y="779"/>
                  </a:cubicBezTo>
                  <a:cubicBezTo>
                    <a:pt x="260" y="779"/>
                    <a:pt x="260" y="779"/>
                    <a:pt x="260" y="779"/>
                  </a:cubicBezTo>
                  <a:cubicBezTo>
                    <a:pt x="261" y="774"/>
                    <a:pt x="261" y="774"/>
                    <a:pt x="261" y="774"/>
                  </a:cubicBezTo>
                  <a:cubicBezTo>
                    <a:pt x="262" y="772"/>
                    <a:pt x="262" y="772"/>
                    <a:pt x="262" y="772"/>
                  </a:cubicBezTo>
                  <a:cubicBezTo>
                    <a:pt x="261" y="772"/>
                    <a:pt x="261" y="772"/>
                    <a:pt x="261" y="772"/>
                  </a:cubicBezTo>
                  <a:cubicBezTo>
                    <a:pt x="266" y="766"/>
                    <a:pt x="266" y="766"/>
                    <a:pt x="266" y="766"/>
                  </a:cubicBezTo>
                  <a:cubicBezTo>
                    <a:pt x="271" y="763"/>
                    <a:pt x="271" y="763"/>
                    <a:pt x="271" y="763"/>
                  </a:cubicBezTo>
                  <a:cubicBezTo>
                    <a:pt x="271" y="758"/>
                    <a:pt x="271" y="758"/>
                    <a:pt x="271" y="758"/>
                  </a:cubicBezTo>
                  <a:cubicBezTo>
                    <a:pt x="277" y="750"/>
                    <a:pt x="277" y="750"/>
                    <a:pt x="277" y="750"/>
                  </a:cubicBezTo>
                  <a:cubicBezTo>
                    <a:pt x="274" y="750"/>
                    <a:pt x="274" y="750"/>
                    <a:pt x="274" y="750"/>
                  </a:cubicBezTo>
                  <a:cubicBezTo>
                    <a:pt x="271" y="746"/>
                    <a:pt x="271" y="746"/>
                    <a:pt x="271" y="746"/>
                  </a:cubicBezTo>
                  <a:cubicBezTo>
                    <a:pt x="271" y="746"/>
                    <a:pt x="273" y="743"/>
                    <a:pt x="274" y="740"/>
                  </a:cubicBezTo>
                  <a:cubicBezTo>
                    <a:pt x="274" y="738"/>
                    <a:pt x="271" y="735"/>
                    <a:pt x="271" y="735"/>
                  </a:cubicBezTo>
                  <a:cubicBezTo>
                    <a:pt x="272" y="730"/>
                    <a:pt x="272" y="730"/>
                    <a:pt x="272" y="730"/>
                  </a:cubicBezTo>
                  <a:lnTo>
                    <a:pt x="277" y="731"/>
                  </a:lnTo>
                  <a:close/>
                  <a:moveTo>
                    <a:pt x="280" y="719"/>
                  </a:moveTo>
                  <a:cubicBezTo>
                    <a:pt x="282" y="721"/>
                    <a:pt x="282" y="721"/>
                    <a:pt x="282" y="721"/>
                  </a:cubicBezTo>
                  <a:cubicBezTo>
                    <a:pt x="286" y="711"/>
                    <a:pt x="286" y="711"/>
                    <a:pt x="286" y="711"/>
                  </a:cubicBezTo>
                  <a:cubicBezTo>
                    <a:pt x="281" y="712"/>
                    <a:pt x="281" y="712"/>
                    <a:pt x="281" y="712"/>
                  </a:cubicBezTo>
                  <a:lnTo>
                    <a:pt x="280" y="719"/>
                  </a:lnTo>
                  <a:close/>
                  <a:moveTo>
                    <a:pt x="286" y="715"/>
                  </a:moveTo>
                  <a:cubicBezTo>
                    <a:pt x="290" y="715"/>
                    <a:pt x="290" y="715"/>
                    <a:pt x="290" y="715"/>
                  </a:cubicBezTo>
                  <a:cubicBezTo>
                    <a:pt x="291" y="712"/>
                    <a:pt x="291" y="712"/>
                    <a:pt x="291" y="712"/>
                  </a:cubicBezTo>
                  <a:cubicBezTo>
                    <a:pt x="288" y="712"/>
                    <a:pt x="288" y="712"/>
                    <a:pt x="288" y="712"/>
                  </a:cubicBezTo>
                  <a:lnTo>
                    <a:pt x="286" y="715"/>
                  </a:lnTo>
                  <a:close/>
                  <a:moveTo>
                    <a:pt x="282" y="691"/>
                  </a:moveTo>
                  <a:cubicBezTo>
                    <a:pt x="287" y="688"/>
                    <a:pt x="287" y="688"/>
                    <a:pt x="287" y="688"/>
                  </a:cubicBezTo>
                  <a:cubicBezTo>
                    <a:pt x="280" y="684"/>
                    <a:pt x="280" y="684"/>
                    <a:pt x="280" y="684"/>
                  </a:cubicBezTo>
                  <a:cubicBezTo>
                    <a:pt x="281" y="689"/>
                    <a:pt x="281" y="689"/>
                    <a:pt x="281" y="689"/>
                  </a:cubicBezTo>
                  <a:lnTo>
                    <a:pt x="282" y="691"/>
                  </a:lnTo>
                  <a:close/>
                  <a:moveTo>
                    <a:pt x="243" y="630"/>
                  </a:moveTo>
                  <a:cubicBezTo>
                    <a:pt x="255" y="631"/>
                    <a:pt x="255" y="631"/>
                    <a:pt x="255" y="631"/>
                  </a:cubicBezTo>
                  <a:cubicBezTo>
                    <a:pt x="256" y="630"/>
                    <a:pt x="256" y="630"/>
                    <a:pt x="256" y="630"/>
                  </a:cubicBezTo>
                  <a:cubicBezTo>
                    <a:pt x="254" y="626"/>
                    <a:pt x="254" y="626"/>
                    <a:pt x="254" y="626"/>
                  </a:cubicBezTo>
                  <a:cubicBezTo>
                    <a:pt x="251" y="625"/>
                    <a:pt x="251" y="625"/>
                    <a:pt x="251" y="625"/>
                  </a:cubicBezTo>
                  <a:cubicBezTo>
                    <a:pt x="248" y="626"/>
                    <a:pt x="248" y="626"/>
                    <a:pt x="248" y="626"/>
                  </a:cubicBezTo>
                  <a:cubicBezTo>
                    <a:pt x="249" y="628"/>
                    <a:pt x="249" y="628"/>
                    <a:pt x="249" y="628"/>
                  </a:cubicBezTo>
                  <a:cubicBezTo>
                    <a:pt x="243" y="628"/>
                    <a:pt x="243" y="628"/>
                    <a:pt x="243" y="628"/>
                  </a:cubicBezTo>
                  <a:lnTo>
                    <a:pt x="243" y="630"/>
                  </a:lnTo>
                  <a:close/>
                  <a:moveTo>
                    <a:pt x="254" y="615"/>
                  </a:moveTo>
                  <a:cubicBezTo>
                    <a:pt x="253" y="620"/>
                    <a:pt x="253" y="620"/>
                    <a:pt x="253" y="620"/>
                  </a:cubicBezTo>
                  <a:cubicBezTo>
                    <a:pt x="258" y="617"/>
                    <a:pt x="258" y="617"/>
                    <a:pt x="258" y="617"/>
                  </a:cubicBezTo>
                  <a:lnTo>
                    <a:pt x="254" y="615"/>
                  </a:lnTo>
                  <a:close/>
                  <a:moveTo>
                    <a:pt x="266" y="610"/>
                  </a:moveTo>
                  <a:cubicBezTo>
                    <a:pt x="265" y="607"/>
                    <a:pt x="265" y="607"/>
                    <a:pt x="265" y="607"/>
                  </a:cubicBezTo>
                  <a:cubicBezTo>
                    <a:pt x="259" y="610"/>
                    <a:pt x="259" y="610"/>
                    <a:pt x="259" y="610"/>
                  </a:cubicBezTo>
                  <a:cubicBezTo>
                    <a:pt x="262" y="612"/>
                    <a:pt x="262" y="612"/>
                    <a:pt x="262" y="612"/>
                  </a:cubicBezTo>
                  <a:lnTo>
                    <a:pt x="266" y="610"/>
                  </a:lnTo>
                  <a:close/>
                  <a:moveTo>
                    <a:pt x="258" y="630"/>
                  </a:moveTo>
                  <a:cubicBezTo>
                    <a:pt x="261" y="629"/>
                    <a:pt x="261" y="629"/>
                    <a:pt x="261" y="629"/>
                  </a:cubicBezTo>
                  <a:cubicBezTo>
                    <a:pt x="258" y="626"/>
                    <a:pt x="258" y="626"/>
                    <a:pt x="258" y="626"/>
                  </a:cubicBezTo>
                  <a:lnTo>
                    <a:pt x="258" y="630"/>
                  </a:lnTo>
                  <a:close/>
                  <a:moveTo>
                    <a:pt x="249" y="651"/>
                  </a:moveTo>
                  <a:cubicBezTo>
                    <a:pt x="253" y="644"/>
                    <a:pt x="253" y="644"/>
                    <a:pt x="253" y="644"/>
                  </a:cubicBezTo>
                  <a:cubicBezTo>
                    <a:pt x="250" y="643"/>
                    <a:pt x="250" y="643"/>
                    <a:pt x="250" y="643"/>
                  </a:cubicBezTo>
                  <a:cubicBezTo>
                    <a:pt x="246" y="649"/>
                    <a:pt x="246" y="649"/>
                    <a:pt x="246" y="649"/>
                  </a:cubicBezTo>
                  <a:lnTo>
                    <a:pt x="249" y="651"/>
                  </a:lnTo>
                  <a:close/>
                  <a:moveTo>
                    <a:pt x="245" y="653"/>
                  </a:moveTo>
                  <a:cubicBezTo>
                    <a:pt x="244" y="656"/>
                    <a:pt x="245" y="658"/>
                    <a:pt x="247" y="656"/>
                  </a:cubicBezTo>
                  <a:cubicBezTo>
                    <a:pt x="249" y="653"/>
                    <a:pt x="246" y="651"/>
                    <a:pt x="245" y="653"/>
                  </a:cubicBezTo>
                  <a:close/>
                  <a:moveTo>
                    <a:pt x="238" y="652"/>
                  </a:moveTo>
                  <a:cubicBezTo>
                    <a:pt x="241" y="653"/>
                    <a:pt x="241" y="653"/>
                    <a:pt x="241" y="653"/>
                  </a:cubicBezTo>
                  <a:cubicBezTo>
                    <a:pt x="243" y="649"/>
                    <a:pt x="243" y="649"/>
                    <a:pt x="243" y="649"/>
                  </a:cubicBezTo>
                  <a:cubicBezTo>
                    <a:pt x="242" y="649"/>
                    <a:pt x="242" y="649"/>
                    <a:pt x="242" y="649"/>
                  </a:cubicBezTo>
                  <a:lnTo>
                    <a:pt x="238" y="652"/>
                  </a:lnTo>
                  <a:close/>
                  <a:moveTo>
                    <a:pt x="251" y="632"/>
                  </a:moveTo>
                  <a:cubicBezTo>
                    <a:pt x="249" y="633"/>
                    <a:pt x="249" y="633"/>
                    <a:pt x="249" y="633"/>
                  </a:cubicBezTo>
                  <a:cubicBezTo>
                    <a:pt x="246" y="635"/>
                    <a:pt x="246" y="635"/>
                    <a:pt x="246" y="635"/>
                  </a:cubicBezTo>
                  <a:cubicBezTo>
                    <a:pt x="251" y="636"/>
                    <a:pt x="251" y="636"/>
                    <a:pt x="251" y="636"/>
                  </a:cubicBezTo>
                  <a:lnTo>
                    <a:pt x="251" y="632"/>
                  </a:lnTo>
                  <a:close/>
                  <a:moveTo>
                    <a:pt x="229" y="662"/>
                  </a:moveTo>
                  <a:cubicBezTo>
                    <a:pt x="229" y="664"/>
                    <a:pt x="229" y="664"/>
                    <a:pt x="229" y="664"/>
                  </a:cubicBezTo>
                  <a:cubicBezTo>
                    <a:pt x="232" y="666"/>
                    <a:pt x="232" y="666"/>
                    <a:pt x="232" y="666"/>
                  </a:cubicBezTo>
                  <a:cubicBezTo>
                    <a:pt x="231" y="661"/>
                    <a:pt x="231" y="661"/>
                    <a:pt x="231" y="661"/>
                  </a:cubicBezTo>
                  <a:lnTo>
                    <a:pt x="229" y="662"/>
                  </a:lnTo>
                  <a:close/>
                  <a:moveTo>
                    <a:pt x="246" y="562"/>
                  </a:moveTo>
                  <a:cubicBezTo>
                    <a:pt x="244" y="562"/>
                    <a:pt x="244" y="562"/>
                    <a:pt x="244" y="562"/>
                  </a:cubicBezTo>
                  <a:cubicBezTo>
                    <a:pt x="243" y="558"/>
                    <a:pt x="243" y="558"/>
                    <a:pt x="243" y="558"/>
                  </a:cubicBezTo>
                  <a:cubicBezTo>
                    <a:pt x="241" y="554"/>
                    <a:pt x="241" y="554"/>
                    <a:pt x="241" y="554"/>
                  </a:cubicBezTo>
                  <a:cubicBezTo>
                    <a:pt x="240" y="554"/>
                    <a:pt x="240" y="554"/>
                    <a:pt x="240" y="554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6" y="567"/>
                    <a:pt x="246" y="567"/>
                    <a:pt x="246" y="567"/>
                  </a:cubicBezTo>
                  <a:lnTo>
                    <a:pt x="246" y="562"/>
                  </a:lnTo>
                  <a:close/>
                  <a:moveTo>
                    <a:pt x="245" y="571"/>
                  </a:moveTo>
                  <a:cubicBezTo>
                    <a:pt x="248" y="572"/>
                    <a:pt x="249" y="569"/>
                    <a:pt x="246" y="569"/>
                  </a:cubicBezTo>
                  <a:cubicBezTo>
                    <a:pt x="243" y="569"/>
                    <a:pt x="243" y="571"/>
                    <a:pt x="245" y="571"/>
                  </a:cubicBezTo>
                  <a:close/>
                  <a:moveTo>
                    <a:pt x="253" y="571"/>
                  </a:moveTo>
                  <a:cubicBezTo>
                    <a:pt x="250" y="571"/>
                    <a:pt x="250" y="574"/>
                    <a:pt x="253" y="576"/>
                  </a:cubicBezTo>
                  <a:cubicBezTo>
                    <a:pt x="255" y="577"/>
                    <a:pt x="256" y="576"/>
                    <a:pt x="256" y="573"/>
                  </a:cubicBezTo>
                  <a:cubicBezTo>
                    <a:pt x="255" y="571"/>
                    <a:pt x="254" y="571"/>
                    <a:pt x="253" y="571"/>
                  </a:cubicBezTo>
                  <a:close/>
                  <a:moveTo>
                    <a:pt x="200" y="696"/>
                  </a:moveTo>
                  <a:cubicBezTo>
                    <a:pt x="199" y="693"/>
                    <a:pt x="199" y="693"/>
                    <a:pt x="199" y="693"/>
                  </a:cubicBezTo>
                  <a:cubicBezTo>
                    <a:pt x="198" y="693"/>
                    <a:pt x="198" y="693"/>
                    <a:pt x="198" y="69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202" y="698"/>
                    <a:pt x="202" y="698"/>
                    <a:pt x="202" y="698"/>
                  </a:cubicBezTo>
                  <a:lnTo>
                    <a:pt x="200" y="696"/>
                  </a:lnTo>
                  <a:close/>
                  <a:moveTo>
                    <a:pt x="198" y="739"/>
                  </a:moveTo>
                  <a:cubicBezTo>
                    <a:pt x="195" y="736"/>
                    <a:pt x="195" y="736"/>
                    <a:pt x="195" y="736"/>
                  </a:cubicBezTo>
                  <a:cubicBezTo>
                    <a:pt x="195" y="740"/>
                    <a:pt x="195" y="740"/>
                    <a:pt x="195" y="740"/>
                  </a:cubicBezTo>
                  <a:lnTo>
                    <a:pt x="198" y="739"/>
                  </a:lnTo>
                  <a:close/>
                  <a:moveTo>
                    <a:pt x="266" y="598"/>
                  </a:moveTo>
                  <a:cubicBezTo>
                    <a:pt x="263" y="596"/>
                    <a:pt x="263" y="596"/>
                    <a:pt x="263" y="596"/>
                  </a:cubicBezTo>
                  <a:cubicBezTo>
                    <a:pt x="261" y="598"/>
                    <a:pt x="261" y="598"/>
                    <a:pt x="261" y="598"/>
                  </a:cubicBezTo>
                  <a:lnTo>
                    <a:pt x="266" y="598"/>
                  </a:lnTo>
                  <a:close/>
                  <a:moveTo>
                    <a:pt x="205" y="485"/>
                  </a:moveTo>
                  <a:cubicBezTo>
                    <a:pt x="206" y="482"/>
                    <a:pt x="206" y="482"/>
                    <a:pt x="206" y="482"/>
                  </a:cubicBezTo>
                  <a:cubicBezTo>
                    <a:pt x="202" y="479"/>
                    <a:pt x="202" y="479"/>
                    <a:pt x="202" y="479"/>
                  </a:cubicBezTo>
                  <a:cubicBezTo>
                    <a:pt x="200" y="482"/>
                    <a:pt x="200" y="482"/>
                    <a:pt x="200" y="482"/>
                  </a:cubicBezTo>
                  <a:lnTo>
                    <a:pt x="205" y="485"/>
                  </a:lnTo>
                  <a:close/>
                  <a:moveTo>
                    <a:pt x="199" y="439"/>
                  </a:moveTo>
                  <a:cubicBezTo>
                    <a:pt x="201" y="439"/>
                    <a:pt x="201" y="439"/>
                    <a:pt x="201" y="439"/>
                  </a:cubicBezTo>
                  <a:cubicBezTo>
                    <a:pt x="200" y="432"/>
                    <a:pt x="200" y="432"/>
                    <a:pt x="200" y="432"/>
                  </a:cubicBezTo>
                  <a:cubicBezTo>
                    <a:pt x="198" y="431"/>
                    <a:pt x="198" y="431"/>
                    <a:pt x="198" y="431"/>
                  </a:cubicBezTo>
                  <a:lnTo>
                    <a:pt x="199" y="439"/>
                  </a:lnTo>
                  <a:close/>
                  <a:moveTo>
                    <a:pt x="217" y="421"/>
                  </a:moveTo>
                  <a:cubicBezTo>
                    <a:pt x="216" y="419"/>
                    <a:pt x="216" y="419"/>
                    <a:pt x="216" y="419"/>
                  </a:cubicBezTo>
                  <a:cubicBezTo>
                    <a:pt x="214" y="419"/>
                    <a:pt x="214" y="419"/>
                    <a:pt x="214" y="419"/>
                  </a:cubicBezTo>
                  <a:cubicBezTo>
                    <a:pt x="214" y="421"/>
                    <a:pt x="214" y="421"/>
                    <a:pt x="214" y="421"/>
                  </a:cubicBezTo>
                  <a:cubicBezTo>
                    <a:pt x="214" y="425"/>
                    <a:pt x="214" y="425"/>
                    <a:pt x="214" y="425"/>
                  </a:cubicBezTo>
                  <a:lnTo>
                    <a:pt x="217" y="421"/>
                  </a:lnTo>
                  <a:close/>
                  <a:moveTo>
                    <a:pt x="220" y="411"/>
                  </a:moveTo>
                  <a:cubicBezTo>
                    <a:pt x="215" y="412"/>
                    <a:pt x="214" y="415"/>
                    <a:pt x="216" y="416"/>
                  </a:cubicBezTo>
                  <a:cubicBezTo>
                    <a:pt x="220" y="418"/>
                    <a:pt x="223" y="411"/>
                    <a:pt x="220" y="411"/>
                  </a:cubicBezTo>
                  <a:close/>
                  <a:moveTo>
                    <a:pt x="234" y="392"/>
                  </a:moveTo>
                  <a:cubicBezTo>
                    <a:pt x="232" y="384"/>
                    <a:pt x="232" y="384"/>
                    <a:pt x="232" y="384"/>
                  </a:cubicBezTo>
                  <a:cubicBezTo>
                    <a:pt x="231" y="393"/>
                    <a:pt x="231" y="393"/>
                    <a:pt x="231" y="393"/>
                  </a:cubicBezTo>
                  <a:lnTo>
                    <a:pt x="234" y="392"/>
                  </a:lnTo>
                  <a:close/>
                  <a:moveTo>
                    <a:pt x="294" y="340"/>
                  </a:moveTo>
                  <a:cubicBezTo>
                    <a:pt x="294" y="343"/>
                    <a:pt x="294" y="343"/>
                    <a:pt x="294" y="343"/>
                  </a:cubicBezTo>
                  <a:cubicBezTo>
                    <a:pt x="297" y="342"/>
                    <a:pt x="297" y="342"/>
                    <a:pt x="297" y="342"/>
                  </a:cubicBezTo>
                  <a:cubicBezTo>
                    <a:pt x="296" y="336"/>
                    <a:pt x="296" y="336"/>
                    <a:pt x="296" y="336"/>
                  </a:cubicBezTo>
                  <a:lnTo>
                    <a:pt x="294" y="340"/>
                  </a:lnTo>
                  <a:close/>
                  <a:moveTo>
                    <a:pt x="293" y="335"/>
                  </a:moveTo>
                  <a:cubicBezTo>
                    <a:pt x="290" y="340"/>
                    <a:pt x="294" y="336"/>
                    <a:pt x="294" y="336"/>
                  </a:cubicBezTo>
                  <a:cubicBezTo>
                    <a:pt x="296" y="333"/>
                    <a:pt x="295" y="331"/>
                    <a:pt x="293" y="335"/>
                  </a:cubicBezTo>
                  <a:close/>
                  <a:moveTo>
                    <a:pt x="298" y="236"/>
                  </a:moveTo>
                  <a:cubicBezTo>
                    <a:pt x="300" y="240"/>
                    <a:pt x="300" y="240"/>
                    <a:pt x="300" y="240"/>
                  </a:cubicBezTo>
                  <a:cubicBezTo>
                    <a:pt x="306" y="242"/>
                    <a:pt x="306" y="242"/>
                    <a:pt x="306" y="242"/>
                  </a:cubicBezTo>
                  <a:cubicBezTo>
                    <a:pt x="307" y="241"/>
                    <a:pt x="307" y="241"/>
                    <a:pt x="307" y="241"/>
                  </a:cubicBezTo>
                  <a:cubicBezTo>
                    <a:pt x="304" y="239"/>
                    <a:pt x="304" y="239"/>
                    <a:pt x="304" y="239"/>
                  </a:cubicBezTo>
                  <a:cubicBezTo>
                    <a:pt x="305" y="236"/>
                    <a:pt x="305" y="236"/>
                    <a:pt x="305" y="236"/>
                  </a:cubicBezTo>
                  <a:cubicBezTo>
                    <a:pt x="303" y="235"/>
                    <a:pt x="303" y="235"/>
                    <a:pt x="303" y="235"/>
                  </a:cubicBezTo>
                  <a:cubicBezTo>
                    <a:pt x="302" y="237"/>
                    <a:pt x="302" y="237"/>
                    <a:pt x="302" y="237"/>
                  </a:cubicBezTo>
                  <a:cubicBezTo>
                    <a:pt x="302" y="235"/>
                    <a:pt x="302" y="235"/>
                    <a:pt x="302" y="235"/>
                  </a:cubicBezTo>
                  <a:lnTo>
                    <a:pt x="298" y="236"/>
                  </a:lnTo>
                  <a:close/>
                  <a:moveTo>
                    <a:pt x="312" y="222"/>
                  </a:moveTo>
                  <a:cubicBezTo>
                    <a:pt x="315" y="226"/>
                    <a:pt x="315" y="226"/>
                    <a:pt x="315" y="226"/>
                  </a:cubicBezTo>
                  <a:cubicBezTo>
                    <a:pt x="314" y="221"/>
                    <a:pt x="314" y="221"/>
                    <a:pt x="314" y="221"/>
                  </a:cubicBezTo>
                  <a:lnTo>
                    <a:pt x="312" y="222"/>
                  </a:lnTo>
                  <a:close/>
                  <a:moveTo>
                    <a:pt x="320" y="227"/>
                  </a:moveTo>
                  <a:cubicBezTo>
                    <a:pt x="322" y="224"/>
                    <a:pt x="322" y="224"/>
                    <a:pt x="322" y="224"/>
                  </a:cubicBezTo>
                  <a:cubicBezTo>
                    <a:pt x="317" y="225"/>
                    <a:pt x="317" y="225"/>
                    <a:pt x="317" y="225"/>
                  </a:cubicBezTo>
                  <a:lnTo>
                    <a:pt x="320" y="227"/>
                  </a:lnTo>
                  <a:close/>
                  <a:moveTo>
                    <a:pt x="322" y="222"/>
                  </a:moveTo>
                  <a:cubicBezTo>
                    <a:pt x="326" y="222"/>
                    <a:pt x="326" y="222"/>
                    <a:pt x="326" y="222"/>
                  </a:cubicBezTo>
                  <a:cubicBezTo>
                    <a:pt x="326" y="221"/>
                    <a:pt x="326" y="221"/>
                    <a:pt x="326" y="221"/>
                  </a:cubicBezTo>
                  <a:cubicBezTo>
                    <a:pt x="322" y="220"/>
                    <a:pt x="322" y="220"/>
                    <a:pt x="322" y="220"/>
                  </a:cubicBezTo>
                  <a:lnTo>
                    <a:pt x="322" y="222"/>
                  </a:lnTo>
                  <a:close/>
                  <a:moveTo>
                    <a:pt x="325" y="217"/>
                  </a:moveTo>
                  <a:cubicBezTo>
                    <a:pt x="326" y="213"/>
                    <a:pt x="326" y="213"/>
                    <a:pt x="326" y="213"/>
                  </a:cubicBezTo>
                  <a:cubicBezTo>
                    <a:pt x="322" y="215"/>
                    <a:pt x="322" y="215"/>
                    <a:pt x="322" y="215"/>
                  </a:cubicBezTo>
                  <a:lnTo>
                    <a:pt x="325" y="217"/>
                  </a:lnTo>
                  <a:close/>
                  <a:moveTo>
                    <a:pt x="319" y="219"/>
                  </a:moveTo>
                  <a:cubicBezTo>
                    <a:pt x="317" y="218"/>
                    <a:pt x="315" y="219"/>
                    <a:pt x="315" y="219"/>
                  </a:cubicBezTo>
                  <a:cubicBezTo>
                    <a:pt x="315" y="219"/>
                    <a:pt x="314" y="220"/>
                    <a:pt x="316" y="221"/>
                  </a:cubicBezTo>
                  <a:cubicBezTo>
                    <a:pt x="319" y="221"/>
                    <a:pt x="320" y="220"/>
                    <a:pt x="319" y="219"/>
                  </a:cubicBezTo>
                  <a:close/>
                  <a:moveTo>
                    <a:pt x="354" y="202"/>
                  </a:moveTo>
                  <a:cubicBezTo>
                    <a:pt x="356" y="202"/>
                    <a:pt x="356" y="202"/>
                    <a:pt x="356" y="202"/>
                  </a:cubicBezTo>
                  <a:cubicBezTo>
                    <a:pt x="356" y="200"/>
                    <a:pt x="356" y="200"/>
                    <a:pt x="356" y="200"/>
                  </a:cubicBezTo>
                  <a:cubicBezTo>
                    <a:pt x="354" y="200"/>
                    <a:pt x="354" y="200"/>
                    <a:pt x="354" y="200"/>
                  </a:cubicBezTo>
                  <a:lnTo>
                    <a:pt x="354" y="20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F7636D6-9045-8046-846A-18BC3CC14DDE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3003689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Rectangle 185">
            <a:extLst>
              <a:ext uri="{FF2B5EF4-FFF2-40B4-BE49-F238E27FC236}">
                <a16:creationId xmlns:a16="http://schemas.microsoft.com/office/drawing/2014/main" id="{1B24D510-5F04-0D4B-B09A-D6FCD87783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Title 1">
            <a:extLst>
              <a:ext uri="{FF2B5EF4-FFF2-40B4-BE49-F238E27FC236}">
                <a16:creationId xmlns:a16="http://schemas.microsoft.com/office/drawing/2014/main" id="{B4E0AB8A-C16B-0643-9066-4140FF474C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Australia</a:t>
            </a:r>
            <a:endParaRPr lang="en-US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8D485D-A667-DC44-81C7-6C226C580FE2}"/>
              </a:ext>
            </a:extLst>
          </p:cNvPr>
          <p:cNvGrpSpPr/>
          <p:nvPr userDrawn="1"/>
        </p:nvGrpSpPr>
        <p:grpSpPr>
          <a:xfrm>
            <a:off x="5431819" y="436846"/>
            <a:ext cx="6482275" cy="6091887"/>
            <a:chOff x="4450184" y="1201437"/>
            <a:chExt cx="4115592" cy="3867735"/>
          </a:xfrm>
        </p:grpSpPr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53826" y="2119391"/>
              <a:ext cx="298048" cy="319287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40660" y="1760190"/>
              <a:ext cx="875119" cy="667601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44805" y="4165732"/>
              <a:ext cx="1020971" cy="903440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0184" y="1201437"/>
              <a:ext cx="2625353" cy="119732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83103" y="2231865"/>
              <a:ext cx="199754" cy="108847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33351" y="2409652"/>
              <a:ext cx="2282917" cy="244908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70960D-A87D-FC4E-BA86-5B8E0C3BBE6B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884864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3850"/>
            <a:ext cx="10934497" cy="55722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592263"/>
            <a:ext cx="3554209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Category Title here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5" y="2121145"/>
            <a:ext cx="3554205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white as the </a:t>
            </a:r>
            <a:r>
              <a:rPr lang="en-US" dirty="0" err="1"/>
              <a:t>colour</a:t>
            </a:r>
            <a:r>
              <a:rPr lang="en-US" dirty="0"/>
              <a:t> and place inside the blue circle.</a:t>
            </a:r>
          </a:p>
          <a:p>
            <a:r>
              <a:rPr lang="en-US" dirty="0"/>
              <a:t>Any unwanted Icons can be masked with a simple white box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4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5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4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FDD0A0D-4813-0442-B7A9-81BFB4829B0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697802F-0840-EE48-B35C-9CB300CE1D8F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Subtitle 2">
            <a:extLst>
              <a:ext uri="{FF2B5EF4-FFF2-40B4-BE49-F238E27FC236}">
                <a16:creationId xmlns:a16="http://schemas.microsoft.com/office/drawing/2014/main" id="{26402C3C-F59C-3A42-B015-2EA68FBF825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49524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CFCF589-AF37-934C-9D77-389344C39EC6}"/>
              </a:ext>
            </a:extLst>
          </p:cNvPr>
          <p:cNvSpPr/>
          <p:nvPr userDrawn="1"/>
        </p:nvSpPr>
        <p:spPr>
          <a:xfrm>
            <a:off x="4187824" y="0"/>
            <a:ext cx="8004175" cy="685800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9148"/>
            <a:ext cx="3322921" cy="8213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7" y="1592262"/>
            <a:ext cx="3321608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Copy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6" y="2121144"/>
            <a:ext cx="3321608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Kingspan Blue as the </a:t>
            </a:r>
            <a:r>
              <a:rPr lang="en-US" dirty="0" err="1"/>
              <a:t>colour</a:t>
            </a:r>
            <a:r>
              <a:rPr lang="en-US" dirty="0"/>
              <a:t> and place inside the white circle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2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3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3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BC67C90-EE5C-624B-803D-A24E2B956D1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9B69D5E-ED9C-544E-A604-69F54D7871C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Subtitle 2">
            <a:extLst>
              <a:ext uri="{FF2B5EF4-FFF2-40B4-BE49-F238E27FC236}">
                <a16:creationId xmlns:a16="http://schemas.microsoft.com/office/drawing/2014/main" id="{9C1708ED-C33A-E546-BF47-ADC82014D16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D0268A4-3A87-5D4C-AF1D-0FE814E58E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101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A0AD9CA-DD4F-6849-9EBD-847328BAD8DE}"/>
              </a:ext>
            </a:extLst>
          </p:cNvPr>
          <p:cNvSpPr/>
          <p:nvPr userDrawn="1"/>
        </p:nvSpPr>
        <p:spPr>
          <a:xfrm>
            <a:off x="890524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DBA820-B79F-8940-93B5-9A3B88CEEBE6}"/>
              </a:ext>
            </a:extLst>
          </p:cNvPr>
          <p:cNvSpPr/>
          <p:nvPr userDrawn="1"/>
        </p:nvSpPr>
        <p:spPr>
          <a:xfrm>
            <a:off x="27608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12DD1A3-2ECA-2941-93A2-23BA1BB974D6}"/>
              </a:ext>
            </a:extLst>
          </p:cNvPr>
          <p:cNvSpPr/>
          <p:nvPr userDrawn="1"/>
        </p:nvSpPr>
        <p:spPr>
          <a:xfrm>
            <a:off x="45896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4DA6F6B-A360-834A-B6A1-672292E771E1}"/>
              </a:ext>
            </a:extLst>
          </p:cNvPr>
          <p:cNvSpPr/>
          <p:nvPr userDrawn="1"/>
        </p:nvSpPr>
        <p:spPr>
          <a:xfrm>
            <a:off x="6489841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1162878-B24C-CB4E-82D5-450D8A9335EA}"/>
              </a:ext>
            </a:extLst>
          </p:cNvPr>
          <p:cNvSpPr/>
          <p:nvPr userDrawn="1"/>
        </p:nvSpPr>
        <p:spPr>
          <a:xfrm>
            <a:off x="8313789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4B2BB32-0183-9442-AD45-3D1F3A7510B4}"/>
              </a:ext>
            </a:extLst>
          </p:cNvPr>
          <p:cNvSpPr/>
          <p:nvPr userDrawn="1"/>
        </p:nvSpPr>
        <p:spPr>
          <a:xfrm>
            <a:off x="1016752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1566"/>
            <a:ext cx="10934496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8A2391B-7CB4-D048-93B2-01298DBE852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4797425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B9895C84-2A29-B648-9FCB-581D7A666A5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5265738"/>
            <a:ext cx="1725410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C4372F70-3F92-984D-A1D6-64A68A41CC4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491189" y="4797425"/>
            <a:ext cx="169663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11357760-943B-E346-879B-5120DFBB54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91189" y="5265738"/>
            <a:ext cx="169663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AB36158F-1BCC-9142-AC83-0549E61597E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29614" y="4797425"/>
            <a:ext cx="1694949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A6B674D9-7291-2045-937A-0C8BE04CBCD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29614" y="5265738"/>
            <a:ext cx="1694949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D345FC74-CE8E-024B-9255-A89BBBAAAF2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06540" y="4797425"/>
            <a:ext cx="1658034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77946A5A-2264-094F-849A-D29C2FE0346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06540" y="5265738"/>
            <a:ext cx="1658034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2B8AE223-BAE7-584D-B3CF-E89FCAF2D75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006465" y="4797425"/>
            <a:ext cx="171747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6FD89598-B46E-E149-80A9-FFF06C86794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006465" y="5265738"/>
            <a:ext cx="1717472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E9C16BF4-14AA-904F-8536-6397929D2C9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9873766" y="4797425"/>
            <a:ext cx="169434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D10C066C-33CD-ED43-90D0-B8F060FE81F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9873766" y="5265738"/>
            <a:ext cx="169434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8F9FF5E-F6CE-BD44-8EE0-5F95979213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C5920A3-68C0-0748-B9EC-F7A9A8E276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Subtitle 2">
            <a:extLst>
              <a:ext uri="{FF2B5EF4-FFF2-40B4-BE49-F238E27FC236}">
                <a16:creationId xmlns:a16="http://schemas.microsoft.com/office/drawing/2014/main" id="{496FCA75-A150-5D4F-9612-55D226FB00C1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388528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09600" y="1510584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9C2F46-1389-2049-AB66-BA0E4767FF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814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05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E0753F-4CF5-0249-99E2-78D9368551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29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A191C85-8222-C049-9D1C-4D066189C0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65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80083D-ED1D-A14E-AB59-11EE03FDC6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6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01CB732-A621-8440-A42B-A3E72ABEF6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60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14E8BA2-96AA-D443-B26D-17071E7390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80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Planet Passionat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9DDE4E-439C-584A-9367-471280FC2F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427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2D56AAE-6755-884D-9729-A3748131BB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561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A39A48A-1B62-F642-8CA6-53864C1F171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EB265DC-753B-A04E-AEED-322969FA79D3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Subtitle 2">
            <a:extLst>
              <a:ext uri="{FF2B5EF4-FFF2-40B4-BE49-F238E27FC236}">
                <a16:creationId xmlns:a16="http://schemas.microsoft.com/office/drawing/2014/main" id="{FBA345E0-EE21-5C40-9A9E-7CBADF7B171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95459B0-3CE0-F742-A537-8BB9245B20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240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683EF78-36EB-B347-8002-51E747491F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779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9615A174-4F8A-2F4B-9A8E-80A3491D38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476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7CF87F0-7E8F-904C-8D99-7DBEEF328B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204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6E69647-C502-C441-87EF-3977815DA1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544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B8647F-9952-F446-B6D5-8D7125A485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901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589FAB-72DB-3C47-8A59-E513229C35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281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56A60E4-0332-914F-93F8-9A7AA90937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433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8B147F-3449-9841-98AE-A51B6A4FB3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06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719F52-3F4D-094F-A7E3-CAB8AD389D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639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F9FCBF-D3C7-5348-A691-5634596B90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036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C036A99-9230-1D44-BD35-B76E66776C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033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F004747-33C9-704E-A2E6-F4C6141C8D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627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0E04F-D46A-C744-A629-DAA67A0816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920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35017B9-77BC-284B-A42C-A296E825A7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074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260227-57F8-2644-B85D-64F25A1789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060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8FD18CE-A7CC-0342-99A8-D08B8CBC5F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412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BB4072D-3150-684F-96E4-3E2B94E27921}"/>
              </a:ext>
            </a:extLst>
          </p:cNvPr>
          <p:cNvGrpSpPr/>
          <p:nvPr userDrawn="1"/>
        </p:nvGrpSpPr>
        <p:grpSpPr>
          <a:xfrm>
            <a:off x="374053" y="-12529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0D6FCC16-AC36-7B41-9B9B-3B1A96FD6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4262DF0-E744-6041-AAE9-9D127B7A9AC3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lerts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D6B311C-FDD8-7A4A-9E1B-4E8579537454}"/>
              </a:ext>
            </a:extLst>
          </p:cNvPr>
          <p:cNvGrpSpPr/>
          <p:nvPr userDrawn="1"/>
        </p:nvGrpSpPr>
        <p:grpSpPr>
          <a:xfrm>
            <a:off x="8541224" y="3305151"/>
            <a:ext cx="1580322" cy="1608757"/>
            <a:chOff x="5750970" y="2169250"/>
            <a:chExt cx="1580322" cy="1608757"/>
          </a:xfrm>
        </p:grpSpPr>
        <p:pic>
          <p:nvPicPr>
            <p:cNvPr id="174" name="Picture 173" descr="A close up of a logo&#10;&#10;Description automatically generated">
              <a:extLst>
                <a:ext uri="{FF2B5EF4-FFF2-40B4-BE49-F238E27FC236}">
                  <a16:creationId xmlns:a16="http://schemas.microsoft.com/office/drawing/2014/main" id="{545988BF-965C-AA47-9425-0D6D6D39B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535BD7F4-24A1-0747-87AF-EF4D15762673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se Study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5088489E-7174-F243-A7AA-497CA2725050}"/>
              </a:ext>
            </a:extLst>
          </p:cNvPr>
          <p:cNvGrpSpPr/>
          <p:nvPr userDrawn="1"/>
        </p:nvGrpSpPr>
        <p:grpSpPr>
          <a:xfrm>
            <a:off x="5767441" y="1746216"/>
            <a:ext cx="1580322" cy="1715119"/>
            <a:chOff x="367748" y="405538"/>
            <a:chExt cx="1580322" cy="1715119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9684B06A-814D-4241-89C0-3A6DA490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93807C27-7A76-734F-9F6C-D956CCFA4A62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</a:t>
              </a:r>
            </a:p>
            <a:p>
              <a:pPr algn="ctr"/>
              <a:r>
                <a:rPr lang="en-US" sz="1200" dirty="0"/>
                <a:t>Service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064A34D-C51B-FA46-AAF8-C7D071096ECE}"/>
              </a:ext>
            </a:extLst>
          </p:cNvPr>
          <p:cNvGrpSpPr/>
          <p:nvPr userDrawn="1"/>
        </p:nvGrpSpPr>
        <p:grpSpPr>
          <a:xfrm>
            <a:off x="5773190" y="-28593"/>
            <a:ext cx="1580322" cy="1566045"/>
            <a:chOff x="367748" y="2169250"/>
            <a:chExt cx="1580322" cy="1566045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95E333A6-653E-F645-8071-A8B53C73A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E3DF9503-1188-EF42-874E-90566CC4A8DD}"/>
                </a:ext>
              </a:extLst>
            </p:cNvPr>
            <p:cNvSpPr txBox="1"/>
            <p:nvPr/>
          </p:nvSpPr>
          <p:spPr>
            <a:xfrm>
              <a:off x="367748" y="345829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rand DNA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89866316-E303-0344-BE71-8D9017A98606}"/>
              </a:ext>
            </a:extLst>
          </p:cNvPr>
          <p:cNvGrpSpPr/>
          <p:nvPr userDrawn="1"/>
        </p:nvGrpSpPr>
        <p:grpSpPr>
          <a:xfrm>
            <a:off x="7138849" y="1746216"/>
            <a:ext cx="1580322" cy="1553763"/>
            <a:chOff x="5750970" y="2169250"/>
            <a:chExt cx="1580322" cy="155376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E241773-9743-8D49-ACAA-E64CE7684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46513CAC-B56C-2E49-BFC1-44A1F6A2B074}"/>
                </a:ext>
              </a:extLst>
            </p:cNvPr>
            <p:cNvSpPr txBox="1"/>
            <p:nvPr/>
          </p:nvSpPr>
          <p:spPr>
            <a:xfrm>
              <a:off x="5750970" y="344601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llaboration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7AD6A17-ED90-6547-A570-1EAE684B017F}"/>
              </a:ext>
            </a:extLst>
          </p:cNvPr>
          <p:cNvGrpSpPr/>
          <p:nvPr userDrawn="1"/>
        </p:nvGrpSpPr>
        <p:grpSpPr>
          <a:xfrm>
            <a:off x="390557" y="3313364"/>
            <a:ext cx="1580322" cy="1537449"/>
            <a:chOff x="9480376" y="3968750"/>
            <a:chExt cx="1580322" cy="1537449"/>
          </a:xfrm>
        </p:grpSpPr>
        <p:pic>
          <p:nvPicPr>
            <p:cNvPr id="186" name="Picture 18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B6D36BF-1E77-B047-A477-9B1A19440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5CDFDBC-E158-B549-BB68-75DB5E0F1ED6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act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8D4F745E-0219-0346-8DD9-592D94CD0F1A}"/>
              </a:ext>
            </a:extLst>
          </p:cNvPr>
          <p:cNvGrpSpPr/>
          <p:nvPr userDrawn="1"/>
        </p:nvGrpSpPr>
        <p:grpSpPr>
          <a:xfrm>
            <a:off x="7155839" y="-23657"/>
            <a:ext cx="1580322" cy="1537586"/>
            <a:chOff x="5750970" y="3968613"/>
            <a:chExt cx="1580322" cy="1537586"/>
          </a:xfrm>
        </p:grpSpPr>
        <p:pic>
          <p:nvPicPr>
            <p:cNvPr id="189" name="Picture 188" descr="A close up of a logo&#10;&#10;Description automatically generated">
              <a:extLst>
                <a:ext uri="{FF2B5EF4-FFF2-40B4-BE49-F238E27FC236}">
                  <a16:creationId xmlns:a16="http://schemas.microsoft.com/office/drawing/2014/main" id="{5BEC7397-EA5B-8047-8142-35A4E2846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E0E91293-FA98-274D-A2CA-30660D44AC83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acteria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FF8C05F-938E-3540-AE08-1D6175D46C00}"/>
              </a:ext>
            </a:extLst>
          </p:cNvPr>
          <p:cNvGrpSpPr/>
          <p:nvPr userDrawn="1"/>
        </p:nvGrpSpPr>
        <p:grpSpPr>
          <a:xfrm>
            <a:off x="1627715" y="3302734"/>
            <a:ext cx="1580322" cy="1740157"/>
            <a:chOff x="7667309" y="2169250"/>
            <a:chExt cx="1580322" cy="1740157"/>
          </a:xfrm>
        </p:grpSpPr>
        <p:pic>
          <p:nvPicPr>
            <p:cNvPr id="192" name="Picture 191" descr="A close up of a sign&#10;&#10;Description automatically generated">
              <a:extLst>
                <a:ext uri="{FF2B5EF4-FFF2-40B4-BE49-F238E27FC236}">
                  <a16:creationId xmlns:a16="http://schemas.microsoft.com/office/drawing/2014/main" id="{2BE03BB0-45C2-824D-9534-7FAB7C4E66C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D4D9A9BA-AAC4-B544-A6DC-868CB55D999B}"/>
                </a:ext>
              </a:extLst>
            </p:cNvPr>
            <p:cNvSpPr txBox="1"/>
            <p:nvPr/>
          </p:nvSpPr>
          <p:spPr>
            <a:xfrm>
              <a:off x="7667309" y="344774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liant Solution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56138BC7-748A-D049-82ED-CAE61EC15437}"/>
              </a:ext>
            </a:extLst>
          </p:cNvPr>
          <p:cNvGrpSpPr/>
          <p:nvPr userDrawn="1"/>
        </p:nvGrpSpPr>
        <p:grpSpPr>
          <a:xfrm>
            <a:off x="374053" y="1763790"/>
            <a:ext cx="1580322" cy="1530453"/>
            <a:chOff x="367748" y="405538"/>
            <a:chExt cx="1580322" cy="1530453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64632124-D98E-4C47-B909-97AA1F99C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561DC6A-9438-874F-AA4C-5AEC225CF95B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lendar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588EF020-AE7A-2B48-9265-38C1075295F9}"/>
              </a:ext>
            </a:extLst>
          </p:cNvPr>
          <p:cNvGrpSpPr/>
          <p:nvPr userDrawn="1"/>
        </p:nvGrpSpPr>
        <p:grpSpPr>
          <a:xfrm>
            <a:off x="1637039" y="1750338"/>
            <a:ext cx="1580322" cy="1530453"/>
            <a:chOff x="2063552" y="405538"/>
            <a:chExt cx="1580322" cy="1530453"/>
          </a:xfrm>
        </p:grpSpPr>
        <p:pic>
          <p:nvPicPr>
            <p:cNvPr id="198" name="Picture 197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16375AE-E24C-3744-9A70-E2C84CEEB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35A4F2E9-4BE7-1E4B-B530-BC1CD4ADCE1C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art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910D802-A6C8-274C-9C65-47AFAC4CFE8B}"/>
              </a:ext>
            </a:extLst>
          </p:cNvPr>
          <p:cNvGrpSpPr/>
          <p:nvPr userDrawn="1"/>
        </p:nvGrpSpPr>
        <p:grpSpPr>
          <a:xfrm>
            <a:off x="1643847" y="-28593"/>
            <a:ext cx="1580322" cy="1722252"/>
            <a:chOff x="367748" y="3968613"/>
            <a:chExt cx="1580322" cy="1722252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2B8E77AE-2D9B-4A47-8684-1C0D40558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613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7C81AE6-3996-7647-A9B4-8438B7CFC46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ccredited Installer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08690EF9-DDDF-1F40-818B-75754B172961}"/>
              </a:ext>
            </a:extLst>
          </p:cNvPr>
          <p:cNvGrpSpPr/>
          <p:nvPr userDrawn="1"/>
        </p:nvGrpSpPr>
        <p:grpSpPr>
          <a:xfrm>
            <a:off x="3000586" y="1746216"/>
            <a:ext cx="1580322" cy="1537449"/>
            <a:chOff x="5750970" y="3968750"/>
            <a:chExt cx="1580322" cy="1537449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6594CE0C-26AF-A047-A3D6-A9C611F7E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1164C9F6-C764-5E40-B736-75839445A2D1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unication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FCA607D7-2C8C-3D4B-B351-BBA093EE00BE}"/>
              </a:ext>
            </a:extLst>
          </p:cNvPr>
          <p:cNvGrpSpPr/>
          <p:nvPr userDrawn="1"/>
        </p:nvGrpSpPr>
        <p:grpSpPr>
          <a:xfrm>
            <a:off x="4369981" y="1746216"/>
            <a:ext cx="1580322" cy="1537586"/>
            <a:chOff x="7667309" y="3968613"/>
            <a:chExt cx="1580322" cy="1537586"/>
          </a:xfrm>
        </p:grpSpPr>
        <p:pic>
          <p:nvPicPr>
            <p:cNvPr id="207" name="Picture 206" descr="A close up of a sign&#10;&#10;Description automatically generated">
              <a:extLst>
                <a:ext uri="{FF2B5EF4-FFF2-40B4-BE49-F238E27FC236}">
                  <a16:creationId xmlns:a16="http://schemas.microsoft.com/office/drawing/2014/main" id="{A290880F-F450-4B44-9E67-E63D21ABC8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4CE1E15B-D5EC-FB44-95DA-0FE4DCD2172E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ed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DA3EF250-8F71-4F44-B1B0-3FFF284AD16D}"/>
              </a:ext>
            </a:extLst>
          </p:cNvPr>
          <p:cNvGrpSpPr/>
          <p:nvPr userDrawn="1"/>
        </p:nvGrpSpPr>
        <p:grpSpPr>
          <a:xfrm>
            <a:off x="4378756" y="3320360"/>
            <a:ext cx="1580322" cy="1530453"/>
            <a:chOff x="5750970" y="405538"/>
            <a:chExt cx="1580322" cy="1530453"/>
          </a:xfrm>
        </p:grpSpPr>
        <p:pic>
          <p:nvPicPr>
            <p:cNvPr id="210" name="Picture 209" descr="A close up of a sign&#10;&#10;Description automatically generated">
              <a:extLst>
                <a:ext uri="{FF2B5EF4-FFF2-40B4-BE49-F238E27FC236}">
                  <a16:creationId xmlns:a16="http://schemas.microsoft.com/office/drawing/2014/main" id="{BBF960DB-5E07-EB4D-BC48-1A5EF2910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A6D742A9-6A61-054A-9CDC-5E9FA42210F8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cate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DFAEBC59-2894-9C47-8523-D8693974B992}"/>
              </a:ext>
            </a:extLst>
          </p:cNvPr>
          <p:cNvGrpSpPr/>
          <p:nvPr userDrawn="1"/>
        </p:nvGrpSpPr>
        <p:grpSpPr>
          <a:xfrm>
            <a:off x="8534296" y="1742769"/>
            <a:ext cx="1580322" cy="1564192"/>
            <a:chOff x="2063552" y="2169250"/>
            <a:chExt cx="1580322" cy="1564192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F922517B-CA2F-6346-B1BA-B6F47E903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5FE21AD-85C6-D345-9A10-7B46BEA32814}"/>
                </a:ext>
              </a:extLst>
            </p:cNvPr>
            <p:cNvSpPr txBox="1"/>
            <p:nvPr/>
          </p:nvSpPr>
          <p:spPr>
            <a:xfrm>
              <a:off x="2063552" y="345644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B8F8ED8-D362-9043-A3D6-7462ACC1CE05}"/>
              </a:ext>
            </a:extLst>
          </p:cNvPr>
          <p:cNvGrpSpPr/>
          <p:nvPr userDrawn="1"/>
        </p:nvGrpSpPr>
        <p:grpSpPr>
          <a:xfrm>
            <a:off x="3004181" y="-22880"/>
            <a:ext cx="1580322" cy="1544397"/>
            <a:chOff x="9480376" y="2169250"/>
            <a:chExt cx="1580322" cy="1544397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F1BAC1CF-C9BB-2D4F-9500-7BB40CF84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D6299A57-6EF6-664C-BE40-A9AACB5631BD}"/>
                </a:ext>
              </a:extLst>
            </p:cNvPr>
            <p:cNvSpPr txBox="1"/>
            <p:nvPr/>
          </p:nvSpPr>
          <p:spPr>
            <a:xfrm>
              <a:off x="9480376" y="343664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d Blu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A917B2A9-4483-0C4E-B212-56D00A07DDEC}"/>
              </a:ext>
            </a:extLst>
          </p:cNvPr>
          <p:cNvGrpSpPr/>
          <p:nvPr userDrawn="1"/>
        </p:nvGrpSpPr>
        <p:grpSpPr>
          <a:xfrm>
            <a:off x="3001276" y="3313364"/>
            <a:ext cx="1580322" cy="1537449"/>
            <a:chOff x="5750970" y="3968750"/>
            <a:chExt cx="1580322" cy="1537449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CBA9383E-7B9F-B647-A0C8-4D320BE8F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AC9539E8-2107-DC4D-9FEA-ED7CB940FDF8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ivils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57A30889-B007-AD40-85E4-F6F17A1F1D52}"/>
              </a:ext>
            </a:extLst>
          </p:cNvPr>
          <p:cNvGrpSpPr/>
          <p:nvPr userDrawn="1"/>
        </p:nvGrpSpPr>
        <p:grpSpPr>
          <a:xfrm>
            <a:off x="5767441" y="3302734"/>
            <a:ext cx="1580322" cy="1722252"/>
            <a:chOff x="7667309" y="3968613"/>
            <a:chExt cx="1580322" cy="1722252"/>
          </a:xfrm>
        </p:grpSpPr>
        <p:pic>
          <p:nvPicPr>
            <p:cNvPr id="222" name="Picture 221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8D68CAAC-0F8A-3248-B6FC-B6C507489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73A02D73-85E4-D54E-B75C-5B46FFAF3D1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 </a:t>
              </a:r>
              <a:br>
                <a:rPr lang="en-US" sz="1200" dirty="0"/>
              </a:br>
              <a:r>
                <a:rPr lang="en-US" sz="1200" dirty="0"/>
                <a:t>Focu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C6939DA3-B198-C44D-A756-96A1E60EB82A}"/>
              </a:ext>
            </a:extLst>
          </p:cNvPr>
          <p:cNvGrpSpPr/>
          <p:nvPr userDrawn="1"/>
        </p:nvGrpSpPr>
        <p:grpSpPr>
          <a:xfrm>
            <a:off x="7141403" y="3313364"/>
            <a:ext cx="1580322" cy="1746998"/>
            <a:chOff x="5750970" y="2169250"/>
            <a:chExt cx="1580322" cy="1746998"/>
          </a:xfrm>
        </p:grpSpPr>
        <p:pic>
          <p:nvPicPr>
            <p:cNvPr id="225" name="Picture 224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4708964-CE3F-9D48-8BBA-2CFD73C8D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B23F0FC8-6B3E-0944-9F32-860C86EFC6FA}"/>
                </a:ext>
              </a:extLst>
            </p:cNvPr>
            <p:cNvSpPr txBox="1"/>
            <p:nvPr/>
          </p:nvSpPr>
          <p:spPr>
            <a:xfrm>
              <a:off x="5750970" y="345458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Containerised</a:t>
              </a:r>
              <a:r>
                <a:rPr lang="en-US" sz="1200" dirty="0"/>
                <a:t> Design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D8D3B16F-07A5-B944-A6E5-5DC37CA04E3C}"/>
              </a:ext>
            </a:extLst>
          </p:cNvPr>
          <p:cNvGrpSpPr/>
          <p:nvPr userDrawn="1"/>
        </p:nvGrpSpPr>
        <p:grpSpPr>
          <a:xfrm>
            <a:off x="4369981" y="-14955"/>
            <a:ext cx="1580322" cy="1537586"/>
            <a:chOff x="2063552" y="3968613"/>
            <a:chExt cx="1580322" cy="1537586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2788A875-5726-6B42-B1D9-4DAF20BCC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28B723FF-C4D0-5245-B84D-8D72732425F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gricultur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5EFF25D9-F93F-7148-9B95-038D2822567D}"/>
              </a:ext>
            </a:extLst>
          </p:cNvPr>
          <p:cNvGrpSpPr/>
          <p:nvPr userDrawn="1"/>
        </p:nvGrpSpPr>
        <p:grpSpPr>
          <a:xfrm>
            <a:off x="8541224" y="-26646"/>
            <a:ext cx="1580322" cy="1565539"/>
            <a:chOff x="7667309" y="405538"/>
            <a:chExt cx="1580322" cy="1565539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E4A0CF04-4EC5-814B-9421-725F8B1E1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2E0C3064-CD98-1B45-A64E-168C14E6084B}"/>
                </a:ext>
              </a:extLst>
            </p:cNvPr>
            <p:cNvSpPr txBox="1"/>
            <p:nvPr/>
          </p:nvSpPr>
          <p:spPr>
            <a:xfrm>
              <a:off x="7667309" y="169407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us Stop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A640E644-110F-8C49-9371-6D9238ABE916}"/>
              </a:ext>
            </a:extLst>
          </p:cNvPr>
          <p:cNvGrpSpPr/>
          <p:nvPr userDrawn="1"/>
        </p:nvGrpSpPr>
        <p:grpSpPr>
          <a:xfrm>
            <a:off x="9960528" y="3320360"/>
            <a:ext cx="1580322" cy="1740001"/>
            <a:chOff x="2063552" y="2169250"/>
            <a:chExt cx="1580322" cy="174000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838E1618-59F8-FD4E-A284-7D0B04246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3EB45999-6401-CD4F-A88E-21C4FB74114C}"/>
                </a:ext>
              </a:extLst>
            </p:cNvPr>
            <p:cNvSpPr txBox="1"/>
            <p:nvPr/>
          </p:nvSpPr>
          <p:spPr>
            <a:xfrm>
              <a:off x="2063552" y="344758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centration Less Than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211471AA-4E2C-6045-8300-C5AAE621AEE5}"/>
              </a:ext>
            </a:extLst>
          </p:cNvPr>
          <p:cNvGrpSpPr/>
          <p:nvPr userDrawn="1"/>
        </p:nvGrpSpPr>
        <p:grpSpPr>
          <a:xfrm>
            <a:off x="9954108" y="1742769"/>
            <a:ext cx="1580322" cy="1537449"/>
            <a:chOff x="367748" y="3968750"/>
            <a:chExt cx="1580322" cy="1537449"/>
          </a:xfrm>
        </p:grpSpPr>
        <p:pic>
          <p:nvPicPr>
            <p:cNvPr id="237" name="Picture 236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22C9C45-18CD-7A42-922D-4ED8DAE8A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5500F41A-2337-484C-8F87-3EFC5157C48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rols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5E2A23B-F9F0-2249-A919-88854DE225BB}"/>
              </a:ext>
            </a:extLst>
          </p:cNvPr>
          <p:cNvGrpSpPr/>
          <p:nvPr userDrawn="1"/>
        </p:nvGrpSpPr>
        <p:grpSpPr>
          <a:xfrm>
            <a:off x="9954108" y="-24119"/>
            <a:ext cx="1580322" cy="1566138"/>
            <a:chOff x="367748" y="2169250"/>
            <a:chExt cx="1580322" cy="1566138"/>
          </a:xfrm>
        </p:grpSpPr>
        <p:pic>
          <p:nvPicPr>
            <p:cNvPr id="240" name="Picture 23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7790CCC-4BC9-994E-B5EC-2E60C341C7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C9E76F3C-BBAC-5845-B4C8-74EA95D89503}"/>
                </a:ext>
              </a:extLst>
            </p:cNvPr>
            <p:cNvSpPr txBox="1"/>
            <p:nvPr/>
          </p:nvSpPr>
          <p:spPr>
            <a:xfrm>
              <a:off x="367748" y="345838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A93816-B89C-4948-9307-37A1BA81EE01}"/>
              </a:ext>
            </a:extLst>
          </p:cNvPr>
          <p:cNvGrpSpPr/>
          <p:nvPr userDrawn="1"/>
        </p:nvGrpSpPr>
        <p:grpSpPr>
          <a:xfrm>
            <a:off x="7143380" y="5092727"/>
            <a:ext cx="1580322" cy="1806074"/>
            <a:chOff x="3896140" y="3968613"/>
            <a:chExt cx="1580322" cy="1806074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AAF03E1D-6D2B-CC42-810D-332EBE69A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3968613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B280E7F6-3DD1-DB4C-A9D3-245B50D94576}"/>
                </a:ext>
              </a:extLst>
            </p:cNvPr>
            <p:cNvSpPr txBox="1"/>
            <p:nvPr/>
          </p:nvSpPr>
          <p:spPr>
            <a:xfrm>
              <a:off x="3896140" y="531302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uble </a:t>
              </a:r>
              <a:br>
                <a:rPr lang="en-US" sz="1200" dirty="0"/>
              </a:br>
              <a:r>
                <a:rPr lang="en-US" sz="1200" dirty="0"/>
                <a:t>Bunded Tank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1160E0BC-312B-5749-8E2C-788C647D52D7}"/>
              </a:ext>
            </a:extLst>
          </p:cNvPr>
          <p:cNvGrpSpPr/>
          <p:nvPr userDrawn="1"/>
        </p:nvGrpSpPr>
        <p:grpSpPr>
          <a:xfrm>
            <a:off x="8535621" y="5084886"/>
            <a:ext cx="1580322" cy="1608757"/>
            <a:chOff x="7667309" y="2169250"/>
            <a:chExt cx="1580322" cy="1608757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4BEA655A-CE87-DB47-A33B-39D7B43F0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0189D3BC-84F9-1C43-AF9C-F6C71B68E32C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sign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6C2E3B41-B23F-1140-B5DE-19AE0335E465}"/>
              </a:ext>
            </a:extLst>
          </p:cNvPr>
          <p:cNvGrpSpPr/>
          <p:nvPr userDrawn="1"/>
        </p:nvGrpSpPr>
        <p:grpSpPr>
          <a:xfrm>
            <a:off x="367748" y="5076640"/>
            <a:ext cx="1580322" cy="1608757"/>
            <a:chOff x="367748" y="2169250"/>
            <a:chExt cx="1580322" cy="1608757"/>
          </a:xfrm>
        </p:grpSpPr>
        <p:pic>
          <p:nvPicPr>
            <p:cNvPr id="249" name="Picture 24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9CD3CFDD-9B01-1944-90CC-690882E16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B77E6B8C-3EEE-4A4C-B119-88D10C831E79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3080C162-9ACA-9649-AAA4-E3919FA0CE94}"/>
              </a:ext>
            </a:extLst>
          </p:cNvPr>
          <p:cNvGrpSpPr/>
          <p:nvPr userDrawn="1"/>
        </p:nvGrpSpPr>
        <p:grpSpPr>
          <a:xfrm>
            <a:off x="2989227" y="5076640"/>
            <a:ext cx="1580322" cy="1608757"/>
            <a:chOff x="3896140" y="2169250"/>
            <a:chExt cx="1580322" cy="1608757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BA99FADF-C9C2-744B-ABD7-2E0E24957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D9DEAC2-E13E-DB45-A6EF-B3096BAF7954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mpsit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4E0500C9-7689-B441-9E80-8B1C10481232}"/>
              </a:ext>
            </a:extLst>
          </p:cNvPr>
          <p:cNvGrpSpPr/>
          <p:nvPr userDrawn="1"/>
        </p:nvGrpSpPr>
        <p:grpSpPr>
          <a:xfrm>
            <a:off x="1625854" y="5080465"/>
            <a:ext cx="1580322" cy="1587504"/>
            <a:chOff x="3896140" y="3968750"/>
            <a:chExt cx="1580322" cy="1587504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A390A808-7B12-DD4F-A3E1-6CDEFC9DF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14D3C6B5-5606-3A4D-A141-6F4FD65FCFB9}"/>
                </a:ext>
              </a:extLst>
            </p:cNvPr>
            <p:cNvSpPr txBox="1"/>
            <p:nvPr/>
          </p:nvSpPr>
          <p:spPr>
            <a:xfrm>
              <a:off x="3896140" y="527925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truction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340B1088-F5C2-A94E-B775-3FF347DFDE02}"/>
              </a:ext>
            </a:extLst>
          </p:cNvPr>
          <p:cNvGrpSpPr/>
          <p:nvPr userDrawn="1"/>
        </p:nvGrpSpPr>
        <p:grpSpPr>
          <a:xfrm>
            <a:off x="5771791" y="5084886"/>
            <a:ext cx="1580322" cy="1608757"/>
            <a:chOff x="367748" y="2169250"/>
            <a:chExt cx="1580322" cy="1608757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F3160-7693-B647-AAD3-A5F94A711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0B8FD068-3704-A245-A241-3C8A27766E0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 Service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739299A-FCC2-C040-95C6-C2EC211988EB}"/>
              </a:ext>
            </a:extLst>
          </p:cNvPr>
          <p:cNvGrpSpPr/>
          <p:nvPr userDrawn="1"/>
        </p:nvGrpSpPr>
        <p:grpSpPr>
          <a:xfrm>
            <a:off x="4380509" y="5076640"/>
            <a:ext cx="1580322" cy="1608757"/>
            <a:chOff x="367748" y="2169250"/>
            <a:chExt cx="1580322" cy="1608757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8A7E159B-B9AF-4149-A50F-9D2CE9CF7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C576CB03-2114-7D4E-B4F0-4283DF40847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acts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CEBABC10-0D3B-3E4B-9843-901E63CE1B78}"/>
              </a:ext>
            </a:extLst>
          </p:cNvPr>
          <p:cNvGrpSpPr/>
          <p:nvPr userDrawn="1"/>
        </p:nvGrpSpPr>
        <p:grpSpPr>
          <a:xfrm>
            <a:off x="9976412" y="5084886"/>
            <a:ext cx="1580322" cy="1793423"/>
            <a:chOff x="3896140" y="405538"/>
            <a:chExt cx="1580322" cy="179342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1038D68E-F995-FD46-BFDA-8976A03C1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D1593DD-E3EB-7144-8247-78BA446326BD}"/>
                </a:ext>
              </a:extLst>
            </p:cNvPr>
            <p:cNvSpPr txBox="1"/>
            <p:nvPr/>
          </p:nvSpPr>
          <p:spPr>
            <a:xfrm>
              <a:off x="3896140" y="173729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Water 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4377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08C281-9C7A-294A-87E1-B2464303E763}"/>
              </a:ext>
            </a:extLst>
          </p:cNvPr>
          <p:cNvSpPr/>
          <p:nvPr userDrawn="1"/>
        </p:nvSpPr>
        <p:spPr>
          <a:xfrm>
            <a:off x="0" y="1"/>
            <a:ext cx="12181021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9" y="1745140"/>
            <a:ext cx="3527424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12113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8023"/>
            <a:ext cx="10934489" cy="54303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49577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E4BDEA-9ED9-9E4A-8299-1ED7EDA0B7BE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530DB3-6D36-8245-B9A4-DFAB045921B8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44A662-5109-9E46-BA25-7B6A075E7F85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C6B76F-1E4F-AC47-9415-689DE31A47F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168B1D-3168-D940-8927-A3A5BAAAFAF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Subtitle 2">
            <a:extLst>
              <a:ext uri="{FF2B5EF4-FFF2-40B4-BE49-F238E27FC236}">
                <a16:creationId xmlns:a16="http://schemas.microsoft.com/office/drawing/2014/main" id="{A69FF014-B939-B84A-B950-4DB7547889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B58088-83A5-AD46-ACC2-6FB2290F56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398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50221498-D76C-9D46-8117-7D1CD9CCFD9D}"/>
              </a:ext>
            </a:extLst>
          </p:cNvPr>
          <p:cNvGrpSpPr/>
          <p:nvPr userDrawn="1"/>
        </p:nvGrpSpPr>
        <p:grpSpPr>
          <a:xfrm>
            <a:off x="4380509" y="0"/>
            <a:ext cx="1580322" cy="1530453"/>
            <a:chOff x="3896140" y="405538"/>
            <a:chExt cx="1580322" cy="1530453"/>
          </a:xfrm>
        </p:grpSpPr>
        <p:pic>
          <p:nvPicPr>
            <p:cNvPr id="171" name="Picture 17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B4151B7-F01F-374F-8B4D-364EFD86D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D03FE6D7-884E-4346-A059-29EF66582267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rop Alert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2A0DFDF4-CB46-E44C-8524-19425DC1D40E}"/>
              </a:ext>
            </a:extLst>
          </p:cNvPr>
          <p:cNvGrpSpPr/>
          <p:nvPr userDrawn="1"/>
        </p:nvGrpSpPr>
        <p:grpSpPr>
          <a:xfrm>
            <a:off x="3002939" y="17780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8151A87E-6F08-4549-8747-60C02D058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3814486B-6A38-C94F-9F28-F6AD94B777BD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wnload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6327C041-6C19-0D40-8131-83A9E8761B0D}"/>
              </a:ext>
            </a:extLst>
          </p:cNvPr>
          <p:cNvGrpSpPr/>
          <p:nvPr userDrawn="1"/>
        </p:nvGrpSpPr>
        <p:grpSpPr>
          <a:xfrm>
            <a:off x="5765810" y="4526"/>
            <a:ext cx="1580322" cy="1521875"/>
            <a:chOff x="3896140" y="2169250"/>
            <a:chExt cx="1580322" cy="152187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5B6E4E08-78D2-5047-A763-15DD8BA7F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67DAD732-6E72-6F49-AEEA-EB1DCA3ABA02}"/>
                </a:ext>
              </a:extLst>
            </p:cNvPr>
            <p:cNvSpPr txBox="1"/>
            <p:nvPr/>
          </p:nvSpPr>
          <p:spPr>
            <a:xfrm>
              <a:off x="3896140" y="341412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livery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7BAF2BF-FC4F-7A47-931E-C102C8E4ED68}"/>
              </a:ext>
            </a:extLst>
          </p:cNvPr>
          <p:cNvGrpSpPr/>
          <p:nvPr userDrawn="1"/>
        </p:nvGrpSpPr>
        <p:grpSpPr>
          <a:xfrm>
            <a:off x="1657712" y="17780"/>
            <a:ext cx="1580322" cy="1715119"/>
            <a:chOff x="5750970" y="405538"/>
            <a:chExt cx="1580322" cy="1715119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BEA6BFED-D760-7B4B-BB1C-1C0C638F3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F2AC0507-B105-9346-AF0E-F30AB2E9F994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</a:t>
              </a:r>
              <a:br>
                <a:rPr lang="en-US" sz="1200" dirty="0"/>
              </a:br>
              <a:r>
                <a:rPr lang="en-US" sz="1200" dirty="0"/>
                <a:t>Laundry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21BE7CE9-4172-684F-98D5-AC6A445EBE72}"/>
              </a:ext>
            </a:extLst>
          </p:cNvPr>
          <p:cNvGrpSpPr/>
          <p:nvPr userDrawn="1"/>
        </p:nvGrpSpPr>
        <p:grpSpPr>
          <a:xfrm>
            <a:off x="343232" y="17780"/>
            <a:ext cx="1580322" cy="1530453"/>
            <a:chOff x="9480376" y="405538"/>
            <a:chExt cx="1580322" cy="153045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1BD92CC-9411-5A4D-92A5-09ADB3048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FF1C0D68-D998-F544-9F55-84604A8B60C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D83F1AA7-2B9D-7349-9035-2A35C1360550}"/>
              </a:ext>
            </a:extLst>
          </p:cNvPr>
          <p:cNvGrpSpPr/>
          <p:nvPr userDrawn="1"/>
        </p:nvGrpSpPr>
        <p:grpSpPr>
          <a:xfrm>
            <a:off x="343232" y="1755612"/>
            <a:ext cx="1580322" cy="1530453"/>
            <a:chOff x="367748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2D8BFC2-1175-094B-9C79-38ED104B5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812A1409-5044-5948-BB0A-4B1B269DCA2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ail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79E740CC-3137-2A40-BAD8-D000A1C1C02E}"/>
              </a:ext>
            </a:extLst>
          </p:cNvPr>
          <p:cNvGrpSpPr/>
          <p:nvPr userDrawn="1"/>
        </p:nvGrpSpPr>
        <p:grpSpPr>
          <a:xfrm>
            <a:off x="1657712" y="1746390"/>
            <a:ext cx="1580322" cy="1537449"/>
            <a:chOff x="367748" y="3968750"/>
            <a:chExt cx="1580322" cy="1537449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4924E03-F555-EA49-B9A5-BB5FF5DFD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3FEC2C78-5095-1E45-BFA8-4B8EC71AC8B4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AF990BDE-4D1C-244D-BB84-60F0668432E4}"/>
              </a:ext>
            </a:extLst>
          </p:cNvPr>
          <p:cNvGrpSpPr/>
          <p:nvPr userDrawn="1"/>
        </p:nvGrpSpPr>
        <p:grpSpPr>
          <a:xfrm>
            <a:off x="3026228" y="1755395"/>
            <a:ext cx="1580322" cy="1536771"/>
            <a:chOff x="3896140" y="2169250"/>
            <a:chExt cx="1580322" cy="1536771"/>
          </a:xfrm>
        </p:grpSpPr>
        <p:pic>
          <p:nvPicPr>
            <p:cNvPr id="192" name="Picture 191" descr="A close up of a logo&#10;&#10;Description automatically generated">
              <a:extLst>
                <a:ext uri="{FF2B5EF4-FFF2-40B4-BE49-F238E27FC236}">
                  <a16:creationId xmlns:a16="http://schemas.microsoft.com/office/drawing/2014/main" id="{920A2D21-906C-B04B-93CD-4B613B1E2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81834B9E-B48D-E74C-8D3A-2F00C0BE87EF}"/>
                </a:ext>
              </a:extLst>
            </p:cNvPr>
            <p:cNvSpPr txBox="1"/>
            <p:nvPr/>
          </p:nvSpPr>
          <p:spPr>
            <a:xfrm>
              <a:off x="3896140" y="342902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powerment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07B9FEBE-2129-1F44-B28B-B4B2A4149EFA}"/>
              </a:ext>
            </a:extLst>
          </p:cNvPr>
          <p:cNvGrpSpPr/>
          <p:nvPr userDrawn="1"/>
        </p:nvGrpSpPr>
        <p:grpSpPr>
          <a:xfrm>
            <a:off x="4361877" y="1755395"/>
            <a:ext cx="1580322" cy="1537449"/>
            <a:chOff x="367748" y="3968750"/>
            <a:chExt cx="1580322" cy="1537449"/>
          </a:xfrm>
        </p:grpSpPr>
        <p:pic>
          <p:nvPicPr>
            <p:cNvPr id="195" name="Picture 194" descr="A close up of a logo&#10;&#10;Description automatically generated">
              <a:extLst>
                <a:ext uri="{FF2B5EF4-FFF2-40B4-BE49-F238E27FC236}">
                  <a16:creationId xmlns:a16="http://schemas.microsoft.com/office/drawing/2014/main" id="{B6122C6F-CA89-B542-B16B-F39E290940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EB889A1-4936-B646-B959-B5261EEE7D5F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 Solutions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D656741-A054-4B42-B0DC-9D8462D4B712}"/>
              </a:ext>
            </a:extLst>
          </p:cNvPr>
          <p:cNvGrpSpPr/>
          <p:nvPr userDrawn="1"/>
        </p:nvGrpSpPr>
        <p:grpSpPr>
          <a:xfrm>
            <a:off x="5778373" y="1757471"/>
            <a:ext cx="1580322" cy="1534695"/>
            <a:chOff x="367748" y="2169250"/>
            <a:chExt cx="1580322" cy="1534695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9667614-6800-AA4C-B0ED-C7234C9FB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39DE722-46F4-EB4F-BEC1-C3AB835B01B6}"/>
                </a:ext>
              </a:extLst>
            </p:cNvPr>
            <p:cNvSpPr txBox="1"/>
            <p:nvPr/>
          </p:nvSpPr>
          <p:spPr>
            <a:xfrm>
              <a:off x="367748" y="342694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-Commerce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9C7A2839-6BC5-FF4D-8FD2-2A6F2D07C943}"/>
              </a:ext>
            </a:extLst>
          </p:cNvPr>
          <p:cNvGrpSpPr/>
          <p:nvPr userDrawn="1"/>
        </p:nvGrpSpPr>
        <p:grpSpPr>
          <a:xfrm>
            <a:off x="9951671" y="12953"/>
            <a:ext cx="1580322" cy="1705069"/>
            <a:chOff x="2063552" y="2169250"/>
            <a:chExt cx="1580322" cy="1705069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131737B1-A25C-8C45-B911-402571C5B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8F8B36C-5349-A340-BAD2-D47ADF48D2BC}"/>
                </a:ext>
              </a:extLst>
            </p:cNvPr>
            <p:cNvSpPr txBox="1"/>
            <p:nvPr/>
          </p:nvSpPr>
          <p:spPr>
            <a:xfrm>
              <a:off x="2063552" y="3412654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vironmentally</a:t>
              </a:r>
              <a:br>
                <a:rPr lang="en-US" sz="1200" dirty="0"/>
              </a:br>
              <a:r>
                <a:rPr lang="en-US" sz="1200" dirty="0"/>
                <a:t>Friendly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C46B788A-1DD8-B24A-863E-49E117037287}"/>
              </a:ext>
            </a:extLst>
          </p:cNvPr>
          <p:cNvGrpSpPr/>
          <p:nvPr userDrawn="1"/>
        </p:nvGrpSpPr>
        <p:grpSpPr>
          <a:xfrm>
            <a:off x="8546269" y="12953"/>
            <a:ext cx="1580322" cy="1537586"/>
            <a:chOff x="5750970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176440D8-6923-B244-9019-D0B47FFA1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0FC9591F-D7A3-3446-AC27-887E2468013B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fficiency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6F226A5-4C34-DA48-B111-62BD12AB6AC6}"/>
              </a:ext>
            </a:extLst>
          </p:cNvPr>
          <p:cNvGrpSpPr/>
          <p:nvPr userDrawn="1"/>
        </p:nvGrpSpPr>
        <p:grpSpPr>
          <a:xfrm>
            <a:off x="7143380" y="5144"/>
            <a:ext cx="1580322" cy="1537449"/>
            <a:chOff x="3896140" y="3968750"/>
            <a:chExt cx="1580322" cy="1537449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E03209AE-D236-2A44-80BB-8E73D7E36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5BEEF663-F7FC-654B-B091-81F93758B4C6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asy to Install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830B4AA5-EB34-D54D-9427-80C0D93EC6C0}"/>
              </a:ext>
            </a:extLst>
          </p:cNvPr>
          <p:cNvGrpSpPr/>
          <p:nvPr userDrawn="1"/>
        </p:nvGrpSpPr>
        <p:grpSpPr>
          <a:xfrm>
            <a:off x="9951671" y="1737034"/>
            <a:ext cx="1580322" cy="1537449"/>
            <a:chOff x="5750970" y="3968750"/>
            <a:chExt cx="1580322" cy="1537449"/>
          </a:xfrm>
        </p:grpSpPr>
        <p:pic>
          <p:nvPicPr>
            <p:cNvPr id="210" name="Picture 209" descr="A close up of a logo&#10;&#10;Description automatically generated">
              <a:extLst>
                <a:ext uri="{FF2B5EF4-FFF2-40B4-BE49-F238E27FC236}">
                  <a16:creationId xmlns:a16="http://schemas.microsoft.com/office/drawing/2014/main" id="{5BF55BCB-C1B5-CF41-A2BA-CCF7951A1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0C2898CF-EA1E-3C4B-96DD-AC28D7AE2C95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lexi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6206C2B-32F1-A14F-92C4-3E56CDBC5A4D}"/>
              </a:ext>
            </a:extLst>
          </p:cNvPr>
          <p:cNvGrpSpPr/>
          <p:nvPr userDrawn="1"/>
        </p:nvGrpSpPr>
        <p:grpSpPr>
          <a:xfrm>
            <a:off x="343232" y="3311573"/>
            <a:ext cx="1580322" cy="1530453"/>
            <a:chOff x="9480376" y="405538"/>
            <a:chExt cx="1580322" cy="1530453"/>
          </a:xfrm>
        </p:grpSpPr>
        <p:pic>
          <p:nvPicPr>
            <p:cNvPr id="213" name="Picture 212" descr="A close up of a logo&#10;&#10;Description automatically generated">
              <a:extLst>
                <a:ext uri="{FF2B5EF4-FFF2-40B4-BE49-F238E27FC236}">
                  <a16:creationId xmlns:a16="http://schemas.microsoft.com/office/drawing/2014/main" id="{628B300F-A10E-164D-BCAC-63D99147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7EB8851-1CAF-6D4C-83BE-B5C6CBB5E2F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ll Volume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B649E25E-258F-8840-887B-C1B937A38644}"/>
              </a:ext>
            </a:extLst>
          </p:cNvPr>
          <p:cNvGrpSpPr/>
          <p:nvPr userDrawn="1"/>
        </p:nvGrpSpPr>
        <p:grpSpPr>
          <a:xfrm>
            <a:off x="1657712" y="3316021"/>
            <a:ext cx="1580322" cy="1537449"/>
            <a:chOff x="7667309" y="3968750"/>
            <a:chExt cx="1580322" cy="1537449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C6D27AE4-4053-B446-910A-CD22888D7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39687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65616293-1E72-D444-BDF1-821275DEE285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utur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0A61EC18-1016-5148-BE26-965D6AC37F63}"/>
              </a:ext>
            </a:extLst>
          </p:cNvPr>
          <p:cNvGrpSpPr/>
          <p:nvPr userDrawn="1"/>
        </p:nvGrpSpPr>
        <p:grpSpPr>
          <a:xfrm>
            <a:off x="3094381" y="3300493"/>
            <a:ext cx="1440000" cy="1720296"/>
            <a:chOff x="4433924" y="448331"/>
            <a:chExt cx="1440000" cy="1720296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DEF2D25F-F0BB-0F42-AEF8-E84570108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33924" y="448331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CF5EAB-07DF-884D-B55B-4B57C3C05E79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 </a:t>
              </a:r>
              <a:br>
                <a:rPr lang="en-US" sz="1200" dirty="0"/>
              </a:br>
              <a:r>
                <a:rPr lang="en-US" sz="1200" dirty="0"/>
                <a:t>Perform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458D89A9-681A-F34A-A299-1532CC14C896}"/>
              </a:ext>
            </a:extLst>
          </p:cNvPr>
          <p:cNvGrpSpPr/>
          <p:nvPr userDrawn="1"/>
        </p:nvGrpSpPr>
        <p:grpSpPr>
          <a:xfrm>
            <a:off x="4455882" y="3300491"/>
            <a:ext cx="1440000" cy="1554196"/>
            <a:chOff x="5837032" y="429765"/>
            <a:chExt cx="1440000" cy="1554196"/>
          </a:xfrm>
        </p:grpSpPr>
        <p:pic>
          <p:nvPicPr>
            <p:cNvPr id="222" name="Picture 221" descr="A close up of a logo&#10;&#10;Description automatically generated">
              <a:extLst>
                <a:ext uri="{FF2B5EF4-FFF2-40B4-BE49-F238E27FC236}">
                  <a16:creationId xmlns:a16="http://schemas.microsoft.com/office/drawing/2014/main" id="{916335E0-EA23-1144-9FE8-32AB12966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A5F7A08E-84F4-3243-A2D4-EFF9E66F59C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safe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5D3D33E9-A3BD-4A4E-B4FD-73D621549651}"/>
              </a:ext>
            </a:extLst>
          </p:cNvPr>
          <p:cNvGrpSpPr/>
          <p:nvPr userDrawn="1"/>
        </p:nvGrpSpPr>
        <p:grpSpPr>
          <a:xfrm>
            <a:off x="9951671" y="3300491"/>
            <a:ext cx="1580322" cy="1537586"/>
            <a:chOff x="2063552" y="3968613"/>
            <a:chExt cx="1580322" cy="1537586"/>
          </a:xfrm>
        </p:grpSpPr>
        <p:pic>
          <p:nvPicPr>
            <p:cNvPr id="225" name="Picture 224" descr="A close up of a logo&#10;&#10;Description automatically generated">
              <a:extLst>
                <a:ext uri="{FF2B5EF4-FFF2-40B4-BE49-F238E27FC236}">
                  <a16:creationId xmlns:a16="http://schemas.microsoft.com/office/drawing/2014/main" id="{114BC0DF-DC48-014D-9BC3-25BB74871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0B99956C-D3BA-404C-9CD6-DAA3CA16EEE7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 Leaks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B36408F-664E-5648-92B3-179713A1FD42}"/>
              </a:ext>
            </a:extLst>
          </p:cNvPr>
          <p:cNvGrpSpPr/>
          <p:nvPr userDrawn="1"/>
        </p:nvGrpSpPr>
        <p:grpSpPr>
          <a:xfrm>
            <a:off x="343232" y="4961419"/>
            <a:ext cx="1580322" cy="1524154"/>
            <a:chOff x="2063552" y="2169250"/>
            <a:chExt cx="1580322" cy="1524154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BB727CEE-5917-4A45-971A-11DEC8154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1146F023-6429-7745-A118-B157919F0521}"/>
                </a:ext>
              </a:extLst>
            </p:cNvPr>
            <p:cNvSpPr txBox="1"/>
            <p:nvPr/>
          </p:nvSpPr>
          <p:spPr>
            <a:xfrm>
              <a:off x="2063552" y="34164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ursing Hom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A815FBA7-AA68-6B46-B8CC-9DEBE411081F}"/>
              </a:ext>
            </a:extLst>
          </p:cNvPr>
          <p:cNvGrpSpPr/>
          <p:nvPr userDrawn="1"/>
        </p:nvGrpSpPr>
        <p:grpSpPr>
          <a:xfrm>
            <a:off x="8540353" y="3286257"/>
            <a:ext cx="1580322" cy="1552865"/>
            <a:chOff x="5750970" y="2148717"/>
            <a:chExt cx="1580322" cy="1552865"/>
          </a:xfrm>
        </p:grpSpPr>
        <p:pic>
          <p:nvPicPr>
            <p:cNvPr id="231" name="Picture 230" descr="A close up of a sign&#10;&#10;Description automatically generated">
              <a:extLst>
                <a:ext uri="{FF2B5EF4-FFF2-40B4-BE49-F238E27FC236}">
                  <a16:creationId xmlns:a16="http://schemas.microsoft.com/office/drawing/2014/main" id="{79000ED5-2632-6644-AFCE-3B042D75B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48717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E2AAB9CC-EF37-4B4E-9FD4-5E54F541EF64}"/>
                </a:ext>
              </a:extLst>
            </p:cNvPr>
            <p:cNvSpPr txBox="1"/>
            <p:nvPr/>
          </p:nvSpPr>
          <p:spPr>
            <a:xfrm>
              <a:off x="5750970" y="342458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odular System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95496837-8DB8-F34A-9A21-0C5DECD346B2}"/>
              </a:ext>
            </a:extLst>
          </p:cNvPr>
          <p:cNvGrpSpPr/>
          <p:nvPr userDrawn="1"/>
        </p:nvGrpSpPr>
        <p:grpSpPr>
          <a:xfrm>
            <a:off x="1657712" y="4955120"/>
            <a:ext cx="1580322" cy="1537586"/>
            <a:chOff x="2063552" y="3968613"/>
            <a:chExt cx="1580322" cy="1537586"/>
          </a:xfrm>
        </p:grpSpPr>
        <p:pic>
          <p:nvPicPr>
            <p:cNvPr id="234" name="Picture 23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038BA89-A93D-2D45-AC2F-F062A0380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72C0688E-FFAE-5445-B3CA-C9DC4A423080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ise Free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6C482F69-F0EE-9B4B-A3AA-8ED0E10855C9}"/>
              </a:ext>
            </a:extLst>
          </p:cNvPr>
          <p:cNvGrpSpPr/>
          <p:nvPr userDrawn="1"/>
        </p:nvGrpSpPr>
        <p:grpSpPr>
          <a:xfrm>
            <a:off x="7147415" y="3307624"/>
            <a:ext cx="1580322" cy="1530453"/>
            <a:chOff x="5750970" y="405538"/>
            <a:chExt cx="1580322" cy="1530453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05961423-9164-E44F-89AA-4703489EB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057027C5-2881-6D41-B37A-6EB5F95F9D6B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ulti-Company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1EDC3AD-C4DF-7C4D-8D19-AD54564BF376}"/>
              </a:ext>
            </a:extLst>
          </p:cNvPr>
          <p:cNvGrpSpPr/>
          <p:nvPr userDrawn="1"/>
        </p:nvGrpSpPr>
        <p:grpSpPr>
          <a:xfrm>
            <a:off x="5752381" y="3322404"/>
            <a:ext cx="1580322" cy="1719741"/>
            <a:chOff x="2980152" y="3322404"/>
            <a:chExt cx="1580322" cy="1719741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53CAC480-8A14-E942-AF0D-3479B89C3169}"/>
                </a:ext>
              </a:extLst>
            </p:cNvPr>
            <p:cNvSpPr txBox="1"/>
            <p:nvPr/>
          </p:nvSpPr>
          <p:spPr>
            <a:xfrm>
              <a:off x="2980152" y="458048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Low Thermal Conductivity</a:t>
              </a:r>
            </a:p>
          </p:txBody>
        </p:sp>
        <p:pic>
          <p:nvPicPr>
            <p:cNvPr id="241" name="Picture 240" descr="A close up of a logo&#10;&#10;Description automatically generated">
              <a:extLst>
                <a:ext uri="{FF2B5EF4-FFF2-40B4-BE49-F238E27FC236}">
                  <a16:creationId xmlns:a16="http://schemas.microsoft.com/office/drawing/2014/main" id="{BDCA369E-9F57-9843-A26C-551A65D49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73066" y="3322404"/>
              <a:ext cx="1440000" cy="1440000"/>
            </a:xfrm>
            <a:prstGeom prst="rect">
              <a:avLst/>
            </a:prstGeom>
          </p:spPr>
        </p:pic>
      </p:grpSp>
      <p:pic>
        <p:nvPicPr>
          <p:cNvPr id="242" name="Picture 241" descr="A close up of a logo&#10;&#10;Description automatically generated">
            <a:extLst>
              <a:ext uri="{FF2B5EF4-FFF2-40B4-BE49-F238E27FC236}">
                <a16:creationId xmlns:a16="http://schemas.microsoft.com/office/drawing/2014/main" id="{4C306442-58F5-5A47-AFC2-5A4559620D11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4823" y="1761923"/>
            <a:ext cx="1440000" cy="1440000"/>
          </a:xfrm>
          <a:prstGeom prst="rect">
            <a:avLst/>
          </a:prstGeom>
        </p:spPr>
      </p:pic>
      <p:pic>
        <p:nvPicPr>
          <p:cNvPr id="243" name="Picture 242" descr="A close up of a logo&#10;&#10;Description automatically generated">
            <a:extLst>
              <a:ext uri="{FF2B5EF4-FFF2-40B4-BE49-F238E27FC236}">
                <a16:creationId xmlns:a16="http://schemas.microsoft.com/office/drawing/2014/main" id="{37C829E3-2E24-A14D-ABCA-3B0A5AA92299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2763" y="1767617"/>
            <a:ext cx="1440000" cy="1440000"/>
          </a:xfrm>
          <a:prstGeom prst="rect">
            <a:avLst/>
          </a:prstGeom>
        </p:spPr>
      </p:pic>
      <p:sp>
        <p:nvSpPr>
          <p:cNvPr id="244" name="TextBox 243">
            <a:extLst>
              <a:ext uri="{FF2B5EF4-FFF2-40B4-BE49-F238E27FC236}">
                <a16:creationId xmlns:a16="http://schemas.microsoft.com/office/drawing/2014/main" id="{4CFF9556-6CB0-E748-8A9C-BCB871C1A852}"/>
              </a:ext>
            </a:extLst>
          </p:cNvPr>
          <p:cNvSpPr txBox="1"/>
          <p:nvPr userDrawn="1"/>
        </p:nvSpPr>
        <p:spPr>
          <a:xfrm>
            <a:off x="715466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07805582-7E54-DD4A-9271-9561F3DA171B}"/>
              </a:ext>
            </a:extLst>
          </p:cNvPr>
          <p:cNvSpPr txBox="1"/>
          <p:nvPr userDrawn="1"/>
        </p:nvSpPr>
        <p:spPr>
          <a:xfrm>
            <a:off x="854260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</p:spTree>
    <p:extLst>
      <p:ext uri="{BB962C8B-B14F-4D97-AF65-F5344CB8AC3E}">
        <p14:creationId xmlns:p14="http://schemas.microsoft.com/office/powerpoint/2010/main" val="3515266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D5FF9B05-B734-3C45-83E4-FDCEFC88B1C7}"/>
              </a:ext>
            </a:extLst>
          </p:cNvPr>
          <p:cNvGrpSpPr/>
          <p:nvPr userDrawn="1"/>
        </p:nvGrpSpPr>
        <p:grpSpPr>
          <a:xfrm>
            <a:off x="2992453" y="1617206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C4E3C020-A2BA-FB48-BB4C-F1C06698B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AAFEBB2E-BF9F-EA4E-9E9F-8FC47713F20C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cesses &amp; Data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B251DC2-41E1-3B4F-BC53-EF5605D64E9E}"/>
              </a:ext>
            </a:extLst>
          </p:cNvPr>
          <p:cNvGrpSpPr/>
          <p:nvPr userDrawn="1"/>
        </p:nvGrpSpPr>
        <p:grpSpPr>
          <a:xfrm>
            <a:off x="1621801" y="1622141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79B6A91C-1C58-324E-A8D3-8C58CF090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DC0F5970-5AE7-1A4B-BCBA-2320E932293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ject Tracking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320A5C4F-2848-8F4C-94DB-9D8E9FFE1133}"/>
              </a:ext>
            </a:extLst>
          </p:cNvPr>
          <p:cNvGrpSpPr/>
          <p:nvPr userDrawn="1"/>
        </p:nvGrpSpPr>
        <p:grpSpPr>
          <a:xfrm>
            <a:off x="4406194" y="1610210"/>
            <a:ext cx="1580322" cy="1722115"/>
            <a:chOff x="5750970" y="3968750"/>
            <a:chExt cx="1580322" cy="172211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1189C764-F6DB-FE45-9AB2-63E7DBC1C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74960FCF-5DDF-7B4D-BE10-E4DC4F857604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umping </a:t>
              </a:r>
              <a:br>
                <a:rPr lang="en-US" sz="1200" dirty="0"/>
              </a:br>
              <a:r>
                <a:rPr lang="en-US" sz="1200" dirty="0"/>
                <a:t>Stations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187FBFA-B3A4-254E-A187-F4E2EFCA49D6}"/>
              </a:ext>
            </a:extLst>
          </p:cNvPr>
          <p:cNvGrpSpPr/>
          <p:nvPr userDrawn="1"/>
        </p:nvGrpSpPr>
        <p:grpSpPr>
          <a:xfrm>
            <a:off x="5748340" y="1619297"/>
            <a:ext cx="1580322" cy="1530453"/>
            <a:chOff x="3896140" y="405538"/>
            <a:chExt cx="1580322" cy="1530453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0FD9866B-EC00-C043-8824-E82A94C72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9027EFED-85E1-D549-BAB5-9A2B9FE20D31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 Control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E19EF0FC-78B3-1B4E-B9B3-FA249C9CC8A8}"/>
              </a:ext>
            </a:extLst>
          </p:cNvPr>
          <p:cNvGrpSpPr/>
          <p:nvPr userDrawn="1"/>
        </p:nvGrpSpPr>
        <p:grpSpPr>
          <a:xfrm>
            <a:off x="7158370" y="1607240"/>
            <a:ext cx="1580322" cy="1532435"/>
            <a:chOff x="7667309" y="2169250"/>
            <a:chExt cx="1580322" cy="1532435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0364D460-89CF-2047-A881-C6B0203A3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3A7B073D-7A15-BF4A-936D-0AA7A7118E5A}"/>
                </a:ext>
              </a:extLst>
            </p:cNvPr>
            <p:cNvSpPr txBox="1"/>
            <p:nvPr/>
          </p:nvSpPr>
          <p:spPr>
            <a:xfrm>
              <a:off x="7667309" y="342468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1DE3D6AA-67AD-164A-803F-586500EDB5A2}"/>
              </a:ext>
            </a:extLst>
          </p:cNvPr>
          <p:cNvGrpSpPr/>
          <p:nvPr userDrawn="1"/>
        </p:nvGrpSpPr>
        <p:grpSpPr>
          <a:xfrm>
            <a:off x="365149" y="1625181"/>
            <a:ext cx="1580322" cy="1530453"/>
            <a:chOff x="9480376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8727F5C-3D5B-124D-8161-B468684C9B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26C3FF5-ABAD-4949-BA71-EB4D618BE55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ortable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760EC1A-EBE2-6F4D-B23F-9258112B15BA}"/>
              </a:ext>
            </a:extLst>
          </p:cNvPr>
          <p:cNvGrpSpPr/>
          <p:nvPr userDrawn="1"/>
        </p:nvGrpSpPr>
        <p:grpSpPr>
          <a:xfrm>
            <a:off x="8531671" y="1607240"/>
            <a:ext cx="1580322" cy="1519720"/>
            <a:chOff x="7667309" y="2169250"/>
            <a:chExt cx="1580322" cy="1519720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4686F63-1BCA-FC4E-9E27-3CB984408C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5462DC1F-8C40-DB48-991F-49E5A02E8052}"/>
                </a:ext>
              </a:extLst>
            </p:cNvPr>
            <p:cNvSpPr txBox="1"/>
            <p:nvPr/>
          </p:nvSpPr>
          <p:spPr>
            <a:xfrm>
              <a:off x="7667309" y="341197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cycling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2FE3-1BA6-1340-8FA3-F3FF7C50AE60}"/>
              </a:ext>
            </a:extLst>
          </p:cNvPr>
          <p:cNvGrpSpPr/>
          <p:nvPr userDrawn="1"/>
        </p:nvGrpSpPr>
        <p:grpSpPr>
          <a:xfrm>
            <a:off x="9943929" y="1613389"/>
            <a:ext cx="1580322" cy="1534270"/>
            <a:chOff x="3896140" y="2169250"/>
            <a:chExt cx="1580322" cy="1534270"/>
          </a:xfrm>
        </p:grpSpPr>
        <p:pic>
          <p:nvPicPr>
            <p:cNvPr id="192" name="Picture 19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FCBBFB0-F7D6-304F-AE1A-F29DE2973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CF9AA23D-4538-4344-9C30-AB3CE2029482}"/>
                </a:ext>
              </a:extLst>
            </p:cNvPr>
            <p:cNvSpPr txBox="1"/>
            <p:nvPr/>
          </p:nvSpPr>
          <p:spPr>
            <a:xfrm>
              <a:off x="3896140" y="342652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ainwater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626DB841-8413-B249-A985-397E6F8C5918}"/>
              </a:ext>
            </a:extLst>
          </p:cNvPr>
          <p:cNvGrpSpPr/>
          <p:nvPr userDrawn="1"/>
        </p:nvGrpSpPr>
        <p:grpSpPr>
          <a:xfrm>
            <a:off x="364907" y="3334873"/>
            <a:ext cx="1580322" cy="1702577"/>
            <a:chOff x="9480376" y="2169250"/>
            <a:chExt cx="1580322" cy="1702577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B90CF042-2A6F-0A42-BD3F-CEAE17D81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27D6A808-E45D-154E-8799-26F7374C48C8}"/>
                </a:ext>
              </a:extLst>
            </p:cNvPr>
            <p:cNvSpPr txBox="1"/>
            <p:nvPr/>
          </p:nvSpPr>
          <p:spPr>
            <a:xfrm>
              <a:off x="9480376" y="34101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gulations Compliant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0723FB96-6C9E-AD4E-9E0B-0C9080331A47}"/>
              </a:ext>
            </a:extLst>
          </p:cNvPr>
          <p:cNvGrpSpPr/>
          <p:nvPr userDrawn="1"/>
        </p:nvGrpSpPr>
        <p:grpSpPr>
          <a:xfrm>
            <a:off x="1694588" y="3335589"/>
            <a:ext cx="1580322" cy="1537586"/>
            <a:chOff x="7667309" y="3968613"/>
            <a:chExt cx="1580322" cy="1537586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B2590BB-C06E-0247-B2BF-98D76BA90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1D1B94C6-3AA0-414C-BE2C-D42D7D0E737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aves Money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822D493-F8E1-F347-8D07-88EA0FA4A027}"/>
              </a:ext>
            </a:extLst>
          </p:cNvPr>
          <p:cNvGrpSpPr/>
          <p:nvPr userDrawn="1"/>
        </p:nvGrpSpPr>
        <p:grpSpPr>
          <a:xfrm>
            <a:off x="9940811" y="3331694"/>
            <a:ext cx="1580322" cy="1537449"/>
            <a:chOff x="9480376" y="3968750"/>
            <a:chExt cx="1580322" cy="1537449"/>
          </a:xfrm>
        </p:grpSpPr>
        <p:pic>
          <p:nvPicPr>
            <p:cNvPr id="201" name="Picture 200" descr="A close up of a sign&#10;&#10;Description automatically generated">
              <a:extLst>
                <a:ext uri="{FF2B5EF4-FFF2-40B4-BE49-F238E27FC236}">
                  <a16:creationId xmlns:a16="http://schemas.microsoft.com/office/drawing/2014/main" id="{D8D500D4-2091-D141-82C4-58D2928E9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E61E58B-2A00-5A4D-821E-7A7F9A895651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utions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43B416DE-BA12-4B44-8994-2A96850E7344}"/>
              </a:ext>
            </a:extLst>
          </p:cNvPr>
          <p:cNvGrpSpPr/>
          <p:nvPr userDrawn="1"/>
        </p:nvGrpSpPr>
        <p:grpSpPr>
          <a:xfrm>
            <a:off x="348263" y="5007655"/>
            <a:ext cx="1580322" cy="1537586"/>
            <a:chOff x="2063552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DDCA9CEF-8587-B841-896C-91455A6CE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2774260C-04D7-EF4E-BCE3-C29A5358D0B2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mall Footprint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B9B2FDF0-C1D7-6442-B9CC-BF01348A9D2A}"/>
              </a:ext>
            </a:extLst>
          </p:cNvPr>
          <p:cNvGrpSpPr/>
          <p:nvPr userDrawn="1"/>
        </p:nvGrpSpPr>
        <p:grpSpPr>
          <a:xfrm>
            <a:off x="8538251" y="3338690"/>
            <a:ext cx="1580322" cy="1530453"/>
            <a:chOff x="3896140" y="405538"/>
            <a:chExt cx="1580322" cy="1530453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C028BE95-2B6D-714B-8F76-039F58A76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AA82EC1F-5879-054A-9B10-84D405848878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hallow Dig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17D212F4-38F1-904F-9465-CFE2BA9A864E}"/>
              </a:ext>
            </a:extLst>
          </p:cNvPr>
          <p:cNvGrpSpPr/>
          <p:nvPr userDrawn="1"/>
        </p:nvGrpSpPr>
        <p:grpSpPr>
          <a:xfrm>
            <a:off x="4381418" y="3331694"/>
            <a:ext cx="1580322" cy="1537449"/>
            <a:chOff x="2063552" y="3968750"/>
            <a:chExt cx="1580322" cy="1537449"/>
          </a:xfrm>
        </p:grpSpPr>
        <p:pic>
          <p:nvPicPr>
            <p:cNvPr id="210" name="Picture 20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5C86CA9-BD63-F041-90F5-2B9F44622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40DE84B5-0AD6-3C4E-9262-045C36511B3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9B01FA4-39B4-F14E-B2AF-41D44DD00344}"/>
              </a:ext>
            </a:extLst>
          </p:cNvPr>
          <p:cNvGrpSpPr/>
          <p:nvPr userDrawn="1"/>
        </p:nvGrpSpPr>
        <p:grpSpPr>
          <a:xfrm>
            <a:off x="5780961" y="3331694"/>
            <a:ext cx="1580322" cy="1530453"/>
            <a:chOff x="2063552" y="405538"/>
            <a:chExt cx="1580322" cy="1530453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05123355-5585-C44D-8DD2-355D8A788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F5C72FF9-43EC-C645-9BCB-796FCA96B54B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0CDC5290-D307-224D-B1BD-859A0685A92B}"/>
              </a:ext>
            </a:extLst>
          </p:cNvPr>
          <p:cNvGrpSpPr/>
          <p:nvPr userDrawn="1"/>
        </p:nvGrpSpPr>
        <p:grpSpPr>
          <a:xfrm>
            <a:off x="7139575" y="3331694"/>
            <a:ext cx="1580322" cy="1533162"/>
            <a:chOff x="7667309" y="2169250"/>
            <a:chExt cx="1580322" cy="1533162"/>
          </a:xfrm>
        </p:grpSpPr>
        <p:pic>
          <p:nvPicPr>
            <p:cNvPr id="216" name="Picture 21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8007F9AE-54C8-6046-8B24-86DB14EED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A8C2A97D-4925-6F4D-B883-11C673198F20}"/>
                </a:ext>
              </a:extLst>
            </p:cNvPr>
            <p:cNvSpPr txBox="1"/>
            <p:nvPr/>
          </p:nvSpPr>
          <p:spPr>
            <a:xfrm>
              <a:off x="7667309" y="342541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cure Login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38E2671E-0AC0-F64A-916E-7168528EB017}"/>
              </a:ext>
            </a:extLst>
          </p:cNvPr>
          <p:cNvGrpSpPr/>
          <p:nvPr userDrawn="1"/>
        </p:nvGrpSpPr>
        <p:grpSpPr>
          <a:xfrm>
            <a:off x="3011106" y="3338345"/>
            <a:ext cx="1580322" cy="1722115"/>
            <a:chOff x="367748" y="3968750"/>
            <a:chExt cx="1580322" cy="1722115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2DAC62A9-89E8-9D42-8FEA-1A0D5E2C4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52932A-4C25-FF40-A317-8F0F82775CE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rvice &amp; Mainten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283C09C6-E58E-1B4B-AE0E-250F7BA6013E}"/>
              </a:ext>
            </a:extLst>
          </p:cNvPr>
          <p:cNvGrpSpPr/>
          <p:nvPr userDrawn="1"/>
        </p:nvGrpSpPr>
        <p:grpSpPr>
          <a:xfrm>
            <a:off x="1636940" y="5011222"/>
            <a:ext cx="1580322" cy="1530453"/>
            <a:chOff x="5750970" y="405538"/>
            <a:chExt cx="1580322" cy="1530453"/>
          </a:xfrm>
        </p:grpSpPr>
        <p:pic>
          <p:nvPicPr>
            <p:cNvPr id="222" name="Picture 221" descr="A picture containing clock, drawing&#10;&#10;Description automatically generated">
              <a:extLst>
                <a:ext uri="{FF2B5EF4-FFF2-40B4-BE49-F238E27FC236}">
                  <a16:creationId xmlns:a16="http://schemas.microsoft.com/office/drawing/2014/main" id="{092E7878-B49C-E442-AC66-75B1B2A83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C2B30F84-6783-254E-BA7B-4F65CC1A13EE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cial Offer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AA8DBC51-2D8C-F041-98FE-A6C3C2CAD5A2}"/>
              </a:ext>
            </a:extLst>
          </p:cNvPr>
          <p:cNvGrpSpPr/>
          <p:nvPr userDrawn="1"/>
        </p:nvGrpSpPr>
        <p:grpSpPr>
          <a:xfrm>
            <a:off x="5768685" y="5007655"/>
            <a:ext cx="1580322" cy="1537586"/>
            <a:chOff x="9480376" y="3968613"/>
            <a:chExt cx="1580322" cy="1537586"/>
          </a:xfrm>
        </p:grpSpPr>
        <p:pic>
          <p:nvPicPr>
            <p:cNvPr id="225" name="Picture 224" descr="A close up of a sign&#10;&#10;Description automatically generated">
              <a:extLst>
                <a:ext uri="{FF2B5EF4-FFF2-40B4-BE49-F238E27FC236}">
                  <a16:creationId xmlns:a16="http://schemas.microsoft.com/office/drawing/2014/main" id="{ED0835FD-FFC1-764A-9945-99103A8F9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C7DBCD7C-2EA8-DF4B-9FF4-034C4D4CE8BD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te Visit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F8677F9F-1009-1C47-BFDC-4A288375C333}"/>
              </a:ext>
            </a:extLst>
          </p:cNvPr>
          <p:cNvGrpSpPr/>
          <p:nvPr userDrawn="1"/>
        </p:nvGrpSpPr>
        <p:grpSpPr>
          <a:xfrm>
            <a:off x="8543219" y="5011222"/>
            <a:ext cx="1580322" cy="1530453"/>
            <a:chOff x="9480376" y="405538"/>
            <a:chExt cx="1580322" cy="1530453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6BC42775-981F-E244-A04C-7F84D3509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C70A05B1-78E9-6E4A-BDFC-728EF7BDE40F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trength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E5501891-2A00-2748-9864-8C1FDE7676CE}"/>
              </a:ext>
            </a:extLst>
          </p:cNvPr>
          <p:cNvGrpSpPr/>
          <p:nvPr userDrawn="1"/>
        </p:nvGrpSpPr>
        <p:grpSpPr>
          <a:xfrm>
            <a:off x="4367367" y="5008814"/>
            <a:ext cx="1580322" cy="1535268"/>
            <a:chOff x="3896140" y="2169250"/>
            <a:chExt cx="1580322" cy="1535268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B9A467E9-44FF-8B47-BFEF-C83E4B84E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7F018EDF-9D26-DB4E-92AE-DB0377544BF3}"/>
                </a:ext>
              </a:extLst>
            </p:cNvPr>
            <p:cNvSpPr txBox="1"/>
            <p:nvPr/>
          </p:nvSpPr>
          <p:spPr>
            <a:xfrm>
              <a:off x="3896140" y="342751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ar Powered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8AC17010-A3BD-784A-AAFE-2DB0F00957E5}"/>
              </a:ext>
            </a:extLst>
          </p:cNvPr>
          <p:cNvGrpSpPr/>
          <p:nvPr userDrawn="1"/>
        </p:nvGrpSpPr>
        <p:grpSpPr>
          <a:xfrm>
            <a:off x="7125524" y="5028537"/>
            <a:ext cx="1580322" cy="1704771"/>
            <a:chOff x="7667309" y="2169250"/>
            <a:chExt cx="1580322" cy="170477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5B873053-38F6-474E-930F-327E70A53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FF696787-2BE6-974F-836C-75EE5D892D89}"/>
                </a:ext>
              </a:extLst>
            </p:cNvPr>
            <p:cNvSpPr txBox="1"/>
            <p:nvPr/>
          </p:nvSpPr>
          <p:spPr>
            <a:xfrm>
              <a:off x="7667309" y="341235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ngle Piece System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1DCDABB0-46F8-0C4E-9E5B-987D611089FD}"/>
              </a:ext>
            </a:extLst>
          </p:cNvPr>
          <p:cNvGrpSpPr/>
          <p:nvPr userDrawn="1"/>
        </p:nvGrpSpPr>
        <p:grpSpPr>
          <a:xfrm>
            <a:off x="3081267" y="5002145"/>
            <a:ext cx="1440000" cy="1548606"/>
            <a:chOff x="447469" y="435355"/>
            <a:chExt cx="1440000" cy="1548606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120CE43A-E423-CD4D-A369-014543A1F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469" y="435355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31917F9E-AF1F-6143-B212-E2D90BC72999}"/>
                </a:ext>
              </a:extLst>
            </p:cNvPr>
            <p:cNvSpPr txBox="1"/>
            <p:nvPr/>
          </p:nvSpPr>
          <p:spPr>
            <a:xfrm>
              <a:off x="623888" y="1706962"/>
              <a:ext cx="10933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ed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E428DF4-B435-C54D-A86C-981018C62D88}"/>
              </a:ext>
            </a:extLst>
          </p:cNvPr>
          <p:cNvGrpSpPr/>
          <p:nvPr userDrawn="1"/>
        </p:nvGrpSpPr>
        <p:grpSpPr>
          <a:xfrm>
            <a:off x="9935378" y="4912057"/>
            <a:ext cx="1580322" cy="1728783"/>
            <a:chOff x="2980152" y="439844"/>
            <a:chExt cx="1580322" cy="1728783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DBBD4DFA-1A7C-C04D-8851-983348BB9835}"/>
                </a:ext>
              </a:extLst>
            </p:cNvPr>
            <p:cNvSpPr txBox="1"/>
            <p:nvPr/>
          </p:nvSpPr>
          <p:spPr>
            <a:xfrm>
              <a:off x="2980152" y="17069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241" name="Picture 24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36CB3935-6F60-AA44-B73D-49F280D85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71607" y="439844"/>
              <a:ext cx="1440001" cy="1440001"/>
            </a:xfrm>
            <a:prstGeom prst="rect">
              <a:avLst/>
            </a:prstGeom>
          </p:spPr>
        </p:pic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4E0594-3FC5-284C-8CA8-142703B2E5C8}"/>
              </a:ext>
            </a:extLst>
          </p:cNvPr>
          <p:cNvGrpSpPr/>
          <p:nvPr userDrawn="1"/>
        </p:nvGrpSpPr>
        <p:grpSpPr>
          <a:xfrm>
            <a:off x="2988608" y="32068"/>
            <a:ext cx="1580322" cy="1530453"/>
            <a:chOff x="9480376" y="405538"/>
            <a:chExt cx="1580322" cy="1530453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71AE286F-954F-4A43-AE0F-7D522CDF4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07592D84-2A7D-5A41-B872-17BC093CFDFB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ur Values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9D662942-B567-8D4C-982A-9B579FA1D5C2}"/>
              </a:ext>
            </a:extLst>
          </p:cNvPr>
          <p:cNvGrpSpPr/>
          <p:nvPr userDrawn="1"/>
        </p:nvGrpSpPr>
        <p:grpSpPr>
          <a:xfrm>
            <a:off x="367748" y="32068"/>
            <a:ext cx="1580322" cy="1530453"/>
            <a:chOff x="7667309" y="405538"/>
            <a:chExt cx="1580322" cy="1530453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28C6A8B0-0869-5D4B-88AB-B1C66AD22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396C7199-7469-024C-8A76-CDCB271DBA0D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Odour</a:t>
              </a:r>
              <a:r>
                <a:rPr lang="en-US" sz="1200" dirty="0"/>
                <a:t> Free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0E488593-FAD3-8F44-8F34-07D25BED6DBB}"/>
              </a:ext>
            </a:extLst>
          </p:cNvPr>
          <p:cNvGrpSpPr/>
          <p:nvPr userDrawn="1"/>
        </p:nvGrpSpPr>
        <p:grpSpPr>
          <a:xfrm>
            <a:off x="1622444" y="33832"/>
            <a:ext cx="1580322" cy="1531754"/>
            <a:chOff x="7667309" y="2169250"/>
            <a:chExt cx="1580322" cy="1531754"/>
          </a:xfrm>
        </p:grpSpPr>
        <p:pic>
          <p:nvPicPr>
            <p:cNvPr id="249" name="Picture 248" descr="A close up of a logo&#10;&#10;Description automatically generated">
              <a:extLst>
                <a:ext uri="{FF2B5EF4-FFF2-40B4-BE49-F238E27FC236}">
                  <a16:creationId xmlns:a16="http://schemas.microsoft.com/office/drawing/2014/main" id="{4C160267-0103-8843-AECF-D6336149C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CA58BF1D-0A20-2A4F-8307-1F2613CB743B}"/>
                </a:ext>
              </a:extLst>
            </p:cNvPr>
            <p:cNvSpPr txBox="1"/>
            <p:nvPr/>
          </p:nvSpPr>
          <p:spPr>
            <a:xfrm>
              <a:off x="7667309" y="34240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ffic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C2A1B2BB-A4DA-6048-81B4-ADF88CCE01F5}"/>
              </a:ext>
            </a:extLst>
          </p:cNvPr>
          <p:cNvGrpSpPr/>
          <p:nvPr userDrawn="1"/>
        </p:nvGrpSpPr>
        <p:grpSpPr>
          <a:xfrm>
            <a:off x="8533073" y="32068"/>
            <a:ext cx="1580322" cy="1530453"/>
            <a:chOff x="2063552" y="405538"/>
            <a:chExt cx="1580322" cy="1530453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F3C3B792-8EB9-0141-9595-2247AE002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0681653-5B27-2743-9DCD-810057A26B41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hon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E226A9B4-8892-DE46-86E7-4A69C0FE21EF}"/>
              </a:ext>
            </a:extLst>
          </p:cNvPr>
          <p:cNvGrpSpPr/>
          <p:nvPr userDrawn="1"/>
        </p:nvGrpSpPr>
        <p:grpSpPr>
          <a:xfrm>
            <a:off x="9976412" y="33982"/>
            <a:ext cx="1580322" cy="1522052"/>
            <a:chOff x="9480376" y="2169250"/>
            <a:chExt cx="1580322" cy="1522052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B207A063-F812-314B-9FDF-09F49A4E3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9A94FDB4-6307-E441-8D4A-86777CB963BF}"/>
                </a:ext>
              </a:extLst>
            </p:cNvPr>
            <p:cNvSpPr txBox="1"/>
            <p:nvPr/>
          </p:nvSpPr>
          <p:spPr>
            <a:xfrm>
              <a:off x="9480376" y="341430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lastic Bottle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C63AFDD5-CE96-3D48-A605-D5B370572B40}"/>
              </a:ext>
            </a:extLst>
          </p:cNvPr>
          <p:cNvGrpSpPr/>
          <p:nvPr userDrawn="1"/>
        </p:nvGrpSpPr>
        <p:grpSpPr>
          <a:xfrm>
            <a:off x="4368417" y="32068"/>
            <a:ext cx="1580322" cy="1522478"/>
            <a:chOff x="2063552" y="2169250"/>
            <a:chExt cx="1580322" cy="1522478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8A5A345F-615C-7F48-BFF3-A4B0C04977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A0E364DB-97AF-BB45-AA03-22E802AC1877}"/>
                </a:ext>
              </a:extLst>
            </p:cNvPr>
            <p:cNvSpPr txBox="1"/>
            <p:nvPr/>
          </p:nvSpPr>
          <p:spPr>
            <a:xfrm>
              <a:off x="2063552" y="341472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artnerships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E289086-3E8C-764E-AB0A-BC7D77A51BE2}"/>
              </a:ext>
            </a:extLst>
          </p:cNvPr>
          <p:cNvGrpSpPr/>
          <p:nvPr userDrawn="1"/>
        </p:nvGrpSpPr>
        <p:grpSpPr>
          <a:xfrm>
            <a:off x="7156962" y="29028"/>
            <a:ext cx="1580322" cy="1537449"/>
            <a:chOff x="9480376" y="3968750"/>
            <a:chExt cx="1580322" cy="1537449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092241A2-D0FC-5544-8D04-B17D89817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E8ADB606-7C54-8C42-BE14-8B1EC8A3AC95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ace of Mind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02530772-90EE-7C4B-9564-3CD7B6036C55}"/>
              </a:ext>
            </a:extLst>
          </p:cNvPr>
          <p:cNvGrpSpPr/>
          <p:nvPr userDrawn="1"/>
        </p:nvGrpSpPr>
        <p:grpSpPr>
          <a:xfrm>
            <a:off x="5733766" y="32068"/>
            <a:ext cx="1580322" cy="1530453"/>
            <a:chOff x="3896140" y="405538"/>
            <a:chExt cx="1580322" cy="153045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7C029809-6AC7-F347-A4BC-A64858600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789C6533-C103-6F46-9A12-42288513CF2B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destri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4796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4570AEBB-C30B-E44D-9111-0AE6C330D3A1}"/>
              </a:ext>
            </a:extLst>
          </p:cNvPr>
          <p:cNvGrpSpPr/>
          <p:nvPr userDrawn="1"/>
        </p:nvGrpSpPr>
        <p:grpSpPr>
          <a:xfrm>
            <a:off x="9944851" y="1769165"/>
            <a:ext cx="1580322" cy="1515700"/>
            <a:chOff x="3896140" y="2169250"/>
            <a:chExt cx="1580322" cy="1515700"/>
          </a:xfrm>
        </p:grpSpPr>
        <p:pic>
          <p:nvPicPr>
            <p:cNvPr id="36" name="Picture 35" descr="A picture containing drawing, clock&#10;&#10;Description automatically generated">
              <a:extLst>
                <a:ext uri="{FF2B5EF4-FFF2-40B4-BE49-F238E27FC236}">
                  <a16:creationId xmlns:a16="http://schemas.microsoft.com/office/drawing/2014/main" id="{9B4BEC6F-AA4F-A545-8C87-99FC179FE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2EA73C-C1ED-5045-B0FB-E4EC61EF34B3}"/>
                </a:ext>
              </a:extLst>
            </p:cNvPr>
            <p:cNvSpPr txBox="1"/>
            <p:nvPr/>
          </p:nvSpPr>
          <p:spPr>
            <a:xfrm>
              <a:off x="3896140" y="340795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ndow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79E4E6E-41B0-9446-BB0C-E30038A9309E}"/>
              </a:ext>
            </a:extLst>
          </p:cNvPr>
          <p:cNvGrpSpPr/>
          <p:nvPr userDrawn="1"/>
        </p:nvGrpSpPr>
        <p:grpSpPr>
          <a:xfrm>
            <a:off x="8598934" y="1775549"/>
            <a:ext cx="1580322" cy="1533056"/>
            <a:chOff x="9480376" y="2169250"/>
            <a:chExt cx="1580322" cy="1533056"/>
          </a:xfrm>
        </p:grpSpPr>
        <p:pic>
          <p:nvPicPr>
            <p:cNvPr id="39" name="Picture 38" descr="A close up of a logo&#10;&#10;Description automatically generated">
              <a:extLst>
                <a:ext uri="{FF2B5EF4-FFF2-40B4-BE49-F238E27FC236}">
                  <a16:creationId xmlns:a16="http://schemas.microsoft.com/office/drawing/2014/main" id="{03BB665C-F40D-8243-9AB6-4B3C48B35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3309480-8DC9-B248-B035-23DB4C3CC6C1}"/>
                </a:ext>
              </a:extLst>
            </p:cNvPr>
            <p:cNvSpPr txBox="1"/>
            <p:nvPr/>
          </p:nvSpPr>
          <p:spPr>
            <a:xfrm>
              <a:off x="9480376" y="3425307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eather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84A8CE6-D7F9-0C41-825A-3122941CC914}"/>
              </a:ext>
            </a:extLst>
          </p:cNvPr>
          <p:cNvGrpSpPr/>
          <p:nvPr userDrawn="1"/>
        </p:nvGrpSpPr>
        <p:grpSpPr>
          <a:xfrm>
            <a:off x="5819456" y="1775053"/>
            <a:ext cx="1580322" cy="1530453"/>
            <a:chOff x="7667309" y="405538"/>
            <a:chExt cx="1580322" cy="1530453"/>
          </a:xfrm>
        </p:grpSpPr>
        <p:pic>
          <p:nvPicPr>
            <p:cNvPr id="42" name="Picture 4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1D98900-CCDA-0446-B28C-EEB537139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C9FAB1A-EDF7-414E-BF78-85CCF32BBEB0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rning/Alert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F5734D8-F6F6-3F4B-85FA-5E4D75B1CA78}"/>
              </a:ext>
            </a:extLst>
          </p:cNvPr>
          <p:cNvGrpSpPr/>
          <p:nvPr userDrawn="1"/>
        </p:nvGrpSpPr>
        <p:grpSpPr>
          <a:xfrm>
            <a:off x="4438655" y="1775549"/>
            <a:ext cx="1580322" cy="1533019"/>
            <a:chOff x="2063552" y="2169250"/>
            <a:chExt cx="1580322" cy="1533019"/>
          </a:xfrm>
        </p:grpSpPr>
        <p:pic>
          <p:nvPicPr>
            <p:cNvPr id="45" name="Picture 44" descr="A close up of a logo&#10;&#10;Description automatically generated">
              <a:extLst>
                <a:ext uri="{FF2B5EF4-FFF2-40B4-BE49-F238E27FC236}">
                  <a16:creationId xmlns:a16="http://schemas.microsoft.com/office/drawing/2014/main" id="{3979F712-4AE5-E949-8186-E7C0E850A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82D9F6E-808A-7246-8A5A-53E0CE58A2A2}"/>
                </a:ext>
              </a:extLst>
            </p:cNvPr>
            <p:cNvSpPr txBox="1"/>
            <p:nvPr/>
          </p:nvSpPr>
          <p:spPr>
            <a:xfrm>
              <a:off x="2063552" y="342527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&amp; Energy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B4F476E-2BA4-1E42-B910-5C33EE507D8D}"/>
              </a:ext>
            </a:extLst>
          </p:cNvPr>
          <p:cNvGrpSpPr/>
          <p:nvPr userDrawn="1"/>
        </p:nvGrpSpPr>
        <p:grpSpPr>
          <a:xfrm>
            <a:off x="7204917" y="1775053"/>
            <a:ext cx="1580322" cy="1906781"/>
            <a:chOff x="367748" y="3968750"/>
            <a:chExt cx="1580322" cy="1906781"/>
          </a:xfrm>
        </p:grpSpPr>
        <p:pic>
          <p:nvPicPr>
            <p:cNvPr id="48" name="Picture 4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13E6C-A104-D643-98BD-2DD1F33BC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9CC41FE-F107-FF4F-A8E7-3565BC178BD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Management Solutions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6B109DB-4D5A-C34E-A718-8FCB29DE4150}"/>
              </a:ext>
            </a:extLst>
          </p:cNvPr>
          <p:cNvGrpSpPr/>
          <p:nvPr userDrawn="1"/>
        </p:nvGrpSpPr>
        <p:grpSpPr>
          <a:xfrm>
            <a:off x="312763" y="3548264"/>
            <a:ext cx="1580322" cy="1518425"/>
            <a:chOff x="367748" y="2169250"/>
            <a:chExt cx="1580322" cy="1518425"/>
          </a:xfrm>
        </p:grpSpPr>
        <p:pic>
          <p:nvPicPr>
            <p:cNvPr id="51" name="Picture 50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412C461-D680-D741-AE16-55D5F4E81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717BF53-325B-2944-A211-D3A206BB23FB}"/>
                </a:ext>
              </a:extLst>
            </p:cNvPr>
            <p:cNvSpPr txBox="1"/>
            <p:nvPr/>
          </p:nvSpPr>
          <p:spPr>
            <a:xfrm>
              <a:off x="367748" y="34106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reles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1D43B28-E605-0544-A061-94103551D3D1}"/>
              </a:ext>
            </a:extLst>
          </p:cNvPr>
          <p:cNvGrpSpPr/>
          <p:nvPr userDrawn="1"/>
        </p:nvGrpSpPr>
        <p:grpSpPr>
          <a:xfrm>
            <a:off x="1679887" y="3544218"/>
            <a:ext cx="1580322" cy="1530453"/>
            <a:chOff x="7667309" y="405538"/>
            <a:chExt cx="1580322" cy="1530453"/>
          </a:xfrm>
        </p:grpSpPr>
        <p:pic>
          <p:nvPicPr>
            <p:cNvPr id="54" name="Picture 5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AECA182-8441-FC4F-B691-A4C74ABFE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5B7E7D3-FF4E-BA4D-A5CD-308BCDC14E8A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C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FEDC0B3-04D1-BF44-B969-DA25682FD9F3}"/>
              </a:ext>
            </a:extLst>
          </p:cNvPr>
          <p:cNvGrpSpPr/>
          <p:nvPr userDrawn="1"/>
        </p:nvGrpSpPr>
        <p:grpSpPr>
          <a:xfrm>
            <a:off x="5855089" y="3524350"/>
            <a:ext cx="1580322" cy="1715118"/>
            <a:chOff x="9480376" y="2169250"/>
            <a:chExt cx="1580322" cy="1715118"/>
          </a:xfrm>
        </p:grpSpPr>
        <p:pic>
          <p:nvPicPr>
            <p:cNvPr id="57" name="Picture 56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2AF0BEC-24E7-DB41-B840-6DFD23E22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8A03034-D395-EF45-89D8-8D2B795E39D0}"/>
                </a:ext>
              </a:extLst>
            </p:cNvPr>
            <p:cNvSpPr txBox="1"/>
            <p:nvPr/>
          </p:nvSpPr>
          <p:spPr>
            <a:xfrm>
              <a:off x="9480376" y="342270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10 Year Guarantee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C0E630D-6D57-2E47-A620-08F55FBA8DDE}"/>
              </a:ext>
            </a:extLst>
          </p:cNvPr>
          <p:cNvGrpSpPr/>
          <p:nvPr userDrawn="1"/>
        </p:nvGrpSpPr>
        <p:grpSpPr>
          <a:xfrm>
            <a:off x="3088827" y="3524350"/>
            <a:ext cx="1580322" cy="1715119"/>
            <a:chOff x="367748" y="405538"/>
            <a:chExt cx="1580322" cy="1715119"/>
          </a:xfrm>
        </p:grpSpPr>
        <p:pic>
          <p:nvPicPr>
            <p:cNvPr id="60" name="Picture 59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31C3E95A-31BC-7842-9595-6F21301F3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F8DD463-B058-E44A-A31A-97584612D06D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60 Years Experience</a:t>
              </a:r>
              <a:endParaRPr lang="en-US" sz="1200" dirty="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534A86F-6563-3E4F-95F3-C2B67DD91F4F}"/>
              </a:ext>
            </a:extLst>
          </p:cNvPr>
          <p:cNvGrpSpPr/>
          <p:nvPr userDrawn="1"/>
        </p:nvGrpSpPr>
        <p:grpSpPr>
          <a:xfrm>
            <a:off x="4469628" y="3514411"/>
            <a:ext cx="1580322" cy="1715119"/>
            <a:chOff x="367748" y="405538"/>
            <a:chExt cx="1580322" cy="1715119"/>
          </a:xfrm>
        </p:grpSpPr>
        <p:pic>
          <p:nvPicPr>
            <p:cNvPr id="63" name="Picture 62" descr="A close up of a logo&#10;&#10;Description automatically generated">
              <a:extLst>
                <a:ext uri="{FF2B5EF4-FFF2-40B4-BE49-F238E27FC236}">
                  <a16:creationId xmlns:a16="http://schemas.microsoft.com/office/drawing/2014/main" id="{781CD0E7-DCB1-C743-8C05-526044B2E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523E7290-B2D2-5E49-874A-9E3DB1AE76A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5 Year</a:t>
              </a:r>
              <a:br>
                <a:rPr lang="en-US" sz="1200" dirty="0"/>
              </a:br>
              <a:r>
                <a:rPr lang="en-US" sz="1200" dirty="0"/>
                <a:t>Guarantee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C21E6CA-E0FC-AC4F-9C44-985FF310F44D}"/>
              </a:ext>
            </a:extLst>
          </p:cNvPr>
          <p:cNvGrpSpPr/>
          <p:nvPr userDrawn="1"/>
        </p:nvGrpSpPr>
        <p:grpSpPr>
          <a:xfrm>
            <a:off x="425327" y="1785108"/>
            <a:ext cx="1439941" cy="1698626"/>
            <a:chOff x="425327" y="14365"/>
            <a:chExt cx="1439941" cy="1698626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17BE41B-859D-1F4E-BAE0-77DC661C0ED1}"/>
                </a:ext>
              </a:extLst>
            </p:cNvPr>
            <p:cNvSpPr txBox="1"/>
            <p:nvPr/>
          </p:nvSpPr>
          <p:spPr>
            <a:xfrm>
              <a:off x="617127" y="1251326"/>
              <a:ext cx="10933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Value of Space</a:t>
              </a:r>
            </a:p>
          </p:txBody>
        </p:sp>
        <p:pic>
          <p:nvPicPr>
            <p:cNvPr id="67" name="Picture 66" descr="A close up of a logo&#10;&#10;Description automatically generated">
              <a:extLst>
                <a:ext uri="{FF2B5EF4-FFF2-40B4-BE49-F238E27FC236}">
                  <a16:creationId xmlns:a16="http://schemas.microsoft.com/office/drawing/2014/main" id="{A7B9F8DA-DE54-5244-88F4-F73738E7E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5327" y="14365"/>
              <a:ext cx="1439941" cy="1439941"/>
            </a:xfrm>
            <a:prstGeom prst="rect">
              <a:avLst/>
            </a:prstGeom>
          </p:spPr>
        </p:pic>
      </p:grpSp>
      <p:pic>
        <p:nvPicPr>
          <p:cNvPr id="68" name="Picture 67" descr="A close up of a logo&#10;&#10;Description automatically generated">
            <a:extLst>
              <a:ext uri="{FF2B5EF4-FFF2-40B4-BE49-F238E27FC236}">
                <a16:creationId xmlns:a16="http://schemas.microsoft.com/office/drawing/2014/main" id="{1C1C2472-D34D-D743-83E9-472FDDE9ACD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3720" y="1770743"/>
            <a:ext cx="1440000" cy="1440000"/>
          </a:xfrm>
          <a:prstGeom prst="rect">
            <a:avLst/>
          </a:prstGeom>
        </p:spPr>
      </p:pic>
      <p:pic>
        <p:nvPicPr>
          <p:cNvPr id="69" name="Picture 68" descr="A close up of a logo&#10;&#10;Description automatically generated">
            <a:extLst>
              <a:ext uri="{FF2B5EF4-FFF2-40B4-BE49-F238E27FC236}">
                <a16:creationId xmlns:a16="http://schemas.microsoft.com/office/drawing/2014/main" id="{1A8D4D40-5926-7E4E-9409-346D94F9A48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7840" y="1770743"/>
            <a:ext cx="1440000" cy="14400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501BCBFB-16E0-674E-8BFA-C2B8B84A3463}"/>
              </a:ext>
            </a:extLst>
          </p:cNvPr>
          <p:cNvSpPr txBox="1"/>
          <p:nvPr userDrawn="1"/>
        </p:nvSpPr>
        <p:spPr>
          <a:xfrm>
            <a:off x="194118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DCBDD38-CEDC-4C45-9F16-63397D74B2D5}"/>
              </a:ext>
            </a:extLst>
          </p:cNvPr>
          <p:cNvSpPr txBox="1"/>
          <p:nvPr userDrawn="1"/>
        </p:nvSpPr>
        <p:spPr>
          <a:xfrm>
            <a:off x="326706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A73E3EA-1058-0945-B47B-B01E5F27DF8C}"/>
              </a:ext>
            </a:extLst>
          </p:cNvPr>
          <p:cNvGrpSpPr/>
          <p:nvPr userDrawn="1"/>
        </p:nvGrpSpPr>
        <p:grpSpPr>
          <a:xfrm>
            <a:off x="418424" y="9898"/>
            <a:ext cx="1440001" cy="1717254"/>
            <a:chOff x="4441292" y="451373"/>
            <a:chExt cx="1440001" cy="1717254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9029692-0A8B-9946-AE15-00C1B5C63887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107" name="Picture 106" descr="A picture containing object, clock&#10;&#10;Description automatically generated">
              <a:extLst>
                <a:ext uri="{FF2B5EF4-FFF2-40B4-BE49-F238E27FC236}">
                  <a16:creationId xmlns:a16="http://schemas.microsoft.com/office/drawing/2014/main" id="{7A1BE080-7C5A-CD46-A875-A8840BBA2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41292" y="451373"/>
              <a:ext cx="1440001" cy="1440001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CD871D3-5D9B-C445-B58A-3F400D10C036}"/>
              </a:ext>
            </a:extLst>
          </p:cNvPr>
          <p:cNvGrpSpPr/>
          <p:nvPr userDrawn="1"/>
        </p:nvGrpSpPr>
        <p:grpSpPr>
          <a:xfrm>
            <a:off x="3015807" y="0"/>
            <a:ext cx="1580322" cy="1530453"/>
            <a:chOff x="2063552" y="405538"/>
            <a:chExt cx="1580322" cy="1530453"/>
          </a:xfrm>
        </p:grpSpPr>
        <p:pic>
          <p:nvPicPr>
            <p:cNvPr id="109" name="Picture 10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5E5B0A6-749C-B448-A592-2864D8A39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E521F28-9561-AD44-B722-533CBBE7DDCF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chnology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BB9F985-9B0F-E047-B510-1BB9EF36F33E}"/>
              </a:ext>
            </a:extLst>
          </p:cNvPr>
          <p:cNvGrpSpPr/>
          <p:nvPr userDrawn="1"/>
        </p:nvGrpSpPr>
        <p:grpSpPr>
          <a:xfrm>
            <a:off x="8563826" y="20904"/>
            <a:ext cx="1580322" cy="1501025"/>
            <a:chOff x="5750970" y="2169250"/>
            <a:chExt cx="1580322" cy="1501025"/>
          </a:xfrm>
        </p:grpSpPr>
        <p:pic>
          <p:nvPicPr>
            <p:cNvPr id="112" name="Picture 111" descr="A close up of a logo&#10;&#10;Description automatically generated">
              <a:extLst>
                <a:ext uri="{FF2B5EF4-FFF2-40B4-BE49-F238E27FC236}">
                  <a16:creationId xmlns:a16="http://schemas.microsoft.com/office/drawing/2014/main" id="{83428831-0B07-C443-A5D9-527124647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FB0C301-92BC-E541-B57F-525F1CEE2CEA}"/>
                </a:ext>
              </a:extLst>
            </p:cNvPr>
            <p:cNvSpPr txBox="1"/>
            <p:nvPr/>
          </p:nvSpPr>
          <p:spPr>
            <a:xfrm>
              <a:off x="5750970" y="33932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rusted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A064281-FE15-D047-AB93-75FFD984539C}"/>
              </a:ext>
            </a:extLst>
          </p:cNvPr>
          <p:cNvGrpSpPr/>
          <p:nvPr userDrawn="1"/>
        </p:nvGrpSpPr>
        <p:grpSpPr>
          <a:xfrm>
            <a:off x="4381418" y="1961"/>
            <a:ext cx="1580322" cy="1537449"/>
            <a:chOff x="3896140" y="3968750"/>
            <a:chExt cx="1580322" cy="1537449"/>
          </a:xfrm>
        </p:grpSpPr>
        <p:pic>
          <p:nvPicPr>
            <p:cNvPr id="115" name="Picture 114" descr="A close up of a logo&#10;&#10;Description automatically generated">
              <a:extLst>
                <a:ext uri="{FF2B5EF4-FFF2-40B4-BE49-F238E27FC236}">
                  <a16:creationId xmlns:a16="http://schemas.microsoft.com/office/drawing/2014/main" id="{7A4E366A-C689-9F45-9BE2-7565B861A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3E2AF2E-D974-BC44-82F4-AAA15C760FD0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lemetry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F05FAF8-30CF-B54D-A9D8-9AD47435166B}"/>
              </a:ext>
            </a:extLst>
          </p:cNvPr>
          <p:cNvGrpSpPr/>
          <p:nvPr userDrawn="1"/>
        </p:nvGrpSpPr>
        <p:grpSpPr>
          <a:xfrm>
            <a:off x="5774501" y="0"/>
            <a:ext cx="1580322" cy="1555646"/>
            <a:chOff x="1638370" y="428315"/>
            <a:chExt cx="1580322" cy="1555646"/>
          </a:xfrm>
        </p:grpSpPr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60DA4B5-6EAA-E84C-AD7B-B149EBD9CD91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in</a:t>
              </a:r>
            </a:p>
          </p:txBody>
        </p:sp>
        <p:pic>
          <p:nvPicPr>
            <p:cNvPr id="119" name="Picture 11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A2C1789-8CA5-0B48-A125-F634DA7011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01611" y="428315"/>
              <a:ext cx="1441450" cy="1441450"/>
            </a:xfrm>
            <a:prstGeom prst="rect">
              <a:avLst/>
            </a:prstGeom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52128973-2794-CD4A-967B-7EA3F6DA1F82}"/>
              </a:ext>
            </a:extLst>
          </p:cNvPr>
          <p:cNvGrpSpPr/>
          <p:nvPr userDrawn="1"/>
        </p:nvGrpSpPr>
        <p:grpSpPr>
          <a:xfrm>
            <a:off x="1699390" y="0"/>
            <a:ext cx="1440000" cy="1738862"/>
            <a:chOff x="5837032" y="429765"/>
            <a:chExt cx="1440000" cy="1738862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1E22EBBD-946D-EE4B-A99A-9BC7B6497A4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Saving</a:t>
              </a:r>
            </a:p>
          </p:txBody>
        </p:sp>
        <p:pic>
          <p:nvPicPr>
            <p:cNvPr id="122" name="Picture 121" descr="A close up of a sign&#10;&#10;Description automatically generated">
              <a:extLst>
                <a:ext uri="{FF2B5EF4-FFF2-40B4-BE49-F238E27FC236}">
                  <a16:creationId xmlns:a16="http://schemas.microsoft.com/office/drawing/2014/main" id="{8C332DCE-70D7-B94D-A86F-41FCCE60F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0E466CF5-77E6-2849-825F-BCE63DDCA0FC}"/>
              </a:ext>
            </a:extLst>
          </p:cNvPr>
          <p:cNvGrpSpPr/>
          <p:nvPr userDrawn="1"/>
        </p:nvGrpSpPr>
        <p:grpSpPr>
          <a:xfrm>
            <a:off x="7139575" y="9709"/>
            <a:ext cx="1580322" cy="1548606"/>
            <a:chOff x="1638370" y="435355"/>
            <a:chExt cx="1580322" cy="1548606"/>
          </a:xfrm>
        </p:grpSpPr>
        <p:pic>
          <p:nvPicPr>
            <p:cNvPr id="124" name="Picture 123" descr="A close up of a logo&#10;&#10;Description automatically generated">
              <a:extLst>
                <a:ext uri="{FF2B5EF4-FFF2-40B4-BE49-F238E27FC236}">
                  <a16:creationId xmlns:a16="http://schemas.microsoft.com/office/drawing/2014/main" id="{29C8F395-99FF-CB41-9A35-870DA67F2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53119" y="435355"/>
              <a:ext cx="1440000" cy="1440000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11004237-79D8-FF41-BB20-F72958AB83CA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ermal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132D0852-F109-4840-8B7D-22633932F88B}"/>
              </a:ext>
            </a:extLst>
          </p:cNvPr>
          <p:cNvGrpSpPr/>
          <p:nvPr userDrawn="1"/>
        </p:nvGrpSpPr>
        <p:grpSpPr>
          <a:xfrm>
            <a:off x="9951586" y="0"/>
            <a:ext cx="1580322" cy="1530453"/>
            <a:chOff x="3896140" y="405538"/>
            <a:chExt cx="1580322" cy="1530453"/>
          </a:xfrm>
        </p:grpSpPr>
        <p:pic>
          <p:nvPicPr>
            <p:cNvPr id="127" name="Picture 126" descr="A close up of a sign&#10;&#10;Description automatically generated">
              <a:extLst>
                <a:ext uri="{FF2B5EF4-FFF2-40B4-BE49-F238E27FC236}">
                  <a16:creationId xmlns:a16="http://schemas.microsoft.com/office/drawing/2014/main" id="{F253349E-D85B-1A40-A086-F689B655B8B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8875A09-5C32-D144-B13C-55E5EB13EEC9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User interfa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1810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7E0ADF6-E402-3146-B6DE-495BAF74F338}"/>
              </a:ext>
            </a:extLst>
          </p:cNvPr>
          <p:cNvGrpSpPr/>
          <p:nvPr userDrawn="1"/>
        </p:nvGrpSpPr>
        <p:grpSpPr>
          <a:xfrm>
            <a:off x="2060687" y="1219765"/>
            <a:ext cx="1580322" cy="1823574"/>
            <a:chOff x="2060687" y="335183"/>
            <a:chExt cx="1580322" cy="182357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7080020-DBD7-7D4A-A601-0D373779B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0415" y="335183"/>
              <a:ext cx="1560866" cy="1560866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4B66BA5-5251-7D4A-ADB0-F06CA12C04E2}"/>
                </a:ext>
              </a:extLst>
            </p:cNvPr>
            <p:cNvSpPr txBox="1"/>
            <p:nvPr/>
          </p:nvSpPr>
          <p:spPr>
            <a:xfrm>
              <a:off x="2060687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 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311CBF-35F9-7B42-AFD0-7388FA15E194}"/>
              </a:ext>
            </a:extLst>
          </p:cNvPr>
          <p:cNvGrpSpPr/>
          <p:nvPr userDrawn="1"/>
        </p:nvGrpSpPr>
        <p:grpSpPr>
          <a:xfrm>
            <a:off x="3896140" y="1219765"/>
            <a:ext cx="1580322" cy="1823574"/>
            <a:chOff x="3896140" y="335183"/>
            <a:chExt cx="1580322" cy="1823574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3C9B6E8E-D382-C54D-B03F-EC03B231D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5868" y="335183"/>
              <a:ext cx="1560866" cy="1560866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7E95FD9-B3BE-3946-88C9-18D9AF591AE3}"/>
                </a:ext>
              </a:extLst>
            </p:cNvPr>
            <p:cNvSpPr txBox="1"/>
            <p:nvPr/>
          </p:nvSpPr>
          <p:spPr>
            <a:xfrm>
              <a:off x="389614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Harvested Rainwater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7A2DF56-7F4E-B74F-9EF8-22EB940B3D8F}"/>
              </a:ext>
            </a:extLst>
          </p:cNvPr>
          <p:cNvGrpSpPr/>
          <p:nvPr userDrawn="1"/>
        </p:nvGrpSpPr>
        <p:grpSpPr>
          <a:xfrm>
            <a:off x="5750970" y="1219765"/>
            <a:ext cx="1580322" cy="1823574"/>
            <a:chOff x="5750970" y="335183"/>
            <a:chExt cx="1580322" cy="182357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397EC76-47B1-5F40-8B0A-CCCC7E2D7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698" y="335183"/>
              <a:ext cx="1560866" cy="1560866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AC4E3AF-BD61-5C4F-A121-07463167A4A2}"/>
                </a:ext>
              </a:extLst>
            </p:cNvPr>
            <p:cNvSpPr txBox="1"/>
            <p:nvPr/>
          </p:nvSpPr>
          <p:spPr>
            <a:xfrm>
              <a:off x="575097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 (PETS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A3D937-5DA9-6540-A3B4-35AB5AD80573}"/>
              </a:ext>
            </a:extLst>
          </p:cNvPr>
          <p:cNvGrpSpPr/>
          <p:nvPr userDrawn="1"/>
        </p:nvGrpSpPr>
        <p:grpSpPr>
          <a:xfrm>
            <a:off x="7667309" y="1219765"/>
            <a:ext cx="1580322" cy="1823574"/>
            <a:chOff x="7667309" y="335183"/>
            <a:chExt cx="1580322" cy="1823574"/>
          </a:xfrm>
        </p:grpSpPr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4199837F-648B-3E49-8C70-6CCBA8CB9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7037" y="335183"/>
              <a:ext cx="1560866" cy="1560866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3DD6A3E-810A-E149-B8DC-16C65669000C}"/>
                </a:ext>
              </a:extLst>
            </p:cNvPr>
            <p:cNvSpPr txBox="1"/>
            <p:nvPr/>
          </p:nvSpPr>
          <p:spPr>
            <a:xfrm>
              <a:off x="7667309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ustainable Disposabl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A435C9-18ED-7C47-B379-E289CBD0D831}"/>
              </a:ext>
            </a:extLst>
          </p:cNvPr>
          <p:cNvGrpSpPr/>
          <p:nvPr userDrawn="1"/>
        </p:nvGrpSpPr>
        <p:grpSpPr>
          <a:xfrm>
            <a:off x="9480376" y="1219765"/>
            <a:ext cx="1580322" cy="1823574"/>
            <a:chOff x="9480376" y="335183"/>
            <a:chExt cx="1580322" cy="1823574"/>
          </a:xfrm>
        </p:grpSpPr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B2DFCE71-6805-1940-98AC-BE0857ADF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90104" y="335183"/>
              <a:ext cx="1560866" cy="1560866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D4A8CB-B54E-F342-AD99-33B14AF80D1A}"/>
                </a:ext>
              </a:extLst>
            </p:cNvPr>
            <p:cNvSpPr txBox="1"/>
            <p:nvPr/>
          </p:nvSpPr>
          <p:spPr>
            <a:xfrm>
              <a:off x="9480376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ldlife Conserv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C275B83-58F3-4C41-A29B-A8449C9A03FC}"/>
              </a:ext>
            </a:extLst>
          </p:cNvPr>
          <p:cNvGrpSpPr/>
          <p:nvPr userDrawn="1"/>
        </p:nvGrpSpPr>
        <p:grpSpPr>
          <a:xfrm>
            <a:off x="366479" y="2970743"/>
            <a:ext cx="1580322" cy="1876512"/>
            <a:chOff x="366479" y="2086161"/>
            <a:chExt cx="1580322" cy="187651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D0B128-566C-9946-8291-F34F48BC9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6207" y="2086161"/>
              <a:ext cx="1560866" cy="156086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A6ED507-A5BD-5E41-A120-C59F75E0D899}"/>
                </a:ext>
              </a:extLst>
            </p:cNvPr>
            <p:cNvSpPr txBox="1"/>
            <p:nvPr/>
          </p:nvSpPr>
          <p:spPr>
            <a:xfrm>
              <a:off x="36647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Waste to Landfill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88C6F2-E90C-9D4F-BB44-9C228DB01E7B}"/>
              </a:ext>
            </a:extLst>
          </p:cNvPr>
          <p:cNvGrpSpPr/>
          <p:nvPr userDrawn="1"/>
        </p:nvGrpSpPr>
        <p:grpSpPr>
          <a:xfrm>
            <a:off x="5750970" y="2970743"/>
            <a:ext cx="1580322" cy="1876512"/>
            <a:chOff x="5750970" y="2086161"/>
            <a:chExt cx="1580322" cy="1876512"/>
          </a:xfrm>
        </p:grpSpPr>
        <p:pic>
          <p:nvPicPr>
            <p:cNvPr id="21" name="Picture 20" descr="A close up of a logo&#10;&#10;Description automatically generated">
              <a:extLst>
                <a:ext uri="{FF2B5EF4-FFF2-40B4-BE49-F238E27FC236}">
                  <a16:creationId xmlns:a16="http://schemas.microsoft.com/office/drawing/2014/main" id="{40AF79D2-ABB6-6249-AB90-819D80E27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698" y="2086161"/>
              <a:ext cx="1560866" cy="1560866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6D520A-1850-6240-AF9C-C53B4319489F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erve Precious Water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E86519-8C0E-7E4A-B35D-EA1C68D21516}"/>
              </a:ext>
            </a:extLst>
          </p:cNvPr>
          <p:cNvGrpSpPr/>
          <p:nvPr userDrawn="1"/>
        </p:nvGrpSpPr>
        <p:grpSpPr>
          <a:xfrm>
            <a:off x="366479" y="4789815"/>
            <a:ext cx="1580322" cy="1823732"/>
            <a:chOff x="366479" y="3905233"/>
            <a:chExt cx="1580322" cy="182373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4DD2E8F-EA5D-BE4D-9771-D7938B9CF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6207" y="3905233"/>
              <a:ext cx="1560866" cy="1560866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FCDF5E6-CEA8-974B-9E45-8BA498AE4982}"/>
                </a:ext>
              </a:extLst>
            </p:cNvPr>
            <p:cNvSpPr txBox="1"/>
            <p:nvPr/>
          </p:nvSpPr>
          <p:spPr>
            <a:xfrm>
              <a:off x="366479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ivert Waste </a:t>
              </a:r>
              <a:br>
                <a:rPr lang="en-US" sz="1200" dirty="0"/>
              </a:br>
              <a:r>
                <a:rPr lang="en-US" sz="1200" dirty="0"/>
                <a:t>From Landfill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6554505-D36A-6B4A-B149-925F6F387039}"/>
              </a:ext>
            </a:extLst>
          </p:cNvPr>
          <p:cNvGrpSpPr/>
          <p:nvPr userDrawn="1"/>
        </p:nvGrpSpPr>
        <p:grpSpPr>
          <a:xfrm>
            <a:off x="2060687" y="4789815"/>
            <a:ext cx="1580322" cy="1639066"/>
            <a:chOff x="2060687" y="3905233"/>
            <a:chExt cx="1580322" cy="1639066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A87986D-6D26-B049-ACB6-D09710666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0415" y="3905233"/>
              <a:ext cx="1560866" cy="156086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A0E7E4B-4EED-EF45-AD38-AB6BBD575001}"/>
                </a:ext>
              </a:extLst>
            </p:cNvPr>
            <p:cNvSpPr txBox="1"/>
            <p:nvPr/>
          </p:nvSpPr>
          <p:spPr>
            <a:xfrm>
              <a:off x="2060687" y="52673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Car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59AC5-5161-3542-A44B-87C140EF1AD7}"/>
              </a:ext>
            </a:extLst>
          </p:cNvPr>
          <p:cNvGrpSpPr/>
          <p:nvPr userDrawn="1"/>
        </p:nvGrpSpPr>
        <p:grpSpPr>
          <a:xfrm>
            <a:off x="3896140" y="4789815"/>
            <a:ext cx="1580322" cy="1823732"/>
            <a:chOff x="3896140" y="3905233"/>
            <a:chExt cx="1580322" cy="1823732"/>
          </a:xfrm>
        </p:grpSpPr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3118C172-C374-7148-8AF8-91DA1163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5868" y="3905233"/>
              <a:ext cx="1560866" cy="1560866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8D30B9-2D0D-5447-B451-99762172B567}"/>
                </a:ext>
              </a:extLst>
            </p:cNvPr>
            <p:cNvSpPr txBox="1"/>
            <p:nvPr/>
          </p:nvSpPr>
          <p:spPr>
            <a:xfrm>
              <a:off x="3896140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FE88D3-964D-F04D-982F-D50679D1A931}"/>
              </a:ext>
            </a:extLst>
          </p:cNvPr>
          <p:cNvGrpSpPr/>
          <p:nvPr userDrawn="1"/>
        </p:nvGrpSpPr>
        <p:grpSpPr>
          <a:xfrm>
            <a:off x="9480376" y="2970743"/>
            <a:ext cx="1580322" cy="1876512"/>
            <a:chOff x="9480376" y="2086161"/>
            <a:chExt cx="1580322" cy="1876512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B81C42D-1A62-0E42-9368-8AB6785A055B}"/>
                </a:ext>
              </a:extLst>
            </p:cNvPr>
            <p:cNvSpPr txBox="1"/>
            <p:nvPr/>
          </p:nvSpPr>
          <p:spPr>
            <a:xfrm>
              <a:off x="9480376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duce Carbon Emissions</a:t>
              </a:r>
            </a:p>
          </p:txBody>
        </p: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8C3D0B-F69D-584A-B789-F78D1EE92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90104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34229A7-5746-1545-9D95-5DB5D524B8B6}"/>
              </a:ext>
            </a:extLst>
          </p:cNvPr>
          <p:cNvGrpSpPr/>
          <p:nvPr userDrawn="1"/>
        </p:nvGrpSpPr>
        <p:grpSpPr>
          <a:xfrm>
            <a:off x="7667309" y="2970743"/>
            <a:ext cx="1580322" cy="1876512"/>
            <a:chOff x="7667309" y="2086161"/>
            <a:chExt cx="1580322" cy="187651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FCA6388-B3D7-E04A-9FFD-911C1AD95D4E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Upcycling Solutions</a:t>
              </a:r>
            </a:p>
          </p:txBody>
        </p:sp>
        <p:pic>
          <p:nvPicPr>
            <p:cNvPr id="37" name="Picture 36" descr="A close up of a logo&#10;&#10;Description automatically generated">
              <a:extLst>
                <a:ext uri="{FF2B5EF4-FFF2-40B4-BE49-F238E27FC236}">
                  <a16:creationId xmlns:a16="http://schemas.microsoft.com/office/drawing/2014/main" id="{87D98C90-3A4F-924E-866C-A3BD078DC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7037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5319109-DF02-FB4B-A59E-90747F79DBD5}"/>
              </a:ext>
            </a:extLst>
          </p:cNvPr>
          <p:cNvGrpSpPr/>
          <p:nvPr userDrawn="1"/>
        </p:nvGrpSpPr>
        <p:grpSpPr>
          <a:xfrm>
            <a:off x="3896140" y="2970743"/>
            <a:ext cx="1580322" cy="1691846"/>
            <a:chOff x="3896140" y="2086161"/>
            <a:chExt cx="1580322" cy="169184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69ACBB5-7413-064B-976E-6770C7943827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458CDF8-B795-7B49-9715-EAF36754E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5868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B72E4C2-6ABB-FC4C-ABD8-C3F418B7756B}"/>
              </a:ext>
            </a:extLst>
          </p:cNvPr>
          <p:cNvGrpSpPr/>
          <p:nvPr userDrawn="1"/>
        </p:nvGrpSpPr>
        <p:grpSpPr>
          <a:xfrm>
            <a:off x="2060687" y="2970743"/>
            <a:ext cx="1580322" cy="1876512"/>
            <a:chOff x="2060687" y="2086161"/>
            <a:chExt cx="1580322" cy="187651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7521234-615B-9B46-946E-CCDAC01ACD92}"/>
                </a:ext>
              </a:extLst>
            </p:cNvPr>
            <p:cNvSpPr txBox="1"/>
            <p:nvPr/>
          </p:nvSpPr>
          <p:spPr>
            <a:xfrm>
              <a:off x="2060687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Vehicles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8AC1DD03-B1F9-6B4C-AA85-870734290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0415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48BFC73-B6AF-004C-B3A9-6E0BA209E43D}"/>
              </a:ext>
            </a:extLst>
          </p:cNvPr>
          <p:cNvGrpSpPr/>
          <p:nvPr userDrawn="1"/>
        </p:nvGrpSpPr>
        <p:grpSpPr>
          <a:xfrm>
            <a:off x="366479" y="1219765"/>
            <a:ext cx="1580322" cy="1638908"/>
            <a:chOff x="366479" y="1219765"/>
            <a:chExt cx="1580322" cy="1638908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6E7A0CA-1D4D-C14A-847A-285EFAADE9AA}"/>
                </a:ext>
              </a:extLst>
            </p:cNvPr>
            <p:cNvSpPr txBox="1"/>
            <p:nvPr/>
          </p:nvSpPr>
          <p:spPr>
            <a:xfrm>
              <a:off x="366479" y="258167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T Plastic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AA491AB-E6B6-604B-BC91-441D57CCB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6207" y="1219765"/>
              <a:ext cx="1560866" cy="1560866"/>
            </a:xfrm>
            <a:prstGeom prst="rect">
              <a:avLst/>
            </a:prstGeom>
          </p:spPr>
        </p:pic>
      </p:grpSp>
      <p:sp>
        <p:nvSpPr>
          <p:cNvPr id="47" name="Title 4">
            <a:extLst>
              <a:ext uri="{FF2B5EF4-FFF2-40B4-BE49-F238E27FC236}">
                <a16:creationId xmlns:a16="http://schemas.microsoft.com/office/drawing/2014/main" id="{77074F7F-7772-E54E-8E65-51F80B009F05}"/>
              </a:ext>
            </a:extLst>
          </p:cNvPr>
          <p:cNvSpPr txBox="1">
            <a:spLocks/>
          </p:cNvSpPr>
          <p:nvPr userDrawn="1"/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net Passionate Icons</a:t>
            </a:r>
            <a:br>
              <a:rPr lang="en-I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940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1037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4DB3BC1-51BC-FA4C-B894-20464786F5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uideline Slide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5058055-1CEA-8F4A-B28D-6EBF057B1F66}"/>
              </a:ext>
            </a:extLst>
          </p:cNvPr>
          <p:cNvSpPr txBox="1"/>
          <p:nvPr userDrawn="1"/>
        </p:nvSpPr>
        <p:spPr>
          <a:xfrm>
            <a:off x="4198976" y="1454019"/>
            <a:ext cx="3609474" cy="51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3200" dirty="0">
                <a:latin typeface="Century Gothic" panose="020B0502020202020204" pitchFamily="34" charset="0"/>
              </a:rPr>
              <a:t>Title </a:t>
            </a:r>
            <a:r>
              <a:rPr lang="en-US" sz="3200" b="0" i="0" dirty="0">
                <a:latin typeface="Century Gothic" panose="020B0502020202020204" pitchFamily="34" charset="0"/>
              </a:rPr>
              <a:t>Size 3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latin typeface="Century Gothic" panose="020B0502020202020204" pitchFamily="34" charset="0"/>
              </a:rPr>
              <a:t>Title </a:t>
            </a:r>
            <a:r>
              <a:rPr lang="en-US" sz="4000" b="0" i="0" dirty="0">
                <a:latin typeface="Century Gothic" panose="020B0502020202020204" pitchFamily="34" charset="0"/>
              </a:rPr>
              <a:t>Size 4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latin typeface="Century Gothic" panose="020B0502020202020204" pitchFamily="34" charset="0"/>
              </a:rPr>
              <a:t>Title </a:t>
            </a:r>
            <a:r>
              <a:rPr lang="en-US" sz="4800" b="0" i="0" dirty="0">
                <a:latin typeface="Century Gothic" panose="020B0502020202020204" pitchFamily="34" charset="0"/>
              </a:rPr>
              <a:t>Size 4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Subtitle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i="0" dirty="0">
                <a:latin typeface="Century Gothic" panose="020B0502020202020204" pitchFamily="34" charset="0"/>
              </a:rPr>
              <a:t>Subtitle Size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i="0" dirty="0">
                <a:latin typeface="Century Gothic" panose="020B0502020202020204" pitchFamily="34" charset="0"/>
              </a:rPr>
              <a:t>Subtitle Size 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0" i="0" dirty="0">
                <a:latin typeface="Century Gothic" panose="020B0502020202020204" pitchFamily="34" charset="0"/>
              </a:rPr>
              <a:t>Subtitle Size 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latin typeface="Century Gothic" panose="020B0502020202020204" pitchFamily="34" charset="0"/>
              </a:rPr>
              <a:t>Body Copy Size 1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dirty="0">
                <a:latin typeface="Century Gothic" panose="020B0502020202020204" pitchFamily="34" charset="0"/>
              </a:rPr>
              <a:t>Body Copy Size 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0" i="0" dirty="0">
                <a:latin typeface="Century Gothic" panose="020B0502020202020204" pitchFamily="34" charset="0"/>
              </a:rPr>
              <a:t>Body Copy Size 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Body Copy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endParaRPr lang="en-US" sz="3200" b="0" i="0" dirty="0">
              <a:latin typeface="Century Gothic" panose="020B0502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A9601FA-2C65-E743-B839-2BC0AA447EFA}"/>
              </a:ext>
            </a:extLst>
          </p:cNvPr>
          <p:cNvGrpSpPr/>
          <p:nvPr userDrawn="1"/>
        </p:nvGrpSpPr>
        <p:grpSpPr>
          <a:xfrm>
            <a:off x="623887" y="1457766"/>
            <a:ext cx="3625820" cy="4943755"/>
            <a:chOff x="-6257760" y="707017"/>
            <a:chExt cx="3625820" cy="494375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BD78F41-BB0F-F94F-B712-97D86AE976FB}"/>
                </a:ext>
              </a:extLst>
            </p:cNvPr>
            <p:cNvSpPr/>
            <p:nvPr/>
          </p:nvSpPr>
          <p:spPr>
            <a:xfrm>
              <a:off x="-6246609" y="707017"/>
              <a:ext cx="881743" cy="881743"/>
            </a:xfrm>
            <a:prstGeom prst="ellipse">
              <a:avLst/>
            </a:prstGeom>
            <a:solidFill>
              <a:srgbClr val="0941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BCF57C2-460B-E046-8C9E-C10EFA6D7193}"/>
                </a:ext>
              </a:extLst>
            </p:cNvPr>
            <p:cNvSpPr/>
            <p:nvPr/>
          </p:nvSpPr>
          <p:spPr>
            <a:xfrm>
              <a:off x="-6246609" y="1726714"/>
              <a:ext cx="881743" cy="881743"/>
            </a:xfrm>
            <a:prstGeom prst="ellipse">
              <a:avLst/>
            </a:prstGeom>
            <a:solidFill>
              <a:srgbClr val="2382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5F50ABA-AC03-BB42-A8AC-FAC93E74E2FA}"/>
                </a:ext>
              </a:extLst>
            </p:cNvPr>
            <p:cNvSpPr/>
            <p:nvPr/>
          </p:nvSpPr>
          <p:spPr>
            <a:xfrm>
              <a:off x="-6246609" y="2740819"/>
              <a:ext cx="881743" cy="881743"/>
            </a:xfrm>
            <a:prstGeom prst="ellipse">
              <a:avLst/>
            </a:prstGeom>
            <a:solidFill>
              <a:srgbClr val="F7A4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78521A9-75E7-4548-A46B-547A9ACB0A3D}"/>
                </a:ext>
              </a:extLst>
            </p:cNvPr>
            <p:cNvSpPr/>
            <p:nvPr/>
          </p:nvSpPr>
          <p:spPr>
            <a:xfrm>
              <a:off x="-6257760" y="3754924"/>
              <a:ext cx="881743" cy="881743"/>
            </a:xfrm>
            <a:prstGeom prst="ellipse">
              <a:avLst/>
            </a:prstGeom>
            <a:solidFill>
              <a:srgbClr val="0FA0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BF5A9BF-9E01-A946-A6D0-4A399D564919}"/>
                </a:ext>
              </a:extLst>
            </p:cNvPr>
            <p:cNvSpPr/>
            <p:nvPr/>
          </p:nvSpPr>
          <p:spPr>
            <a:xfrm>
              <a:off x="-6257760" y="4769029"/>
              <a:ext cx="881743" cy="881743"/>
            </a:xfrm>
            <a:prstGeom prst="ellipse">
              <a:avLst/>
            </a:prstGeom>
            <a:solidFill>
              <a:srgbClr val="C09A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474E757-2D7D-E84A-8F90-67963898E9A5}"/>
                </a:ext>
              </a:extLst>
            </p:cNvPr>
            <p:cNvSpPr txBox="1"/>
            <p:nvPr/>
          </p:nvSpPr>
          <p:spPr>
            <a:xfrm>
              <a:off x="-5235635" y="293357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Orang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0 / 42 / 87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247 / 164 / 45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FBDF904-4B20-C644-BF8D-76EF3776FFF5}"/>
                </a:ext>
              </a:extLst>
            </p:cNvPr>
            <p:cNvSpPr txBox="1"/>
            <p:nvPr/>
          </p:nvSpPr>
          <p:spPr>
            <a:xfrm>
              <a:off x="-5235635" y="191247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0 / 33 / 4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 / 141 / 198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8FEDB90-7B3E-404B-BEE7-B7222F3FF624}"/>
                </a:ext>
              </a:extLst>
            </p:cNvPr>
            <p:cNvSpPr txBox="1"/>
            <p:nvPr/>
          </p:nvSpPr>
          <p:spPr>
            <a:xfrm>
              <a:off x="-5235635" y="851395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100 / 72 / 0 / 18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0 / 66 / 137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2223326-CD12-D04E-AD0D-8F5551660336}"/>
                </a:ext>
              </a:extLst>
            </p:cNvPr>
            <p:cNvSpPr txBox="1"/>
            <p:nvPr/>
          </p:nvSpPr>
          <p:spPr>
            <a:xfrm>
              <a:off x="-5235635" y="396009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Green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1 / 5 / 95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5 / 160 / 66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42560D3-17B6-DD47-A272-449E80C687E5}"/>
                </a:ext>
              </a:extLst>
            </p:cNvPr>
            <p:cNvSpPr txBox="1"/>
            <p:nvPr/>
          </p:nvSpPr>
          <p:spPr>
            <a:xfrm>
              <a:off x="-5235635" y="496178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Gold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30 / 40 / 70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2 / 154 / 9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1252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FF804A-9FCC-3D4F-8E5D-878EB0BC5C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18954" y="1397777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</p:spTree>
    <p:extLst>
      <p:ext uri="{BB962C8B-B14F-4D97-AF65-F5344CB8AC3E}">
        <p14:creationId xmlns:p14="http://schemas.microsoft.com/office/powerpoint/2010/main" val="509635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4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025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582F58F-84F7-A348-85DD-03FEC9C57F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108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5" t="27833" r="42531" b="51236"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nsert backdrop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F7D7FD-2E4D-764B-8614-8BB948EDA1D8}"/>
              </a:ext>
            </a:extLst>
          </p:cNvPr>
          <p:cNvSpPr/>
          <p:nvPr userDrawn="1"/>
        </p:nvSpPr>
        <p:spPr>
          <a:xfrm>
            <a:off x="5562600" y="3456947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Right click and use the crop function to size your image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Scale and position your image to fit inside this area.</a:t>
            </a:r>
            <a:br>
              <a:rPr lang="en-US" sz="1400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17678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B3BBCE2E-3119-F04F-B262-DE7256C2C7A1}"/>
              </a:ext>
            </a:extLst>
          </p:cNvPr>
          <p:cNvSpPr/>
          <p:nvPr userDrawn="1"/>
        </p:nvSpPr>
        <p:spPr>
          <a:xfrm>
            <a:off x="373198" y="0"/>
            <a:ext cx="11807823" cy="4530723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8" y="1745140"/>
            <a:ext cx="3527425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745140"/>
            <a:ext cx="3556001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01453" y="1745140"/>
            <a:ext cx="3556002" cy="254746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32288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E05B4EB-48E0-2742-B1AE-279309679E4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332288" y="4688681"/>
            <a:ext cx="3527425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CAB8C08-8214-6A4E-A4D8-C6B318A0AFD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3888" y="4688681"/>
            <a:ext cx="3556001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ECE91E5-64B2-9844-9A5C-E74D42AB53F9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8001453" y="4688681"/>
            <a:ext cx="3556002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06BC46-0E61-E540-B5BD-BCDF424A6C78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D66A452-9491-0747-91FC-E3C7677DDB5C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3775A9-4829-B74C-9440-0DEA4FFD7D3E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0489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018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186618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5B61BF-F308-884F-835C-950D755857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160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726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</a:lstStyle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Right click and use the crop function to size your image box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Scale and position your image to fit inside this area.</a:t>
            </a:r>
            <a:br>
              <a:rPr lang="en-US" sz="2000" dirty="0"/>
            </a:br>
            <a:endParaRPr lang="en-US" sz="2000" dirty="0"/>
          </a:p>
          <a:p>
            <a:pPr lvl="0"/>
            <a:endParaRPr lang="en-US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330794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124289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438259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94522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271328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525456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736726"/>
            <a:ext cx="261815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736726"/>
            <a:ext cx="2627312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736726"/>
            <a:ext cx="259238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736726"/>
            <a:ext cx="2627313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B9EAB2A-56B1-E542-B42E-A1585F7F0D9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406405" y="1272949"/>
            <a:ext cx="2598735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0E97C0-517F-494A-9ECE-ABF5BF8D5F5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3888" y="1272949"/>
            <a:ext cx="2627311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6CB81E-2868-C24A-A2D5-F8A38CC80E0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6197605" y="1272949"/>
            <a:ext cx="259873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5484F9-15AE-E747-8437-F25FF8A7112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940800" y="1272949"/>
            <a:ext cx="262731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8A60D2C3-77F9-EA4D-8FDD-D99DA6EE91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3623"/>
            <a:ext cx="10968449" cy="512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Main Titl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AC9DD0D-4687-204C-B610-9E8509660368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23888" y="4801560"/>
            <a:ext cx="10944223" cy="12492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50B2B7B-B299-584F-83B1-8A6E2DAD24C1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1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7E5DAF-191D-4648-A2A4-AC5ABD21B32D}"/>
              </a:ext>
            </a:extLst>
          </p:cNvPr>
          <p:cNvCxnSpPr>
            <a:cxnSpLocks/>
          </p:cNvCxnSpPr>
          <p:nvPr userDrawn="1"/>
        </p:nvCxnSpPr>
        <p:spPr>
          <a:xfrm>
            <a:off x="3406405" y="1125538"/>
            <a:ext cx="261815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3C4C2E8-8905-214A-A6DA-BC1350B2EC69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A5E08C-7312-384E-B73D-6651839252B3}"/>
              </a:ext>
            </a:extLst>
          </p:cNvPr>
          <p:cNvCxnSpPr>
            <a:cxnSpLocks/>
          </p:cNvCxnSpPr>
          <p:nvPr userDrawn="1"/>
        </p:nvCxnSpPr>
        <p:spPr>
          <a:xfrm>
            <a:off x="89408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838D76C-8F40-194F-A2DC-75834602A1A6}"/>
              </a:ext>
            </a:extLst>
          </p:cNvPr>
          <p:cNvCxnSpPr>
            <a:cxnSpLocks/>
          </p:cNvCxnSpPr>
          <p:nvPr userDrawn="1"/>
        </p:nvCxnSpPr>
        <p:spPr>
          <a:xfrm>
            <a:off x="629925" y="4944428"/>
            <a:ext cx="31156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94EDC1BE-5A2F-9141-AD5F-0F7879D6B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214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213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2286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4B06EC-548A-3A41-9515-77E050010F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715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566099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D2F7360-C85C-A545-9AC3-C8303F5241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032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098799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A08F8D-242C-EC41-A05E-7744BFBBC7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700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01CB732-A621-8440-A42B-A3E72ABEF6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783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56A60E4-0332-914F-93F8-9A7AA9093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581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08C281-9C7A-294A-87E1-B2464303E763}"/>
              </a:ext>
            </a:extLst>
          </p:cNvPr>
          <p:cNvSpPr/>
          <p:nvPr userDrawn="1"/>
        </p:nvSpPr>
        <p:spPr>
          <a:xfrm>
            <a:off x="0" y="1"/>
            <a:ext cx="12181021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9" y="1745140"/>
            <a:ext cx="3527424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12113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8023"/>
            <a:ext cx="10934489" cy="54303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49577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E4BDEA-9ED9-9E4A-8299-1ED7EDA0B7BE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530DB3-6D36-8245-B9A4-DFAB045921B8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44A662-5109-9E46-BA25-7B6A075E7F85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C6B76F-1E4F-AC47-9415-689DE31A47F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168B1D-3168-D940-8927-A3A5BAAAFAF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Subtitle 2">
            <a:extLst>
              <a:ext uri="{FF2B5EF4-FFF2-40B4-BE49-F238E27FC236}">
                <a16:creationId xmlns:a16="http://schemas.microsoft.com/office/drawing/2014/main" id="{A69FF014-B939-B84A-B950-4DB7547889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B58088-83A5-AD46-ACC2-6FB2290F56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698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3B371F-F73D-7848-955E-6F4A47C7D7A0}"/>
              </a:ext>
            </a:extLst>
          </p:cNvPr>
          <p:cNvSpPr/>
          <p:nvPr userDrawn="1"/>
        </p:nvSpPr>
        <p:spPr>
          <a:xfrm>
            <a:off x="5232400" y="512763"/>
            <a:ext cx="4500563" cy="271747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9BCB5-7570-8940-9AC8-67AF9BFB7BFC}"/>
              </a:ext>
            </a:extLst>
          </p:cNvPr>
          <p:cNvSpPr/>
          <p:nvPr userDrawn="1"/>
        </p:nvSpPr>
        <p:spPr>
          <a:xfrm>
            <a:off x="5228384" y="3362277"/>
            <a:ext cx="3567953" cy="237387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02A2A2-091B-3843-8E8D-C5130D918C0B}"/>
              </a:ext>
            </a:extLst>
          </p:cNvPr>
          <p:cNvSpPr/>
          <p:nvPr userDrawn="1"/>
        </p:nvSpPr>
        <p:spPr>
          <a:xfrm>
            <a:off x="8947152" y="3362277"/>
            <a:ext cx="3244848" cy="237648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B59B44-4EB0-684F-AB52-741961638BCF}"/>
              </a:ext>
            </a:extLst>
          </p:cNvPr>
          <p:cNvSpPr/>
          <p:nvPr userDrawn="1"/>
        </p:nvSpPr>
        <p:spPr>
          <a:xfrm>
            <a:off x="9861552" y="501927"/>
            <a:ext cx="2330448" cy="272831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04AF4BF-EF8E-5246-A68A-86D5DCC9D8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844" y="1459681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0D1934E5-DFFE-D64A-AC88-7270E46A22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6656" y="1513469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BE6F2F-98ED-E740-8C3A-11E55932FF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1806" y="4122199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D554C6E-14A7-F240-A7FE-4B4921CCB3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5726" y="4108752"/>
            <a:ext cx="1150938" cy="1004936"/>
          </a:xfrm>
          <a:prstGeom prst="rect">
            <a:avLst/>
          </a:prstGeom>
        </p:spPr>
      </p:pic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D0040FA-429B-3340-98A6-8EDBE6F6C15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400" y="501926"/>
            <a:ext cx="4500563" cy="2714866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25E71D81-56C6-4741-8183-0B428AFAEF52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5838" y="499315"/>
            <a:ext cx="2316162" cy="2717477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663DCAF0-0A11-9744-996C-8D17C975A9D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1" y="3373115"/>
            <a:ext cx="3251200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BD990BB-3AB6-874E-8F35-63EA9033F064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5232400" y="3373116"/>
            <a:ext cx="3563937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078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06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B3BBCE2E-3119-F04F-B262-DE7256C2C7A1}"/>
              </a:ext>
            </a:extLst>
          </p:cNvPr>
          <p:cNvSpPr/>
          <p:nvPr userDrawn="1"/>
        </p:nvSpPr>
        <p:spPr>
          <a:xfrm>
            <a:off x="373198" y="0"/>
            <a:ext cx="11807823" cy="4530723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8" y="1745140"/>
            <a:ext cx="3527425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745140"/>
            <a:ext cx="3556001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01453" y="1745140"/>
            <a:ext cx="3556002" cy="254746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32288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E05B4EB-48E0-2742-B1AE-279309679E4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332288" y="4688681"/>
            <a:ext cx="3527425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CAB8C08-8214-6A4E-A4D8-C6B318A0AFD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3888" y="4688681"/>
            <a:ext cx="3556001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ECE91E5-64B2-9844-9A5C-E74D42AB53F9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8001453" y="4688681"/>
            <a:ext cx="3556002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06BC46-0E61-E540-B5BD-BCDF424A6C78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D66A452-9491-0747-91FC-E3C7677DDB5C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3775A9-4829-B74C-9440-0DEA4FFD7D3E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3837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736726"/>
            <a:ext cx="261815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736726"/>
            <a:ext cx="2627312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736726"/>
            <a:ext cx="259238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736726"/>
            <a:ext cx="2627313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B9EAB2A-56B1-E542-B42E-A1585F7F0D9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406405" y="1272949"/>
            <a:ext cx="2598735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0E97C0-517F-494A-9ECE-ABF5BF8D5F5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3888" y="1272949"/>
            <a:ext cx="2627311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6CB81E-2868-C24A-A2D5-F8A38CC80E0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6197605" y="1272949"/>
            <a:ext cx="259873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5484F9-15AE-E747-8437-F25FF8A7112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940800" y="1272949"/>
            <a:ext cx="262731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8A60D2C3-77F9-EA4D-8FDD-D99DA6EE91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3623"/>
            <a:ext cx="10968449" cy="512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Main Titl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AC9DD0D-4687-204C-B610-9E8509660368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23888" y="4801560"/>
            <a:ext cx="10944223" cy="12492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50B2B7B-B299-584F-83B1-8A6E2DAD24C1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1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7E5DAF-191D-4648-A2A4-AC5ABD21B32D}"/>
              </a:ext>
            </a:extLst>
          </p:cNvPr>
          <p:cNvCxnSpPr>
            <a:cxnSpLocks/>
          </p:cNvCxnSpPr>
          <p:nvPr userDrawn="1"/>
        </p:nvCxnSpPr>
        <p:spPr>
          <a:xfrm>
            <a:off x="3406405" y="1125538"/>
            <a:ext cx="261815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3C4C2E8-8905-214A-A6DA-BC1350B2EC69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A5E08C-7312-384E-B73D-6651839252B3}"/>
              </a:ext>
            </a:extLst>
          </p:cNvPr>
          <p:cNvCxnSpPr>
            <a:cxnSpLocks/>
          </p:cNvCxnSpPr>
          <p:nvPr userDrawn="1"/>
        </p:nvCxnSpPr>
        <p:spPr>
          <a:xfrm>
            <a:off x="89408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838D76C-8F40-194F-A2DC-75834602A1A6}"/>
              </a:ext>
            </a:extLst>
          </p:cNvPr>
          <p:cNvCxnSpPr>
            <a:cxnSpLocks/>
          </p:cNvCxnSpPr>
          <p:nvPr userDrawn="1"/>
        </p:nvCxnSpPr>
        <p:spPr>
          <a:xfrm>
            <a:off x="629925" y="4944428"/>
            <a:ext cx="31156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94EDC1BE-5A2F-9141-AD5F-0F7879D6BE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21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3B371F-F73D-7848-955E-6F4A47C7D7A0}"/>
              </a:ext>
            </a:extLst>
          </p:cNvPr>
          <p:cNvSpPr/>
          <p:nvPr userDrawn="1"/>
        </p:nvSpPr>
        <p:spPr>
          <a:xfrm>
            <a:off x="5232400" y="512763"/>
            <a:ext cx="4500563" cy="271747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9BCB5-7570-8940-9AC8-67AF9BFB7BFC}"/>
              </a:ext>
            </a:extLst>
          </p:cNvPr>
          <p:cNvSpPr/>
          <p:nvPr userDrawn="1"/>
        </p:nvSpPr>
        <p:spPr>
          <a:xfrm>
            <a:off x="5228384" y="3362277"/>
            <a:ext cx="3567953" cy="237387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02A2A2-091B-3843-8E8D-C5130D918C0B}"/>
              </a:ext>
            </a:extLst>
          </p:cNvPr>
          <p:cNvSpPr/>
          <p:nvPr userDrawn="1"/>
        </p:nvSpPr>
        <p:spPr>
          <a:xfrm>
            <a:off x="8947152" y="3362277"/>
            <a:ext cx="3244848" cy="237648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B59B44-4EB0-684F-AB52-741961638BCF}"/>
              </a:ext>
            </a:extLst>
          </p:cNvPr>
          <p:cNvSpPr/>
          <p:nvPr userDrawn="1"/>
        </p:nvSpPr>
        <p:spPr>
          <a:xfrm>
            <a:off x="9861552" y="501927"/>
            <a:ext cx="2330448" cy="272831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04AF4BF-EF8E-5246-A68A-86D5DCC9D8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560844" y="1459681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0D1934E5-DFFE-D64A-AC88-7270E46A22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7306656" y="1513469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BE6F2F-98ED-E740-8C3A-11E55932FF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021806" y="4122199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D554C6E-14A7-F240-A7FE-4B4921CCB3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9955726" y="4108752"/>
            <a:ext cx="1150938" cy="1004936"/>
          </a:xfrm>
          <a:prstGeom prst="rect">
            <a:avLst/>
          </a:prstGeom>
        </p:spPr>
      </p:pic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D0040FA-429B-3340-98A6-8EDBE6F6C15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400" y="501926"/>
            <a:ext cx="4500563" cy="2714866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25E71D81-56C6-4741-8183-0B428AFAEF52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5838" y="499315"/>
            <a:ext cx="2316162" cy="2717477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663DCAF0-0A11-9744-996C-8D17C975A9D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1" y="3373115"/>
            <a:ext cx="3251200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BD990BB-3AB6-874E-8F35-63EA9033F064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5232400" y="3373116"/>
            <a:ext cx="3563937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673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06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198804" y="0"/>
            <a:ext cx="798221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Imag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CD41DA-5299-F245-B635-25684774BD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283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 for any mention of Quadcor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 Select the logo and copy to clipboard.</a:t>
            </a:r>
            <a:br>
              <a:rPr lang="en-GB" dirty="0"/>
            </a:br>
            <a:r>
              <a:rPr lang="en-GB" dirty="0"/>
              <a:t>- Close master and place on a slide of your choosing.</a:t>
            </a:r>
            <a:endParaRPr lang="en-US" dirty="0"/>
          </a:p>
          <a:p>
            <a:pPr lvl="0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E78980-CB00-7148-8535-BC8EA3D80D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209547"/>
            <a:ext cx="825028" cy="303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857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1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lace on a slide of your choosing.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B07D24-D394-6B43-9672-1B4A838AF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65975" y="6259606"/>
            <a:ext cx="1875066" cy="513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483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D3A9F48F-DEB8-D54B-9A3F-D74D7B3BDB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E83591B-96D8-4D47-B22F-66A56E777A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635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CB6B763-9BD5-DD42-876D-86BF240D60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C0519C4-C654-324F-A1C1-D78DB6CBA7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796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8693107-CCA3-A44F-A088-CA97182B2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E3C12AD-F3DE-8345-83C1-ED4A54A6FA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210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27396510-F944-4741-BA3C-017EE0787E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F86B7C-BE1A-8143-ADB4-6DDB056CB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809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198804" y="0"/>
            <a:ext cx="798221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Imag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CD41DA-5299-F245-B635-25684774BD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734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270B3F9-86D7-C949-8435-04D9B62A3D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44DA6B8-C25A-AE4C-8728-B2D0905C2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578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004AB388-D756-A24F-A1DD-F8134B91DB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28E617-A629-9444-BEB9-06AC835D6C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354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85126B2A-21C1-B843-B973-F8CD5363EB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9231C03-7741-E94C-A68A-77ABA0F6DD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930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348A17DD-BEA2-8848-AA12-6063DC78CA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1E35709-C6B8-1846-9E42-6EBD70173E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960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F34DB94D-7DB1-464A-90FB-C24B1FEAA0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528E442-F367-0A4F-90E7-9580D5CCF9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4449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56D5E389-1BA3-8945-B943-A8A836E009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0B6B91-2D0D-3E40-9B08-7A2F43897A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596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8F8528-A255-6045-B279-EFF4A71A06DD}"/>
              </a:ext>
            </a:extLst>
          </p:cNvPr>
          <p:cNvSpPr/>
          <p:nvPr userDrawn="1"/>
        </p:nvSpPr>
        <p:spPr>
          <a:xfrm>
            <a:off x="10979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0414" y="2432441"/>
            <a:ext cx="899998" cy="439534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2E7FB9-B022-AB4A-BAC0-F149A0629C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0413" y="2992990"/>
            <a:ext cx="899998" cy="4395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00D63A-3C2D-3140-BC56-D1370DC4894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413" y="4298362"/>
            <a:ext cx="899998" cy="43953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9E988D2-9BC7-BB40-B379-300A8F82E87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989441" y="2434511"/>
            <a:ext cx="899998" cy="28294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AA5258F-A7C4-504C-A201-2E2E3883AF7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989441" y="2744742"/>
            <a:ext cx="899998" cy="28294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514FBC5-ECB4-6E4B-918D-248C86BC33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989441" y="3621350"/>
            <a:ext cx="899998" cy="33076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Logo Asset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EEEF11F-B58A-FD47-AD30-84622B7E652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60413" y="3550163"/>
            <a:ext cx="899999" cy="4395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E37C99C-700A-5A47-8187-38196CD7BE7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35774" y="2452612"/>
            <a:ext cx="2184530" cy="52921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B8D4501-51DF-8449-83DA-B5724F011D8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35774" y="4190510"/>
            <a:ext cx="1998598" cy="547386"/>
          </a:xfrm>
          <a:prstGeom prst="rect">
            <a:avLst/>
          </a:prstGeom>
        </p:spPr>
      </p:pic>
      <p:pic>
        <p:nvPicPr>
          <p:cNvPr id="17" name="Picture 16" descr="A close up of a sign&#10;&#10;Description automatically generated">
            <a:extLst>
              <a:ext uri="{FF2B5EF4-FFF2-40B4-BE49-F238E27FC236}">
                <a16:creationId xmlns:a16="http://schemas.microsoft.com/office/drawing/2014/main" id="{D60CCDB2-0EE1-6543-84A2-4D6FAFFC9AC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969676" y="3220067"/>
            <a:ext cx="899998" cy="2113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AD87397-2A55-3448-9CF3-31235031B11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335774" y="3621350"/>
            <a:ext cx="2254404" cy="43650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881D252-0CE7-8149-AA1C-F3C162BA8436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361028" y="3050202"/>
            <a:ext cx="2261893" cy="43795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32639EA-3281-6442-A50C-851F285B3942}"/>
              </a:ext>
            </a:extLst>
          </p:cNvPr>
          <p:cNvSpPr txBox="1"/>
          <p:nvPr userDrawn="1"/>
        </p:nvSpPr>
        <p:spPr>
          <a:xfrm>
            <a:off x="7045693" y="1474269"/>
            <a:ext cx="22619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access logos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a logo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logos can then be pasted onto a slide of your choosing.</a:t>
            </a:r>
          </a:p>
        </p:txBody>
      </p:sp>
    </p:spTree>
    <p:extLst>
      <p:ext uri="{BB962C8B-B14F-4D97-AF65-F5344CB8AC3E}">
        <p14:creationId xmlns:p14="http://schemas.microsoft.com/office/powerpoint/2010/main" val="1062648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pic>
        <p:nvPicPr>
          <p:cNvPr id="187" name="Picture 186" descr="A group of people in a dark room&#10;&#10;Description automatically generated">
            <a:extLst>
              <a:ext uri="{FF2B5EF4-FFF2-40B4-BE49-F238E27FC236}">
                <a16:creationId xmlns:a16="http://schemas.microsoft.com/office/drawing/2014/main" id="{84355E12-4DC3-A24D-A7D7-89987EA9EB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82411" y="0"/>
            <a:ext cx="10609589" cy="6858000"/>
          </a:xfrm>
          <a:prstGeom prst="rect">
            <a:avLst/>
          </a:prstGeom>
        </p:spPr>
      </p:pic>
      <p:sp>
        <p:nvSpPr>
          <p:cNvPr id="188" name="Content Placeholder 2">
            <a:extLst>
              <a:ext uri="{FF2B5EF4-FFF2-40B4-BE49-F238E27FC236}">
                <a16:creationId xmlns:a16="http://schemas.microsoft.com/office/drawing/2014/main" id="{FF714AA7-CEE4-5F47-99FA-AE15DDF9FB8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141493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map&#10;&#10;Description automatically generated">
            <a:extLst>
              <a:ext uri="{FF2B5EF4-FFF2-40B4-BE49-F238E27FC236}">
                <a16:creationId xmlns:a16="http://schemas.microsoft.com/office/drawing/2014/main" id="{BD34BBF7-F237-CC4A-B3CD-B5C10BA9F6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6745" y="777711"/>
            <a:ext cx="10624276" cy="608028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5BAECDA-3C87-BF41-AD8F-C04F616F40D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</p:spTree>
    <p:extLst>
      <p:ext uri="{BB962C8B-B14F-4D97-AF65-F5344CB8AC3E}">
        <p14:creationId xmlns:p14="http://schemas.microsoft.com/office/powerpoint/2010/main" val="1524109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0D7B03-0C58-0644-9EC7-D53C1D3087E4}"/>
              </a:ext>
            </a:extLst>
          </p:cNvPr>
          <p:cNvGrpSpPr/>
          <p:nvPr userDrawn="1"/>
        </p:nvGrpSpPr>
        <p:grpSpPr>
          <a:xfrm>
            <a:off x="1254681" y="1287006"/>
            <a:ext cx="9682637" cy="5156348"/>
            <a:chOff x="837718" y="2166032"/>
            <a:chExt cx="7093287" cy="3777427"/>
          </a:xfrm>
          <a:solidFill>
            <a:srgbClr val="09417A"/>
          </a:solidFill>
        </p:grpSpPr>
        <p:sp>
          <p:nvSpPr>
            <p:cNvPr id="6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DAF49FA4-B6FB-0F46-A0BA-21C9F57D1D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7718" y="2418601"/>
              <a:ext cx="990263" cy="467668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640446B4-3040-1D4B-840B-0E361CC5EE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72923" y="4820778"/>
              <a:ext cx="177968" cy="194284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01A6F51-C84B-9F47-9EC2-7970EFACE1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1736" y="4608454"/>
              <a:ext cx="268222" cy="281712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5AA18849-39FE-9B41-9D26-DBDF9DB3B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266" y="3838259"/>
              <a:ext cx="236443" cy="176243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D07A088-BF3A-0F44-AC89-393767370D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594016"/>
              <a:ext cx="193222" cy="180406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DD9D767A-7288-1348-84A7-DFED66876D8C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58018"/>
              <a:ext cx="13983" cy="33306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4A198BF-2931-E64C-805B-C2052042E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71" y="3090267"/>
              <a:ext cx="381360" cy="234528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3F5C7D8D-54BB-6146-8610-67E6A95F95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9211" y="3714749"/>
              <a:ext cx="195765" cy="419097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27D2E16E-A5D5-B24D-A2E3-A55D1BD5D3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2902" y="4032542"/>
              <a:ext cx="307630" cy="327507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BDD54B73-5DEE-864C-B0CA-377024D2AF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86029" y="2982023"/>
              <a:ext cx="1262300" cy="682768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2986076-BC4B-B947-B867-E7D21C467CD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2228" y="5232936"/>
              <a:ext cx="119493" cy="134611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62380EB0-BAB6-B54C-AC02-1A836BC10A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80120" y="2678108"/>
              <a:ext cx="185595" cy="290038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1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71DA14FD-819A-9346-80DF-9C39A7306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8946" y="3625934"/>
              <a:ext cx="108051" cy="112407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2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21ED622D-F845-4A49-B303-2D39675ADCB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3770" y="2901534"/>
              <a:ext cx="359749" cy="22065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4D19FE5E-7193-F34E-9986-9D11AFB391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8433" y="4260131"/>
              <a:ext cx="125848" cy="16236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F0D3446-BF62-3A4A-AFBA-4C01FAB82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996" y="3166593"/>
              <a:ext cx="325427" cy="212325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5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BB07076-388E-A34F-A6CC-09DDD04CF9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47499" y="3183246"/>
              <a:ext cx="428393" cy="17763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6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95C5FB4E-E02F-4648-A39E-B7564C1606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5038" y="3320631"/>
              <a:ext cx="87712" cy="19983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7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1671B8CE-94A9-1D4F-98F0-02BCD8AD49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5799" y="4064460"/>
              <a:ext cx="45763" cy="141549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9EA8586-F1DD-0147-8BEA-63245D8588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5142" y="3799402"/>
              <a:ext cx="199578" cy="417710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FA18E-509B-6F4E-B1F6-83832338418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7161" y="4407232"/>
              <a:ext cx="247883" cy="305303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619D18B-1B62-1C4A-AF21-FECBE870D2F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6237" y="3216551"/>
              <a:ext cx="177968" cy="123509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1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923B25CB-9D3E-3945-BBEE-20C381783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2011" y="3660628"/>
              <a:ext cx="38136" cy="9436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2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CEC19507-D2E4-3D46-B0B7-BD5DEBF24E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317856"/>
              <a:ext cx="144917" cy="14571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9D78D97-75EA-1742-BDB4-A9E6A56343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3025043"/>
              <a:ext cx="92797" cy="55510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4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026FE73A-891F-D144-B368-53D5C2C5B6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52581" y="2471335"/>
              <a:ext cx="223731" cy="348323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5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1F8F3C2-9E49-D547-BB98-83EDD700C9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416" y="5106653"/>
              <a:ext cx="33051" cy="47183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6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90AD4590-428C-7845-881F-AD9A60FF4E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397" y="4208785"/>
              <a:ext cx="94069" cy="117958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968A0D37-FD84-814B-B9F3-FC60D033BFB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2512" y="4106092"/>
              <a:ext cx="54661" cy="106856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8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3F5F92B-7E04-904F-A705-6A334CD194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25458" y="3138838"/>
              <a:ext cx="282206" cy="216487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6081DFCA-3607-5F4B-A84F-853A57D02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0300" y="4036705"/>
              <a:ext cx="230087" cy="38995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85663" y="4568210"/>
              <a:ext cx="119493" cy="122121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1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3B0B63E-08BE-024E-8D98-7EAE9C7725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5802" y="3048634"/>
              <a:ext cx="67373" cy="43020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2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F4BDB682-36AD-FF49-9375-C22F06C516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4447" y="2977860"/>
              <a:ext cx="115679" cy="51347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3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10CFEAE4-D597-064F-AA2C-04C7326E18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7068" y="4092214"/>
              <a:ext cx="67373" cy="9436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4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FF44D0B-D47E-0F4D-BE0D-80079287A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9694" y="3900706"/>
              <a:ext cx="134747" cy="129060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5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A848B51-A257-B141-A263-BE224F057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66344"/>
              <a:ext cx="477971" cy="448240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DE846F17-9F01-EF48-962A-D0A9F82C6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365" y="4407232"/>
              <a:ext cx="48306" cy="5134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7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372E6C68-F958-F445-8B73-E7939351B5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33963" y="2716965"/>
              <a:ext cx="97882" cy="421873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F42B9E93-C135-AE4A-A75B-415E4E29E0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17837" y="2196562"/>
              <a:ext cx="2916129" cy="1013050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ED648A8-9E07-0949-9E20-4C80C17ADD1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3013941"/>
              <a:ext cx="198307" cy="12906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B02953AA-348B-2F4E-BD82-9FC16DCE81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2420" y="3634260"/>
              <a:ext cx="21610" cy="4995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2DFD4982-A5B9-4E4F-8E73-67E0780CD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4345" y="3856299"/>
              <a:ext cx="44492" cy="2081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BEA959A1-E334-C94B-8EE0-1F52439F8E2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4018" y="3186021"/>
              <a:ext cx="73730" cy="144325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EFEBD36-86E7-2A46-B431-7A131B104F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9785" y="2834922"/>
              <a:ext cx="200849" cy="158202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4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D605A7B9-5938-034F-BA38-0471753AA7E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80570" y="3846585"/>
              <a:ext cx="230087" cy="42326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1BAB6D50-490A-6047-9A62-6C0F2F27253B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4765" y="4376702"/>
              <a:ext cx="302545" cy="52456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6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5C147906-B4DE-0A4C-B4E8-22D5959DAC6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7481" y="4923471"/>
              <a:ext cx="193222" cy="23869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19558" y="4430823"/>
              <a:ext cx="350851" cy="255344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8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5FEAE546-523E-AC42-A6B1-19CA1E780CA9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1713" y="4106092"/>
              <a:ext cx="130933" cy="680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50BCDF8-3135-5248-93F6-AE4B61D5D3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2168" y="3328958"/>
              <a:ext cx="338139" cy="370527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BCF68BDE-2130-F843-B4A7-1E94A1A95C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4213" y="3888217"/>
              <a:ext cx="30509" cy="22204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6BFC5A4-5C32-5749-9975-344F30D10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8014" y="3667566"/>
              <a:ext cx="174154" cy="237304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2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BB354FDB-0A58-9F46-9FC3-6BA252ED1BF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39445" y="2222930"/>
              <a:ext cx="438563" cy="52595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3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AB4B013-C271-2B47-9FB4-4E78AE94D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3173" y="3983971"/>
              <a:ext cx="269494" cy="2719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4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B3E8443-69F6-7041-AD17-3D1DC6B9C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969" y="3711974"/>
              <a:ext cx="357206" cy="331670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5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3DECCEF-2270-784E-BCAF-F10E57D8B3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3832" y="3957604"/>
              <a:ext cx="105509" cy="116570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21679" y="5350895"/>
              <a:ext cx="409326" cy="34554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BF31AF5-9264-CD44-86C0-EBDC749118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6297" y="2925126"/>
              <a:ext cx="137289" cy="134611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0A28748-E3AD-BD4A-85B0-B8D548584FB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8597" y="2872392"/>
              <a:ext cx="87712" cy="7355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9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E76FF854-0325-AE44-9D8C-AAB4FE65959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8019" y="3513528"/>
              <a:ext cx="189408" cy="11657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AE04FF1B-7800-154B-94D8-D2E361BBBA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5293" y="4858247"/>
              <a:ext cx="307630" cy="342772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811D5E9C-14A7-3A40-8667-0C42E33A39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5480" y="3569037"/>
              <a:ext cx="204663" cy="52734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2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25240E4B-B718-7F43-898D-8636267733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4789" y="4675065"/>
              <a:ext cx="246612" cy="47044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F7E9F73A-3DBC-3A43-B6D7-A4584C9A4D0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593" y="3360876"/>
              <a:ext cx="273307" cy="23314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4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176C0E46-7111-3D41-BC06-D17DC19DB77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2583" y="3143001"/>
              <a:ext cx="36864" cy="4718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5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D797893-1110-BE47-837C-5D9227211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89460" y="2905698"/>
              <a:ext cx="676278" cy="292813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FFF037F-C801-AE4A-A50B-D97EC55A8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96" y="3008390"/>
              <a:ext cx="69916" cy="8326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7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59AA8A-CB58-F746-8029-88751D885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0860" y="3452467"/>
              <a:ext cx="600006" cy="513464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8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E8824692-E2E0-5547-AD8D-0E5BD8CC3AA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17413" y="3351162"/>
              <a:ext cx="10170" cy="9715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9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2171320-371D-9B4B-A33C-220B752FE4E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606506"/>
              <a:ext cx="277121" cy="353874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0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5219B2B8-0AB4-874F-8AEB-AA738990DB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2492" y="3667566"/>
              <a:ext cx="373732" cy="42326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D08ED4CE-9296-2C4B-9BE4-04F85D2B35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9041" y="4186581"/>
              <a:ext cx="99153" cy="154040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990497EC-2119-3B4A-9C01-FCF50F5A68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0399" y="4168541"/>
              <a:ext cx="221189" cy="185957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2E37103F-4E40-6D49-A1C0-07C4AA1E7C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4535" y="4644535"/>
              <a:ext cx="75000" cy="22065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DE19BEA9-2759-8944-BD58-5E193AC6E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4452" y="4726412"/>
              <a:ext cx="191951" cy="383016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5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AF9052D-38A6-BB49-BC34-33F4416CB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346" y="3176306"/>
              <a:ext cx="53390" cy="44408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6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95E272BC-A097-824E-861A-D3A5637968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1987" y="2962594"/>
              <a:ext cx="16525" cy="1526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7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4BF7B08-758B-5042-9A32-DC5C0BD7D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9448" y="2790515"/>
              <a:ext cx="109323" cy="6938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8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3E7960AF-38D7-9E49-B1FD-EC0C15E6E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4445" y="3038921"/>
              <a:ext cx="5085" cy="8326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927E917-C6EC-1F4A-80D6-7E5988E20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3435814"/>
              <a:ext cx="354664" cy="38995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D28C5CB-C809-4F49-87FB-592C56054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0119" y="4133847"/>
              <a:ext cx="99153" cy="122121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2B34936F-976E-5945-8C5F-5214E9E139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3432" y="5189917"/>
              <a:ext cx="53390" cy="5689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14DE609C-CC3F-2D44-8380-22A8EC6CD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9959" y="3395569"/>
              <a:ext cx="34322" cy="55510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3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3CAFEBC2-E7F5-9849-B0D5-18B1C15F69E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2747495"/>
              <a:ext cx="137289" cy="6383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2EB0F508-E6AA-F04B-82F6-8E7C7F7D25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7261" y="3739729"/>
              <a:ext cx="193222" cy="244242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5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5995702-DA7F-4B41-BB2D-A3AD2E217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3101" y="3155491"/>
              <a:ext cx="216104" cy="10963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440E35C6-8F30-F14A-B7B1-6C286308BC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6911" y="3526017"/>
              <a:ext cx="44492" cy="43020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7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9FC9D387-1716-764D-A419-8571984317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19978" y="3285938"/>
              <a:ext cx="87712" cy="14987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1C36E996-9AD7-5745-A5D8-0FF94C28B5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46248" y="3162429"/>
              <a:ext cx="105509" cy="14710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9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10D2CB17-EB05-C64B-9880-8096F1E8A3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4244866"/>
              <a:ext cx="180510" cy="26783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7A27997-3D41-CA49-9CEA-857713EFB7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2819658"/>
              <a:ext cx="811025" cy="40938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4F29EEC-989F-7449-BDA9-F5E9B2181E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434426"/>
              <a:ext cx="90255" cy="117958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2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82F50A72-6FFD-8C4A-975D-2CF4DE9BDD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291" y="3856299"/>
              <a:ext cx="50848" cy="1804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3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504A868F-9630-B647-ABBE-0395C868D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69554" y="3090267"/>
              <a:ext cx="282206" cy="60089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63A4F46-4B32-FD4C-8313-C85B87DCBC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57242" y="3044472"/>
              <a:ext cx="250426" cy="292813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DFE9D0B4-0AEF-AE43-A484-16F8863A49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1060" y="3430263"/>
              <a:ext cx="33051" cy="112407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6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C40B0C6-ABA4-1E40-AF04-AD7D0F94F34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8001" y="2822433"/>
              <a:ext cx="90255" cy="104081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375E5BA3-5F93-5342-A775-E6524381F3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5129" y="3320631"/>
              <a:ext cx="221189" cy="231753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8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C269DEC-7FEA-AC4E-8BB1-4A1DB5957B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9198" y="3249857"/>
              <a:ext cx="463987" cy="414935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0989" y="4217111"/>
              <a:ext cx="1052552" cy="457954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A53D257F-B7C2-FB42-ACA9-5F81B765DD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36492" y="3356713"/>
              <a:ext cx="629243" cy="829868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1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BEEC59A-C859-5F41-A790-C40C37A32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3508" y="2532395"/>
              <a:ext cx="184323" cy="77713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0DE3950-C8D1-AC49-BB7F-8E7082EEA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4277" y="3005615"/>
              <a:ext cx="137289" cy="7771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3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CA5F6AD-6B1B-B847-B0A5-B10A62834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9509" y="3924298"/>
              <a:ext cx="143645" cy="8604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4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4BDD70F8-F59A-194D-ACA9-35B086EE3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1631" y="3814667"/>
              <a:ext cx="63560" cy="54122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5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4A896B05-7090-ED49-89FC-3C32DBB7D11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940" y="4214336"/>
              <a:ext cx="66102" cy="104081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6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E15ED31E-A063-F749-8C3E-9DBE6BF3C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1125" y="4138010"/>
              <a:ext cx="105509" cy="20538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7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D3C30FB3-8756-D646-8F89-F128731296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8423" y="4015889"/>
              <a:ext cx="59746" cy="55510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8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D9AF898F-AB32-0B4B-9B68-8490A53965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60" y="4018665"/>
              <a:ext cx="167798" cy="155427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9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E8CEF630-CD55-CC40-99C6-BFFFB89428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136" y="3870176"/>
              <a:ext cx="95339" cy="117958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54B9099-7E7B-7443-88B7-E3F47D0E83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14434" y="2166032"/>
              <a:ext cx="902551" cy="537056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1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6D8E5FEE-4A9D-2241-96D8-E5910411B1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7075" y="3194347"/>
              <a:ext cx="171611" cy="194284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2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360C1EA2-A8C0-0B40-B87A-ADA32B43BBA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2070" y="4063072"/>
              <a:ext cx="105509" cy="181794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3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F171FAA-1AC8-6F42-B558-1ADF7502645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2832147"/>
              <a:ext cx="181781" cy="206774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A732323D-F9C5-3A42-A22B-D99008E03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1316" y="3143001"/>
              <a:ext cx="148730" cy="7355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5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9C03-4491-9541-8611-3DE2526D62B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254" y="3986746"/>
              <a:ext cx="68645" cy="1804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6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B29C833E-78A1-3144-AE83-3685EFDC460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7920" y="4308702"/>
              <a:ext cx="134747" cy="180406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7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09A6D4BC-0CBA-1944-B8B0-BDCB5890BE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25884" y="2932064"/>
              <a:ext cx="293646" cy="27616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8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8FD2806-F4C2-BC4E-A283-7F5C4220F76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7667" y="2447744"/>
              <a:ext cx="203392" cy="252569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9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0327DD2A-68B7-684E-801A-1DC19D1D10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55976" y="3956216"/>
              <a:ext cx="340681" cy="32473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0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A2F3B1DF-EAE0-E346-B3A5-B5E2E210F9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346" y="2708639"/>
              <a:ext cx="111865" cy="54122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1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832A0616-B6C3-3142-94E2-F09D320E1A0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7163" y="3866013"/>
              <a:ext cx="155086" cy="16097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2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DF39F4F-EF0F-B64E-A406-70972C8CB50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4311477"/>
              <a:ext cx="47034" cy="38857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2C386AC4-3C1B-4D46-9A48-A3DE9F884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627" y="3968706"/>
              <a:ext cx="54661" cy="38857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C2C610D7-DD19-B147-9A77-39DCEA31B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313" y="3480222"/>
              <a:ext cx="254240" cy="283099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5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83D85B79-4B7A-9E43-B64E-A1A34F9C8D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38579" y="4332294"/>
              <a:ext cx="133475" cy="18595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35656" y="4611229"/>
              <a:ext cx="80085" cy="41632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7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C7FD8FF-083B-954C-A87E-E6863FCFDD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292" y="3814667"/>
              <a:ext cx="80085" cy="58285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8A8F7F21-18B6-C644-B3EE-228B6966FA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469" y="4018665"/>
              <a:ext cx="38136" cy="4857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F3EFAEAB-F135-F64F-94D1-82860E49B7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91564" y="2759985"/>
              <a:ext cx="88984" cy="83264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0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64F99F6-EC3C-3C4F-8DCB-C18A2DFF4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0378" y="2937615"/>
              <a:ext cx="136018" cy="680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1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CE846B08-B010-8540-A687-A13636C35D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670" y="3367814"/>
              <a:ext cx="48306" cy="30530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2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8E4C-3A8A-5746-B003-F1639CC13B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195358" y="3718913"/>
              <a:ext cx="237714" cy="9575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3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2EF9A2D4-36FF-8A4F-B138-7E7AB60CEF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3429" y="3062512"/>
              <a:ext cx="118221" cy="97142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4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05D78167-1A54-1D4A-9E20-B34CCF8E6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0035" y="4074174"/>
              <a:ext cx="141103" cy="181794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68C0568-35DB-C14D-B883-EC35C27CCC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35611" y="4060297"/>
              <a:ext cx="77543" cy="80489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6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8C0F3DB1-61AF-A742-9925-ACD308B9E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0548" y="4225437"/>
              <a:ext cx="434750" cy="53428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7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7605DDEA-60BD-DA43-A460-2E1C06BD57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2581" y="4272621"/>
              <a:ext cx="172883" cy="245630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8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5D5A8D6-264B-0342-A508-322110CB9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84342" y="4024216"/>
              <a:ext cx="279664" cy="47322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9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4A195178-707F-EA44-BDFC-6A2541D8C3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10615" y="4877675"/>
              <a:ext cx="372461" cy="106578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0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0319B322-D9B9-6248-867F-8D18BC0BBC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9712" y="2866841"/>
              <a:ext cx="1179672" cy="99362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F1B21333-AFF9-6746-804A-62D7F335F93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5971" y="3711974"/>
              <a:ext cx="238985" cy="45379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19C86435-F022-D445-AD83-576A5B8DE2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28853" y="4067235"/>
              <a:ext cx="294918" cy="245630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3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A28E9468-5E2A-0B46-B3D7-9AB65F3B1D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3402" y="2174358"/>
              <a:ext cx="1796203" cy="1014438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4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9746559D-C56A-3D42-BFC1-A5ACDDE6DA8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5378" y="4004787"/>
              <a:ext cx="175425" cy="326119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5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1E4A2EF-BD0B-EA49-A6F0-BCE0C0822F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2262" y="3965931"/>
              <a:ext cx="122035" cy="117958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5676EECF-3CD9-2D4D-A1D5-75A25C96944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79" y="4447476"/>
              <a:ext cx="43221" cy="58285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4D0E7A1-E73C-6241-8945-207006017BD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72493" y="3952053"/>
              <a:ext cx="184323" cy="158202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057A09AC-6876-F149-AD03-92551D0D49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6482" y="3127736"/>
              <a:ext cx="127120" cy="7910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9EDD2BF4-A4D8-0149-9A23-EFBEB04C4A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05105" y="4228213"/>
              <a:ext cx="897466" cy="110741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0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0EDA2F90-F4C0-8940-A03F-04E3C4578A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0888" y="4881839"/>
              <a:ext cx="208477" cy="256732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DC5CDCDB-9496-E042-B45B-274B38A2E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2837" y="3095817"/>
              <a:ext cx="85170" cy="8326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2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549DBB26-4102-8A4C-9E36-6524310DD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13157" y="4652861"/>
              <a:ext cx="287291" cy="373302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3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CDDAA2D9-E8A5-194E-8995-3C233B4BF0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8869" y="3574588"/>
              <a:ext cx="75000" cy="47183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4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FA3774AE-27A4-244E-B083-A8EDCA0EF6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410" y="4026991"/>
              <a:ext cx="71187" cy="174855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B6ED8C5F-70A3-E946-912C-AF64DA3A8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5865" y="3853523"/>
              <a:ext cx="34322" cy="7493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E06E570C-12DE-7149-8DEA-961D105725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4783" y="2926513"/>
              <a:ext cx="72458" cy="54122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7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182CE3BD-C442-7F45-B9CA-6FDE5314C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8699" y="3625934"/>
              <a:ext cx="120763" cy="14987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C0D8E9D-97C9-5741-9090-340132988C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7753" y="2798841"/>
              <a:ext cx="183053" cy="130448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BC42B544-8F2D-0846-96C3-0D1B5E39E9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2250" y="3627322"/>
              <a:ext cx="8898" cy="1942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C3A1C4F4-DDDB-E64E-9F8C-5D4166505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3190184"/>
              <a:ext cx="116950" cy="102693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7949E105-52FD-5046-A31F-9BC1F196A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9530" y="2993125"/>
              <a:ext cx="147459" cy="7077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94975" y="4679229"/>
              <a:ext cx="915263" cy="936725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3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55469E7-E7D1-3348-A69B-4D2A653C613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2673" y="3205449"/>
              <a:ext cx="71187" cy="7493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4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B3DEFFCF-AAB1-3642-91C5-DE4810571B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58921" y="4998409"/>
              <a:ext cx="352122" cy="859011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7521A6CE-6F98-0B44-99C1-A63D4DE0F1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65293" y="4498823"/>
              <a:ext cx="286019" cy="389955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CB02392A-E2CE-3148-85AE-BCEA1D57B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9189" y="3170755"/>
              <a:ext cx="10170" cy="5551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7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75732-6B7B-B545-80F9-EE99846E28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6221" y="3324795"/>
              <a:ext cx="476699" cy="513464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8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28186DFD-64FA-474B-8D41-2F04044AE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5295" y="3170755"/>
              <a:ext cx="47034" cy="8604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AA1E7552-2310-4D44-AD53-799CC30727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70803" y="5006735"/>
              <a:ext cx="366105" cy="359425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0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977D33B-3CDB-3345-B37D-D72D2A34168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2930" y="3285938"/>
              <a:ext cx="292376" cy="25950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181" name="Group 340">
              <a:extLst>
                <a:ext uri="{FF2B5EF4-FFF2-40B4-BE49-F238E27FC236}">
                  <a16:creationId xmlns:a16="http://schemas.microsoft.com/office/drawing/2014/main" id="{C58EA603-7266-DE48-8A2A-92C7FADF26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07667" y="3072226"/>
              <a:ext cx="88984" cy="119346"/>
              <a:chOff x="2184" y="1242"/>
              <a:chExt cx="257" cy="316"/>
            </a:xfrm>
            <a:grpFill/>
          </p:grpSpPr>
          <p:sp>
            <p:nvSpPr>
              <p:cNvPr id="18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69AE035-7B4F-164B-A9A9-E7FD0AFED4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A648D03-405F-FB4A-9FD3-D4DDC98B11C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2" name="Freeform 8">
              <a:extLst>
                <a:ext uri="{FF2B5EF4-FFF2-40B4-BE49-F238E27FC236}">
                  <a16:creationId xmlns:a16="http://schemas.microsoft.com/office/drawing/2014/main" id="{FD68E863-4757-814A-8DFE-A41707FF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042" y="3717611"/>
              <a:ext cx="388418" cy="415994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9">
              <a:extLst>
                <a:ext uri="{FF2B5EF4-FFF2-40B4-BE49-F238E27FC236}">
                  <a16:creationId xmlns:a16="http://schemas.microsoft.com/office/drawing/2014/main" id="{8B0634EF-FC5F-C744-8278-7C6F7A41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011" y="4027375"/>
              <a:ext cx="279661" cy="255310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560D582-DEA8-E74C-B2B7-4A0667BA1F5A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3952026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4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310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 for any mention of Quadcor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 Select the logo and copy to clipboard.</a:t>
            </a:r>
            <a:br>
              <a:rPr lang="en-GB" dirty="0"/>
            </a:br>
            <a:r>
              <a:rPr lang="en-GB" dirty="0"/>
              <a:t>- Close master and place on a slide of your choosing.</a:t>
            </a:r>
            <a:endParaRPr lang="en-US" dirty="0"/>
          </a:p>
          <a:p>
            <a:pPr lvl="0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E78980-CB00-7148-8535-BC8EA3D80D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209547"/>
            <a:ext cx="825028" cy="303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554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Europe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CD78BE-D550-3246-8FEB-D416FAC204D3}"/>
              </a:ext>
            </a:extLst>
          </p:cNvPr>
          <p:cNvGrpSpPr/>
          <p:nvPr userDrawn="1"/>
        </p:nvGrpSpPr>
        <p:grpSpPr>
          <a:xfrm>
            <a:off x="5188350" y="889056"/>
            <a:ext cx="7003650" cy="5968944"/>
            <a:chOff x="2140350" y="889056"/>
            <a:chExt cx="7003650" cy="5968944"/>
          </a:xfrm>
          <a:solidFill>
            <a:srgbClr val="09417A"/>
          </a:solidFill>
        </p:grpSpPr>
        <p:sp>
          <p:nvSpPr>
            <p:cNvPr id="24" name="Schweiz" descr="© INSCALE GmbH, 05.05.2010&#10;http://www.presentationload.com/">
              <a:extLst>
                <a:ext uri="{FF2B5EF4-FFF2-40B4-BE49-F238E27FC236}">
                  <a16:creationId xmlns:a16="http://schemas.microsoft.com/office/drawing/2014/main" id="{0535A40E-70FD-D749-B162-DC04351056F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795" y="4950314"/>
              <a:ext cx="496724" cy="308596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Niederlande" descr="© INSCALE GmbH, 05.05.2010&#10;http://www.presentationload.com/">
              <a:extLst>
                <a:ext uri="{FF2B5EF4-FFF2-40B4-BE49-F238E27FC236}">
                  <a16:creationId xmlns:a16="http://schemas.microsoft.com/office/drawing/2014/main" id="{0DCA152D-5DDD-B948-BCED-F5B1025605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99514" y="4054230"/>
              <a:ext cx="401010" cy="420814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Belgien" descr="© INSCALE GmbH, 05.05.2010&#10;http://www.presentationload.com/">
              <a:extLst>
                <a:ext uri="{FF2B5EF4-FFF2-40B4-BE49-F238E27FC236}">
                  <a16:creationId xmlns:a16="http://schemas.microsoft.com/office/drawing/2014/main" id="{2172DDBA-DAA5-E949-A629-02FCD0C8C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8652" y="4354575"/>
              <a:ext cx="384507" cy="316847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Luxemburg" descr="© INSCALE GmbH, 05.05.2010&#10;http://www.presentationload.com/">
              <a:extLst>
                <a:ext uri="{FF2B5EF4-FFF2-40B4-BE49-F238E27FC236}">
                  <a16:creationId xmlns:a16="http://schemas.microsoft.com/office/drawing/2014/main" id="{78A776CD-D227-524B-ADEE-E471815288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5598" y="4570757"/>
              <a:ext cx="84162" cy="118817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Däne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C6F5416-35DB-0D4D-A2D2-08A7E76DCB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539" y="3400732"/>
              <a:ext cx="640296" cy="488473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Öster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285B4E3B-DD89-CA4E-81BB-B697A13BA9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1953" y="4758886"/>
              <a:ext cx="820172" cy="407611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Vereinigtes König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C9A0A0F0-FBC1-DF4A-8C0E-F29B4DB0CB3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20917" y="2849549"/>
              <a:ext cx="853178" cy="1597439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I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3F1B05C-8F35-D049-B939-DC4F4DDD4F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94169" y="3570708"/>
              <a:ext cx="486822" cy="552833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51C3C924-F01B-9441-898E-A9937FDC4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350" y="5564207"/>
              <a:ext cx="483523" cy="802020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Zypern" descr="© INSCALE GmbH, 05.05.2010&#10;http://www.presentationload.com/">
              <a:extLst>
                <a:ext uri="{FF2B5EF4-FFF2-40B4-BE49-F238E27FC236}">
                  <a16:creationId xmlns:a16="http://schemas.microsoft.com/office/drawing/2014/main" id="{B4366EEE-FEB3-8048-B035-64847330C6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0649" y="6377778"/>
              <a:ext cx="267340" cy="255788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Bosnien und Herzegowina" descr="© INSCALE GmbH, 05.05.2010&#10;http://www.presentationload.com/">
              <a:extLst>
                <a:ext uri="{FF2B5EF4-FFF2-40B4-BE49-F238E27FC236}">
                  <a16:creationId xmlns:a16="http://schemas.microsoft.com/office/drawing/2014/main" id="{B471F671-CFAF-FF41-AAF4-11A16BD358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5156" y="5323271"/>
              <a:ext cx="473621" cy="405961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Alb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57A54FD-ABAE-6B45-8616-11F2359A57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3924" y="5696227"/>
              <a:ext cx="240936" cy="457119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Mazedo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20BD5DB-52E3-E246-A72E-7B5EEE4E1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4095" y="5706128"/>
              <a:ext cx="301996" cy="250837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Norwegen" descr="© INSCALE GmbH, 05.05.2010&#10;http://www.presentationload.com/">
              <a:extLst>
                <a:ext uri="{FF2B5EF4-FFF2-40B4-BE49-F238E27FC236}">
                  <a16:creationId xmlns:a16="http://schemas.microsoft.com/office/drawing/2014/main" id="{629EDFA3-5E72-A84A-A5CA-5AA9A68875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85008" y="1263662"/>
              <a:ext cx="1648597" cy="2099114"/>
            </a:xfrm>
            <a:custGeom>
              <a:avLst/>
              <a:gdLst/>
              <a:ahLst/>
              <a:cxnLst>
                <a:cxn ang="0">
                  <a:pos x="626" y="61"/>
                </a:cxn>
                <a:cxn ang="0">
                  <a:pos x="605" y="40"/>
                </a:cxn>
                <a:cxn ang="0">
                  <a:pos x="586" y="22"/>
                </a:cxn>
                <a:cxn ang="0">
                  <a:pos x="547" y="55"/>
                </a:cxn>
                <a:cxn ang="0">
                  <a:pos x="532" y="46"/>
                </a:cxn>
                <a:cxn ang="0">
                  <a:pos x="465" y="77"/>
                </a:cxn>
                <a:cxn ang="0">
                  <a:pos x="445" y="116"/>
                </a:cxn>
                <a:cxn ang="0">
                  <a:pos x="410" y="132"/>
                </a:cxn>
                <a:cxn ang="0">
                  <a:pos x="380" y="181"/>
                </a:cxn>
                <a:cxn ang="0">
                  <a:pos x="374" y="209"/>
                </a:cxn>
                <a:cxn ang="0">
                  <a:pos x="330" y="227"/>
                </a:cxn>
                <a:cxn ang="0">
                  <a:pos x="331" y="254"/>
                </a:cxn>
                <a:cxn ang="0">
                  <a:pos x="331" y="290"/>
                </a:cxn>
                <a:cxn ang="0">
                  <a:pos x="275" y="339"/>
                </a:cxn>
                <a:cxn ang="0">
                  <a:pos x="261" y="381"/>
                </a:cxn>
                <a:cxn ang="0">
                  <a:pos x="252" y="428"/>
                </a:cxn>
                <a:cxn ang="0">
                  <a:pos x="198" y="471"/>
                </a:cxn>
                <a:cxn ang="0">
                  <a:pos x="224" y="509"/>
                </a:cxn>
                <a:cxn ang="0">
                  <a:pos x="141" y="534"/>
                </a:cxn>
                <a:cxn ang="0">
                  <a:pos x="122" y="571"/>
                </a:cxn>
                <a:cxn ang="0">
                  <a:pos x="96" y="584"/>
                </a:cxn>
                <a:cxn ang="0">
                  <a:pos x="69" y="595"/>
                </a:cxn>
                <a:cxn ang="0">
                  <a:pos x="26" y="611"/>
                </a:cxn>
                <a:cxn ang="0">
                  <a:pos x="23" y="650"/>
                </a:cxn>
                <a:cxn ang="0">
                  <a:pos x="83" y="675"/>
                </a:cxn>
                <a:cxn ang="0">
                  <a:pos x="74" y="678"/>
                </a:cxn>
                <a:cxn ang="0">
                  <a:pos x="38" y="704"/>
                </a:cxn>
                <a:cxn ang="0">
                  <a:pos x="55" y="723"/>
                </a:cxn>
                <a:cxn ang="0">
                  <a:pos x="42" y="766"/>
                </a:cxn>
                <a:cxn ang="0">
                  <a:pos x="26" y="785"/>
                </a:cxn>
                <a:cxn ang="0">
                  <a:pos x="34" y="813"/>
                </a:cxn>
                <a:cxn ang="0">
                  <a:pos x="65" y="873"/>
                </a:cxn>
                <a:cxn ang="0">
                  <a:pos x="182" y="789"/>
                </a:cxn>
                <a:cxn ang="0">
                  <a:pos x="230" y="815"/>
                </a:cxn>
                <a:cxn ang="0">
                  <a:pos x="305" y="482"/>
                </a:cxn>
                <a:cxn ang="0">
                  <a:pos x="443" y="205"/>
                </a:cxn>
                <a:cxn ang="0">
                  <a:pos x="595" y="78"/>
                </a:cxn>
                <a:cxn ang="0">
                  <a:pos x="18" y="803"/>
                </a:cxn>
                <a:cxn ang="0">
                  <a:pos x="10" y="767"/>
                </a:cxn>
                <a:cxn ang="0">
                  <a:pos x="14" y="743"/>
                </a:cxn>
                <a:cxn ang="0">
                  <a:pos x="10" y="711"/>
                </a:cxn>
                <a:cxn ang="0">
                  <a:pos x="8" y="699"/>
                </a:cxn>
                <a:cxn ang="0">
                  <a:pos x="7" y="680"/>
                </a:cxn>
                <a:cxn ang="0">
                  <a:pos x="15" y="632"/>
                </a:cxn>
                <a:cxn ang="0">
                  <a:pos x="44" y="600"/>
                </a:cxn>
                <a:cxn ang="0">
                  <a:pos x="58" y="582"/>
                </a:cxn>
                <a:cxn ang="0">
                  <a:pos x="106" y="551"/>
                </a:cxn>
                <a:cxn ang="0">
                  <a:pos x="123" y="537"/>
                </a:cxn>
                <a:cxn ang="0">
                  <a:pos x="162" y="515"/>
                </a:cxn>
                <a:cxn ang="0">
                  <a:pos x="259" y="367"/>
                </a:cxn>
                <a:cxn ang="0">
                  <a:pos x="264" y="359"/>
                </a:cxn>
                <a:cxn ang="0">
                  <a:pos x="301" y="294"/>
                </a:cxn>
                <a:cxn ang="0">
                  <a:pos x="351" y="208"/>
                </a:cxn>
                <a:cxn ang="0">
                  <a:pos x="296" y="220"/>
                </a:cxn>
                <a:cxn ang="0">
                  <a:pos x="362" y="187"/>
                </a:cxn>
                <a:cxn ang="0">
                  <a:pos x="322" y="218"/>
                </a:cxn>
                <a:cxn ang="0">
                  <a:pos x="320" y="183"/>
                </a:cxn>
                <a:cxn ang="0">
                  <a:pos x="367" y="152"/>
                </a:cxn>
                <a:cxn ang="0">
                  <a:pos x="411" y="97"/>
                </a:cxn>
                <a:cxn ang="0">
                  <a:pos x="407" y="97"/>
                </a:cxn>
                <a:cxn ang="0">
                  <a:pos x="492" y="40"/>
                </a:cxn>
                <a:cxn ang="0">
                  <a:pos x="514" y="56"/>
                </a:cxn>
                <a:cxn ang="0">
                  <a:pos x="538" y="19"/>
                </a:cxn>
              </a:cxnLst>
              <a:rect l="0" t="0" r="r" b="b"/>
              <a:pathLst>
                <a:path w="690" h="880">
                  <a:moveTo>
                    <a:pt x="685" y="71"/>
                  </a:moveTo>
                  <a:cubicBezTo>
                    <a:pt x="685" y="68"/>
                    <a:pt x="685" y="68"/>
                    <a:pt x="685" y="68"/>
                  </a:cubicBezTo>
                  <a:cubicBezTo>
                    <a:pt x="681" y="68"/>
                    <a:pt x="681" y="68"/>
                    <a:pt x="681" y="68"/>
                  </a:cubicBezTo>
                  <a:cubicBezTo>
                    <a:pt x="681" y="68"/>
                    <a:pt x="681" y="66"/>
                    <a:pt x="678" y="66"/>
                  </a:cubicBezTo>
                  <a:cubicBezTo>
                    <a:pt x="673" y="66"/>
                    <a:pt x="673" y="66"/>
                    <a:pt x="673" y="66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3" y="76"/>
                    <a:pt x="673" y="76"/>
                    <a:pt x="673" y="76"/>
                  </a:cubicBezTo>
                  <a:cubicBezTo>
                    <a:pt x="673" y="72"/>
                    <a:pt x="673" y="72"/>
                    <a:pt x="673" y="72"/>
                  </a:cubicBezTo>
                  <a:cubicBezTo>
                    <a:pt x="668" y="64"/>
                    <a:pt x="668" y="64"/>
                    <a:pt x="668" y="64"/>
                  </a:cubicBezTo>
                  <a:cubicBezTo>
                    <a:pt x="666" y="64"/>
                    <a:pt x="666" y="64"/>
                    <a:pt x="666" y="64"/>
                  </a:cubicBezTo>
                  <a:cubicBezTo>
                    <a:pt x="668" y="72"/>
                    <a:pt x="668" y="72"/>
                    <a:pt x="668" y="72"/>
                  </a:cubicBezTo>
                  <a:cubicBezTo>
                    <a:pt x="666" y="76"/>
                    <a:pt x="666" y="76"/>
                    <a:pt x="666" y="76"/>
                  </a:cubicBezTo>
                  <a:cubicBezTo>
                    <a:pt x="664" y="73"/>
                    <a:pt x="664" y="73"/>
                    <a:pt x="664" y="73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59" y="77"/>
                    <a:pt x="659" y="77"/>
                    <a:pt x="659" y="77"/>
                  </a:cubicBezTo>
                  <a:cubicBezTo>
                    <a:pt x="659" y="77"/>
                    <a:pt x="656" y="81"/>
                    <a:pt x="655" y="81"/>
                  </a:cubicBezTo>
                  <a:cubicBezTo>
                    <a:pt x="654" y="80"/>
                    <a:pt x="655" y="77"/>
                    <a:pt x="656" y="75"/>
                  </a:cubicBezTo>
                  <a:cubicBezTo>
                    <a:pt x="657" y="74"/>
                    <a:pt x="657" y="67"/>
                    <a:pt x="654" y="66"/>
                  </a:cubicBezTo>
                  <a:cubicBezTo>
                    <a:pt x="652" y="64"/>
                    <a:pt x="649" y="71"/>
                    <a:pt x="649" y="71"/>
                  </a:cubicBezTo>
                  <a:cubicBezTo>
                    <a:pt x="647" y="71"/>
                    <a:pt x="647" y="71"/>
                    <a:pt x="647" y="71"/>
                  </a:cubicBezTo>
                  <a:cubicBezTo>
                    <a:pt x="647" y="71"/>
                    <a:pt x="653" y="64"/>
                    <a:pt x="649" y="62"/>
                  </a:cubicBezTo>
                  <a:cubicBezTo>
                    <a:pt x="645" y="59"/>
                    <a:pt x="641" y="62"/>
                    <a:pt x="641" y="62"/>
                  </a:cubicBezTo>
                  <a:cubicBezTo>
                    <a:pt x="637" y="59"/>
                    <a:pt x="637" y="59"/>
                    <a:pt x="637" y="59"/>
                  </a:cubicBezTo>
                  <a:cubicBezTo>
                    <a:pt x="633" y="61"/>
                    <a:pt x="633" y="61"/>
                    <a:pt x="633" y="61"/>
                  </a:cubicBezTo>
                  <a:cubicBezTo>
                    <a:pt x="632" y="59"/>
                    <a:pt x="632" y="59"/>
                    <a:pt x="632" y="59"/>
                  </a:cubicBezTo>
                  <a:cubicBezTo>
                    <a:pt x="632" y="59"/>
                    <a:pt x="629" y="62"/>
                    <a:pt x="626" y="61"/>
                  </a:cubicBezTo>
                  <a:cubicBezTo>
                    <a:pt x="624" y="60"/>
                    <a:pt x="626" y="58"/>
                    <a:pt x="626" y="58"/>
                  </a:cubicBezTo>
                  <a:cubicBezTo>
                    <a:pt x="626" y="57"/>
                    <a:pt x="624" y="56"/>
                    <a:pt x="625" y="53"/>
                  </a:cubicBezTo>
                  <a:cubicBezTo>
                    <a:pt x="625" y="51"/>
                    <a:pt x="646" y="57"/>
                    <a:pt x="646" y="57"/>
                  </a:cubicBezTo>
                  <a:cubicBezTo>
                    <a:pt x="646" y="57"/>
                    <a:pt x="655" y="57"/>
                    <a:pt x="662" y="52"/>
                  </a:cubicBezTo>
                  <a:cubicBezTo>
                    <a:pt x="668" y="47"/>
                    <a:pt x="666" y="41"/>
                    <a:pt x="666" y="41"/>
                  </a:cubicBezTo>
                  <a:cubicBezTo>
                    <a:pt x="666" y="41"/>
                    <a:pt x="678" y="35"/>
                    <a:pt x="677" y="30"/>
                  </a:cubicBezTo>
                  <a:cubicBezTo>
                    <a:pt x="675" y="26"/>
                    <a:pt x="667" y="28"/>
                    <a:pt x="667" y="28"/>
                  </a:cubicBezTo>
                  <a:cubicBezTo>
                    <a:pt x="667" y="28"/>
                    <a:pt x="664" y="24"/>
                    <a:pt x="661" y="24"/>
                  </a:cubicBezTo>
                  <a:cubicBezTo>
                    <a:pt x="656" y="24"/>
                    <a:pt x="652" y="27"/>
                    <a:pt x="652" y="27"/>
                  </a:cubicBezTo>
                  <a:cubicBezTo>
                    <a:pt x="655" y="19"/>
                    <a:pt x="655" y="19"/>
                    <a:pt x="655" y="19"/>
                  </a:cubicBezTo>
                  <a:cubicBezTo>
                    <a:pt x="651" y="19"/>
                    <a:pt x="651" y="19"/>
                    <a:pt x="651" y="19"/>
                  </a:cubicBezTo>
                  <a:cubicBezTo>
                    <a:pt x="651" y="19"/>
                    <a:pt x="652" y="16"/>
                    <a:pt x="648" y="16"/>
                  </a:cubicBezTo>
                  <a:cubicBezTo>
                    <a:pt x="644" y="15"/>
                    <a:pt x="645" y="21"/>
                    <a:pt x="642" y="21"/>
                  </a:cubicBezTo>
                  <a:cubicBezTo>
                    <a:pt x="640" y="22"/>
                    <a:pt x="642" y="16"/>
                    <a:pt x="640" y="16"/>
                  </a:cubicBezTo>
                  <a:cubicBezTo>
                    <a:pt x="639" y="16"/>
                    <a:pt x="632" y="22"/>
                    <a:pt x="632" y="22"/>
                  </a:cubicBezTo>
                  <a:cubicBezTo>
                    <a:pt x="632" y="15"/>
                    <a:pt x="632" y="15"/>
                    <a:pt x="632" y="15"/>
                  </a:cubicBezTo>
                  <a:cubicBezTo>
                    <a:pt x="632" y="15"/>
                    <a:pt x="629" y="10"/>
                    <a:pt x="622" y="11"/>
                  </a:cubicBezTo>
                  <a:cubicBezTo>
                    <a:pt x="615" y="11"/>
                    <a:pt x="616" y="22"/>
                    <a:pt x="616" y="22"/>
                  </a:cubicBezTo>
                  <a:cubicBezTo>
                    <a:pt x="617" y="25"/>
                    <a:pt x="617" y="25"/>
                    <a:pt x="617" y="25"/>
                  </a:cubicBezTo>
                  <a:cubicBezTo>
                    <a:pt x="616" y="36"/>
                    <a:pt x="616" y="36"/>
                    <a:pt x="616" y="36"/>
                  </a:cubicBezTo>
                  <a:cubicBezTo>
                    <a:pt x="619" y="36"/>
                    <a:pt x="619" y="36"/>
                    <a:pt x="619" y="36"/>
                  </a:cubicBezTo>
                  <a:cubicBezTo>
                    <a:pt x="619" y="39"/>
                    <a:pt x="619" y="39"/>
                    <a:pt x="619" y="39"/>
                  </a:cubicBezTo>
                  <a:cubicBezTo>
                    <a:pt x="614" y="39"/>
                    <a:pt x="614" y="39"/>
                    <a:pt x="614" y="39"/>
                  </a:cubicBezTo>
                  <a:cubicBezTo>
                    <a:pt x="613" y="35"/>
                    <a:pt x="613" y="35"/>
                    <a:pt x="613" y="35"/>
                  </a:cubicBezTo>
                  <a:cubicBezTo>
                    <a:pt x="608" y="40"/>
                    <a:pt x="608" y="40"/>
                    <a:pt x="608" y="40"/>
                  </a:cubicBezTo>
                  <a:cubicBezTo>
                    <a:pt x="605" y="40"/>
                    <a:pt x="605" y="40"/>
                    <a:pt x="605" y="40"/>
                  </a:cubicBezTo>
                  <a:cubicBezTo>
                    <a:pt x="605" y="42"/>
                    <a:pt x="605" y="42"/>
                    <a:pt x="605" y="42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603" y="37"/>
                    <a:pt x="606" y="34"/>
                    <a:pt x="608" y="33"/>
                  </a:cubicBezTo>
                  <a:cubicBezTo>
                    <a:pt x="610" y="31"/>
                    <a:pt x="612" y="25"/>
                    <a:pt x="610" y="22"/>
                  </a:cubicBezTo>
                  <a:cubicBezTo>
                    <a:pt x="609" y="21"/>
                    <a:pt x="605" y="26"/>
                    <a:pt x="604" y="28"/>
                  </a:cubicBezTo>
                  <a:cubicBezTo>
                    <a:pt x="604" y="30"/>
                    <a:pt x="599" y="32"/>
                    <a:pt x="599" y="32"/>
                  </a:cubicBezTo>
                  <a:cubicBezTo>
                    <a:pt x="599" y="32"/>
                    <a:pt x="601" y="29"/>
                    <a:pt x="602" y="28"/>
                  </a:cubicBezTo>
                  <a:cubicBezTo>
                    <a:pt x="603" y="27"/>
                    <a:pt x="606" y="21"/>
                    <a:pt x="606" y="21"/>
                  </a:cubicBezTo>
                  <a:cubicBezTo>
                    <a:pt x="602" y="21"/>
                    <a:pt x="602" y="21"/>
                    <a:pt x="602" y="21"/>
                  </a:cubicBezTo>
                  <a:cubicBezTo>
                    <a:pt x="601" y="21"/>
                    <a:pt x="598" y="25"/>
                    <a:pt x="598" y="25"/>
                  </a:cubicBezTo>
                  <a:cubicBezTo>
                    <a:pt x="598" y="25"/>
                    <a:pt x="598" y="22"/>
                    <a:pt x="599" y="21"/>
                  </a:cubicBezTo>
                  <a:cubicBezTo>
                    <a:pt x="599" y="19"/>
                    <a:pt x="604" y="19"/>
                    <a:pt x="608" y="18"/>
                  </a:cubicBezTo>
                  <a:cubicBezTo>
                    <a:pt x="613" y="17"/>
                    <a:pt x="612" y="5"/>
                    <a:pt x="612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5"/>
                    <a:pt x="604" y="8"/>
                    <a:pt x="603" y="6"/>
                  </a:cubicBezTo>
                  <a:cubicBezTo>
                    <a:pt x="601" y="6"/>
                    <a:pt x="604" y="2"/>
                    <a:pt x="602" y="1"/>
                  </a:cubicBezTo>
                  <a:cubicBezTo>
                    <a:pt x="600" y="0"/>
                    <a:pt x="598" y="5"/>
                    <a:pt x="596" y="5"/>
                  </a:cubicBezTo>
                  <a:cubicBezTo>
                    <a:pt x="593" y="6"/>
                    <a:pt x="591" y="1"/>
                    <a:pt x="587" y="2"/>
                  </a:cubicBezTo>
                  <a:cubicBezTo>
                    <a:pt x="584" y="4"/>
                    <a:pt x="591" y="11"/>
                    <a:pt x="589" y="11"/>
                  </a:cubicBezTo>
                  <a:cubicBezTo>
                    <a:pt x="587" y="12"/>
                    <a:pt x="585" y="9"/>
                    <a:pt x="581" y="8"/>
                  </a:cubicBezTo>
                  <a:cubicBezTo>
                    <a:pt x="577" y="8"/>
                    <a:pt x="584" y="13"/>
                    <a:pt x="584" y="13"/>
                  </a:cubicBezTo>
                  <a:cubicBezTo>
                    <a:pt x="581" y="14"/>
                    <a:pt x="581" y="14"/>
                    <a:pt x="581" y="14"/>
                  </a:cubicBezTo>
                  <a:cubicBezTo>
                    <a:pt x="583" y="17"/>
                    <a:pt x="583" y="17"/>
                    <a:pt x="583" y="17"/>
                  </a:cubicBezTo>
                  <a:cubicBezTo>
                    <a:pt x="586" y="17"/>
                    <a:pt x="586" y="17"/>
                    <a:pt x="586" y="17"/>
                  </a:cubicBezTo>
                  <a:cubicBezTo>
                    <a:pt x="593" y="21"/>
                    <a:pt x="593" y="21"/>
                    <a:pt x="593" y="21"/>
                  </a:cubicBezTo>
                  <a:cubicBezTo>
                    <a:pt x="586" y="22"/>
                    <a:pt x="586" y="22"/>
                    <a:pt x="586" y="22"/>
                  </a:cubicBezTo>
                  <a:cubicBezTo>
                    <a:pt x="587" y="27"/>
                    <a:pt x="587" y="27"/>
                    <a:pt x="587" y="27"/>
                  </a:cubicBezTo>
                  <a:cubicBezTo>
                    <a:pt x="583" y="27"/>
                    <a:pt x="583" y="27"/>
                    <a:pt x="583" y="27"/>
                  </a:cubicBezTo>
                  <a:cubicBezTo>
                    <a:pt x="583" y="30"/>
                    <a:pt x="583" y="30"/>
                    <a:pt x="583" y="30"/>
                  </a:cubicBezTo>
                  <a:cubicBezTo>
                    <a:pt x="585" y="31"/>
                    <a:pt x="585" y="31"/>
                    <a:pt x="585" y="31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7" y="36"/>
                    <a:pt x="587" y="36"/>
                    <a:pt x="587" y="36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87" y="45"/>
                    <a:pt x="587" y="45"/>
                    <a:pt x="587" y="45"/>
                  </a:cubicBezTo>
                  <a:cubicBezTo>
                    <a:pt x="580" y="45"/>
                    <a:pt x="580" y="45"/>
                    <a:pt x="580" y="45"/>
                  </a:cubicBezTo>
                  <a:cubicBezTo>
                    <a:pt x="576" y="55"/>
                    <a:pt x="576" y="55"/>
                    <a:pt x="576" y="55"/>
                  </a:cubicBezTo>
                  <a:cubicBezTo>
                    <a:pt x="574" y="35"/>
                    <a:pt x="574" y="35"/>
                    <a:pt x="574" y="35"/>
                  </a:cubicBezTo>
                  <a:cubicBezTo>
                    <a:pt x="569" y="37"/>
                    <a:pt x="569" y="37"/>
                    <a:pt x="569" y="37"/>
                  </a:cubicBezTo>
                  <a:cubicBezTo>
                    <a:pt x="575" y="26"/>
                    <a:pt x="575" y="26"/>
                    <a:pt x="575" y="26"/>
                  </a:cubicBezTo>
                  <a:cubicBezTo>
                    <a:pt x="573" y="24"/>
                    <a:pt x="573" y="24"/>
                    <a:pt x="573" y="24"/>
                  </a:cubicBezTo>
                  <a:cubicBezTo>
                    <a:pt x="573" y="24"/>
                    <a:pt x="574" y="17"/>
                    <a:pt x="569" y="17"/>
                  </a:cubicBezTo>
                  <a:cubicBezTo>
                    <a:pt x="564" y="18"/>
                    <a:pt x="564" y="32"/>
                    <a:pt x="564" y="32"/>
                  </a:cubicBezTo>
                  <a:cubicBezTo>
                    <a:pt x="560" y="33"/>
                    <a:pt x="560" y="33"/>
                    <a:pt x="560" y="33"/>
                  </a:cubicBezTo>
                  <a:cubicBezTo>
                    <a:pt x="560" y="33"/>
                    <a:pt x="561" y="41"/>
                    <a:pt x="558" y="45"/>
                  </a:cubicBezTo>
                  <a:cubicBezTo>
                    <a:pt x="556" y="50"/>
                    <a:pt x="550" y="60"/>
                    <a:pt x="550" y="60"/>
                  </a:cubicBezTo>
                  <a:cubicBezTo>
                    <a:pt x="550" y="60"/>
                    <a:pt x="555" y="62"/>
                    <a:pt x="554" y="65"/>
                  </a:cubicBezTo>
                  <a:cubicBezTo>
                    <a:pt x="553" y="68"/>
                    <a:pt x="551" y="73"/>
                    <a:pt x="551" y="73"/>
                  </a:cubicBezTo>
                  <a:cubicBezTo>
                    <a:pt x="549" y="78"/>
                    <a:pt x="549" y="78"/>
                    <a:pt x="549" y="78"/>
                  </a:cubicBezTo>
                  <a:cubicBezTo>
                    <a:pt x="546" y="74"/>
                    <a:pt x="546" y="74"/>
                    <a:pt x="546" y="74"/>
                  </a:cubicBezTo>
                  <a:cubicBezTo>
                    <a:pt x="544" y="77"/>
                    <a:pt x="544" y="77"/>
                    <a:pt x="544" y="77"/>
                  </a:cubicBezTo>
                  <a:cubicBezTo>
                    <a:pt x="541" y="71"/>
                    <a:pt x="541" y="71"/>
                    <a:pt x="541" y="71"/>
                  </a:cubicBezTo>
                  <a:cubicBezTo>
                    <a:pt x="547" y="55"/>
                    <a:pt x="547" y="55"/>
                    <a:pt x="547" y="55"/>
                  </a:cubicBezTo>
                  <a:cubicBezTo>
                    <a:pt x="542" y="55"/>
                    <a:pt x="542" y="55"/>
                    <a:pt x="542" y="55"/>
                  </a:cubicBezTo>
                  <a:cubicBezTo>
                    <a:pt x="541" y="52"/>
                    <a:pt x="541" y="52"/>
                    <a:pt x="541" y="52"/>
                  </a:cubicBezTo>
                  <a:cubicBezTo>
                    <a:pt x="553" y="34"/>
                    <a:pt x="553" y="34"/>
                    <a:pt x="553" y="34"/>
                  </a:cubicBezTo>
                  <a:cubicBezTo>
                    <a:pt x="551" y="32"/>
                    <a:pt x="551" y="32"/>
                    <a:pt x="551" y="32"/>
                  </a:cubicBezTo>
                  <a:cubicBezTo>
                    <a:pt x="551" y="32"/>
                    <a:pt x="556" y="25"/>
                    <a:pt x="554" y="24"/>
                  </a:cubicBezTo>
                  <a:cubicBezTo>
                    <a:pt x="552" y="22"/>
                    <a:pt x="546" y="29"/>
                    <a:pt x="546" y="29"/>
                  </a:cubicBezTo>
                  <a:cubicBezTo>
                    <a:pt x="546" y="22"/>
                    <a:pt x="546" y="22"/>
                    <a:pt x="546" y="22"/>
                  </a:cubicBezTo>
                  <a:cubicBezTo>
                    <a:pt x="540" y="22"/>
                    <a:pt x="540" y="22"/>
                    <a:pt x="540" y="22"/>
                  </a:cubicBezTo>
                  <a:cubicBezTo>
                    <a:pt x="542" y="26"/>
                    <a:pt x="542" y="26"/>
                    <a:pt x="542" y="26"/>
                  </a:cubicBezTo>
                  <a:cubicBezTo>
                    <a:pt x="541" y="31"/>
                    <a:pt x="541" y="31"/>
                    <a:pt x="541" y="31"/>
                  </a:cubicBezTo>
                  <a:cubicBezTo>
                    <a:pt x="537" y="26"/>
                    <a:pt x="537" y="26"/>
                    <a:pt x="537" y="26"/>
                  </a:cubicBezTo>
                  <a:cubicBezTo>
                    <a:pt x="534" y="29"/>
                    <a:pt x="534" y="29"/>
                    <a:pt x="534" y="29"/>
                  </a:cubicBezTo>
                  <a:cubicBezTo>
                    <a:pt x="535" y="24"/>
                    <a:pt x="535" y="24"/>
                    <a:pt x="535" y="24"/>
                  </a:cubicBezTo>
                  <a:cubicBezTo>
                    <a:pt x="534" y="22"/>
                    <a:pt x="534" y="22"/>
                    <a:pt x="534" y="22"/>
                  </a:cubicBezTo>
                  <a:cubicBezTo>
                    <a:pt x="532" y="26"/>
                    <a:pt x="532" y="26"/>
                    <a:pt x="532" y="26"/>
                  </a:cubicBezTo>
                  <a:cubicBezTo>
                    <a:pt x="525" y="21"/>
                    <a:pt x="525" y="21"/>
                    <a:pt x="525" y="21"/>
                  </a:cubicBezTo>
                  <a:cubicBezTo>
                    <a:pt x="523" y="27"/>
                    <a:pt x="523" y="27"/>
                    <a:pt x="523" y="27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6" y="31"/>
                    <a:pt x="526" y="31"/>
                    <a:pt x="526" y="31"/>
                  </a:cubicBezTo>
                  <a:cubicBezTo>
                    <a:pt x="526" y="35"/>
                    <a:pt x="526" y="35"/>
                    <a:pt x="526" y="35"/>
                  </a:cubicBezTo>
                  <a:cubicBezTo>
                    <a:pt x="523" y="34"/>
                    <a:pt x="523" y="34"/>
                    <a:pt x="523" y="3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9"/>
                    <a:pt x="519" y="39"/>
                    <a:pt x="519" y="39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46"/>
                    <a:pt x="532" y="46"/>
                    <a:pt x="532" y="46"/>
                  </a:cubicBezTo>
                  <a:cubicBezTo>
                    <a:pt x="532" y="48"/>
                    <a:pt x="532" y="48"/>
                    <a:pt x="532" y="48"/>
                  </a:cubicBezTo>
                  <a:cubicBezTo>
                    <a:pt x="532" y="48"/>
                    <a:pt x="530" y="46"/>
                    <a:pt x="527" y="45"/>
                  </a:cubicBezTo>
                  <a:cubicBezTo>
                    <a:pt x="525" y="43"/>
                    <a:pt x="521" y="43"/>
                    <a:pt x="521" y="43"/>
                  </a:cubicBezTo>
                  <a:cubicBezTo>
                    <a:pt x="520" y="53"/>
                    <a:pt x="520" y="53"/>
                    <a:pt x="520" y="53"/>
                  </a:cubicBezTo>
                  <a:cubicBezTo>
                    <a:pt x="522" y="52"/>
                    <a:pt x="522" y="52"/>
                    <a:pt x="522" y="52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25" y="58"/>
                    <a:pt x="522" y="57"/>
                    <a:pt x="519" y="56"/>
                  </a:cubicBezTo>
                  <a:cubicBezTo>
                    <a:pt x="515" y="56"/>
                    <a:pt x="514" y="59"/>
                    <a:pt x="514" y="59"/>
                  </a:cubicBezTo>
                  <a:cubicBezTo>
                    <a:pt x="505" y="75"/>
                    <a:pt x="505" y="75"/>
                    <a:pt x="505" y="75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4" y="78"/>
                    <a:pt x="504" y="78"/>
                    <a:pt x="504" y="78"/>
                  </a:cubicBezTo>
                  <a:cubicBezTo>
                    <a:pt x="508" y="83"/>
                    <a:pt x="508" y="83"/>
                    <a:pt x="508" y="83"/>
                  </a:cubicBezTo>
                  <a:cubicBezTo>
                    <a:pt x="505" y="85"/>
                    <a:pt x="505" y="85"/>
                    <a:pt x="505" y="85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04" y="92"/>
                    <a:pt x="504" y="92"/>
                    <a:pt x="504" y="92"/>
                  </a:cubicBezTo>
                  <a:cubicBezTo>
                    <a:pt x="499" y="83"/>
                    <a:pt x="499" y="83"/>
                    <a:pt x="499" y="83"/>
                  </a:cubicBezTo>
                  <a:cubicBezTo>
                    <a:pt x="486" y="91"/>
                    <a:pt x="486" y="91"/>
                    <a:pt x="486" y="91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6" y="89"/>
                    <a:pt x="497" y="83"/>
                    <a:pt x="498" y="79"/>
                  </a:cubicBezTo>
                  <a:cubicBezTo>
                    <a:pt x="499" y="76"/>
                    <a:pt x="489" y="78"/>
                    <a:pt x="489" y="78"/>
                  </a:cubicBezTo>
                  <a:cubicBezTo>
                    <a:pt x="489" y="78"/>
                    <a:pt x="486" y="75"/>
                    <a:pt x="484" y="78"/>
                  </a:cubicBezTo>
                  <a:cubicBezTo>
                    <a:pt x="481" y="81"/>
                    <a:pt x="487" y="84"/>
                    <a:pt x="487" y="84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1" y="76"/>
                    <a:pt x="476" y="76"/>
                  </a:cubicBezTo>
                  <a:cubicBezTo>
                    <a:pt x="472" y="76"/>
                    <a:pt x="472" y="82"/>
                    <a:pt x="472" y="82"/>
                  </a:cubicBezTo>
                  <a:cubicBezTo>
                    <a:pt x="465" y="77"/>
                    <a:pt x="465" y="77"/>
                    <a:pt x="465" y="77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464" y="80"/>
                    <a:pt x="460" y="79"/>
                    <a:pt x="458" y="82"/>
                  </a:cubicBezTo>
                  <a:cubicBezTo>
                    <a:pt x="456" y="87"/>
                    <a:pt x="465" y="87"/>
                    <a:pt x="465" y="87"/>
                  </a:cubicBezTo>
                  <a:cubicBezTo>
                    <a:pt x="462" y="90"/>
                    <a:pt x="462" y="90"/>
                    <a:pt x="462" y="90"/>
                  </a:cubicBezTo>
                  <a:cubicBezTo>
                    <a:pt x="472" y="92"/>
                    <a:pt x="472" y="92"/>
                    <a:pt x="472" y="92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3" y="94"/>
                    <a:pt x="473" y="94"/>
                    <a:pt x="473" y="94"/>
                  </a:cubicBezTo>
                  <a:cubicBezTo>
                    <a:pt x="474" y="95"/>
                    <a:pt x="474" y="95"/>
                    <a:pt x="474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7"/>
                    <a:pt x="478" y="97"/>
                    <a:pt x="478" y="97"/>
                  </a:cubicBezTo>
                  <a:cubicBezTo>
                    <a:pt x="475" y="97"/>
                    <a:pt x="475" y="97"/>
                    <a:pt x="475" y="97"/>
                  </a:cubicBezTo>
                  <a:cubicBezTo>
                    <a:pt x="478" y="103"/>
                    <a:pt x="478" y="103"/>
                    <a:pt x="478" y="103"/>
                  </a:cubicBezTo>
                  <a:cubicBezTo>
                    <a:pt x="478" y="106"/>
                    <a:pt x="478" y="106"/>
                    <a:pt x="478" y="106"/>
                  </a:cubicBezTo>
                  <a:cubicBezTo>
                    <a:pt x="478" y="106"/>
                    <a:pt x="484" y="110"/>
                    <a:pt x="482" y="111"/>
                  </a:cubicBezTo>
                  <a:cubicBezTo>
                    <a:pt x="479" y="112"/>
                    <a:pt x="474" y="103"/>
                    <a:pt x="474" y="103"/>
                  </a:cubicBezTo>
                  <a:cubicBezTo>
                    <a:pt x="469" y="100"/>
                    <a:pt x="469" y="100"/>
                    <a:pt x="469" y="100"/>
                  </a:cubicBezTo>
                  <a:cubicBezTo>
                    <a:pt x="469" y="100"/>
                    <a:pt x="465" y="94"/>
                    <a:pt x="460" y="94"/>
                  </a:cubicBezTo>
                  <a:cubicBezTo>
                    <a:pt x="457" y="94"/>
                    <a:pt x="459" y="100"/>
                    <a:pt x="459" y="100"/>
                  </a:cubicBezTo>
                  <a:cubicBezTo>
                    <a:pt x="461" y="104"/>
                    <a:pt x="461" y="104"/>
                    <a:pt x="461" y="104"/>
                  </a:cubicBezTo>
                  <a:cubicBezTo>
                    <a:pt x="458" y="106"/>
                    <a:pt x="458" y="106"/>
                    <a:pt x="458" y="106"/>
                  </a:cubicBezTo>
                  <a:cubicBezTo>
                    <a:pt x="456" y="111"/>
                    <a:pt x="456" y="111"/>
                    <a:pt x="456" y="111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57" y="102"/>
                    <a:pt x="457" y="102"/>
                    <a:pt x="457" y="102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1" y="106"/>
                    <a:pt x="451" y="106"/>
                    <a:pt x="451" y="106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448" y="124"/>
                    <a:pt x="448" y="124"/>
                    <a:pt x="448" y="124"/>
                  </a:cubicBezTo>
                  <a:cubicBezTo>
                    <a:pt x="452" y="129"/>
                    <a:pt x="452" y="129"/>
                    <a:pt x="452" y="129"/>
                  </a:cubicBezTo>
                  <a:cubicBezTo>
                    <a:pt x="444" y="126"/>
                    <a:pt x="444" y="126"/>
                    <a:pt x="444" y="126"/>
                  </a:cubicBezTo>
                  <a:cubicBezTo>
                    <a:pt x="442" y="140"/>
                    <a:pt x="442" y="140"/>
                    <a:pt x="442" y="140"/>
                  </a:cubicBezTo>
                  <a:cubicBezTo>
                    <a:pt x="440" y="140"/>
                    <a:pt x="440" y="140"/>
                    <a:pt x="440" y="140"/>
                  </a:cubicBezTo>
                  <a:cubicBezTo>
                    <a:pt x="436" y="147"/>
                    <a:pt x="436" y="147"/>
                    <a:pt x="436" y="147"/>
                  </a:cubicBezTo>
                  <a:cubicBezTo>
                    <a:pt x="434" y="144"/>
                    <a:pt x="434" y="144"/>
                    <a:pt x="434" y="144"/>
                  </a:cubicBezTo>
                  <a:cubicBezTo>
                    <a:pt x="439" y="138"/>
                    <a:pt x="439" y="138"/>
                    <a:pt x="439" y="138"/>
                  </a:cubicBezTo>
                  <a:cubicBezTo>
                    <a:pt x="441" y="129"/>
                    <a:pt x="441" y="129"/>
                    <a:pt x="441" y="129"/>
                  </a:cubicBezTo>
                  <a:cubicBezTo>
                    <a:pt x="440" y="128"/>
                    <a:pt x="440" y="128"/>
                    <a:pt x="440" y="128"/>
                  </a:cubicBezTo>
                  <a:cubicBezTo>
                    <a:pt x="443" y="125"/>
                    <a:pt x="443" y="125"/>
                    <a:pt x="443" y="125"/>
                  </a:cubicBezTo>
                  <a:cubicBezTo>
                    <a:pt x="441" y="120"/>
                    <a:pt x="441" y="120"/>
                    <a:pt x="441" y="120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09"/>
                    <a:pt x="439" y="102"/>
                    <a:pt x="439" y="102"/>
                  </a:cubicBezTo>
                  <a:cubicBezTo>
                    <a:pt x="434" y="106"/>
                    <a:pt x="434" y="106"/>
                    <a:pt x="434" y="106"/>
                  </a:cubicBezTo>
                  <a:cubicBezTo>
                    <a:pt x="434" y="106"/>
                    <a:pt x="435" y="112"/>
                    <a:pt x="432" y="115"/>
                  </a:cubicBezTo>
                  <a:cubicBezTo>
                    <a:pt x="428" y="118"/>
                    <a:pt x="431" y="124"/>
                    <a:pt x="431" y="124"/>
                  </a:cubicBezTo>
                  <a:cubicBezTo>
                    <a:pt x="434" y="126"/>
                    <a:pt x="434" y="126"/>
                    <a:pt x="434" y="126"/>
                  </a:cubicBezTo>
                  <a:cubicBezTo>
                    <a:pt x="429" y="128"/>
                    <a:pt x="429" y="128"/>
                    <a:pt x="429" y="128"/>
                  </a:cubicBezTo>
                  <a:cubicBezTo>
                    <a:pt x="429" y="137"/>
                    <a:pt x="429" y="137"/>
                    <a:pt x="429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7" y="124"/>
                    <a:pt x="427" y="124"/>
                    <a:pt x="427" y="124"/>
                  </a:cubicBezTo>
                  <a:cubicBezTo>
                    <a:pt x="426" y="124"/>
                    <a:pt x="426" y="124"/>
                    <a:pt x="426" y="124"/>
                  </a:cubicBezTo>
                  <a:cubicBezTo>
                    <a:pt x="426" y="113"/>
                    <a:pt x="426" y="113"/>
                    <a:pt x="426" y="113"/>
                  </a:cubicBezTo>
                  <a:cubicBezTo>
                    <a:pt x="426" y="113"/>
                    <a:pt x="421" y="115"/>
                    <a:pt x="413" y="119"/>
                  </a:cubicBezTo>
                  <a:cubicBezTo>
                    <a:pt x="405" y="121"/>
                    <a:pt x="410" y="132"/>
                    <a:pt x="410" y="132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3" y="132"/>
                    <a:pt x="413" y="134"/>
                    <a:pt x="412" y="137"/>
                  </a:cubicBezTo>
                  <a:cubicBezTo>
                    <a:pt x="411" y="139"/>
                    <a:pt x="416" y="142"/>
                    <a:pt x="420" y="142"/>
                  </a:cubicBezTo>
                  <a:cubicBezTo>
                    <a:pt x="424" y="143"/>
                    <a:pt x="424" y="150"/>
                    <a:pt x="424" y="150"/>
                  </a:cubicBezTo>
                  <a:cubicBezTo>
                    <a:pt x="427" y="151"/>
                    <a:pt x="427" y="151"/>
                    <a:pt x="427" y="151"/>
                  </a:cubicBezTo>
                  <a:cubicBezTo>
                    <a:pt x="425" y="152"/>
                    <a:pt x="425" y="152"/>
                    <a:pt x="425" y="152"/>
                  </a:cubicBezTo>
                  <a:cubicBezTo>
                    <a:pt x="425" y="152"/>
                    <a:pt x="421" y="150"/>
                    <a:pt x="421" y="147"/>
                  </a:cubicBezTo>
                  <a:cubicBezTo>
                    <a:pt x="421" y="144"/>
                    <a:pt x="416" y="144"/>
                    <a:pt x="412" y="143"/>
                  </a:cubicBezTo>
                  <a:cubicBezTo>
                    <a:pt x="410" y="143"/>
                    <a:pt x="407" y="134"/>
                    <a:pt x="407" y="134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9" y="136"/>
                    <a:pt x="400" y="140"/>
                    <a:pt x="402" y="143"/>
                  </a:cubicBezTo>
                  <a:cubicBezTo>
                    <a:pt x="405" y="146"/>
                    <a:pt x="409" y="147"/>
                    <a:pt x="409" y="147"/>
                  </a:cubicBezTo>
                  <a:cubicBezTo>
                    <a:pt x="409" y="147"/>
                    <a:pt x="405" y="148"/>
                    <a:pt x="402" y="146"/>
                  </a:cubicBezTo>
                  <a:cubicBezTo>
                    <a:pt x="399" y="145"/>
                    <a:pt x="394" y="138"/>
                    <a:pt x="394" y="138"/>
                  </a:cubicBezTo>
                  <a:cubicBezTo>
                    <a:pt x="390" y="139"/>
                    <a:pt x="390" y="139"/>
                    <a:pt x="390" y="139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92" y="159"/>
                    <a:pt x="392" y="159"/>
                    <a:pt x="392" y="159"/>
                  </a:cubicBezTo>
                  <a:cubicBezTo>
                    <a:pt x="380" y="160"/>
                    <a:pt x="380" y="160"/>
                    <a:pt x="380" y="160"/>
                  </a:cubicBezTo>
                  <a:cubicBezTo>
                    <a:pt x="384" y="165"/>
                    <a:pt x="384" y="165"/>
                    <a:pt x="384" y="165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84" y="174"/>
                    <a:pt x="384" y="174"/>
                    <a:pt x="384" y="174"/>
                  </a:cubicBezTo>
                  <a:cubicBezTo>
                    <a:pt x="387" y="176"/>
                    <a:pt x="387" y="176"/>
                    <a:pt x="387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0" y="181"/>
                    <a:pt x="380" y="181"/>
                    <a:pt x="380" y="181"/>
                  </a:cubicBezTo>
                  <a:cubicBezTo>
                    <a:pt x="385" y="183"/>
                    <a:pt x="385" y="183"/>
                    <a:pt x="385" y="183"/>
                  </a:cubicBezTo>
                  <a:cubicBezTo>
                    <a:pt x="377" y="183"/>
                    <a:pt x="377" y="183"/>
                    <a:pt x="377" y="183"/>
                  </a:cubicBezTo>
                  <a:cubicBezTo>
                    <a:pt x="371" y="184"/>
                    <a:pt x="377" y="187"/>
                    <a:pt x="377" y="187"/>
                  </a:cubicBezTo>
                  <a:cubicBezTo>
                    <a:pt x="382" y="189"/>
                    <a:pt x="382" y="189"/>
                    <a:pt x="382" y="189"/>
                  </a:cubicBezTo>
                  <a:cubicBezTo>
                    <a:pt x="382" y="189"/>
                    <a:pt x="375" y="187"/>
                    <a:pt x="372" y="188"/>
                  </a:cubicBezTo>
                  <a:cubicBezTo>
                    <a:pt x="370" y="188"/>
                    <a:pt x="371" y="190"/>
                    <a:pt x="371" y="190"/>
                  </a:cubicBezTo>
                  <a:cubicBezTo>
                    <a:pt x="375" y="191"/>
                    <a:pt x="375" y="191"/>
                    <a:pt x="375" y="191"/>
                  </a:cubicBezTo>
                  <a:cubicBezTo>
                    <a:pt x="374" y="195"/>
                    <a:pt x="374" y="195"/>
                    <a:pt x="374" y="195"/>
                  </a:cubicBezTo>
                  <a:cubicBezTo>
                    <a:pt x="374" y="192"/>
                    <a:pt x="374" y="192"/>
                    <a:pt x="374" y="192"/>
                  </a:cubicBezTo>
                  <a:cubicBezTo>
                    <a:pt x="370" y="191"/>
                    <a:pt x="370" y="191"/>
                    <a:pt x="370" y="191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91"/>
                    <a:pt x="367" y="191"/>
                    <a:pt x="367" y="191"/>
                  </a:cubicBezTo>
                  <a:cubicBezTo>
                    <a:pt x="367" y="191"/>
                    <a:pt x="366" y="192"/>
                    <a:pt x="361" y="192"/>
                  </a:cubicBezTo>
                  <a:cubicBezTo>
                    <a:pt x="357" y="192"/>
                    <a:pt x="357" y="200"/>
                    <a:pt x="357" y="200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68" y="203"/>
                    <a:pt x="369" y="205"/>
                    <a:pt x="372" y="205"/>
                  </a:cubicBezTo>
                  <a:cubicBezTo>
                    <a:pt x="375" y="205"/>
                    <a:pt x="382" y="199"/>
                    <a:pt x="382" y="199"/>
                  </a:cubicBezTo>
                  <a:cubicBezTo>
                    <a:pt x="380" y="203"/>
                    <a:pt x="380" y="203"/>
                    <a:pt x="380" y="203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76" y="207"/>
                    <a:pt x="376" y="207"/>
                    <a:pt x="376" y="207"/>
                  </a:cubicBezTo>
                  <a:cubicBezTo>
                    <a:pt x="376" y="213"/>
                    <a:pt x="376" y="213"/>
                    <a:pt x="376" y="213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4" y="209"/>
                    <a:pt x="374" y="209"/>
                    <a:pt x="374" y="209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211"/>
                    <a:pt x="364" y="208"/>
                    <a:pt x="361" y="208"/>
                  </a:cubicBezTo>
                  <a:cubicBezTo>
                    <a:pt x="358" y="207"/>
                    <a:pt x="353" y="209"/>
                    <a:pt x="351" y="213"/>
                  </a:cubicBezTo>
                  <a:cubicBezTo>
                    <a:pt x="348" y="215"/>
                    <a:pt x="355" y="215"/>
                    <a:pt x="358" y="216"/>
                  </a:cubicBezTo>
                  <a:cubicBezTo>
                    <a:pt x="362" y="217"/>
                    <a:pt x="361" y="221"/>
                    <a:pt x="361" y="221"/>
                  </a:cubicBezTo>
                  <a:cubicBezTo>
                    <a:pt x="364" y="223"/>
                    <a:pt x="364" y="223"/>
                    <a:pt x="364" y="223"/>
                  </a:cubicBezTo>
                  <a:cubicBezTo>
                    <a:pt x="363" y="224"/>
                    <a:pt x="363" y="224"/>
                    <a:pt x="363" y="224"/>
                  </a:cubicBezTo>
                  <a:cubicBezTo>
                    <a:pt x="363" y="224"/>
                    <a:pt x="359" y="221"/>
                    <a:pt x="357" y="219"/>
                  </a:cubicBezTo>
                  <a:cubicBezTo>
                    <a:pt x="355" y="217"/>
                    <a:pt x="348" y="216"/>
                    <a:pt x="348" y="216"/>
                  </a:cubicBezTo>
                  <a:cubicBezTo>
                    <a:pt x="347" y="218"/>
                    <a:pt x="347" y="218"/>
                    <a:pt x="347" y="218"/>
                  </a:cubicBezTo>
                  <a:cubicBezTo>
                    <a:pt x="353" y="219"/>
                    <a:pt x="353" y="219"/>
                    <a:pt x="353" y="219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52" y="223"/>
                    <a:pt x="352" y="223"/>
                    <a:pt x="352" y="223"/>
                  </a:cubicBezTo>
                  <a:cubicBezTo>
                    <a:pt x="355" y="222"/>
                    <a:pt x="355" y="222"/>
                    <a:pt x="355" y="222"/>
                  </a:cubicBezTo>
                  <a:cubicBezTo>
                    <a:pt x="358" y="223"/>
                    <a:pt x="358" y="223"/>
                    <a:pt x="358" y="223"/>
                  </a:cubicBezTo>
                  <a:cubicBezTo>
                    <a:pt x="351" y="226"/>
                    <a:pt x="351" y="226"/>
                    <a:pt x="351" y="226"/>
                  </a:cubicBezTo>
                  <a:cubicBezTo>
                    <a:pt x="352" y="230"/>
                    <a:pt x="352" y="230"/>
                    <a:pt x="352" y="230"/>
                  </a:cubicBezTo>
                  <a:cubicBezTo>
                    <a:pt x="352" y="230"/>
                    <a:pt x="354" y="229"/>
                    <a:pt x="356" y="231"/>
                  </a:cubicBezTo>
                  <a:cubicBezTo>
                    <a:pt x="357" y="233"/>
                    <a:pt x="352" y="236"/>
                    <a:pt x="348" y="235"/>
                  </a:cubicBezTo>
                  <a:cubicBezTo>
                    <a:pt x="345" y="233"/>
                    <a:pt x="346" y="221"/>
                    <a:pt x="346" y="221"/>
                  </a:cubicBezTo>
                  <a:cubicBezTo>
                    <a:pt x="343" y="221"/>
                    <a:pt x="343" y="221"/>
                    <a:pt x="343" y="221"/>
                  </a:cubicBezTo>
                  <a:cubicBezTo>
                    <a:pt x="338" y="230"/>
                    <a:pt x="338" y="230"/>
                    <a:pt x="338" y="230"/>
                  </a:cubicBezTo>
                  <a:cubicBezTo>
                    <a:pt x="337" y="224"/>
                    <a:pt x="337" y="224"/>
                    <a:pt x="337" y="224"/>
                  </a:cubicBezTo>
                  <a:cubicBezTo>
                    <a:pt x="335" y="224"/>
                    <a:pt x="335" y="224"/>
                    <a:pt x="335" y="224"/>
                  </a:cubicBezTo>
                  <a:cubicBezTo>
                    <a:pt x="334" y="229"/>
                    <a:pt x="334" y="229"/>
                    <a:pt x="334" y="229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27" y="235"/>
                    <a:pt x="327" y="235"/>
                    <a:pt x="327" y="235"/>
                  </a:cubicBezTo>
                  <a:cubicBezTo>
                    <a:pt x="329" y="238"/>
                    <a:pt x="329" y="238"/>
                    <a:pt x="329" y="238"/>
                  </a:cubicBezTo>
                  <a:cubicBezTo>
                    <a:pt x="331" y="237"/>
                    <a:pt x="331" y="237"/>
                    <a:pt x="331" y="237"/>
                  </a:cubicBezTo>
                  <a:cubicBezTo>
                    <a:pt x="331" y="234"/>
                    <a:pt x="331" y="234"/>
                    <a:pt x="331" y="234"/>
                  </a:cubicBezTo>
                  <a:cubicBezTo>
                    <a:pt x="335" y="232"/>
                    <a:pt x="335" y="232"/>
                    <a:pt x="335" y="232"/>
                  </a:cubicBezTo>
                  <a:cubicBezTo>
                    <a:pt x="337" y="234"/>
                    <a:pt x="337" y="234"/>
                    <a:pt x="337" y="234"/>
                  </a:cubicBezTo>
                  <a:cubicBezTo>
                    <a:pt x="333" y="237"/>
                    <a:pt x="333" y="237"/>
                    <a:pt x="333" y="237"/>
                  </a:cubicBezTo>
                  <a:cubicBezTo>
                    <a:pt x="335" y="238"/>
                    <a:pt x="335" y="238"/>
                    <a:pt x="335" y="238"/>
                  </a:cubicBezTo>
                  <a:cubicBezTo>
                    <a:pt x="335" y="238"/>
                    <a:pt x="339" y="238"/>
                    <a:pt x="341" y="239"/>
                  </a:cubicBezTo>
                  <a:cubicBezTo>
                    <a:pt x="343" y="239"/>
                    <a:pt x="340" y="236"/>
                    <a:pt x="340" y="234"/>
                  </a:cubicBezTo>
                  <a:cubicBezTo>
                    <a:pt x="340" y="233"/>
                    <a:pt x="344" y="234"/>
                    <a:pt x="345" y="236"/>
                  </a:cubicBezTo>
                  <a:cubicBezTo>
                    <a:pt x="346" y="238"/>
                    <a:pt x="344" y="242"/>
                    <a:pt x="343" y="242"/>
                  </a:cubicBezTo>
                  <a:cubicBezTo>
                    <a:pt x="341" y="244"/>
                    <a:pt x="342" y="242"/>
                    <a:pt x="339" y="240"/>
                  </a:cubicBezTo>
                  <a:cubicBezTo>
                    <a:pt x="336" y="239"/>
                    <a:pt x="334" y="244"/>
                    <a:pt x="330" y="244"/>
                  </a:cubicBezTo>
                  <a:cubicBezTo>
                    <a:pt x="327" y="244"/>
                    <a:pt x="322" y="245"/>
                    <a:pt x="322" y="245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2" y="248"/>
                    <a:pt x="322" y="248"/>
                    <a:pt x="322" y="248"/>
                  </a:cubicBezTo>
                  <a:cubicBezTo>
                    <a:pt x="318" y="248"/>
                    <a:pt x="318" y="248"/>
                    <a:pt x="318" y="248"/>
                  </a:cubicBezTo>
                  <a:cubicBezTo>
                    <a:pt x="315" y="252"/>
                    <a:pt x="315" y="252"/>
                    <a:pt x="315" y="252"/>
                  </a:cubicBezTo>
                  <a:cubicBezTo>
                    <a:pt x="321" y="253"/>
                    <a:pt x="321" y="253"/>
                    <a:pt x="321" y="253"/>
                  </a:cubicBezTo>
                  <a:cubicBezTo>
                    <a:pt x="315" y="256"/>
                    <a:pt x="315" y="256"/>
                    <a:pt x="315" y="256"/>
                  </a:cubicBezTo>
                  <a:cubicBezTo>
                    <a:pt x="315" y="256"/>
                    <a:pt x="318" y="260"/>
                    <a:pt x="322" y="258"/>
                  </a:cubicBezTo>
                  <a:cubicBezTo>
                    <a:pt x="327" y="256"/>
                    <a:pt x="331" y="249"/>
                    <a:pt x="331" y="249"/>
                  </a:cubicBezTo>
                  <a:cubicBezTo>
                    <a:pt x="342" y="256"/>
                    <a:pt x="342" y="256"/>
                    <a:pt x="342" y="256"/>
                  </a:cubicBezTo>
                  <a:cubicBezTo>
                    <a:pt x="334" y="253"/>
                    <a:pt x="334" y="253"/>
                    <a:pt x="334" y="253"/>
                  </a:cubicBezTo>
                  <a:cubicBezTo>
                    <a:pt x="331" y="254"/>
                    <a:pt x="331" y="254"/>
                    <a:pt x="331" y="254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29" y="256"/>
                    <a:pt x="329" y="256"/>
                    <a:pt x="329" y="256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0" y="263"/>
                    <a:pt x="330" y="263"/>
                    <a:pt x="330" y="263"/>
                  </a:cubicBezTo>
                  <a:cubicBezTo>
                    <a:pt x="328" y="267"/>
                    <a:pt x="328" y="267"/>
                    <a:pt x="328" y="267"/>
                  </a:cubicBezTo>
                  <a:cubicBezTo>
                    <a:pt x="329" y="269"/>
                    <a:pt x="335" y="267"/>
                    <a:pt x="335" y="267"/>
                  </a:cubicBezTo>
                  <a:cubicBezTo>
                    <a:pt x="339" y="265"/>
                    <a:pt x="339" y="265"/>
                    <a:pt x="339" y="265"/>
                  </a:cubicBezTo>
                  <a:cubicBezTo>
                    <a:pt x="336" y="274"/>
                    <a:pt x="336" y="274"/>
                    <a:pt x="336" y="274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7" y="278"/>
                    <a:pt x="337" y="278"/>
                    <a:pt x="337" y="278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1"/>
                    <a:pt x="339" y="281"/>
                    <a:pt x="337" y="280"/>
                  </a:cubicBezTo>
                  <a:cubicBezTo>
                    <a:pt x="335" y="280"/>
                    <a:pt x="333" y="271"/>
                    <a:pt x="331" y="270"/>
                  </a:cubicBezTo>
                  <a:cubicBezTo>
                    <a:pt x="329" y="270"/>
                    <a:pt x="327" y="271"/>
                    <a:pt x="327" y="271"/>
                  </a:cubicBezTo>
                  <a:cubicBezTo>
                    <a:pt x="327" y="271"/>
                    <a:pt x="325" y="267"/>
                    <a:pt x="322" y="266"/>
                  </a:cubicBezTo>
                  <a:cubicBezTo>
                    <a:pt x="319" y="266"/>
                    <a:pt x="313" y="273"/>
                    <a:pt x="313" y="273"/>
                  </a:cubicBezTo>
                  <a:cubicBezTo>
                    <a:pt x="321" y="274"/>
                    <a:pt x="321" y="274"/>
                    <a:pt x="321" y="274"/>
                  </a:cubicBezTo>
                  <a:cubicBezTo>
                    <a:pt x="321" y="274"/>
                    <a:pt x="318" y="276"/>
                    <a:pt x="314" y="276"/>
                  </a:cubicBezTo>
                  <a:cubicBezTo>
                    <a:pt x="312" y="276"/>
                    <a:pt x="313" y="279"/>
                    <a:pt x="312" y="281"/>
                  </a:cubicBezTo>
                  <a:cubicBezTo>
                    <a:pt x="310" y="283"/>
                    <a:pt x="306" y="285"/>
                    <a:pt x="306" y="285"/>
                  </a:cubicBezTo>
                  <a:cubicBezTo>
                    <a:pt x="317" y="285"/>
                    <a:pt x="317" y="285"/>
                    <a:pt x="317" y="285"/>
                  </a:cubicBezTo>
                  <a:cubicBezTo>
                    <a:pt x="322" y="285"/>
                    <a:pt x="327" y="282"/>
                    <a:pt x="327" y="282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35" y="285"/>
                    <a:pt x="335" y="285"/>
                    <a:pt x="335" y="285"/>
                  </a:cubicBezTo>
                  <a:cubicBezTo>
                    <a:pt x="334" y="295"/>
                    <a:pt x="334" y="295"/>
                    <a:pt x="334" y="295"/>
                  </a:cubicBezTo>
                  <a:cubicBezTo>
                    <a:pt x="331" y="290"/>
                    <a:pt x="331" y="290"/>
                    <a:pt x="331" y="290"/>
                  </a:cubicBezTo>
                  <a:cubicBezTo>
                    <a:pt x="323" y="287"/>
                    <a:pt x="323" y="287"/>
                    <a:pt x="323" y="287"/>
                  </a:cubicBezTo>
                  <a:cubicBezTo>
                    <a:pt x="318" y="294"/>
                    <a:pt x="318" y="294"/>
                    <a:pt x="318" y="294"/>
                  </a:cubicBezTo>
                  <a:cubicBezTo>
                    <a:pt x="321" y="287"/>
                    <a:pt x="321" y="287"/>
                    <a:pt x="321" y="287"/>
                  </a:cubicBezTo>
                  <a:cubicBezTo>
                    <a:pt x="308" y="288"/>
                    <a:pt x="308" y="288"/>
                    <a:pt x="308" y="288"/>
                  </a:cubicBezTo>
                  <a:cubicBezTo>
                    <a:pt x="303" y="302"/>
                    <a:pt x="303" y="302"/>
                    <a:pt x="303" y="302"/>
                  </a:cubicBezTo>
                  <a:cubicBezTo>
                    <a:pt x="297" y="301"/>
                    <a:pt x="297" y="301"/>
                    <a:pt x="297" y="301"/>
                  </a:cubicBezTo>
                  <a:cubicBezTo>
                    <a:pt x="296" y="304"/>
                    <a:pt x="296" y="304"/>
                    <a:pt x="296" y="304"/>
                  </a:cubicBezTo>
                  <a:cubicBezTo>
                    <a:pt x="296" y="304"/>
                    <a:pt x="295" y="303"/>
                    <a:pt x="290" y="305"/>
                  </a:cubicBezTo>
                  <a:cubicBezTo>
                    <a:pt x="284" y="308"/>
                    <a:pt x="284" y="311"/>
                    <a:pt x="284" y="311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286" y="316"/>
                    <a:pt x="286" y="316"/>
                    <a:pt x="286" y="316"/>
                  </a:cubicBezTo>
                  <a:cubicBezTo>
                    <a:pt x="281" y="317"/>
                    <a:pt x="281" y="317"/>
                    <a:pt x="281" y="317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79" y="321"/>
                    <a:pt x="279" y="321"/>
                    <a:pt x="279" y="321"/>
                  </a:cubicBezTo>
                  <a:cubicBezTo>
                    <a:pt x="276" y="321"/>
                    <a:pt x="276" y="321"/>
                    <a:pt x="276" y="321"/>
                  </a:cubicBezTo>
                  <a:cubicBezTo>
                    <a:pt x="282" y="327"/>
                    <a:pt x="282" y="327"/>
                    <a:pt x="282" y="327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75" y="331"/>
                    <a:pt x="275" y="331"/>
                    <a:pt x="275" y="331"/>
                  </a:cubicBezTo>
                  <a:cubicBezTo>
                    <a:pt x="277" y="333"/>
                    <a:pt x="277" y="333"/>
                    <a:pt x="277" y="333"/>
                  </a:cubicBezTo>
                  <a:cubicBezTo>
                    <a:pt x="281" y="332"/>
                    <a:pt x="281" y="332"/>
                    <a:pt x="281" y="332"/>
                  </a:cubicBezTo>
                  <a:cubicBezTo>
                    <a:pt x="287" y="335"/>
                    <a:pt x="287" y="335"/>
                    <a:pt x="287" y="335"/>
                  </a:cubicBezTo>
                  <a:cubicBezTo>
                    <a:pt x="287" y="335"/>
                    <a:pt x="282" y="334"/>
                    <a:pt x="279" y="335"/>
                  </a:cubicBezTo>
                  <a:cubicBezTo>
                    <a:pt x="276" y="336"/>
                    <a:pt x="278" y="339"/>
                    <a:pt x="278" y="339"/>
                  </a:cubicBezTo>
                  <a:cubicBezTo>
                    <a:pt x="275" y="339"/>
                    <a:pt x="275" y="339"/>
                    <a:pt x="275" y="339"/>
                  </a:cubicBezTo>
                  <a:cubicBezTo>
                    <a:pt x="275" y="335"/>
                    <a:pt x="275" y="335"/>
                    <a:pt x="275" y="335"/>
                  </a:cubicBezTo>
                  <a:cubicBezTo>
                    <a:pt x="271" y="334"/>
                    <a:pt x="271" y="334"/>
                    <a:pt x="271" y="334"/>
                  </a:cubicBezTo>
                  <a:cubicBezTo>
                    <a:pt x="270" y="336"/>
                    <a:pt x="270" y="336"/>
                    <a:pt x="270" y="336"/>
                  </a:cubicBezTo>
                  <a:cubicBezTo>
                    <a:pt x="273" y="340"/>
                    <a:pt x="273" y="340"/>
                    <a:pt x="273" y="340"/>
                  </a:cubicBezTo>
                  <a:cubicBezTo>
                    <a:pt x="273" y="340"/>
                    <a:pt x="270" y="346"/>
                    <a:pt x="272" y="348"/>
                  </a:cubicBezTo>
                  <a:cubicBezTo>
                    <a:pt x="275" y="350"/>
                    <a:pt x="284" y="347"/>
                    <a:pt x="284" y="348"/>
                  </a:cubicBezTo>
                  <a:cubicBezTo>
                    <a:pt x="284" y="349"/>
                    <a:pt x="275" y="350"/>
                    <a:pt x="275" y="350"/>
                  </a:cubicBezTo>
                  <a:cubicBezTo>
                    <a:pt x="271" y="356"/>
                    <a:pt x="271" y="356"/>
                    <a:pt x="271" y="35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85" y="351"/>
                    <a:pt x="285" y="351"/>
                    <a:pt x="285" y="351"/>
                  </a:cubicBezTo>
                  <a:cubicBezTo>
                    <a:pt x="287" y="351"/>
                    <a:pt x="287" y="351"/>
                    <a:pt x="287" y="351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0" y="353"/>
                    <a:pt x="290" y="353"/>
                    <a:pt x="290" y="353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285" y="360"/>
                    <a:pt x="285" y="360"/>
                    <a:pt x="285" y="360"/>
                  </a:cubicBezTo>
                  <a:cubicBezTo>
                    <a:pt x="285" y="360"/>
                    <a:pt x="286" y="355"/>
                    <a:pt x="285" y="353"/>
                  </a:cubicBezTo>
                  <a:cubicBezTo>
                    <a:pt x="282" y="351"/>
                    <a:pt x="277" y="356"/>
                    <a:pt x="275" y="357"/>
                  </a:cubicBezTo>
                  <a:cubicBezTo>
                    <a:pt x="273" y="359"/>
                    <a:pt x="263" y="360"/>
                    <a:pt x="262" y="363"/>
                  </a:cubicBezTo>
                  <a:cubicBezTo>
                    <a:pt x="260" y="366"/>
                    <a:pt x="269" y="364"/>
                    <a:pt x="269" y="364"/>
                  </a:cubicBezTo>
                  <a:cubicBezTo>
                    <a:pt x="268" y="371"/>
                    <a:pt x="268" y="371"/>
                    <a:pt x="268" y="371"/>
                  </a:cubicBezTo>
                  <a:cubicBezTo>
                    <a:pt x="274" y="375"/>
                    <a:pt x="274" y="375"/>
                    <a:pt x="274" y="375"/>
                  </a:cubicBezTo>
                  <a:cubicBezTo>
                    <a:pt x="274" y="375"/>
                    <a:pt x="262" y="372"/>
                    <a:pt x="261" y="375"/>
                  </a:cubicBezTo>
                  <a:cubicBezTo>
                    <a:pt x="259" y="378"/>
                    <a:pt x="261" y="381"/>
                    <a:pt x="261" y="381"/>
                  </a:cubicBezTo>
                  <a:cubicBezTo>
                    <a:pt x="259" y="381"/>
                    <a:pt x="259" y="381"/>
                    <a:pt x="259" y="381"/>
                  </a:cubicBezTo>
                  <a:cubicBezTo>
                    <a:pt x="257" y="383"/>
                    <a:pt x="257" y="383"/>
                    <a:pt x="257" y="383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7"/>
                    <a:pt x="256" y="386"/>
                    <a:pt x="253" y="389"/>
                  </a:cubicBezTo>
                  <a:cubicBezTo>
                    <a:pt x="249" y="391"/>
                    <a:pt x="254" y="398"/>
                    <a:pt x="254" y="398"/>
                  </a:cubicBezTo>
                  <a:cubicBezTo>
                    <a:pt x="258" y="399"/>
                    <a:pt x="258" y="399"/>
                    <a:pt x="258" y="399"/>
                  </a:cubicBezTo>
                  <a:cubicBezTo>
                    <a:pt x="259" y="405"/>
                    <a:pt x="259" y="405"/>
                    <a:pt x="259" y="405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49" y="396"/>
                    <a:pt x="249" y="396"/>
                    <a:pt x="249" y="396"/>
                  </a:cubicBezTo>
                  <a:cubicBezTo>
                    <a:pt x="247" y="404"/>
                    <a:pt x="247" y="404"/>
                    <a:pt x="247" y="404"/>
                  </a:cubicBezTo>
                  <a:cubicBezTo>
                    <a:pt x="252" y="404"/>
                    <a:pt x="252" y="404"/>
                    <a:pt x="252" y="404"/>
                  </a:cubicBezTo>
                  <a:cubicBezTo>
                    <a:pt x="252" y="404"/>
                    <a:pt x="248" y="406"/>
                    <a:pt x="246" y="409"/>
                  </a:cubicBezTo>
                  <a:cubicBezTo>
                    <a:pt x="244" y="411"/>
                    <a:pt x="246" y="416"/>
                    <a:pt x="246" y="416"/>
                  </a:cubicBezTo>
                  <a:cubicBezTo>
                    <a:pt x="241" y="418"/>
                    <a:pt x="241" y="418"/>
                    <a:pt x="241" y="418"/>
                  </a:cubicBezTo>
                  <a:cubicBezTo>
                    <a:pt x="243" y="420"/>
                    <a:pt x="243" y="420"/>
                    <a:pt x="243" y="420"/>
                  </a:cubicBezTo>
                  <a:cubicBezTo>
                    <a:pt x="248" y="416"/>
                    <a:pt x="248" y="416"/>
                    <a:pt x="248" y="416"/>
                  </a:cubicBezTo>
                  <a:cubicBezTo>
                    <a:pt x="248" y="413"/>
                    <a:pt x="248" y="413"/>
                    <a:pt x="248" y="413"/>
                  </a:cubicBezTo>
                  <a:cubicBezTo>
                    <a:pt x="253" y="411"/>
                    <a:pt x="253" y="411"/>
                    <a:pt x="253" y="411"/>
                  </a:cubicBezTo>
                  <a:cubicBezTo>
                    <a:pt x="249" y="415"/>
                    <a:pt x="249" y="415"/>
                    <a:pt x="249" y="415"/>
                  </a:cubicBezTo>
                  <a:cubicBezTo>
                    <a:pt x="254" y="419"/>
                    <a:pt x="254" y="419"/>
                    <a:pt x="254" y="419"/>
                  </a:cubicBezTo>
                  <a:cubicBezTo>
                    <a:pt x="253" y="423"/>
                    <a:pt x="253" y="423"/>
                    <a:pt x="253" y="423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1" y="414"/>
                    <a:pt x="271" y="414"/>
                    <a:pt x="271" y="414"/>
                  </a:cubicBezTo>
                  <a:cubicBezTo>
                    <a:pt x="256" y="427"/>
                    <a:pt x="256" y="427"/>
                    <a:pt x="256" y="427"/>
                  </a:cubicBezTo>
                  <a:cubicBezTo>
                    <a:pt x="252" y="428"/>
                    <a:pt x="252" y="428"/>
                    <a:pt x="252" y="428"/>
                  </a:cubicBezTo>
                  <a:cubicBezTo>
                    <a:pt x="249" y="421"/>
                    <a:pt x="249" y="421"/>
                    <a:pt x="249" y="421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43" y="424"/>
                    <a:pt x="243" y="424"/>
                    <a:pt x="243" y="424"/>
                  </a:cubicBezTo>
                  <a:cubicBezTo>
                    <a:pt x="243" y="424"/>
                    <a:pt x="239" y="424"/>
                    <a:pt x="239" y="426"/>
                  </a:cubicBezTo>
                  <a:cubicBezTo>
                    <a:pt x="239" y="427"/>
                    <a:pt x="235" y="435"/>
                    <a:pt x="231" y="435"/>
                  </a:cubicBezTo>
                  <a:cubicBezTo>
                    <a:pt x="228" y="436"/>
                    <a:pt x="222" y="440"/>
                    <a:pt x="222" y="440"/>
                  </a:cubicBezTo>
                  <a:cubicBezTo>
                    <a:pt x="224" y="442"/>
                    <a:pt x="224" y="442"/>
                    <a:pt x="224" y="442"/>
                  </a:cubicBezTo>
                  <a:cubicBezTo>
                    <a:pt x="224" y="442"/>
                    <a:pt x="216" y="446"/>
                    <a:pt x="221" y="450"/>
                  </a:cubicBezTo>
                  <a:cubicBezTo>
                    <a:pt x="224" y="452"/>
                    <a:pt x="231" y="441"/>
                    <a:pt x="231" y="441"/>
                  </a:cubicBezTo>
                  <a:cubicBezTo>
                    <a:pt x="242" y="436"/>
                    <a:pt x="242" y="436"/>
                    <a:pt x="242" y="436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8" y="446"/>
                    <a:pt x="232" y="447"/>
                    <a:pt x="228" y="450"/>
                  </a:cubicBezTo>
                  <a:cubicBezTo>
                    <a:pt x="223" y="452"/>
                    <a:pt x="226" y="457"/>
                    <a:pt x="226" y="457"/>
                  </a:cubicBezTo>
                  <a:cubicBezTo>
                    <a:pt x="223" y="458"/>
                    <a:pt x="223" y="458"/>
                    <a:pt x="223" y="458"/>
                  </a:cubicBezTo>
                  <a:cubicBezTo>
                    <a:pt x="219" y="455"/>
                    <a:pt x="219" y="455"/>
                    <a:pt x="219" y="455"/>
                  </a:cubicBezTo>
                  <a:cubicBezTo>
                    <a:pt x="215" y="457"/>
                    <a:pt x="215" y="457"/>
                    <a:pt x="215" y="457"/>
                  </a:cubicBezTo>
                  <a:cubicBezTo>
                    <a:pt x="215" y="457"/>
                    <a:pt x="219" y="463"/>
                    <a:pt x="221" y="465"/>
                  </a:cubicBezTo>
                  <a:cubicBezTo>
                    <a:pt x="222" y="467"/>
                    <a:pt x="231" y="459"/>
                    <a:pt x="231" y="459"/>
                  </a:cubicBezTo>
                  <a:cubicBezTo>
                    <a:pt x="226" y="468"/>
                    <a:pt x="226" y="468"/>
                    <a:pt x="226" y="468"/>
                  </a:cubicBezTo>
                  <a:cubicBezTo>
                    <a:pt x="221" y="471"/>
                    <a:pt x="221" y="471"/>
                    <a:pt x="221" y="471"/>
                  </a:cubicBezTo>
                  <a:cubicBezTo>
                    <a:pt x="213" y="459"/>
                    <a:pt x="213" y="459"/>
                    <a:pt x="213" y="459"/>
                  </a:cubicBezTo>
                  <a:cubicBezTo>
                    <a:pt x="204" y="467"/>
                    <a:pt x="204" y="467"/>
                    <a:pt x="204" y="467"/>
                  </a:cubicBezTo>
                  <a:cubicBezTo>
                    <a:pt x="207" y="470"/>
                    <a:pt x="207" y="470"/>
                    <a:pt x="207" y="470"/>
                  </a:cubicBezTo>
                  <a:cubicBezTo>
                    <a:pt x="200" y="468"/>
                    <a:pt x="200" y="468"/>
                    <a:pt x="200" y="468"/>
                  </a:cubicBezTo>
                  <a:cubicBezTo>
                    <a:pt x="198" y="471"/>
                    <a:pt x="198" y="471"/>
                    <a:pt x="198" y="471"/>
                  </a:cubicBezTo>
                  <a:cubicBezTo>
                    <a:pt x="203" y="474"/>
                    <a:pt x="203" y="474"/>
                    <a:pt x="203" y="474"/>
                  </a:cubicBezTo>
                  <a:cubicBezTo>
                    <a:pt x="198" y="475"/>
                    <a:pt x="198" y="475"/>
                    <a:pt x="198" y="475"/>
                  </a:cubicBezTo>
                  <a:cubicBezTo>
                    <a:pt x="198" y="475"/>
                    <a:pt x="189" y="485"/>
                    <a:pt x="188" y="486"/>
                  </a:cubicBezTo>
                  <a:cubicBezTo>
                    <a:pt x="188" y="487"/>
                    <a:pt x="191" y="490"/>
                    <a:pt x="191" y="490"/>
                  </a:cubicBezTo>
                  <a:cubicBezTo>
                    <a:pt x="184" y="489"/>
                    <a:pt x="184" y="489"/>
                    <a:pt x="184" y="489"/>
                  </a:cubicBezTo>
                  <a:cubicBezTo>
                    <a:pt x="182" y="498"/>
                    <a:pt x="182" y="498"/>
                    <a:pt x="182" y="498"/>
                  </a:cubicBezTo>
                  <a:cubicBezTo>
                    <a:pt x="182" y="498"/>
                    <a:pt x="188" y="498"/>
                    <a:pt x="188" y="500"/>
                  </a:cubicBezTo>
                  <a:cubicBezTo>
                    <a:pt x="188" y="502"/>
                    <a:pt x="179" y="504"/>
                    <a:pt x="174" y="505"/>
                  </a:cubicBezTo>
                  <a:cubicBezTo>
                    <a:pt x="169" y="507"/>
                    <a:pt x="169" y="517"/>
                    <a:pt x="169" y="517"/>
                  </a:cubicBezTo>
                  <a:cubicBezTo>
                    <a:pt x="169" y="517"/>
                    <a:pt x="184" y="509"/>
                    <a:pt x="183" y="514"/>
                  </a:cubicBezTo>
                  <a:cubicBezTo>
                    <a:pt x="183" y="518"/>
                    <a:pt x="176" y="517"/>
                    <a:pt x="176" y="517"/>
                  </a:cubicBezTo>
                  <a:cubicBezTo>
                    <a:pt x="177" y="520"/>
                    <a:pt x="177" y="520"/>
                    <a:pt x="177" y="520"/>
                  </a:cubicBezTo>
                  <a:cubicBezTo>
                    <a:pt x="182" y="522"/>
                    <a:pt x="182" y="522"/>
                    <a:pt x="182" y="52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181" y="529"/>
                    <a:pt x="181" y="529"/>
                    <a:pt x="181" y="529"/>
                  </a:cubicBezTo>
                  <a:cubicBezTo>
                    <a:pt x="198" y="520"/>
                    <a:pt x="198" y="520"/>
                    <a:pt x="198" y="520"/>
                  </a:cubicBezTo>
                  <a:cubicBezTo>
                    <a:pt x="198" y="520"/>
                    <a:pt x="202" y="517"/>
                    <a:pt x="203" y="516"/>
                  </a:cubicBezTo>
                  <a:cubicBezTo>
                    <a:pt x="205" y="515"/>
                    <a:pt x="206" y="513"/>
                    <a:pt x="209" y="512"/>
                  </a:cubicBezTo>
                  <a:cubicBezTo>
                    <a:pt x="211" y="512"/>
                    <a:pt x="213" y="508"/>
                    <a:pt x="213" y="505"/>
                  </a:cubicBezTo>
                  <a:cubicBezTo>
                    <a:pt x="213" y="502"/>
                    <a:pt x="202" y="507"/>
                    <a:pt x="202" y="507"/>
                  </a:cubicBezTo>
                  <a:cubicBezTo>
                    <a:pt x="202" y="507"/>
                    <a:pt x="209" y="502"/>
                    <a:pt x="212" y="500"/>
                  </a:cubicBezTo>
                  <a:cubicBezTo>
                    <a:pt x="214" y="499"/>
                    <a:pt x="215" y="494"/>
                    <a:pt x="221" y="494"/>
                  </a:cubicBezTo>
                  <a:cubicBezTo>
                    <a:pt x="225" y="494"/>
                    <a:pt x="226" y="498"/>
                    <a:pt x="226" y="498"/>
                  </a:cubicBezTo>
                  <a:cubicBezTo>
                    <a:pt x="215" y="503"/>
                    <a:pt x="215" y="503"/>
                    <a:pt x="215" y="503"/>
                  </a:cubicBezTo>
                  <a:cubicBezTo>
                    <a:pt x="214" y="506"/>
                    <a:pt x="214" y="506"/>
                    <a:pt x="214" y="506"/>
                  </a:cubicBezTo>
                  <a:cubicBezTo>
                    <a:pt x="214" y="506"/>
                    <a:pt x="223" y="506"/>
                    <a:pt x="224" y="509"/>
                  </a:cubicBezTo>
                  <a:cubicBezTo>
                    <a:pt x="224" y="513"/>
                    <a:pt x="214" y="515"/>
                    <a:pt x="211" y="516"/>
                  </a:cubicBezTo>
                  <a:cubicBezTo>
                    <a:pt x="208" y="516"/>
                    <a:pt x="203" y="521"/>
                    <a:pt x="202" y="524"/>
                  </a:cubicBezTo>
                  <a:cubicBezTo>
                    <a:pt x="202" y="528"/>
                    <a:pt x="206" y="522"/>
                    <a:pt x="208" y="523"/>
                  </a:cubicBezTo>
                  <a:cubicBezTo>
                    <a:pt x="209" y="525"/>
                    <a:pt x="206" y="526"/>
                    <a:pt x="205" y="528"/>
                  </a:cubicBezTo>
                  <a:cubicBezTo>
                    <a:pt x="203" y="530"/>
                    <a:pt x="208" y="531"/>
                    <a:pt x="208" y="531"/>
                  </a:cubicBezTo>
                  <a:cubicBezTo>
                    <a:pt x="205" y="533"/>
                    <a:pt x="205" y="533"/>
                    <a:pt x="205" y="533"/>
                  </a:cubicBezTo>
                  <a:cubicBezTo>
                    <a:pt x="205" y="533"/>
                    <a:pt x="194" y="530"/>
                    <a:pt x="188" y="532"/>
                  </a:cubicBezTo>
                  <a:cubicBezTo>
                    <a:pt x="181" y="534"/>
                    <a:pt x="187" y="539"/>
                    <a:pt x="187" y="539"/>
                  </a:cubicBezTo>
                  <a:cubicBezTo>
                    <a:pt x="180" y="538"/>
                    <a:pt x="180" y="538"/>
                    <a:pt x="180" y="538"/>
                  </a:cubicBezTo>
                  <a:cubicBezTo>
                    <a:pt x="175" y="540"/>
                    <a:pt x="175" y="540"/>
                    <a:pt x="175" y="540"/>
                  </a:cubicBezTo>
                  <a:cubicBezTo>
                    <a:pt x="180" y="532"/>
                    <a:pt x="180" y="532"/>
                    <a:pt x="180" y="532"/>
                  </a:cubicBezTo>
                  <a:cubicBezTo>
                    <a:pt x="175" y="518"/>
                    <a:pt x="175" y="518"/>
                    <a:pt x="175" y="518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6" y="523"/>
                    <a:pt x="166" y="523"/>
                    <a:pt x="166" y="523"/>
                  </a:cubicBezTo>
                  <a:cubicBezTo>
                    <a:pt x="158" y="526"/>
                    <a:pt x="158" y="526"/>
                    <a:pt x="158" y="526"/>
                  </a:cubicBezTo>
                  <a:cubicBezTo>
                    <a:pt x="157" y="530"/>
                    <a:pt x="157" y="530"/>
                    <a:pt x="157" y="530"/>
                  </a:cubicBezTo>
                  <a:cubicBezTo>
                    <a:pt x="164" y="531"/>
                    <a:pt x="164" y="531"/>
                    <a:pt x="164" y="531"/>
                  </a:cubicBezTo>
                  <a:cubicBezTo>
                    <a:pt x="157" y="532"/>
                    <a:pt x="157" y="532"/>
                    <a:pt x="157" y="532"/>
                  </a:cubicBezTo>
                  <a:cubicBezTo>
                    <a:pt x="156" y="536"/>
                    <a:pt x="156" y="536"/>
                    <a:pt x="156" y="536"/>
                  </a:cubicBezTo>
                  <a:cubicBezTo>
                    <a:pt x="162" y="537"/>
                    <a:pt x="162" y="537"/>
                    <a:pt x="162" y="537"/>
                  </a:cubicBezTo>
                  <a:cubicBezTo>
                    <a:pt x="150" y="539"/>
                    <a:pt x="150" y="539"/>
                    <a:pt x="150" y="539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47" y="534"/>
                    <a:pt x="147" y="534"/>
                    <a:pt x="147" y="534"/>
                  </a:cubicBezTo>
                  <a:cubicBezTo>
                    <a:pt x="145" y="532"/>
                    <a:pt x="145" y="532"/>
                    <a:pt x="145" y="532"/>
                  </a:cubicBezTo>
                  <a:cubicBezTo>
                    <a:pt x="141" y="534"/>
                    <a:pt x="141" y="534"/>
                    <a:pt x="141" y="534"/>
                  </a:cubicBezTo>
                  <a:cubicBezTo>
                    <a:pt x="145" y="538"/>
                    <a:pt x="145" y="538"/>
                    <a:pt x="145" y="538"/>
                  </a:cubicBezTo>
                  <a:cubicBezTo>
                    <a:pt x="138" y="538"/>
                    <a:pt x="138" y="538"/>
                    <a:pt x="138" y="538"/>
                  </a:cubicBezTo>
                  <a:cubicBezTo>
                    <a:pt x="134" y="541"/>
                    <a:pt x="134" y="541"/>
                    <a:pt x="134" y="541"/>
                  </a:cubicBezTo>
                  <a:cubicBezTo>
                    <a:pt x="139" y="547"/>
                    <a:pt x="139" y="547"/>
                    <a:pt x="139" y="547"/>
                  </a:cubicBezTo>
                  <a:cubicBezTo>
                    <a:pt x="143" y="548"/>
                    <a:pt x="143" y="548"/>
                    <a:pt x="143" y="548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5" y="552"/>
                    <a:pt x="135" y="552"/>
                    <a:pt x="135" y="552"/>
                  </a:cubicBezTo>
                  <a:cubicBezTo>
                    <a:pt x="126" y="551"/>
                    <a:pt x="126" y="551"/>
                    <a:pt x="126" y="551"/>
                  </a:cubicBezTo>
                  <a:cubicBezTo>
                    <a:pt x="126" y="555"/>
                    <a:pt x="126" y="555"/>
                    <a:pt x="126" y="555"/>
                  </a:cubicBezTo>
                  <a:cubicBezTo>
                    <a:pt x="132" y="563"/>
                    <a:pt x="132" y="563"/>
                    <a:pt x="132" y="563"/>
                  </a:cubicBezTo>
                  <a:cubicBezTo>
                    <a:pt x="138" y="561"/>
                    <a:pt x="138" y="561"/>
                    <a:pt x="138" y="561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2" y="566"/>
                    <a:pt x="132" y="566"/>
                    <a:pt x="132" y="566"/>
                  </a:cubicBezTo>
                  <a:cubicBezTo>
                    <a:pt x="137" y="568"/>
                    <a:pt x="137" y="568"/>
                    <a:pt x="137" y="568"/>
                  </a:cubicBezTo>
                  <a:cubicBezTo>
                    <a:pt x="135" y="569"/>
                    <a:pt x="135" y="569"/>
                    <a:pt x="135" y="569"/>
                  </a:cubicBezTo>
                  <a:cubicBezTo>
                    <a:pt x="130" y="567"/>
                    <a:pt x="130" y="567"/>
                    <a:pt x="130" y="567"/>
                  </a:cubicBezTo>
                  <a:cubicBezTo>
                    <a:pt x="129" y="561"/>
                    <a:pt x="129" y="561"/>
                    <a:pt x="129" y="561"/>
                  </a:cubicBezTo>
                  <a:cubicBezTo>
                    <a:pt x="123" y="552"/>
                    <a:pt x="123" y="552"/>
                    <a:pt x="123" y="552"/>
                  </a:cubicBezTo>
                  <a:cubicBezTo>
                    <a:pt x="114" y="557"/>
                    <a:pt x="114" y="557"/>
                    <a:pt x="114" y="557"/>
                  </a:cubicBezTo>
                  <a:cubicBezTo>
                    <a:pt x="116" y="558"/>
                    <a:pt x="116" y="558"/>
                    <a:pt x="116" y="558"/>
                  </a:cubicBezTo>
                  <a:cubicBezTo>
                    <a:pt x="118" y="558"/>
                    <a:pt x="118" y="558"/>
                    <a:pt x="118" y="558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32" y="577"/>
                    <a:pt x="132" y="577"/>
                    <a:pt x="132" y="577"/>
                  </a:cubicBezTo>
                  <a:cubicBezTo>
                    <a:pt x="133" y="579"/>
                    <a:pt x="133" y="579"/>
                    <a:pt x="133" y="579"/>
                  </a:cubicBezTo>
                  <a:cubicBezTo>
                    <a:pt x="122" y="571"/>
                    <a:pt x="122" y="571"/>
                    <a:pt x="122" y="571"/>
                  </a:cubicBezTo>
                  <a:cubicBezTo>
                    <a:pt x="122" y="562"/>
                    <a:pt x="122" y="562"/>
                    <a:pt x="122" y="562"/>
                  </a:cubicBezTo>
                  <a:cubicBezTo>
                    <a:pt x="113" y="562"/>
                    <a:pt x="113" y="562"/>
                    <a:pt x="113" y="562"/>
                  </a:cubicBezTo>
                  <a:cubicBezTo>
                    <a:pt x="111" y="565"/>
                    <a:pt x="111" y="565"/>
                    <a:pt x="111" y="565"/>
                  </a:cubicBezTo>
                  <a:cubicBezTo>
                    <a:pt x="112" y="560"/>
                    <a:pt x="112" y="560"/>
                    <a:pt x="112" y="560"/>
                  </a:cubicBezTo>
                  <a:cubicBezTo>
                    <a:pt x="108" y="560"/>
                    <a:pt x="108" y="560"/>
                    <a:pt x="108" y="560"/>
                  </a:cubicBezTo>
                  <a:cubicBezTo>
                    <a:pt x="107" y="563"/>
                    <a:pt x="107" y="563"/>
                    <a:pt x="107" y="563"/>
                  </a:cubicBezTo>
                  <a:cubicBezTo>
                    <a:pt x="101" y="564"/>
                    <a:pt x="101" y="564"/>
                    <a:pt x="101" y="564"/>
                  </a:cubicBezTo>
                  <a:cubicBezTo>
                    <a:pt x="96" y="557"/>
                    <a:pt x="96" y="557"/>
                    <a:pt x="96" y="557"/>
                  </a:cubicBezTo>
                  <a:cubicBezTo>
                    <a:pt x="96" y="557"/>
                    <a:pt x="92" y="557"/>
                    <a:pt x="85" y="562"/>
                  </a:cubicBezTo>
                  <a:cubicBezTo>
                    <a:pt x="80" y="567"/>
                    <a:pt x="93" y="567"/>
                    <a:pt x="94" y="569"/>
                  </a:cubicBezTo>
                  <a:cubicBezTo>
                    <a:pt x="94" y="571"/>
                    <a:pt x="91" y="570"/>
                    <a:pt x="88" y="570"/>
                  </a:cubicBezTo>
                  <a:cubicBezTo>
                    <a:pt x="83" y="571"/>
                    <a:pt x="87" y="577"/>
                    <a:pt x="87" y="577"/>
                  </a:cubicBezTo>
                  <a:cubicBezTo>
                    <a:pt x="87" y="577"/>
                    <a:pt x="104" y="571"/>
                    <a:pt x="105" y="573"/>
                  </a:cubicBezTo>
                  <a:cubicBezTo>
                    <a:pt x="106" y="575"/>
                    <a:pt x="99" y="575"/>
                    <a:pt x="99" y="575"/>
                  </a:cubicBezTo>
                  <a:cubicBezTo>
                    <a:pt x="99" y="578"/>
                    <a:pt x="99" y="578"/>
                    <a:pt x="99" y="578"/>
                  </a:cubicBezTo>
                  <a:cubicBezTo>
                    <a:pt x="99" y="578"/>
                    <a:pt x="108" y="575"/>
                    <a:pt x="113" y="573"/>
                  </a:cubicBezTo>
                  <a:cubicBezTo>
                    <a:pt x="118" y="573"/>
                    <a:pt x="122" y="579"/>
                    <a:pt x="122" y="579"/>
                  </a:cubicBezTo>
                  <a:cubicBezTo>
                    <a:pt x="122" y="579"/>
                    <a:pt x="117" y="576"/>
                    <a:pt x="114" y="575"/>
                  </a:cubicBezTo>
                  <a:cubicBezTo>
                    <a:pt x="112" y="575"/>
                    <a:pt x="104" y="578"/>
                    <a:pt x="104" y="578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2" y="581"/>
                    <a:pt x="102" y="581"/>
                    <a:pt x="102" y="581"/>
                  </a:cubicBezTo>
                  <a:cubicBezTo>
                    <a:pt x="100" y="582"/>
                    <a:pt x="100" y="582"/>
                    <a:pt x="100" y="582"/>
                  </a:cubicBezTo>
                  <a:cubicBezTo>
                    <a:pt x="102" y="586"/>
                    <a:pt x="102" y="586"/>
                    <a:pt x="102" y="586"/>
                  </a:cubicBezTo>
                  <a:cubicBezTo>
                    <a:pt x="108" y="586"/>
                    <a:pt x="108" y="586"/>
                    <a:pt x="108" y="586"/>
                  </a:cubicBezTo>
                  <a:cubicBezTo>
                    <a:pt x="104" y="591"/>
                    <a:pt x="104" y="591"/>
                    <a:pt x="104" y="591"/>
                  </a:cubicBezTo>
                  <a:cubicBezTo>
                    <a:pt x="96" y="584"/>
                    <a:pt x="96" y="584"/>
                    <a:pt x="96" y="584"/>
                  </a:cubicBezTo>
                  <a:cubicBezTo>
                    <a:pt x="92" y="582"/>
                    <a:pt x="92" y="582"/>
                    <a:pt x="92" y="582"/>
                  </a:cubicBezTo>
                  <a:cubicBezTo>
                    <a:pt x="92" y="585"/>
                    <a:pt x="92" y="585"/>
                    <a:pt x="92" y="585"/>
                  </a:cubicBezTo>
                  <a:cubicBezTo>
                    <a:pt x="92" y="585"/>
                    <a:pt x="90" y="581"/>
                    <a:pt x="87" y="580"/>
                  </a:cubicBezTo>
                  <a:cubicBezTo>
                    <a:pt x="83" y="579"/>
                    <a:pt x="83" y="583"/>
                    <a:pt x="83" y="583"/>
                  </a:cubicBezTo>
                  <a:cubicBezTo>
                    <a:pt x="83" y="583"/>
                    <a:pt x="81" y="581"/>
                    <a:pt x="80" y="580"/>
                  </a:cubicBezTo>
                  <a:cubicBezTo>
                    <a:pt x="78" y="580"/>
                    <a:pt x="74" y="583"/>
                    <a:pt x="74" y="583"/>
                  </a:cubicBezTo>
                  <a:cubicBezTo>
                    <a:pt x="74" y="583"/>
                    <a:pt x="72" y="582"/>
                    <a:pt x="69" y="581"/>
                  </a:cubicBezTo>
                  <a:cubicBezTo>
                    <a:pt x="66" y="581"/>
                    <a:pt x="65" y="584"/>
                    <a:pt x="63" y="587"/>
                  </a:cubicBezTo>
                  <a:cubicBezTo>
                    <a:pt x="62" y="589"/>
                    <a:pt x="74" y="586"/>
                    <a:pt x="74" y="586"/>
                  </a:cubicBezTo>
                  <a:cubicBezTo>
                    <a:pt x="74" y="586"/>
                    <a:pt x="82" y="592"/>
                    <a:pt x="84" y="594"/>
                  </a:cubicBezTo>
                  <a:cubicBezTo>
                    <a:pt x="85" y="595"/>
                    <a:pt x="84" y="600"/>
                    <a:pt x="84" y="600"/>
                  </a:cubicBezTo>
                  <a:cubicBezTo>
                    <a:pt x="87" y="603"/>
                    <a:pt x="87" y="603"/>
                    <a:pt x="87" y="603"/>
                  </a:cubicBezTo>
                  <a:cubicBezTo>
                    <a:pt x="92" y="604"/>
                    <a:pt x="92" y="604"/>
                    <a:pt x="92" y="604"/>
                  </a:cubicBezTo>
                  <a:cubicBezTo>
                    <a:pt x="94" y="603"/>
                    <a:pt x="94" y="603"/>
                    <a:pt x="94" y="603"/>
                  </a:cubicBezTo>
                  <a:cubicBezTo>
                    <a:pt x="93" y="605"/>
                    <a:pt x="93" y="605"/>
                    <a:pt x="93" y="605"/>
                  </a:cubicBezTo>
                  <a:cubicBezTo>
                    <a:pt x="85" y="605"/>
                    <a:pt x="85" y="605"/>
                    <a:pt x="85" y="605"/>
                  </a:cubicBezTo>
                  <a:cubicBezTo>
                    <a:pt x="87" y="608"/>
                    <a:pt x="87" y="608"/>
                    <a:pt x="87" y="608"/>
                  </a:cubicBezTo>
                  <a:cubicBezTo>
                    <a:pt x="83" y="614"/>
                    <a:pt x="83" y="614"/>
                    <a:pt x="83" y="614"/>
                  </a:cubicBezTo>
                  <a:cubicBezTo>
                    <a:pt x="85" y="616"/>
                    <a:pt x="85" y="616"/>
                    <a:pt x="85" y="616"/>
                  </a:cubicBezTo>
                  <a:cubicBezTo>
                    <a:pt x="80" y="615"/>
                    <a:pt x="80" y="615"/>
                    <a:pt x="80" y="615"/>
                  </a:cubicBezTo>
                  <a:cubicBezTo>
                    <a:pt x="84" y="607"/>
                    <a:pt x="84" y="607"/>
                    <a:pt x="84" y="607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82" y="594"/>
                    <a:pt x="82" y="594"/>
                    <a:pt x="82" y="594"/>
                  </a:cubicBezTo>
                  <a:cubicBezTo>
                    <a:pt x="73" y="593"/>
                    <a:pt x="73" y="593"/>
                    <a:pt x="73" y="593"/>
                  </a:cubicBezTo>
                  <a:cubicBezTo>
                    <a:pt x="73" y="597"/>
                    <a:pt x="73" y="597"/>
                    <a:pt x="73" y="597"/>
                  </a:cubicBezTo>
                  <a:cubicBezTo>
                    <a:pt x="69" y="595"/>
                    <a:pt x="69" y="595"/>
                    <a:pt x="69" y="595"/>
                  </a:cubicBezTo>
                  <a:cubicBezTo>
                    <a:pt x="66" y="595"/>
                    <a:pt x="66" y="595"/>
                    <a:pt x="66" y="595"/>
                  </a:cubicBezTo>
                  <a:cubicBezTo>
                    <a:pt x="72" y="611"/>
                    <a:pt x="72" y="611"/>
                    <a:pt x="72" y="611"/>
                  </a:cubicBezTo>
                  <a:cubicBezTo>
                    <a:pt x="71" y="613"/>
                    <a:pt x="71" y="613"/>
                    <a:pt x="71" y="613"/>
                  </a:cubicBezTo>
                  <a:cubicBezTo>
                    <a:pt x="68" y="607"/>
                    <a:pt x="68" y="607"/>
                    <a:pt x="68" y="607"/>
                  </a:cubicBezTo>
                  <a:cubicBezTo>
                    <a:pt x="65" y="602"/>
                    <a:pt x="65" y="602"/>
                    <a:pt x="65" y="602"/>
                  </a:cubicBezTo>
                  <a:cubicBezTo>
                    <a:pt x="65" y="602"/>
                    <a:pt x="66" y="598"/>
                    <a:pt x="63" y="597"/>
                  </a:cubicBezTo>
                  <a:cubicBezTo>
                    <a:pt x="61" y="596"/>
                    <a:pt x="52" y="603"/>
                    <a:pt x="52" y="603"/>
                  </a:cubicBezTo>
                  <a:cubicBezTo>
                    <a:pt x="56" y="607"/>
                    <a:pt x="56" y="607"/>
                    <a:pt x="56" y="607"/>
                  </a:cubicBezTo>
                  <a:cubicBezTo>
                    <a:pt x="50" y="607"/>
                    <a:pt x="50" y="607"/>
                    <a:pt x="50" y="607"/>
                  </a:cubicBezTo>
                  <a:cubicBezTo>
                    <a:pt x="50" y="607"/>
                    <a:pt x="52" y="608"/>
                    <a:pt x="55" y="610"/>
                  </a:cubicBezTo>
                  <a:cubicBezTo>
                    <a:pt x="57" y="613"/>
                    <a:pt x="61" y="616"/>
                    <a:pt x="61" y="616"/>
                  </a:cubicBezTo>
                  <a:cubicBezTo>
                    <a:pt x="55" y="615"/>
                    <a:pt x="55" y="615"/>
                    <a:pt x="55" y="615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8" y="617"/>
                    <a:pt x="48" y="617"/>
                    <a:pt x="48" y="617"/>
                  </a:cubicBezTo>
                  <a:cubicBezTo>
                    <a:pt x="51" y="610"/>
                    <a:pt x="51" y="610"/>
                    <a:pt x="51" y="610"/>
                  </a:cubicBezTo>
                  <a:cubicBezTo>
                    <a:pt x="51" y="610"/>
                    <a:pt x="50" y="608"/>
                    <a:pt x="46" y="608"/>
                  </a:cubicBezTo>
                  <a:cubicBezTo>
                    <a:pt x="42" y="608"/>
                    <a:pt x="43" y="612"/>
                    <a:pt x="43" y="612"/>
                  </a:cubicBezTo>
                  <a:cubicBezTo>
                    <a:pt x="43" y="612"/>
                    <a:pt x="40" y="608"/>
                    <a:pt x="38" y="608"/>
                  </a:cubicBezTo>
                  <a:cubicBezTo>
                    <a:pt x="34" y="608"/>
                    <a:pt x="33" y="612"/>
                    <a:pt x="33" y="612"/>
                  </a:cubicBezTo>
                  <a:cubicBezTo>
                    <a:pt x="39" y="615"/>
                    <a:pt x="39" y="615"/>
                    <a:pt x="39" y="615"/>
                  </a:cubicBezTo>
                  <a:cubicBezTo>
                    <a:pt x="38" y="616"/>
                    <a:pt x="38" y="616"/>
                    <a:pt x="38" y="616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32" y="609"/>
                    <a:pt x="32" y="609"/>
                    <a:pt x="32" y="609"/>
                  </a:cubicBezTo>
                  <a:cubicBezTo>
                    <a:pt x="28" y="605"/>
                    <a:pt x="28" y="605"/>
                    <a:pt x="28" y="605"/>
                  </a:cubicBezTo>
                  <a:cubicBezTo>
                    <a:pt x="25" y="609"/>
                    <a:pt x="25" y="609"/>
                    <a:pt x="25" y="609"/>
                  </a:cubicBezTo>
                  <a:cubicBezTo>
                    <a:pt x="26" y="611"/>
                    <a:pt x="26" y="611"/>
                    <a:pt x="26" y="611"/>
                  </a:cubicBezTo>
                  <a:cubicBezTo>
                    <a:pt x="26" y="611"/>
                    <a:pt x="32" y="616"/>
                    <a:pt x="32" y="618"/>
                  </a:cubicBezTo>
                  <a:cubicBezTo>
                    <a:pt x="31" y="621"/>
                    <a:pt x="25" y="620"/>
                    <a:pt x="25" y="624"/>
                  </a:cubicBezTo>
                  <a:cubicBezTo>
                    <a:pt x="25" y="627"/>
                    <a:pt x="34" y="623"/>
                    <a:pt x="34" y="623"/>
                  </a:cubicBezTo>
                  <a:cubicBezTo>
                    <a:pt x="50" y="627"/>
                    <a:pt x="50" y="627"/>
                    <a:pt x="50" y="627"/>
                  </a:cubicBezTo>
                  <a:cubicBezTo>
                    <a:pt x="49" y="628"/>
                    <a:pt x="49" y="628"/>
                    <a:pt x="49" y="628"/>
                  </a:cubicBezTo>
                  <a:cubicBezTo>
                    <a:pt x="64" y="632"/>
                    <a:pt x="64" y="632"/>
                    <a:pt x="64" y="632"/>
                  </a:cubicBezTo>
                  <a:cubicBezTo>
                    <a:pt x="71" y="629"/>
                    <a:pt x="71" y="629"/>
                    <a:pt x="71" y="629"/>
                  </a:cubicBezTo>
                  <a:cubicBezTo>
                    <a:pt x="78" y="631"/>
                    <a:pt x="78" y="631"/>
                    <a:pt x="78" y="631"/>
                  </a:cubicBezTo>
                  <a:cubicBezTo>
                    <a:pt x="78" y="632"/>
                    <a:pt x="78" y="632"/>
                    <a:pt x="78" y="632"/>
                  </a:cubicBezTo>
                  <a:cubicBezTo>
                    <a:pt x="72" y="631"/>
                    <a:pt x="72" y="631"/>
                    <a:pt x="72" y="631"/>
                  </a:cubicBezTo>
                  <a:cubicBezTo>
                    <a:pt x="65" y="633"/>
                    <a:pt x="65" y="633"/>
                    <a:pt x="65" y="633"/>
                  </a:cubicBezTo>
                  <a:cubicBezTo>
                    <a:pt x="56" y="631"/>
                    <a:pt x="56" y="631"/>
                    <a:pt x="56" y="631"/>
                  </a:cubicBezTo>
                  <a:cubicBezTo>
                    <a:pt x="55" y="633"/>
                    <a:pt x="55" y="633"/>
                    <a:pt x="55" y="633"/>
                  </a:cubicBezTo>
                  <a:cubicBezTo>
                    <a:pt x="55" y="633"/>
                    <a:pt x="42" y="626"/>
                    <a:pt x="35" y="626"/>
                  </a:cubicBezTo>
                  <a:cubicBezTo>
                    <a:pt x="28" y="626"/>
                    <a:pt x="29" y="629"/>
                    <a:pt x="29" y="629"/>
                  </a:cubicBezTo>
                  <a:cubicBezTo>
                    <a:pt x="29" y="629"/>
                    <a:pt x="28" y="629"/>
                    <a:pt x="25" y="631"/>
                  </a:cubicBezTo>
                  <a:cubicBezTo>
                    <a:pt x="23" y="632"/>
                    <a:pt x="25" y="635"/>
                    <a:pt x="25" y="635"/>
                  </a:cubicBezTo>
                  <a:cubicBezTo>
                    <a:pt x="25" y="635"/>
                    <a:pt x="19" y="634"/>
                    <a:pt x="17" y="638"/>
                  </a:cubicBezTo>
                  <a:cubicBezTo>
                    <a:pt x="16" y="641"/>
                    <a:pt x="19" y="642"/>
                    <a:pt x="19" y="642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2" y="646"/>
                    <a:pt x="32" y="646"/>
                    <a:pt x="32" y="646"/>
                  </a:cubicBezTo>
                  <a:cubicBezTo>
                    <a:pt x="26" y="644"/>
                    <a:pt x="26" y="644"/>
                    <a:pt x="26" y="644"/>
                  </a:cubicBezTo>
                  <a:cubicBezTo>
                    <a:pt x="24" y="646"/>
                    <a:pt x="24" y="646"/>
                    <a:pt x="24" y="646"/>
                  </a:cubicBezTo>
                  <a:cubicBezTo>
                    <a:pt x="28" y="648"/>
                    <a:pt x="28" y="648"/>
                    <a:pt x="28" y="648"/>
                  </a:cubicBezTo>
                  <a:cubicBezTo>
                    <a:pt x="23" y="648"/>
                    <a:pt x="23" y="648"/>
                    <a:pt x="23" y="648"/>
                  </a:cubicBezTo>
                  <a:cubicBezTo>
                    <a:pt x="23" y="650"/>
                    <a:pt x="23" y="650"/>
                    <a:pt x="23" y="650"/>
                  </a:cubicBezTo>
                  <a:cubicBezTo>
                    <a:pt x="32" y="652"/>
                    <a:pt x="32" y="652"/>
                    <a:pt x="32" y="652"/>
                  </a:cubicBezTo>
                  <a:cubicBezTo>
                    <a:pt x="17" y="655"/>
                    <a:pt x="17" y="655"/>
                    <a:pt x="17" y="655"/>
                  </a:cubicBezTo>
                  <a:cubicBezTo>
                    <a:pt x="17" y="657"/>
                    <a:pt x="17" y="657"/>
                    <a:pt x="17" y="657"/>
                  </a:cubicBezTo>
                  <a:cubicBezTo>
                    <a:pt x="20" y="657"/>
                    <a:pt x="20" y="657"/>
                    <a:pt x="20" y="657"/>
                  </a:cubicBezTo>
                  <a:cubicBezTo>
                    <a:pt x="20" y="660"/>
                    <a:pt x="20" y="660"/>
                    <a:pt x="20" y="660"/>
                  </a:cubicBezTo>
                  <a:cubicBezTo>
                    <a:pt x="30" y="660"/>
                    <a:pt x="30" y="660"/>
                    <a:pt x="30" y="660"/>
                  </a:cubicBezTo>
                  <a:cubicBezTo>
                    <a:pt x="17" y="663"/>
                    <a:pt x="17" y="663"/>
                    <a:pt x="17" y="663"/>
                  </a:cubicBezTo>
                  <a:cubicBezTo>
                    <a:pt x="15" y="667"/>
                    <a:pt x="15" y="667"/>
                    <a:pt x="15" y="667"/>
                  </a:cubicBezTo>
                  <a:cubicBezTo>
                    <a:pt x="22" y="670"/>
                    <a:pt x="22" y="670"/>
                    <a:pt x="22" y="670"/>
                  </a:cubicBezTo>
                  <a:cubicBezTo>
                    <a:pt x="18" y="670"/>
                    <a:pt x="18" y="670"/>
                    <a:pt x="18" y="670"/>
                  </a:cubicBezTo>
                  <a:cubicBezTo>
                    <a:pt x="23" y="675"/>
                    <a:pt x="23" y="675"/>
                    <a:pt x="23" y="675"/>
                  </a:cubicBezTo>
                  <a:cubicBezTo>
                    <a:pt x="26" y="675"/>
                    <a:pt x="26" y="675"/>
                    <a:pt x="26" y="675"/>
                  </a:cubicBezTo>
                  <a:cubicBezTo>
                    <a:pt x="28" y="677"/>
                    <a:pt x="28" y="677"/>
                    <a:pt x="28" y="677"/>
                  </a:cubicBezTo>
                  <a:cubicBezTo>
                    <a:pt x="48" y="672"/>
                    <a:pt x="48" y="672"/>
                    <a:pt x="48" y="672"/>
                  </a:cubicBezTo>
                  <a:cubicBezTo>
                    <a:pt x="46" y="675"/>
                    <a:pt x="46" y="675"/>
                    <a:pt x="46" y="675"/>
                  </a:cubicBezTo>
                  <a:cubicBezTo>
                    <a:pt x="55" y="674"/>
                    <a:pt x="55" y="674"/>
                    <a:pt x="55" y="674"/>
                  </a:cubicBezTo>
                  <a:cubicBezTo>
                    <a:pt x="55" y="674"/>
                    <a:pt x="56" y="677"/>
                    <a:pt x="61" y="677"/>
                  </a:cubicBezTo>
                  <a:cubicBezTo>
                    <a:pt x="65" y="677"/>
                    <a:pt x="63" y="668"/>
                    <a:pt x="63" y="668"/>
                  </a:cubicBezTo>
                  <a:cubicBezTo>
                    <a:pt x="66" y="667"/>
                    <a:pt x="66" y="667"/>
                    <a:pt x="66" y="667"/>
                  </a:cubicBezTo>
                  <a:cubicBezTo>
                    <a:pt x="71" y="661"/>
                    <a:pt x="71" y="661"/>
                    <a:pt x="71" y="661"/>
                  </a:cubicBezTo>
                  <a:cubicBezTo>
                    <a:pt x="72" y="662"/>
                    <a:pt x="72" y="662"/>
                    <a:pt x="72" y="662"/>
                  </a:cubicBezTo>
                  <a:cubicBezTo>
                    <a:pt x="67" y="670"/>
                    <a:pt x="67" y="670"/>
                    <a:pt x="67" y="670"/>
                  </a:cubicBezTo>
                  <a:cubicBezTo>
                    <a:pt x="69" y="674"/>
                    <a:pt x="69" y="674"/>
                    <a:pt x="69" y="674"/>
                  </a:cubicBezTo>
                  <a:cubicBezTo>
                    <a:pt x="79" y="675"/>
                    <a:pt x="79" y="675"/>
                    <a:pt x="79" y="675"/>
                  </a:cubicBezTo>
                  <a:cubicBezTo>
                    <a:pt x="83" y="671"/>
                    <a:pt x="83" y="671"/>
                    <a:pt x="83" y="671"/>
                  </a:cubicBezTo>
                  <a:cubicBezTo>
                    <a:pt x="83" y="675"/>
                    <a:pt x="83" y="675"/>
                    <a:pt x="83" y="675"/>
                  </a:cubicBezTo>
                  <a:cubicBezTo>
                    <a:pt x="76" y="677"/>
                    <a:pt x="76" y="677"/>
                    <a:pt x="76" y="677"/>
                  </a:cubicBezTo>
                  <a:cubicBezTo>
                    <a:pt x="78" y="679"/>
                    <a:pt x="78" y="679"/>
                    <a:pt x="78" y="679"/>
                  </a:cubicBezTo>
                  <a:cubicBezTo>
                    <a:pt x="90" y="675"/>
                    <a:pt x="90" y="675"/>
                    <a:pt x="90" y="675"/>
                  </a:cubicBezTo>
                  <a:cubicBezTo>
                    <a:pt x="89" y="668"/>
                    <a:pt x="89" y="668"/>
                    <a:pt x="89" y="668"/>
                  </a:cubicBezTo>
                  <a:cubicBezTo>
                    <a:pt x="89" y="668"/>
                    <a:pt x="91" y="664"/>
                    <a:pt x="93" y="661"/>
                  </a:cubicBezTo>
                  <a:cubicBezTo>
                    <a:pt x="94" y="659"/>
                    <a:pt x="98" y="656"/>
                    <a:pt x="98" y="656"/>
                  </a:cubicBezTo>
                  <a:cubicBezTo>
                    <a:pt x="99" y="658"/>
                    <a:pt x="99" y="658"/>
                    <a:pt x="99" y="658"/>
                  </a:cubicBezTo>
                  <a:cubicBezTo>
                    <a:pt x="99" y="658"/>
                    <a:pt x="97" y="660"/>
                    <a:pt x="95" y="662"/>
                  </a:cubicBezTo>
                  <a:cubicBezTo>
                    <a:pt x="93" y="663"/>
                    <a:pt x="90" y="668"/>
                    <a:pt x="90" y="668"/>
                  </a:cubicBezTo>
                  <a:cubicBezTo>
                    <a:pt x="92" y="671"/>
                    <a:pt x="92" y="671"/>
                    <a:pt x="92" y="671"/>
                  </a:cubicBezTo>
                  <a:cubicBezTo>
                    <a:pt x="93" y="675"/>
                    <a:pt x="93" y="675"/>
                    <a:pt x="93" y="675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98" y="676"/>
                    <a:pt x="98" y="676"/>
                    <a:pt x="98" y="676"/>
                  </a:cubicBezTo>
                  <a:cubicBezTo>
                    <a:pt x="96" y="676"/>
                    <a:pt x="96" y="676"/>
                    <a:pt x="96" y="676"/>
                  </a:cubicBezTo>
                  <a:cubicBezTo>
                    <a:pt x="92" y="677"/>
                    <a:pt x="92" y="677"/>
                    <a:pt x="92" y="677"/>
                  </a:cubicBezTo>
                  <a:cubicBezTo>
                    <a:pt x="92" y="680"/>
                    <a:pt x="92" y="680"/>
                    <a:pt x="92" y="680"/>
                  </a:cubicBezTo>
                  <a:cubicBezTo>
                    <a:pt x="88" y="678"/>
                    <a:pt x="88" y="678"/>
                    <a:pt x="88" y="678"/>
                  </a:cubicBezTo>
                  <a:cubicBezTo>
                    <a:pt x="80" y="680"/>
                    <a:pt x="80" y="680"/>
                    <a:pt x="80" y="680"/>
                  </a:cubicBezTo>
                  <a:cubicBezTo>
                    <a:pt x="80" y="686"/>
                    <a:pt x="80" y="686"/>
                    <a:pt x="80" y="686"/>
                  </a:cubicBezTo>
                  <a:cubicBezTo>
                    <a:pt x="82" y="691"/>
                    <a:pt x="82" y="691"/>
                    <a:pt x="82" y="691"/>
                  </a:cubicBezTo>
                  <a:cubicBezTo>
                    <a:pt x="79" y="688"/>
                    <a:pt x="79" y="688"/>
                    <a:pt x="79" y="688"/>
                  </a:cubicBezTo>
                  <a:cubicBezTo>
                    <a:pt x="76" y="690"/>
                    <a:pt x="76" y="690"/>
                    <a:pt x="76" y="690"/>
                  </a:cubicBezTo>
                  <a:cubicBezTo>
                    <a:pt x="78" y="686"/>
                    <a:pt x="78" y="686"/>
                    <a:pt x="78" y="686"/>
                  </a:cubicBezTo>
                  <a:cubicBezTo>
                    <a:pt x="77" y="681"/>
                    <a:pt x="77" y="681"/>
                    <a:pt x="77" y="68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4" y="678"/>
                    <a:pt x="74" y="678"/>
                    <a:pt x="74" y="678"/>
                  </a:cubicBezTo>
                  <a:cubicBezTo>
                    <a:pt x="74" y="678"/>
                    <a:pt x="67" y="676"/>
                    <a:pt x="66" y="675"/>
                  </a:cubicBezTo>
                  <a:cubicBezTo>
                    <a:pt x="65" y="675"/>
                    <a:pt x="64" y="679"/>
                    <a:pt x="64" y="679"/>
                  </a:cubicBezTo>
                  <a:cubicBezTo>
                    <a:pt x="56" y="680"/>
                    <a:pt x="56" y="680"/>
                    <a:pt x="56" y="680"/>
                  </a:cubicBezTo>
                  <a:cubicBezTo>
                    <a:pt x="56" y="678"/>
                    <a:pt x="56" y="678"/>
                    <a:pt x="56" y="678"/>
                  </a:cubicBezTo>
                  <a:cubicBezTo>
                    <a:pt x="42" y="676"/>
                    <a:pt x="42" y="676"/>
                    <a:pt x="42" y="676"/>
                  </a:cubicBezTo>
                  <a:cubicBezTo>
                    <a:pt x="41" y="678"/>
                    <a:pt x="41" y="678"/>
                    <a:pt x="41" y="678"/>
                  </a:cubicBezTo>
                  <a:cubicBezTo>
                    <a:pt x="39" y="676"/>
                    <a:pt x="39" y="676"/>
                    <a:pt x="39" y="676"/>
                  </a:cubicBezTo>
                  <a:cubicBezTo>
                    <a:pt x="33" y="678"/>
                    <a:pt x="33" y="678"/>
                    <a:pt x="33" y="678"/>
                  </a:cubicBezTo>
                  <a:cubicBezTo>
                    <a:pt x="31" y="681"/>
                    <a:pt x="31" y="681"/>
                    <a:pt x="31" y="681"/>
                  </a:cubicBezTo>
                  <a:cubicBezTo>
                    <a:pt x="24" y="680"/>
                    <a:pt x="24" y="680"/>
                    <a:pt x="24" y="680"/>
                  </a:cubicBezTo>
                  <a:cubicBezTo>
                    <a:pt x="24" y="680"/>
                    <a:pt x="23" y="678"/>
                    <a:pt x="19" y="678"/>
                  </a:cubicBezTo>
                  <a:cubicBezTo>
                    <a:pt x="16" y="678"/>
                    <a:pt x="15" y="682"/>
                    <a:pt x="15" y="682"/>
                  </a:cubicBezTo>
                  <a:cubicBezTo>
                    <a:pt x="18" y="686"/>
                    <a:pt x="18" y="686"/>
                    <a:pt x="18" y="686"/>
                  </a:cubicBezTo>
                  <a:cubicBezTo>
                    <a:pt x="14" y="687"/>
                    <a:pt x="14" y="687"/>
                    <a:pt x="14" y="687"/>
                  </a:cubicBezTo>
                  <a:cubicBezTo>
                    <a:pt x="14" y="687"/>
                    <a:pt x="14" y="692"/>
                    <a:pt x="18" y="693"/>
                  </a:cubicBezTo>
                  <a:cubicBezTo>
                    <a:pt x="22" y="695"/>
                    <a:pt x="24" y="691"/>
                    <a:pt x="24" y="691"/>
                  </a:cubicBezTo>
                  <a:cubicBezTo>
                    <a:pt x="28" y="691"/>
                    <a:pt x="28" y="691"/>
                    <a:pt x="28" y="691"/>
                  </a:cubicBezTo>
                  <a:cubicBezTo>
                    <a:pt x="27" y="692"/>
                    <a:pt x="27" y="692"/>
                    <a:pt x="27" y="692"/>
                  </a:cubicBezTo>
                  <a:cubicBezTo>
                    <a:pt x="27" y="692"/>
                    <a:pt x="23" y="692"/>
                    <a:pt x="22" y="697"/>
                  </a:cubicBezTo>
                  <a:cubicBezTo>
                    <a:pt x="20" y="703"/>
                    <a:pt x="27" y="704"/>
                    <a:pt x="27" y="704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7" y="707"/>
                    <a:pt x="27" y="707"/>
                    <a:pt x="27" y="707"/>
                  </a:cubicBezTo>
                  <a:cubicBezTo>
                    <a:pt x="30" y="707"/>
                    <a:pt x="30" y="707"/>
                    <a:pt x="30" y="707"/>
                  </a:cubicBezTo>
                  <a:cubicBezTo>
                    <a:pt x="30" y="707"/>
                    <a:pt x="29" y="705"/>
                    <a:pt x="29" y="703"/>
                  </a:cubicBezTo>
                  <a:cubicBezTo>
                    <a:pt x="29" y="702"/>
                    <a:pt x="32" y="701"/>
                    <a:pt x="32" y="701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8" y="704"/>
                    <a:pt x="36" y="708"/>
                    <a:pt x="35" y="711"/>
                  </a:cubicBezTo>
                  <a:cubicBezTo>
                    <a:pt x="34" y="714"/>
                    <a:pt x="34" y="719"/>
                    <a:pt x="34" y="719"/>
                  </a:cubicBezTo>
                  <a:cubicBezTo>
                    <a:pt x="25" y="720"/>
                    <a:pt x="25" y="720"/>
                    <a:pt x="25" y="720"/>
                  </a:cubicBezTo>
                  <a:cubicBezTo>
                    <a:pt x="25" y="720"/>
                    <a:pt x="24" y="713"/>
                    <a:pt x="19" y="714"/>
                  </a:cubicBezTo>
                  <a:cubicBezTo>
                    <a:pt x="15" y="715"/>
                    <a:pt x="19" y="723"/>
                    <a:pt x="19" y="723"/>
                  </a:cubicBezTo>
                  <a:cubicBezTo>
                    <a:pt x="19" y="723"/>
                    <a:pt x="15" y="723"/>
                    <a:pt x="15" y="727"/>
                  </a:cubicBezTo>
                  <a:cubicBezTo>
                    <a:pt x="15" y="731"/>
                    <a:pt x="18" y="730"/>
                    <a:pt x="18" y="730"/>
                  </a:cubicBezTo>
                  <a:cubicBezTo>
                    <a:pt x="17" y="733"/>
                    <a:pt x="17" y="733"/>
                    <a:pt x="17" y="733"/>
                  </a:cubicBezTo>
                  <a:cubicBezTo>
                    <a:pt x="22" y="738"/>
                    <a:pt x="22" y="738"/>
                    <a:pt x="22" y="738"/>
                  </a:cubicBezTo>
                  <a:cubicBezTo>
                    <a:pt x="26" y="735"/>
                    <a:pt x="26" y="735"/>
                    <a:pt x="26" y="735"/>
                  </a:cubicBezTo>
                  <a:cubicBezTo>
                    <a:pt x="29" y="727"/>
                    <a:pt x="29" y="727"/>
                    <a:pt x="29" y="727"/>
                  </a:cubicBezTo>
                  <a:cubicBezTo>
                    <a:pt x="27" y="734"/>
                    <a:pt x="27" y="734"/>
                    <a:pt x="27" y="734"/>
                  </a:cubicBezTo>
                  <a:cubicBezTo>
                    <a:pt x="27" y="738"/>
                    <a:pt x="27" y="738"/>
                    <a:pt x="27" y="738"/>
                  </a:cubicBezTo>
                  <a:cubicBezTo>
                    <a:pt x="32" y="738"/>
                    <a:pt x="32" y="738"/>
                    <a:pt x="32" y="738"/>
                  </a:cubicBezTo>
                  <a:cubicBezTo>
                    <a:pt x="33" y="739"/>
                    <a:pt x="31" y="743"/>
                    <a:pt x="31" y="743"/>
                  </a:cubicBezTo>
                  <a:cubicBezTo>
                    <a:pt x="32" y="744"/>
                    <a:pt x="32" y="744"/>
                    <a:pt x="32" y="744"/>
                  </a:cubicBezTo>
                  <a:cubicBezTo>
                    <a:pt x="30" y="744"/>
                    <a:pt x="30" y="744"/>
                    <a:pt x="30" y="744"/>
                  </a:cubicBezTo>
                  <a:cubicBezTo>
                    <a:pt x="30" y="746"/>
                    <a:pt x="30" y="746"/>
                    <a:pt x="30" y="746"/>
                  </a:cubicBezTo>
                  <a:cubicBezTo>
                    <a:pt x="34" y="750"/>
                    <a:pt x="34" y="750"/>
                    <a:pt x="34" y="750"/>
                  </a:cubicBezTo>
                  <a:cubicBezTo>
                    <a:pt x="38" y="745"/>
                    <a:pt x="38" y="745"/>
                    <a:pt x="38" y="745"/>
                  </a:cubicBezTo>
                  <a:cubicBezTo>
                    <a:pt x="38" y="738"/>
                    <a:pt x="38" y="738"/>
                    <a:pt x="38" y="738"/>
                  </a:cubicBezTo>
                  <a:cubicBezTo>
                    <a:pt x="40" y="737"/>
                    <a:pt x="40" y="737"/>
                    <a:pt x="40" y="737"/>
                  </a:cubicBezTo>
                  <a:cubicBezTo>
                    <a:pt x="42" y="731"/>
                    <a:pt x="42" y="731"/>
                    <a:pt x="42" y="731"/>
                  </a:cubicBezTo>
                  <a:cubicBezTo>
                    <a:pt x="42" y="731"/>
                    <a:pt x="45" y="734"/>
                    <a:pt x="47" y="731"/>
                  </a:cubicBezTo>
                  <a:cubicBezTo>
                    <a:pt x="48" y="730"/>
                    <a:pt x="47" y="726"/>
                    <a:pt x="47" y="726"/>
                  </a:cubicBezTo>
                  <a:cubicBezTo>
                    <a:pt x="47" y="726"/>
                    <a:pt x="49" y="725"/>
                    <a:pt x="55" y="723"/>
                  </a:cubicBezTo>
                  <a:cubicBezTo>
                    <a:pt x="59" y="720"/>
                    <a:pt x="64" y="720"/>
                    <a:pt x="64" y="720"/>
                  </a:cubicBezTo>
                  <a:cubicBezTo>
                    <a:pt x="64" y="722"/>
                    <a:pt x="64" y="722"/>
                    <a:pt x="64" y="722"/>
                  </a:cubicBezTo>
                  <a:cubicBezTo>
                    <a:pt x="71" y="719"/>
                    <a:pt x="71" y="719"/>
                    <a:pt x="71" y="719"/>
                  </a:cubicBezTo>
                  <a:cubicBezTo>
                    <a:pt x="72" y="715"/>
                    <a:pt x="72" y="715"/>
                    <a:pt x="72" y="715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3" y="719"/>
                    <a:pt x="73" y="719"/>
                    <a:pt x="73" y="719"/>
                  </a:cubicBezTo>
                  <a:cubicBezTo>
                    <a:pt x="77" y="720"/>
                    <a:pt x="77" y="720"/>
                    <a:pt x="77" y="720"/>
                  </a:cubicBezTo>
                  <a:cubicBezTo>
                    <a:pt x="77" y="720"/>
                    <a:pt x="68" y="721"/>
                    <a:pt x="65" y="726"/>
                  </a:cubicBezTo>
                  <a:cubicBezTo>
                    <a:pt x="62" y="731"/>
                    <a:pt x="63" y="735"/>
                    <a:pt x="62" y="738"/>
                  </a:cubicBezTo>
                  <a:cubicBezTo>
                    <a:pt x="62" y="740"/>
                    <a:pt x="58" y="743"/>
                    <a:pt x="58" y="743"/>
                  </a:cubicBezTo>
                  <a:cubicBezTo>
                    <a:pt x="62" y="726"/>
                    <a:pt x="62" y="726"/>
                    <a:pt x="62" y="726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62" y="723"/>
                    <a:pt x="58" y="724"/>
                    <a:pt x="56" y="726"/>
                  </a:cubicBezTo>
                  <a:cubicBezTo>
                    <a:pt x="52" y="727"/>
                    <a:pt x="47" y="735"/>
                    <a:pt x="47" y="735"/>
                  </a:cubicBezTo>
                  <a:cubicBezTo>
                    <a:pt x="47" y="735"/>
                    <a:pt x="44" y="736"/>
                    <a:pt x="44" y="739"/>
                  </a:cubicBezTo>
                  <a:cubicBezTo>
                    <a:pt x="45" y="742"/>
                    <a:pt x="50" y="740"/>
                    <a:pt x="48" y="742"/>
                  </a:cubicBezTo>
                  <a:cubicBezTo>
                    <a:pt x="47" y="743"/>
                    <a:pt x="43" y="743"/>
                    <a:pt x="41" y="745"/>
                  </a:cubicBezTo>
                  <a:cubicBezTo>
                    <a:pt x="39" y="747"/>
                    <a:pt x="39" y="752"/>
                    <a:pt x="39" y="752"/>
                  </a:cubicBezTo>
                  <a:cubicBezTo>
                    <a:pt x="32" y="752"/>
                    <a:pt x="32" y="752"/>
                    <a:pt x="32" y="752"/>
                  </a:cubicBezTo>
                  <a:cubicBezTo>
                    <a:pt x="28" y="757"/>
                    <a:pt x="28" y="757"/>
                    <a:pt x="28" y="757"/>
                  </a:cubicBezTo>
                  <a:cubicBezTo>
                    <a:pt x="33" y="762"/>
                    <a:pt x="33" y="762"/>
                    <a:pt x="33" y="762"/>
                  </a:cubicBezTo>
                  <a:cubicBezTo>
                    <a:pt x="39" y="759"/>
                    <a:pt x="39" y="759"/>
                    <a:pt x="39" y="759"/>
                  </a:cubicBezTo>
                  <a:cubicBezTo>
                    <a:pt x="38" y="764"/>
                    <a:pt x="38" y="764"/>
                    <a:pt x="38" y="764"/>
                  </a:cubicBezTo>
                  <a:cubicBezTo>
                    <a:pt x="40" y="765"/>
                    <a:pt x="40" y="765"/>
                    <a:pt x="40" y="765"/>
                  </a:cubicBezTo>
                  <a:cubicBezTo>
                    <a:pt x="46" y="760"/>
                    <a:pt x="46" y="760"/>
                    <a:pt x="46" y="760"/>
                  </a:cubicBezTo>
                  <a:cubicBezTo>
                    <a:pt x="42" y="766"/>
                    <a:pt x="42" y="766"/>
                    <a:pt x="42" y="766"/>
                  </a:cubicBezTo>
                  <a:cubicBezTo>
                    <a:pt x="44" y="768"/>
                    <a:pt x="44" y="768"/>
                    <a:pt x="44" y="768"/>
                  </a:cubicBezTo>
                  <a:cubicBezTo>
                    <a:pt x="34" y="765"/>
                    <a:pt x="34" y="765"/>
                    <a:pt x="34" y="765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72"/>
                    <a:pt x="34" y="772"/>
                    <a:pt x="34" y="772"/>
                  </a:cubicBezTo>
                  <a:cubicBezTo>
                    <a:pt x="26" y="768"/>
                    <a:pt x="26" y="768"/>
                    <a:pt x="26" y="768"/>
                  </a:cubicBezTo>
                  <a:cubicBezTo>
                    <a:pt x="23" y="770"/>
                    <a:pt x="23" y="770"/>
                    <a:pt x="23" y="770"/>
                  </a:cubicBezTo>
                  <a:cubicBezTo>
                    <a:pt x="20" y="778"/>
                    <a:pt x="20" y="778"/>
                    <a:pt x="20" y="778"/>
                  </a:cubicBezTo>
                  <a:cubicBezTo>
                    <a:pt x="18" y="780"/>
                    <a:pt x="18" y="780"/>
                    <a:pt x="18" y="780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9" y="767"/>
                    <a:pt x="19" y="767"/>
                    <a:pt x="19" y="767"/>
                  </a:cubicBezTo>
                  <a:cubicBezTo>
                    <a:pt x="18" y="771"/>
                    <a:pt x="18" y="771"/>
                    <a:pt x="18" y="771"/>
                  </a:cubicBezTo>
                  <a:cubicBezTo>
                    <a:pt x="15" y="771"/>
                    <a:pt x="15" y="771"/>
                    <a:pt x="15" y="771"/>
                  </a:cubicBezTo>
                  <a:cubicBezTo>
                    <a:pt x="10" y="780"/>
                    <a:pt x="10" y="780"/>
                    <a:pt x="10" y="780"/>
                  </a:cubicBezTo>
                  <a:cubicBezTo>
                    <a:pt x="13" y="793"/>
                    <a:pt x="13" y="793"/>
                    <a:pt x="13" y="793"/>
                  </a:cubicBezTo>
                  <a:cubicBezTo>
                    <a:pt x="14" y="792"/>
                    <a:pt x="14" y="792"/>
                    <a:pt x="14" y="792"/>
                  </a:cubicBezTo>
                  <a:cubicBezTo>
                    <a:pt x="14" y="800"/>
                    <a:pt x="14" y="800"/>
                    <a:pt x="14" y="800"/>
                  </a:cubicBezTo>
                  <a:cubicBezTo>
                    <a:pt x="17" y="800"/>
                    <a:pt x="17" y="800"/>
                    <a:pt x="17" y="800"/>
                  </a:cubicBezTo>
                  <a:cubicBezTo>
                    <a:pt x="17" y="793"/>
                    <a:pt x="17" y="793"/>
                    <a:pt x="17" y="793"/>
                  </a:cubicBezTo>
                  <a:cubicBezTo>
                    <a:pt x="22" y="792"/>
                    <a:pt x="22" y="792"/>
                    <a:pt x="22" y="792"/>
                  </a:cubicBezTo>
                  <a:cubicBezTo>
                    <a:pt x="22" y="789"/>
                    <a:pt x="22" y="789"/>
                    <a:pt x="22" y="789"/>
                  </a:cubicBezTo>
                  <a:cubicBezTo>
                    <a:pt x="25" y="791"/>
                    <a:pt x="25" y="791"/>
                    <a:pt x="25" y="791"/>
                  </a:cubicBezTo>
                  <a:cubicBezTo>
                    <a:pt x="23" y="794"/>
                    <a:pt x="23" y="794"/>
                    <a:pt x="23" y="794"/>
                  </a:cubicBezTo>
                  <a:cubicBezTo>
                    <a:pt x="24" y="796"/>
                    <a:pt x="24" y="796"/>
                    <a:pt x="24" y="796"/>
                  </a:cubicBezTo>
                  <a:cubicBezTo>
                    <a:pt x="32" y="788"/>
                    <a:pt x="32" y="788"/>
                    <a:pt x="32" y="788"/>
                  </a:cubicBezTo>
                  <a:cubicBezTo>
                    <a:pt x="30" y="784"/>
                    <a:pt x="30" y="784"/>
                    <a:pt x="30" y="784"/>
                  </a:cubicBezTo>
                  <a:cubicBezTo>
                    <a:pt x="26" y="785"/>
                    <a:pt x="26" y="785"/>
                    <a:pt x="26" y="785"/>
                  </a:cubicBezTo>
                  <a:cubicBezTo>
                    <a:pt x="31" y="782"/>
                    <a:pt x="31" y="782"/>
                    <a:pt x="31" y="782"/>
                  </a:cubicBezTo>
                  <a:cubicBezTo>
                    <a:pt x="32" y="778"/>
                    <a:pt x="32" y="778"/>
                    <a:pt x="32" y="778"/>
                  </a:cubicBezTo>
                  <a:cubicBezTo>
                    <a:pt x="34" y="783"/>
                    <a:pt x="34" y="783"/>
                    <a:pt x="34" y="783"/>
                  </a:cubicBezTo>
                  <a:cubicBezTo>
                    <a:pt x="39" y="784"/>
                    <a:pt x="39" y="784"/>
                    <a:pt x="39" y="784"/>
                  </a:cubicBezTo>
                  <a:cubicBezTo>
                    <a:pt x="35" y="785"/>
                    <a:pt x="35" y="785"/>
                    <a:pt x="35" y="785"/>
                  </a:cubicBezTo>
                  <a:cubicBezTo>
                    <a:pt x="36" y="788"/>
                    <a:pt x="36" y="788"/>
                    <a:pt x="36" y="788"/>
                  </a:cubicBezTo>
                  <a:cubicBezTo>
                    <a:pt x="41" y="786"/>
                    <a:pt x="41" y="786"/>
                    <a:pt x="41" y="786"/>
                  </a:cubicBezTo>
                  <a:cubicBezTo>
                    <a:pt x="43" y="780"/>
                    <a:pt x="43" y="780"/>
                    <a:pt x="43" y="780"/>
                  </a:cubicBezTo>
                  <a:cubicBezTo>
                    <a:pt x="45" y="778"/>
                    <a:pt x="45" y="778"/>
                    <a:pt x="45" y="778"/>
                  </a:cubicBezTo>
                  <a:cubicBezTo>
                    <a:pt x="47" y="773"/>
                    <a:pt x="47" y="773"/>
                    <a:pt x="47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7" y="780"/>
                    <a:pt x="47" y="780"/>
                    <a:pt x="47" y="780"/>
                  </a:cubicBezTo>
                  <a:cubicBezTo>
                    <a:pt x="52" y="777"/>
                    <a:pt x="52" y="777"/>
                    <a:pt x="52" y="777"/>
                  </a:cubicBezTo>
                  <a:cubicBezTo>
                    <a:pt x="52" y="778"/>
                    <a:pt x="52" y="778"/>
                    <a:pt x="52" y="778"/>
                  </a:cubicBezTo>
                  <a:cubicBezTo>
                    <a:pt x="45" y="782"/>
                    <a:pt x="45" y="782"/>
                    <a:pt x="45" y="782"/>
                  </a:cubicBezTo>
                  <a:cubicBezTo>
                    <a:pt x="44" y="788"/>
                    <a:pt x="44" y="788"/>
                    <a:pt x="44" y="788"/>
                  </a:cubicBezTo>
                  <a:cubicBezTo>
                    <a:pt x="38" y="790"/>
                    <a:pt x="38" y="790"/>
                    <a:pt x="38" y="790"/>
                  </a:cubicBezTo>
                  <a:cubicBezTo>
                    <a:pt x="40" y="792"/>
                    <a:pt x="40" y="792"/>
                    <a:pt x="40" y="792"/>
                  </a:cubicBezTo>
                  <a:cubicBezTo>
                    <a:pt x="40" y="792"/>
                    <a:pt x="41" y="790"/>
                    <a:pt x="44" y="791"/>
                  </a:cubicBezTo>
                  <a:cubicBezTo>
                    <a:pt x="46" y="792"/>
                    <a:pt x="41" y="796"/>
                    <a:pt x="41" y="796"/>
                  </a:cubicBezTo>
                  <a:cubicBezTo>
                    <a:pt x="49" y="793"/>
                    <a:pt x="49" y="793"/>
                    <a:pt x="49" y="793"/>
                  </a:cubicBezTo>
                  <a:cubicBezTo>
                    <a:pt x="49" y="793"/>
                    <a:pt x="42" y="797"/>
                    <a:pt x="41" y="798"/>
                  </a:cubicBezTo>
                  <a:cubicBezTo>
                    <a:pt x="39" y="799"/>
                    <a:pt x="36" y="803"/>
                    <a:pt x="36" y="803"/>
                  </a:cubicBezTo>
                  <a:cubicBezTo>
                    <a:pt x="38" y="805"/>
                    <a:pt x="38" y="805"/>
                    <a:pt x="38" y="805"/>
                  </a:cubicBezTo>
                  <a:cubicBezTo>
                    <a:pt x="31" y="807"/>
                    <a:pt x="31" y="807"/>
                    <a:pt x="31" y="807"/>
                  </a:cubicBezTo>
                  <a:cubicBezTo>
                    <a:pt x="34" y="813"/>
                    <a:pt x="34" y="813"/>
                    <a:pt x="34" y="813"/>
                  </a:cubicBezTo>
                  <a:cubicBezTo>
                    <a:pt x="35" y="817"/>
                    <a:pt x="35" y="817"/>
                    <a:pt x="35" y="817"/>
                  </a:cubicBezTo>
                  <a:cubicBezTo>
                    <a:pt x="43" y="813"/>
                    <a:pt x="43" y="813"/>
                    <a:pt x="43" y="813"/>
                  </a:cubicBezTo>
                  <a:cubicBezTo>
                    <a:pt x="50" y="814"/>
                    <a:pt x="50" y="814"/>
                    <a:pt x="50" y="814"/>
                  </a:cubicBezTo>
                  <a:cubicBezTo>
                    <a:pt x="44" y="815"/>
                    <a:pt x="44" y="815"/>
                    <a:pt x="44" y="815"/>
                  </a:cubicBezTo>
                  <a:cubicBezTo>
                    <a:pt x="38" y="819"/>
                    <a:pt x="38" y="819"/>
                    <a:pt x="38" y="819"/>
                  </a:cubicBezTo>
                  <a:cubicBezTo>
                    <a:pt x="38" y="822"/>
                    <a:pt x="38" y="822"/>
                    <a:pt x="38" y="822"/>
                  </a:cubicBezTo>
                  <a:cubicBezTo>
                    <a:pt x="30" y="816"/>
                    <a:pt x="30" y="816"/>
                    <a:pt x="30" y="816"/>
                  </a:cubicBezTo>
                  <a:cubicBezTo>
                    <a:pt x="25" y="820"/>
                    <a:pt x="25" y="820"/>
                    <a:pt x="25" y="820"/>
                  </a:cubicBezTo>
                  <a:cubicBezTo>
                    <a:pt x="25" y="814"/>
                    <a:pt x="25" y="814"/>
                    <a:pt x="25" y="814"/>
                  </a:cubicBezTo>
                  <a:cubicBezTo>
                    <a:pt x="19" y="812"/>
                    <a:pt x="19" y="812"/>
                    <a:pt x="19" y="812"/>
                  </a:cubicBezTo>
                  <a:cubicBezTo>
                    <a:pt x="20" y="820"/>
                    <a:pt x="20" y="820"/>
                    <a:pt x="20" y="820"/>
                  </a:cubicBezTo>
                  <a:cubicBezTo>
                    <a:pt x="18" y="821"/>
                    <a:pt x="18" y="821"/>
                    <a:pt x="18" y="821"/>
                  </a:cubicBezTo>
                  <a:cubicBezTo>
                    <a:pt x="17" y="824"/>
                    <a:pt x="17" y="824"/>
                    <a:pt x="17" y="824"/>
                  </a:cubicBezTo>
                  <a:cubicBezTo>
                    <a:pt x="14" y="829"/>
                    <a:pt x="14" y="829"/>
                    <a:pt x="14" y="829"/>
                  </a:cubicBezTo>
                  <a:cubicBezTo>
                    <a:pt x="14" y="829"/>
                    <a:pt x="18" y="841"/>
                    <a:pt x="23" y="844"/>
                  </a:cubicBezTo>
                  <a:cubicBezTo>
                    <a:pt x="26" y="847"/>
                    <a:pt x="29" y="849"/>
                    <a:pt x="31" y="853"/>
                  </a:cubicBezTo>
                  <a:cubicBezTo>
                    <a:pt x="33" y="857"/>
                    <a:pt x="49" y="863"/>
                    <a:pt x="49" y="863"/>
                  </a:cubicBezTo>
                  <a:cubicBezTo>
                    <a:pt x="50" y="866"/>
                    <a:pt x="50" y="866"/>
                    <a:pt x="50" y="866"/>
                  </a:cubicBezTo>
                  <a:cubicBezTo>
                    <a:pt x="53" y="862"/>
                    <a:pt x="53" y="862"/>
                    <a:pt x="53" y="862"/>
                  </a:cubicBezTo>
                  <a:cubicBezTo>
                    <a:pt x="58" y="865"/>
                    <a:pt x="58" y="865"/>
                    <a:pt x="58" y="865"/>
                  </a:cubicBezTo>
                  <a:cubicBezTo>
                    <a:pt x="48" y="872"/>
                    <a:pt x="48" y="872"/>
                    <a:pt x="48" y="872"/>
                  </a:cubicBezTo>
                  <a:cubicBezTo>
                    <a:pt x="50" y="876"/>
                    <a:pt x="50" y="876"/>
                    <a:pt x="50" y="876"/>
                  </a:cubicBezTo>
                  <a:cubicBezTo>
                    <a:pt x="58" y="876"/>
                    <a:pt x="58" y="876"/>
                    <a:pt x="58" y="876"/>
                  </a:cubicBezTo>
                  <a:cubicBezTo>
                    <a:pt x="56" y="873"/>
                    <a:pt x="56" y="873"/>
                    <a:pt x="56" y="873"/>
                  </a:cubicBezTo>
                  <a:cubicBezTo>
                    <a:pt x="60" y="871"/>
                    <a:pt x="60" y="871"/>
                    <a:pt x="60" y="871"/>
                  </a:cubicBezTo>
                  <a:cubicBezTo>
                    <a:pt x="65" y="873"/>
                    <a:pt x="65" y="873"/>
                    <a:pt x="65" y="873"/>
                  </a:cubicBezTo>
                  <a:cubicBezTo>
                    <a:pt x="60" y="875"/>
                    <a:pt x="60" y="875"/>
                    <a:pt x="60" y="875"/>
                  </a:cubicBezTo>
                  <a:cubicBezTo>
                    <a:pt x="64" y="879"/>
                    <a:pt x="64" y="879"/>
                    <a:pt x="64" y="879"/>
                  </a:cubicBezTo>
                  <a:cubicBezTo>
                    <a:pt x="68" y="877"/>
                    <a:pt x="68" y="877"/>
                    <a:pt x="68" y="877"/>
                  </a:cubicBezTo>
                  <a:cubicBezTo>
                    <a:pt x="68" y="877"/>
                    <a:pt x="74" y="880"/>
                    <a:pt x="80" y="880"/>
                  </a:cubicBezTo>
                  <a:cubicBezTo>
                    <a:pt x="85" y="880"/>
                    <a:pt x="88" y="878"/>
                    <a:pt x="92" y="877"/>
                  </a:cubicBezTo>
                  <a:cubicBezTo>
                    <a:pt x="96" y="876"/>
                    <a:pt x="101" y="870"/>
                    <a:pt x="101" y="870"/>
                  </a:cubicBezTo>
                  <a:cubicBezTo>
                    <a:pt x="101" y="877"/>
                    <a:pt x="101" y="877"/>
                    <a:pt x="101" y="877"/>
                  </a:cubicBezTo>
                  <a:cubicBezTo>
                    <a:pt x="124" y="857"/>
                    <a:pt x="124" y="857"/>
                    <a:pt x="124" y="857"/>
                  </a:cubicBezTo>
                  <a:cubicBezTo>
                    <a:pt x="124" y="853"/>
                    <a:pt x="124" y="853"/>
                    <a:pt x="124" y="853"/>
                  </a:cubicBezTo>
                  <a:cubicBezTo>
                    <a:pt x="142" y="839"/>
                    <a:pt x="142" y="839"/>
                    <a:pt x="142" y="839"/>
                  </a:cubicBezTo>
                  <a:cubicBezTo>
                    <a:pt x="141" y="835"/>
                    <a:pt x="141" y="835"/>
                    <a:pt x="141" y="835"/>
                  </a:cubicBezTo>
                  <a:cubicBezTo>
                    <a:pt x="145" y="836"/>
                    <a:pt x="145" y="836"/>
                    <a:pt x="145" y="836"/>
                  </a:cubicBezTo>
                  <a:cubicBezTo>
                    <a:pt x="150" y="830"/>
                    <a:pt x="150" y="830"/>
                    <a:pt x="150" y="830"/>
                  </a:cubicBezTo>
                  <a:cubicBezTo>
                    <a:pt x="146" y="828"/>
                    <a:pt x="146" y="828"/>
                    <a:pt x="146" y="828"/>
                  </a:cubicBezTo>
                  <a:cubicBezTo>
                    <a:pt x="161" y="817"/>
                    <a:pt x="161" y="817"/>
                    <a:pt x="161" y="817"/>
                  </a:cubicBezTo>
                  <a:cubicBezTo>
                    <a:pt x="156" y="810"/>
                    <a:pt x="156" y="810"/>
                    <a:pt x="156" y="810"/>
                  </a:cubicBezTo>
                  <a:cubicBezTo>
                    <a:pt x="159" y="812"/>
                    <a:pt x="159" y="812"/>
                    <a:pt x="159" y="812"/>
                  </a:cubicBezTo>
                  <a:cubicBezTo>
                    <a:pt x="167" y="821"/>
                    <a:pt x="167" y="821"/>
                    <a:pt x="167" y="821"/>
                  </a:cubicBezTo>
                  <a:cubicBezTo>
                    <a:pt x="180" y="817"/>
                    <a:pt x="180" y="817"/>
                    <a:pt x="180" y="817"/>
                  </a:cubicBezTo>
                  <a:cubicBezTo>
                    <a:pt x="181" y="805"/>
                    <a:pt x="181" y="805"/>
                    <a:pt x="181" y="805"/>
                  </a:cubicBezTo>
                  <a:cubicBezTo>
                    <a:pt x="184" y="808"/>
                    <a:pt x="184" y="808"/>
                    <a:pt x="184" y="808"/>
                  </a:cubicBezTo>
                  <a:cubicBezTo>
                    <a:pt x="188" y="806"/>
                    <a:pt x="188" y="806"/>
                    <a:pt x="188" y="806"/>
                  </a:cubicBezTo>
                  <a:cubicBezTo>
                    <a:pt x="186" y="803"/>
                    <a:pt x="186" y="803"/>
                    <a:pt x="186" y="803"/>
                  </a:cubicBezTo>
                  <a:cubicBezTo>
                    <a:pt x="189" y="803"/>
                    <a:pt x="189" y="803"/>
                    <a:pt x="189" y="803"/>
                  </a:cubicBezTo>
                  <a:cubicBezTo>
                    <a:pt x="188" y="791"/>
                    <a:pt x="188" y="791"/>
                    <a:pt x="188" y="791"/>
                  </a:cubicBezTo>
                  <a:cubicBezTo>
                    <a:pt x="182" y="789"/>
                    <a:pt x="182" y="789"/>
                    <a:pt x="182" y="789"/>
                  </a:cubicBezTo>
                  <a:cubicBezTo>
                    <a:pt x="179" y="782"/>
                    <a:pt x="179" y="782"/>
                    <a:pt x="179" y="782"/>
                  </a:cubicBezTo>
                  <a:cubicBezTo>
                    <a:pt x="183" y="785"/>
                    <a:pt x="183" y="785"/>
                    <a:pt x="183" y="785"/>
                  </a:cubicBezTo>
                  <a:cubicBezTo>
                    <a:pt x="183" y="776"/>
                    <a:pt x="183" y="776"/>
                    <a:pt x="183" y="776"/>
                  </a:cubicBezTo>
                  <a:cubicBezTo>
                    <a:pt x="178" y="771"/>
                    <a:pt x="178" y="771"/>
                    <a:pt x="178" y="771"/>
                  </a:cubicBezTo>
                  <a:cubicBezTo>
                    <a:pt x="181" y="770"/>
                    <a:pt x="181" y="770"/>
                    <a:pt x="181" y="770"/>
                  </a:cubicBezTo>
                  <a:cubicBezTo>
                    <a:pt x="186" y="773"/>
                    <a:pt x="186" y="773"/>
                    <a:pt x="186" y="773"/>
                  </a:cubicBezTo>
                  <a:cubicBezTo>
                    <a:pt x="186" y="785"/>
                    <a:pt x="186" y="785"/>
                    <a:pt x="186" y="785"/>
                  </a:cubicBezTo>
                  <a:cubicBezTo>
                    <a:pt x="186" y="785"/>
                    <a:pt x="191" y="784"/>
                    <a:pt x="192" y="781"/>
                  </a:cubicBezTo>
                  <a:cubicBezTo>
                    <a:pt x="192" y="776"/>
                    <a:pt x="189" y="773"/>
                    <a:pt x="189" y="773"/>
                  </a:cubicBezTo>
                  <a:cubicBezTo>
                    <a:pt x="189" y="773"/>
                    <a:pt x="189" y="767"/>
                    <a:pt x="190" y="762"/>
                  </a:cubicBezTo>
                  <a:cubicBezTo>
                    <a:pt x="190" y="758"/>
                    <a:pt x="197" y="759"/>
                    <a:pt x="199" y="762"/>
                  </a:cubicBezTo>
                  <a:cubicBezTo>
                    <a:pt x="200" y="765"/>
                    <a:pt x="197" y="769"/>
                    <a:pt x="197" y="769"/>
                  </a:cubicBezTo>
                  <a:cubicBezTo>
                    <a:pt x="195" y="764"/>
                    <a:pt x="195" y="764"/>
                    <a:pt x="195" y="764"/>
                  </a:cubicBezTo>
                  <a:cubicBezTo>
                    <a:pt x="193" y="769"/>
                    <a:pt x="193" y="769"/>
                    <a:pt x="193" y="769"/>
                  </a:cubicBezTo>
                  <a:cubicBezTo>
                    <a:pt x="194" y="776"/>
                    <a:pt x="194" y="776"/>
                    <a:pt x="194" y="776"/>
                  </a:cubicBezTo>
                  <a:cubicBezTo>
                    <a:pt x="194" y="788"/>
                    <a:pt x="194" y="788"/>
                    <a:pt x="194" y="788"/>
                  </a:cubicBezTo>
                  <a:cubicBezTo>
                    <a:pt x="192" y="789"/>
                    <a:pt x="192" y="789"/>
                    <a:pt x="192" y="789"/>
                  </a:cubicBezTo>
                  <a:cubicBezTo>
                    <a:pt x="195" y="800"/>
                    <a:pt x="195" y="800"/>
                    <a:pt x="195" y="800"/>
                  </a:cubicBezTo>
                  <a:cubicBezTo>
                    <a:pt x="198" y="798"/>
                    <a:pt x="198" y="798"/>
                    <a:pt x="198" y="798"/>
                  </a:cubicBezTo>
                  <a:cubicBezTo>
                    <a:pt x="199" y="809"/>
                    <a:pt x="199" y="809"/>
                    <a:pt x="199" y="809"/>
                  </a:cubicBezTo>
                  <a:cubicBezTo>
                    <a:pt x="208" y="810"/>
                    <a:pt x="208" y="810"/>
                    <a:pt x="208" y="810"/>
                  </a:cubicBezTo>
                  <a:cubicBezTo>
                    <a:pt x="211" y="808"/>
                    <a:pt x="211" y="808"/>
                    <a:pt x="211" y="808"/>
                  </a:cubicBezTo>
                  <a:cubicBezTo>
                    <a:pt x="212" y="814"/>
                    <a:pt x="212" y="814"/>
                    <a:pt x="212" y="814"/>
                  </a:cubicBezTo>
                  <a:cubicBezTo>
                    <a:pt x="212" y="814"/>
                    <a:pt x="220" y="809"/>
                    <a:pt x="221" y="814"/>
                  </a:cubicBezTo>
                  <a:cubicBezTo>
                    <a:pt x="222" y="819"/>
                    <a:pt x="219" y="828"/>
                    <a:pt x="223" y="828"/>
                  </a:cubicBezTo>
                  <a:cubicBezTo>
                    <a:pt x="227" y="828"/>
                    <a:pt x="228" y="822"/>
                    <a:pt x="230" y="815"/>
                  </a:cubicBezTo>
                  <a:cubicBezTo>
                    <a:pt x="232" y="808"/>
                    <a:pt x="236" y="800"/>
                    <a:pt x="236" y="800"/>
                  </a:cubicBezTo>
                  <a:cubicBezTo>
                    <a:pt x="236" y="800"/>
                    <a:pt x="227" y="782"/>
                    <a:pt x="230" y="780"/>
                  </a:cubicBezTo>
                  <a:cubicBezTo>
                    <a:pt x="232" y="776"/>
                    <a:pt x="238" y="777"/>
                    <a:pt x="238" y="773"/>
                  </a:cubicBezTo>
                  <a:cubicBezTo>
                    <a:pt x="239" y="768"/>
                    <a:pt x="232" y="767"/>
                    <a:pt x="237" y="764"/>
                  </a:cubicBezTo>
                  <a:cubicBezTo>
                    <a:pt x="241" y="760"/>
                    <a:pt x="252" y="766"/>
                    <a:pt x="256" y="754"/>
                  </a:cubicBezTo>
                  <a:cubicBezTo>
                    <a:pt x="259" y="741"/>
                    <a:pt x="255" y="738"/>
                    <a:pt x="256" y="734"/>
                  </a:cubicBezTo>
                  <a:cubicBezTo>
                    <a:pt x="257" y="729"/>
                    <a:pt x="265" y="733"/>
                    <a:pt x="262" y="725"/>
                  </a:cubicBezTo>
                  <a:cubicBezTo>
                    <a:pt x="260" y="718"/>
                    <a:pt x="254" y="704"/>
                    <a:pt x="254" y="704"/>
                  </a:cubicBezTo>
                  <a:cubicBezTo>
                    <a:pt x="252" y="695"/>
                    <a:pt x="252" y="695"/>
                    <a:pt x="252" y="695"/>
                  </a:cubicBezTo>
                  <a:cubicBezTo>
                    <a:pt x="247" y="689"/>
                    <a:pt x="247" y="689"/>
                    <a:pt x="247" y="689"/>
                  </a:cubicBezTo>
                  <a:cubicBezTo>
                    <a:pt x="256" y="686"/>
                    <a:pt x="256" y="686"/>
                    <a:pt x="256" y="686"/>
                  </a:cubicBezTo>
                  <a:cubicBezTo>
                    <a:pt x="256" y="686"/>
                    <a:pt x="264" y="692"/>
                    <a:pt x="266" y="680"/>
                  </a:cubicBezTo>
                  <a:cubicBezTo>
                    <a:pt x="270" y="668"/>
                    <a:pt x="269" y="664"/>
                    <a:pt x="265" y="660"/>
                  </a:cubicBezTo>
                  <a:cubicBezTo>
                    <a:pt x="261" y="657"/>
                    <a:pt x="256" y="654"/>
                    <a:pt x="256" y="654"/>
                  </a:cubicBezTo>
                  <a:cubicBezTo>
                    <a:pt x="246" y="644"/>
                    <a:pt x="246" y="644"/>
                    <a:pt x="246" y="644"/>
                  </a:cubicBezTo>
                  <a:cubicBezTo>
                    <a:pt x="252" y="609"/>
                    <a:pt x="252" y="609"/>
                    <a:pt x="252" y="609"/>
                  </a:cubicBezTo>
                  <a:cubicBezTo>
                    <a:pt x="244" y="586"/>
                    <a:pt x="244" y="586"/>
                    <a:pt x="244" y="586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4" y="567"/>
                    <a:pt x="244" y="567"/>
                    <a:pt x="244" y="567"/>
                  </a:cubicBezTo>
                  <a:cubicBezTo>
                    <a:pt x="248" y="561"/>
                    <a:pt x="248" y="561"/>
                    <a:pt x="248" y="561"/>
                  </a:cubicBezTo>
                  <a:cubicBezTo>
                    <a:pt x="241" y="542"/>
                    <a:pt x="241" y="542"/>
                    <a:pt x="241" y="542"/>
                  </a:cubicBezTo>
                  <a:cubicBezTo>
                    <a:pt x="249" y="531"/>
                    <a:pt x="249" y="531"/>
                    <a:pt x="249" y="531"/>
                  </a:cubicBezTo>
                  <a:cubicBezTo>
                    <a:pt x="246" y="522"/>
                    <a:pt x="246" y="522"/>
                    <a:pt x="246" y="522"/>
                  </a:cubicBezTo>
                  <a:cubicBezTo>
                    <a:pt x="246" y="522"/>
                    <a:pt x="258" y="494"/>
                    <a:pt x="270" y="491"/>
                  </a:cubicBezTo>
                  <a:cubicBezTo>
                    <a:pt x="280" y="488"/>
                    <a:pt x="300" y="494"/>
                    <a:pt x="300" y="494"/>
                  </a:cubicBezTo>
                  <a:cubicBezTo>
                    <a:pt x="305" y="482"/>
                    <a:pt x="305" y="482"/>
                    <a:pt x="305" y="48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309" y="425"/>
                    <a:pt x="309" y="425"/>
                    <a:pt x="309" y="425"/>
                  </a:cubicBezTo>
                  <a:cubicBezTo>
                    <a:pt x="310" y="415"/>
                    <a:pt x="310" y="415"/>
                    <a:pt x="310" y="415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3" y="390"/>
                    <a:pt x="313" y="390"/>
                    <a:pt x="313" y="390"/>
                  </a:cubicBezTo>
                  <a:cubicBezTo>
                    <a:pt x="315" y="378"/>
                    <a:pt x="315" y="378"/>
                    <a:pt x="315" y="378"/>
                  </a:cubicBezTo>
                  <a:cubicBezTo>
                    <a:pt x="311" y="358"/>
                    <a:pt x="311" y="358"/>
                    <a:pt x="311" y="358"/>
                  </a:cubicBezTo>
                  <a:cubicBezTo>
                    <a:pt x="324" y="356"/>
                    <a:pt x="324" y="356"/>
                    <a:pt x="324" y="356"/>
                  </a:cubicBezTo>
                  <a:cubicBezTo>
                    <a:pt x="337" y="346"/>
                    <a:pt x="337" y="346"/>
                    <a:pt x="337" y="346"/>
                  </a:cubicBezTo>
                  <a:cubicBezTo>
                    <a:pt x="334" y="333"/>
                    <a:pt x="334" y="333"/>
                    <a:pt x="334" y="333"/>
                  </a:cubicBezTo>
                  <a:cubicBezTo>
                    <a:pt x="334" y="333"/>
                    <a:pt x="339" y="332"/>
                    <a:pt x="341" y="326"/>
                  </a:cubicBezTo>
                  <a:cubicBezTo>
                    <a:pt x="343" y="319"/>
                    <a:pt x="341" y="314"/>
                    <a:pt x="347" y="308"/>
                  </a:cubicBezTo>
                  <a:cubicBezTo>
                    <a:pt x="355" y="300"/>
                    <a:pt x="361" y="298"/>
                    <a:pt x="359" y="292"/>
                  </a:cubicBezTo>
                  <a:cubicBezTo>
                    <a:pt x="358" y="284"/>
                    <a:pt x="351" y="273"/>
                    <a:pt x="351" y="273"/>
                  </a:cubicBezTo>
                  <a:cubicBezTo>
                    <a:pt x="351" y="266"/>
                    <a:pt x="351" y="266"/>
                    <a:pt x="351" y="266"/>
                  </a:cubicBezTo>
                  <a:cubicBezTo>
                    <a:pt x="351" y="266"/>
                    <a:pt x="359" y="268"/>
                    <a:pt x="360" y="263"/>
                  </a:cubicBezTo>
                  <a:cubicBezTo>
                    <a:pt x="360" y="258"/>
                    <a:pt x="364" y="241"/>
                    <a:pt x="364" y="241"/>
                  </a:cubicBezTo>
                  <a:cubicBezTo>
                    <a:pt x="378" y="226"/>
                    <a:pt x="378" y="226"/>
                    <a:pt x="378" y="226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4" y="234"/>
                    <a:pt x="397" y="223"/>
                    <a:pt x="399" y="218"/>
                  </a:cubicBezTo>
                  <a:cubicBezTo>
                    <a:pt x="400" y="213"/>
                    <a:pt x="397" y="198"/>
                    <a:pt x="397" y="198"/>
                  </a:cubicBezTo>
                  <a:cubicBezTo>
                    <a:pt x="405" y="193"/>
                    <a:pt x="405" y="193"/>
                    <a:pt x="405" y="193"/>
                  </a:cubicBezTo>
                  <a:cubicBezTo>
                    <a:pt x="409" y="198"/>
                    <a:pt x="409" y="198"/>
                    <a:pt x="409" y="198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43" y="205"/>
                    <a:pt x="443" y="205"/>
                    <a:pt x="443" y="205"/>
                  </a:cubicBezTo>
                  <a:cubicBezTo>
                    <a:pt x="450" y="195"/>
                    <a:pt x="450" y="195"/>
                    <a:pt x="450" y="195"/>
                  </a:cubicBezTo>
                  <a:cubicBezTo>
                    <a:pt x="442" y="191"/>
                    <a:pt x="442" y="191"/>
                    <a:pt x="442" y="191"/>
                  </a:cubicBezTo>
                  <a:cubicBezTo>
                    <a:pt x="442" y="191"/>
                    <a:pt x="450" y="182"/>
                    <a:pt x="449" y="174"/>
                  </a:cubicBezTo>
                  <a:cubicBezTo>
                    <a:pt x="448" y="168"/>
                    <a:pt x="441" y="159"/>
                    <a:pt x="441" y="159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5" y="154"/>
                    <a:pt x="455" y="154"/>
                    <a:pt x="455" y="154"/>
                  </a:cubicBezTo>
                  <a:cubicBezTo>
                    <a:pt x="455" y="154"/>
                    <a:pt x="464" y="159"/>
                    <a:pt x="466" y="157"/>
                  </a:cubicBezTo>
                  <a:cubicBezTo>
                    <a:pt x="467" y="155"/>
                    <a:pt x="459" y="148"/>
                    <a:pt x="465" y="144"/>
                  </a:cubicBezTo>
                  <a:cubicBezTo>
                    <a:pt x="469" y="139"/>
                    <a:pt x="478" y="142"/>
                    <a:pt x="478" y="142"/>
                  </a:cubicBezTo>
                  <a:cubicBezTo>
                    <a:pt x="478" y="142"/>
                    <a:pt x="485" y="152"/>
                    <a:pt x="490" y="157"/>
                  </a:cubicBezTo>
                  <a:cubicBezTo>
                    <a:pt x="497" y="163"/>
                    <a:pt x="499" y="172"/>
                    <a:pt x="499" y="172"/>
                  </a:cubicBezTo>
                  <a:cubicBezTo>
                    <a:pt x="504" y="171"/>
                    <a:pt x="504" y="171"/>
                    <a:pt x="504" y="171"/>
                  </a:cubicBezTo>
                  <a:cubicBezTo>
                    <a:pt x="515" y="171"/>
                    <a:pt x="515" y="171"/>
                    <a:pt x="515" y="171"/>
                  </a:cubicBezTo>
                  <a:cubicBezTo>
                    <a:pt x="522" y="175"/>
                    <a:pt x="522" y="175"/>
                    <a:pt x="522" y="175"/>
                  </a:cubicBezTo>
                  <a:cubicBezTo>
                    <a:pt x="531" y="169"/>
                    <a:pt x="531" y="169"/>
                    <a:pt x="531" y="169"/>
                  </a:cubicBezTo>
                  <a:cubicBezTo>
                    <a:pt x="531" y="169"/>
                    <a:pt x="533" y="161"/>
                    <a:pt x="539" y="161"/>
                  </a:cubicBezTo>
                  <a:cubicBezTo>
                    <a:pt x="544" y="161"/>
                    <a:pt x="546" y="166"/>
                    <a:pt x="546" y="166"/>
                  </a:cubicBezTo>
                  <a:cubicBezTo>
                    <a:pt x="558" y="167"/>
                    <a:pt x="558" y="167"/>
                    <a:pt x="558" y="167"/>
                  </a:cubicBezTo>
                  <a:cubicBezTo>
                    <a:pt x="565" y="174"/>
                    <a:pt x="565" y="174"/>
                    <a:pt x="565" y="174"/>
                  </a:cubicBezTo>
                  <a:cubicBezTo>
                    <a:pt x="565" y="174"/>
                    <a:pt x="567" y="161"/>
                    <a:pt x="570" y="157"/>
                  </a:cubicBezTo>
                  <a:cubicBezTo>
                    <a:pt x="572" y="154"/>
                    <a:pt x="575" y="150"/>
                    <a:pt x="575" y="144"/>
                  </a:cubicBezTo>
                  <a:cubicBezTo>
                    <a:pt x="574" y="139"/>
                    <a:pt x="572" y="130"/>
                    <a:pt x="572" y="130"/>
                  </a:cubicBezTo>
                  <a:cubicBezTo>
                    <a:pt x="574" y="97"/>
                    <a:pt x="574" y="97"/>
                    <a:pt x="574" y="97"/>
                  </a:cubicBezTo>
                  <a:cubicBezTo>
                    <a:pt x="577" y="93"/>
                    <a:pt x="577" y="93"/>
                    <a:pt x="577" y="93"/>
                  </a:cubicBezTo>
                  <a:cubicBezTo>
                    <a:pt x="577" y="93"/>
                    <a:pt x="576" y="81"/>
                    <a:pt x="582" y="79"/>
                  </a:cubicBezTo>
                  <a:cubicBezTo>
                    <a:pt x="588" y="76"/>
                    <a:pt x="595" y="78"/>
                    <a:pt x="595" y="78"/>
                  </a:cubicBezTo>
                  <a:cubicBezTo>
                    <a:pt x="595" y="78"/>
                    <a:pt x="604" y="66"/>
                    <a:pt x="610" y="65"/>
                  </a:cubicBezTo>
                  <a:cubicBezTo>
                    <a:pt x="616" y="64"/>
                    <a:pt x="625" y="77"/>
                    <a:pt x="625" y="77"/>
                  </a:cubicBezTo>
                  <a:cubicBezTo>
                    <a:pt x="648" y="80"/>
                    <a:pt x="648" y="80"/>
                    <a:pt x="648" y="80"/>
                  </a:cubicBezTo>
                  <a:cubicBezTo>
                    <a:pt x="655" y="91"/>
                    <a:pt x="655" y="91"/>
                    <a:pt x="655" y="91"/>
                  </a:cubicBezTo>
                  <a:cubicBezTo>
                    <a:pt x="655" y="91"/>
                    <a:pt x="647" y="105"/>
                    <a:pt x="647" y="110"/>
                  </a:cubicBezTo>
                  <a:cubicBezTo>
                    <a:pt x="647" y="116"/>
                    <a:pt x="650" y="121"/>
                    <a:pt x="650" y="121"/>
                  </a:cubicBezTo>
                  <a:cubicBezTo>
                    <a:pt x="650" y="121"/>
                    <a:pt x="654" y="125"/>
                    <a:pt x="656" y="123"/>
                  </a:cubicBezTo>
                  <a:cubicBezTo>
                    <a:pt x="659" y="121"/>
                    <a:pt x="658" y="107"/>
                    <a:pt x="658" y="107"/>
                  </a:cubicBezTo>
                  <a:cubicBezTo>
                    <a:pt x="658" y="107"/>
                    <a:pt x="655" y="108"/>
                    <a:pt x="656" y="105"/>
                  </a:cubicBezTo>
                  <a:cubicBezTo>
                    <a:pt x="657" y="102"/>
                    <a:pt x="661" y="102"/>
                    <a:pt x="663" y="100"/>
                  </a:cubicBezTo>
                  <a:cubicBezTo>
                    <a:pt x="666" y="98"/>
                    <a:pt x="665" y="93"/>
                    <a:pt x="666" y="93"/>
                  </a:cubicBezTo>
                  <a:cubicBezTo>
                    <a:pt x="668" y="92"/>
                    <a:pt x="674" y="94"/>
                    <a:pt x="674" y="90"/>
                  </a:cubicBezTo>
                  <a:cubicBezTo>
                    <a:pt x="674" y="85"/>
                    <a:pt x="669" y="78"/>
                    <a:pt x="669" y="78"/>
                  </a:cubicBezTo>
                  <a:cubicBezTo>
                    <a:pt x="669" y="78"/>
                    <a:pt x="673" y="78"/>
                    <a:pt x="675" y="79"/>
                  </a:cubicBezTo>
                  <a:cubicBezTo>
                    <a:pt x="678" y="79"/>
                    <a:pt x="685" y="87"/>
                    <a:pt x="687" y="80"/>
                  </a:cubicBezTo>
                  <a:cubicBezTo>
                    <a:pt x="690" y="74"/>
                    <a:pt x="685" y="71"/>
                    <a:pt x="685" y="71"/>
                  </a:cubicBezTo>
                  <a:close/>
                  <a:moveTo>
                    <a:pt x="8" y="787"/>
                  </a:moveTo>
                  <a:cubicBezTo>
                    <a:pt x="8" y="787"/>
                    <a:pt x="7" y="793"/>
                    <a:pt x="8" y="794"/>
                  </a:cubicBezTo>
                  <a:cubicBezTo>
                    <a:pt x="9" y="796"/>
                    <a:pt x="6" y="800"/>
                    <a:pt x="6" y="800"/>
                  </a:cubicBezTo>
                  <a:cubicBezTo>
                    <a:pt x="9" y="800"/>
                    <a:pt x="9" y="800"/>
                    <a:pt x="9" y="800"/>
                  </a:cubicBezTo>
                  <a:cubicBezTo>
                    <a:pt x="11" y="798"/>
                    <a:pt x="11" y="798"/>
                    <a:pt x="11" y="798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0" y="785"/>
                    <a:pt x="10" y="785"/>
                    <a:pt x="10" y="785"/>
                  </a:cubicBezTo>
                  <a:lnTo>
                    <a:pt x="8" y="787"/>
                  </a:lnTo>
                  <a:close/>
                  <a:moveTo>
                    <a:pt x="27" y="805"/>
                  </a:moveTo>
                  <a:cubicBezTo>
                    <a:pt x="18" y="803"/>
                    <a:pt x="18" y="803"/>
                    <a:pt x="18" y="803"/>
                  </a:cubicBezTo>
                  <a:cubicBezTo>
                    <a:pt x="26" y="808"/>
                    <a:pt x="26" y="808"/>
                    <a:pt x="26" y="808"/>
                  </a:cubicBezTo>
                  <a:lnTo>
                    <a:pt x="27" y="805"/>
                  </a:lnTo>
                  <a:close/>
                  <a:moveTo>
                    <a:pt x="36" y="794"/>
                  </a:moveTo>
                  <a:cubicBezTo>
                    <a:pt x="32" y="794"/>
                    <a:pt x="32" y="794"/>
                    <a:pt x="32" y="794"/>
                  </a:cubicBezTo>
                  <a:cubicBezTo>
                    <a:pt x="30" y="799"/>
                    <a:pt x="30" y="799"/>
                    <a:pt x="30" y="799"/>
                  </a:cubicBezTo>
                  <a:cubicBezTo>
                    <a:pt x="38" y="798"/>
                    <a:pt x="38" y="798"/>
                    <a:pt x="38" y="798"/>
                  </a:cubicBezTo>
                  <a:lnTo>
                    <a:pt x="36" y="794"/>
                  </a:lnTo>
                  <a:close/>
                  <a:moveTo>
                    <a:pt x="16" y="750"/>
                  </a:moveTo>
                  <a:cubicBezTo>
                    <a:pt x="16" y="753"/>
                    <a:pt x="16" y="753"/>
                    <a:pt x="16" y="753"/>
                  </a:cubicBezTo>
                  <a:cubicBezTo>
                    <a:pt x="14" y="754"/>
                    <a:pt x="14" y="754"/>
                    <a:pt x="14" y="754"/>
                  </a:cubicBezTo>
                  <a:cubicBezTo>
                    <a:pt x="14" y="754"/>
                    <a:pt x="16" y="762"/>
                    <a:pt x="20" y="762"/>
                  </a:cubicBezTo>
                  <a:cubicBezTo>
                    <a:pt x="26" y="762"/>
                    <a:pt x="22" y="753"/>
                    <a:pt x="22" y="753"/>
                  </a:cubicBezTo>
                  <a:cubicBezTo>
                    <a:pt x="17" y="750"/>
                    <a:pt x="17" y="750"/>
                    <a:pt x="17" y="750"/>
                  </a:cubicBezTo>
                  <a:lnTo>
                    <a:pt x="16" y="750"/>
                  </a:lnTo>
                  <a:close/>
                  <a:moveTo>
                    <a:pt x="15" y="768"/>
                  </a:moveTo>
                  <a:cubicBezTo>
                    <a:pt x="17" y="766"/>
                    <a:pt x="17" y="766"/>
                    <a:pt x="17" y="766"/>
                  </a:cubicBezTo>
                  <a:cubicBezTo>
                    <a:pt x="15" y="762"/>
                    <a:pt x="15" y="762"/>
                    <a:pt x="15" y="762"/>
                  </a:cubicBezTo>
                  <a:cubicBezTo>
                    <a:pt x="15" y="758"/>
                    <a:pt x="15" y="758"/>
                    <a:pt x="15" y="758"/>
                  </a:cubicBezTo>
                  <a:cubicBezTo>
                    <a:pt x="11" y="756"/>
                    <a:pt x="11" y="756"/>
                    <a:pt x="11" y="756"/>
                  </a:cubicBezTo>
                  <a:cubicBezTo>
                    <a:pt x="11" y="757"/>
                    <a:pt x="11" y="757"/>
                    <a:pt x="11" y="757"/>
                  </a:cubicBezTo>
                  <a:cubicBezTo>
                    <a:pt x="11" y="757"/>
                    <a:pt x="10" y="758"/>
                    <a:pt x="9" y="760"/>
                  </a:cubicBezTo>
                  <a:cubicBezTo>
                    <a:pt x="8" y="762"/>
                    <a:pt x="12" y="764"/>
                    <a:pt x="12" y="764"/>
                  </a:cubicBezTo>
                  <a:cubicBezTo>
                    <a:pt x="9" y="767"/>
                    <a:pt x="9" y="767"/>
                    <a:pt x="9" y="767"/>
                  </a:cubicBezTo>
                  <a:cubicBezTo>
                    <a:pt x="9" y="773"/>
                    <a:pt x="9" y="773"/>
                    <a:pt x="9" y="773"/>
                  </a:cubicBezTo>
                  <a:cubicBezTo>
                    <a:pt x="13" y="772"/>
                    <a:pt x="13" y="772"/>
                    <a:pt x="13" y="772"/>
                  </a:cubicBezTo>
                  <a:cubicBezTo>
                    <a:pt x="10" y="767"/>
                    <a:pt x="10" y="767"/>
                    <a:pt x="10" y="767"/>
                  </a:cubicBezTo>
                  <a:cubicBezTo>
                    <a:pt x="14" y="764"/>
                    <a:pt x="14" y="764"/>
                    <a:pt x="14" y="764"/>
                  </a:cubicBezTo>
                  <a:cubicBezTo>
                    <a:pt x="15" y="764"/>
                    <a:pt x="15" y="764"/>
                    <a:pt x="15" y="764"/>
                  </a:cubicBezTo>
                  <a:cubicBezTo>
                    <a:pt x="14" y="766"/>
                    <a:pt x="14" y="766"/>
                    <a:pt x="14" y="766"/>
                  </a:cubicBezTo>
                  <a:lnTo>
                    <a:pt x="15" y="768"/>
                  </a:lnTo>
                  <a:close/>
                  <a:moveTo>
                    <a:pt x="29" y="766"/>
                  </a:moveTo>
                  <a:cubicBezTo>
                    <a:pt x="33" y="764"/>
                    <a:pt x="33" y="764"/>
                    <a:pt x="33" y="764"/>
                  </a:cubicBezTo>
                  <a:cubicBezTo>
                    <a:pt x="27" y="759"/>
                    <a:pt x="27" y="759"/>
                    <a:pt x="27" y="759"/>
                  </a:cubicBezTo>
                  <a:cubicBezTo>
                    <a:pt x="25" y="761"/>
                    <a:pt x="25" y="761"/>
                    <a:pt x="25" y="761"/>
                  </a:cubicBezTo>
                  <a:lnTo>
                    <a:pt x="29" y="766"/>
                  </a:lnTo>
                  <a:close/>
                  <a:moveTo>
                    <a:pt x="28" y="743"/>
                  </a:moveTo>
                  <a:cubicBezTo>
                    <a:pt x="23" y="744"/>
                    <a:pt x="23" y="744"/>
                    <a:pt x="23" y="744"/>
                  </a:cubicBezTo>
                  <a:cubicBezTo>
                    <a:pt x="23" y="747"/>
                    <a:pt x="23" y="747"/>
                    <a:pt x="23" y="747"/>
                  </a:cubicBezTo>
                  <a:cubicBezTo>
                    <a:pt x="20" y="749"/>
                    <a:pt x="20" y="749"/>
                    <a:pt x="20" y="749"/>
                  </a:cubicBezTo>
                  <a:cubicBezTo>
                    <a:pt x="23" y="751"/>
                    <a:pt x="23" y="751"/>
                    <a:pt x="23" y="751"/>
                  </a:cubicBezTo>
                  <a:cubicBezTo>
                    <a:pt x="25" y="754"/>
                    <a:pt x="25" y="754"/>
                    <a:pt x="25" y="754"/>
                  </a:cubicBezTo>
                  <a:cubicBezTo>
                    <a:pt x="27" y="754"/>
                    <a:pt x="27" y="754"/>
                    <a:pt x="27" y="754"/>
                  </a:cubicBezTo>
                  <a:cubicBezTo>
                    <a:pt x="27" y="751"/>
                    <a:pt x="27" y="751"/>
                    <a:pt x="27" y="751"/>
                  </a:cubicBezTo>
                  <a:cubicBezTo>
                    <a:pt x="29" y="749"/>
                    <a:pt x="29" y="749"/>
                    <a:pt x="29" y="749"/>
                  </a:cubicBezTo>
                  <a:lnTo>
                    <a:pt x="28" y="743"/>
                  </a:lnTo>
                  <a:close/>
                  <a:moveTo>
                    <a:pt x="19" y="743"/>
                  </a:moveTo>
                  <a:cubicBezTo>
                    <a:pt x="16" y="746"/>
                    <a:pt x="19" y="747"/>
                    <a:pt x="20" y="746"/>
                  </a:cubicBezTo>
                  <a:cubicBezTo>
                    <a:pt x="23" y="744"/>
                    <a:pt x="22" y="740"/>
                    <a:pt x="19" y="743"/>
                  </a:cubicBezTo>
                  <a:close/>
                  <a:moveTo>
                    <a:pt x="10" y="738"/>
                  </a:moveTo>
                  <a:cubicBezTo>
                    <a:pt x="11" y="740"/>
                    <a:pt x="11" y="740"/>
                    <a:pt x="11" y="740"/>
                  </a:cubicBezTo>
                  <a:cubicBezTo>
                    <a:pt x="12" y="740"/>
                    <a:pt x="12" y="740"/>
                    <a:pt x="12" y="740"/>
                  </a:cubicBezTo>
                  <a:cubicBezTo>
                    <a:pt x="14" y="743"/>
                    <a:pt x="14" y="743"/>
                    <a:pt x="14" y="743"/>
                  </a:cubicBezTo>
                  <a:cubicBezTo>
                    <a:pt x="12" y="745"/>
                    <a:pt x="12" y="745"/>
                    <a:pt x="12" y="745"/>
                  </a:cubicBezTo>
                  <a:cubicBezTo>
                    <a:pt x="15" y="746"/>
                    <a:pt x="15" y="746"/>
                    <a:pt x="15" y="746"/>
                  </a:cubicBezTo>
                  <a:cubicBezTo>
                    <a:pt x="16" y="742"/>
                    <a:pt x="16" y="742"/>
                    <a:pt x="16" y="742"/>
                  </a:cubicBezTo>
                  <a:cubicBezTo>
                    <a:pt x="12" y="737"/>
                    <a:pt x="12" y="737"/>
                    <a:pt x="12" y="737"/>
                  </a:cubicBezTo>
                  <a:lnTo>
                    <a:pt x="10" y="738"/>
                  </a:lnTo>
                  <a:close/>
                  <a:moveTo>
                    <a:pt x="13" y="749"/>
                  </a:moveTo>
                  <a:cubicBezTo>
                    <a:pt x="11" y="746"/>
                    <a:pt x="11" y="746"/>
                    <a:pt x="11" y="746"/>
                  </a:cubicBezTo>
                  <a:cubicBezTo>
                    <a:pt x="8" y="749"/>
                    <a:pt x="8" y="749"/>
                    <a:pt x="8" y="749"/>
                  </a:cubicBezTo>
                  <a:cubicBezTo>
                    <a:pt x="9" y="751"/>
                    <a:pt x="9" y="751"/>
                    <a:pt x="9" y="751"/>
                  </a:cubicBezTo>
                  <a:lnTo>
                    <a:pt x="13" y="749"/>
                  </a:lnTo>
                  <a:close/>
                  <a:moveTo>
                    <a:pt x="41" y="738"/>
                  </a:moveTo>
                  <a:cubicBezTo>
                    <a:pt x="39" y="740"/>
                    <a:pt x="39" y="740"/>
                    <a:pt x="39" y="740"/>
                  </a:cubicBezTo>
                  <a:cubicBezTo>
                    <a:pt x="40" y="744"/>
                    <a:pt x="40" y="744"/>
                    <a:pt x="40" y="744"/>
                  </a:cubicBezTo>
                  <a:cubicBezTo>
                    <a:pt x="43" y="741"/>
                    <a:pt x="43" y="741"/>
                    <a:pt x="43" y="741"/>
                  </a:cubicBezTo>
                  <a:lnTo>
                    <a:pt x="41" y="738"/>
                  </a:lnTo>
                  <a:close/>
                  <a:moveTo>
                    <a:pt x="9" y="733"/>
                  </a:moveTo>
                  <a:cubicBezTo>
                    <a:pt x="11" y="734"/>
                    <a:pt x="13" y="734"/>
                    <a:pt x="13" y="734"/>
                  </a:cubicBezTo>
                  <a:cubicBezTo>
                    <a:pt x="11" y="729"/>
                    <a:pt x="11" y="729"/>
                    <a:pt x="11" y="729"/>
                  </a:cubicBezTo>
                  <a:cubicBezTo>
                    <a:pt x="13" y="727"/>
                    <a:pt x="13" y="727"/>
                    <a:pt x="13" y="727"/>
                  </a:cubicBezTo>
                  <a:cubicBezTo>
                    <a:pt x="10" y="719"/>
                    <a:pt x="10" y="719"/>
                    <a:pt x="10" y="719"/>
                  </a:cubicBezTo>
                  <a:cubicBezTo>
                    <a:pt x="9" y="722"/>
                    <a:pt x="9" y="722"/>
                    <a:pt x="9" y="722"/>
                  </a:cubicBezTo>
                  <a:cubicBezTo>
                    <a:pt x="11" y="726"/>
                    <a:pt x="11" y="726"/>
                    <a:pt x="11" y="726"/>
                  </a:cubicBezTo>
                  <a:cubicBezTo>
                    <a:pt x="7" y="727"/>
                    <a:pt x="7" y="727"/>
                    <a:pt x="7" y="727"/>
                  </a:cubicBezTo>
                  <a:cubicBezTo>
                    <a:pt x="7" y="727"/>
                    <a:pt x="7" y="731"/>
                    <a:pt x="9" y="733"/>
                  </a:cubicBezTo>
                  <a:close/>
                  <a:moveTo>
                    <a:pt x="16" y="715"/>
                  </a:moveTo>
                  <a:cubicBezTo>
                    <a:pt x="10" y="711"/>
                    <a:pt x="10" y="711"/>
                    <a:pt x="10" y="711"/>
                  </a:cubicBezTo>
                  <a:cubicBezTo>
                    <a:pt x="9" y="712"/>
                    <a:pt x="9" y="712"/>
                    <a:pt x="9" y="712"/>
                  </a:cubicBezTo>
                  <a:cubicBezTo>
                    <a:pt x="12" y="714"/>
                    <a:pt x="12" y="714"/>
                    <a:pt x="12" y="714"/>
                  </a:cubicBezTo>
                  <a:cubicBezTo>
                    <a:pt x="12" y="718"/>
                    <a:pt x="12" y="718"/>
                    <a:pt x="12" y="718"/>
                  </a:cubicBezTo>
                  <a:cubicBezTo>
                    <a:pt x="14" y="721"/>
                    <a:pt x="14" y="721"/>
                    <a:pt x="14" y="721"/>
                  </a:cubicBezTo>
                  <a:cubicBezTo>
                    <a:pt x="17" y="721"/>
                    <a:pt x="17" y="721"/>
                    <a:pt x="17" y="721"/>
                  </a:cubicBezTo>
                  <a:lnTo>
                    <a:pt x="16" y="715"/>
                  </a:lnTo>
                  <a:close/>
                  <a:moveTo>
                    <a:pt x="24" y="713"/>
                  </a:moveTo>
                  <a:cubicBezTo>
                    <a:pt x="28" y="719"/>
                    <a:pt x="28" y="719"/>
                    <a:pt x="28" y="719"/>
                  </a:cubicBezTo>
                  <a:cubicBezTo>
                    <a:pt x="32" y="717"/>
                    <a:pt x="32" y="717"/>
                    <a:pt x="32" y="717"/>
                  </a:cubicBezTo>
                  <a:cubicBezTo>
                    <a:pt x="34" y="706"/>
                    <a:pt x="34" y="706"/>
                    <a:pt x="34" y="706"/>
                  </a:cubicBezTo>
                  <a:cubicBezTo>
                    <a:pt x="33" y="705"/>
                    <a:pt x="33" y="705"/>
                    <a:pt x="33" y="705"/>
                  </a:cubicBezTo>
                  <a:cubicBezTo>
                    <a:pt x="29" y="710"/>
                    <a:pt x="29" y="710"/>
                    <a:pt x="29" y="710"/>
                  </a:cubicBezTo>
                  <a:cubicBezTo>
                    <a:pt x="29" y="710"/>
                    <a:pt x="28" y="710"/>
                    <a:pt x="26" y="711"/>
                  </a:cubicBezTo>
                  <a:cubicBezTo>
                    <a:pt x="24" y="711"/>
                    <a:pt x="24" y="713"/>
                    <a:pt x="24" y="713"/>
                  </a:cubicBezTo>
                  <a:close/>
                  <a:moveTo>
                    <a:pt x="22" y="703"/>
                  </a:moveTo>
                  <a:cubicBezTo>
                    <a:pt x="13" y="694"/>
                    <a:pt x="13" y="694"/>
                    <a:pt x="13" y="694"/>
                  </a:cubicBezTo>
                  <a:cubicBezTo>
                    <a:pt x="12" y="695"/>
                    <a:pt x="12" y="695"/>
                    <a:pt x="12" y="695"/>
                  </a:cubicBezTo>
                  <a:cubicBezTo>
                    <a:pt x="18" y="703"/>
                    <a:pt x="18" y="703"/>
                    <a:pt x="18" y="703"/>
                  </a:cubicBezTo>
                  <a:cubicBezTo>
                    <a:pt x="17" y="705"/>
                    <a:pt x="17" y="705"/>
                    <a:pt x="17" y="705"/>
                  </a:cubicBezTo>
                  <a:cubicBezTo>
                    <a:pt x="15" y="704"/>
                    <a:pt x="15" y="704"/>
                    <a:pt x="15" y="704"/>
                  </a:cubicBezTo>
                  <a:cubicBezTo>
                    <a:pt x="20" y="711"/>
                    <a:pt x="20" y="711"/>
                    <a:pt x="20" y="711"/>
                  </a:cubicBezTo>
                  <a:cubicBezTo>
                    <a:pt x="23" y="711"/>
                    <a:pt x="25" y="708"/>
                    <a:pt x="25" y="708"/>
                  </a:cubicBezTo>
                  <a:cubicBezTo>
                    <a:pt x="23" y="705"/>
                    <a:pt x="23" y="705"/>
                    <a:pt x="23" y="705"/>
                  </a:cubicBezTo>
                  <a:lnTo>
                    <a:pt x="22" y="703"/>
                  </a:lnTo>
                  <a:close/>
                  <a:moveTo>
                    <a:pt x="9" y="699"/>
                  </a:moveTo>
                  <a:cubicBezTo>
                    <a:pt x="8" y="699"/>
                    <a:pt x="8" y="699"/>
                    <a:pt x="8" y="699"/>
                  </a:cubicBezTo>
                  <a:cubicBezTo>
                    <a:pt x="8" y="699"/>
                    <a:pt x="10" y="703"/>
                    <a:pt x="11" y="704"/>
                  </a:cubicBezTo>
                  <a:cubicBezTo>
                    <a:pt x="12" y="705"/>
                    <a:pt x="14" y="707"/>
                    <a:pt x="14" y="707"/>
                  </a:cubicBezTo>
                  <a:cubicBezTo>
                    <a:pt x="14" y="707"/>
                    <a:pt x="15" y="705"/>
                    <a:pt x="13" y="703"/>
                  </a:cubicBezTo>
                  <a:cubicBezTo>
                    <a:pt x="12" y="701"/>
                    <a:pt x="9" y="699"/>
                    <a:pt x="9" y="699"/>
                  </a:cubicBezTo>
                  <a:close/>
                  <a:moveTo>
                    <a:pt x="10" y="707"/>
                  </a:moveTo>
                  <a:cubicBezTo>
                    <a:pt x="9" y="707"/>
                    <a:pt x="10" y="709"/>
                    <a:pt x="11" y="710"/>
                  </a:cubicBezTo>
                  <a:cubicBezTo>
                    <a:pt x="12" y="710"/>
                    <a:pt x="16" y="712"/>
                    <a:pt x="16" y="712"/>
                  </a:cubicBezTo>
                  <a:cubicBezTo>
                    <a:pt x="16" y="710"/>
                    <a:pt x="16" y="710"/>
                    <a:pt x="16" y="710"/>
                  </a:cubicBezTo>
                  <a:cubicBezTo>
                    <a:pt x="16" y="710"/>
                    <a:pt x="11" y="707"/>
                    <a:pt x="10" y="707"/>
                  </a:cubicBezTo>
                  <a:close/>
                  <a:moveTo>
                    <a:pt x="9" y="693"/>
                  </a:moveTo>
                  <a:cubicBezTo>
                    <a:pt x="7" y="695"/>
                    <a:pt x="7" y="695"/>
                    <a:pt x="7" y="695"/>
                  </a:cubicBezTo>
                  <a:cubicBezTo>
                    <a:pt x="11" y="698"/>
                    <a:pt x="11" y="698"/>
                    <a:pt x="11" y="698"/>
                  </a:cubicBezTo>
                  <a:lnTo>
                    <a:pt x="9" y="693"/>
                  </a:lnTo>
                  <a:close/>
                  <a:moveTo>
                    <a:pt x="10" y="692"/>
                  </a:moveTo>
                  <a:cubicBezTo>
                    <a:pt x="9" y="687"/>
                    <a:pt x="9" y="687"/>
                    <a:pt x="9" y="687"/>
                  </a:cubicBezTo>
                  <a:cubicBezTo>
                    <a:pt x="7" y="689"/>
                    <a:pt x="7" y="689"/>
                    <a:pt x="7" y="689"/>
                  </a:cubicBezTo>
                  <a:lnTo>
                    <a:pt x="10" y="692"/>
                  </a:lnTo>
                  <a:close/>
                  <a:moveTo>
                    <a:pt x="9" y="678"/>
                  </a:moveTo>
                  <a:cubicBezTo>
                    <a:pt x="11" y="676"/>
                    <a:pt x="11" y="676"/>
                    <a:pt x="11" y="676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15" y="676"/>
                    <a:pt x="15" y="674"/>
                  </a:cubicBezTo>
                  <a:cubicBezTo>
                    <a:pt x="15" y="671"/>
                    <a:pt x="12" y="670"/>
                    <a:pt x="12" y="670"/>
                  </a:cubicBezTo>
                  <a:cubicBezTo>
                    <a:pt x="10" y="671"/>
                    <a:pt x="10" y="671"/>
                    <a:pt x="10" y="671"/>
                  </a:cubicBezTo>
                  <a:cubicBezTo>
                    <a:pt x="10" y="671"/>
                    <a:pt x="8" y="675"/>
                    <a:pt x="9" y="678"/>
                  </a:cubicBezTo>
                  <a:close/>
                  <a:moveTo>
                    <a:pt x="6" y="680"/>
                  </a:moveTo>
                  <a:cubicBezTo>
                    <a:pt x="7" y="680"/>
                    <a:pt x="7" y="680"/>
                    <a:pt x="7" y="680"/>
                  </a:cubicBezTo>
                  <a:cubicBezTo>
                    <a:pt x="8" y="676"/>
                    <a:pt x="8" y="676"/>
                    <a:pt x="8" y="676"/>
                  </a:cubicBezTo>
                  <a:cubicBezTo>
                    <a:pt x="7" y="676"/>
                    <a:pt x="7" y="676"/>
                    <a:pt x="7" y="676"/>
                  </a:cubicBezTo>
                  <a:lnTo>
                    <a:pt x="6" y="680"/>
                  </a:lnTo>
                  <a:close/>
                  <a:moveTo>
                    <a:pt x="3" y="678"/>
                  </a:moveTo>
                  <a:cubicBezTo>
                    <a:pt x="0" y="678"/>
                    <a:pt x="1" y="681"/>
                    <a:pt x="2" y="681"/>
                  </a:cubicBezTo>
                  <a:cubicBezTo>
                    <a:pt x="4" y="682"/>
                    <a:pt x="7" y="677"/>
                    <a:pt x="3" y="678"/>
                  </a:cubicBezTo>
                  <a:close/>
                  <a:moveTo>
                    <a:pt x="7" y="661"/>
                  </a:moveTo>
                  <a:cubicBezTo>
                    <a:pt x="3" y="661"/>
                    <a:pt x="4" y="663"/>
                    <a:pt x="6" y="663"/>
                  </a:cubicBezTo>
                  <a:cubicBezTo>
                    <a:pt x="9" y="663"/>
                    <a:pt x="10" y="662"/>
                    <a:pt x="7" y="661"/>
                  </a:cubicBezTo>
                  <a:close/>
                  <a:moveTo>
                    <a:pt x="17" y="658"/>
                  </a:moveTo>
                  <a:cubicBezTo>
                    <a:pt x="14" y="657"/>
                    <a:pt x="14" y="657"/>
                    <a:pt x="14" y="657"/>
                  </a:cubicBezTo>
                  <a:cubicBezTo>
                    <a:pt x="11" y="660"/>
                    <a:pt x="11" y="660"/>
                    <a:pt x="11" y="660"/>
                  </a:cubicBezTo>
                  <a:cubicBezTo>
                    <a:pt x="13" y="662"/>
                    <a:pt x="13" y="662"/>
                    <a:pt x="13" y="662"/>
                  </a:cubicBezTo>
                  <a:lnTo>
                    <a:pt x="17" y="658"/>
                  </a:lnTo>
                  <a:close/>
                  <a:moveTo>
                    <a:pt x="18" y="649"/>
                  </a:moveTo>
                  <a:cubicBezTo>
                    <a:pt x="14" y="646"/>
                    <a:pt x="14" y="646"/>
                    <a:pt x="14" y="646"/>
                  </a:cubicBezTo>
                  <a:cubicBezTo>
                    <a:pt x="15" y="650"/>
                    <a:pt x="15" y="650"/>
                    <a:pt x="15" y="650"/>
                  </a:cubicBezTo>
                  <a:lnTo>
                    <a:pt x="18" y="649"/>
                  </a:lnTo>
                  <a:close/>
                  <a:moveTo>
                    <a:pt x="22" y="643"/>
                  </a:moveTo>
                  <a:cubicBezTo>
                    <a:pt x="17" y="645"/>
                    <a:pt x="17" y="645"/>
                    <a:pt x="17" y="645"/>
                  </a:cubicBezTo>
                  <a:cubicBezTo>
                    <a:pt x="22" y="647"/>
                    <a:pt x="22" y="647"/>
                    <a:pt x="22" y="647"/>
                  </a:cubicBezTo>
                  <a:lnTo>
                    <a:pt x="22" y="643"/>
                  </a:lnTo>
                  <a:close/>
                  <a:moveTo>
                    <a:pt x="14" y="639"/>
                  </a:moveTo>
                  <a:cubicBezTo>
                    <a:pt x="14" y="635"/>
                    <a:pt x="11" y="635"/>
                    <a:pt x="12" y="638"/>
                  </a:cubicBezTo>
                  <a:cubicBezTo>
                    <a:pt x="12" y="641"/>
                    <a:pt x="14" y="641"/>
                    <a:pt x="14" y="639"/>
                  </a:cubicBezTo>
                  <a:close/>
                  <a:moveTo>
                    <a:pt x="15" y="632"/>
                  </a:moveTo>
                  <a:cubicBezTo>
                    <a:pt x="24" y="629"/>
                    <a:pt x="24" y="629"/>
                    <a:pt x="24" y="629"/>
                  </a:cubicBezTo>
                  <a:cubicBezTo>
                    <a:pt x="25" y="626"/>
                    <a:pt x="25" y="626"/>
                    <a:pt x="25" y="626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15" y="623"/>
                    <a:pt x="15" y="623"/>
                    <a:pt x="15" y="623"/>
                  </a:cubicBezTo>
                  <a:cubicBezTo>
                    <a:pt x="15" y="626"/>
                    <a:pt x="15" y="626"/>
                    <a:pt x="15" y="626"/>
                  </a:cubicBezTo>
                  <a:cubicBezTo>
                    <a:pt x="12" y="627"/>
                    <a:pt x="12" y="627"/>
                    <a:pt x="12" y="627"/>
                  </a:cubicBezTo>
                  <a:cubicBezTo>
                    <a:pt x="16" y="628"/>
                    <a:pt x="16" y="628"/>
                    <a:pt x="16" y="628"/>
                  </a:cubicBezTo>
                  <a:lnTo>
                    <a:pt x="15" y="632"/>
                  </a:lnTo>
                  <a:close/>
                  <a:moveTo>
                    <a:pt x="12" y="630"/>
                  </a:moveTo>
                  <a:cubicBezTo>
                    <a:pt x="13" y="632"/>
                    <a:pt x="13" y="632"/>
                    <a:pt x="13" y="632"/>
                  </a:cubicBezTo>
                  <a:cubicBezTo>
                    <a:pt x="14" y="633"/>
                    <a:pt x="14" y="633"/>
                    <a:pt x="14" y="633"/>
                  </a:cubicBezTo>
                  <a:cubicBezTo>
                    <a:pt x="14" y="629"/>
                    <a:pt x="14" y="629"/>
                    <a:pt x="14" y="629"/>
                  </a:cubicBezTo>
                  <a:lnTo>
                    <a:pt x="12" y="630"/>
                  </a:lnTo>
                  <a:close/>
                  <a:moveTo>
                    <a:pt x="20" y="618"/>
                  </a:moveTo>
                  <a:cubicBezTo>
                    <a:pt x="22" y="619"/>
                    <a:pt x="22" y="623"/>
                    <a:pt x="22" y="623"/>
                  </a:cubicBezTo>
                  <a:cubicBezTo>
                    <a:pt x="25" y="623"/>
                    <a:pt x="25" y="623"/>
                    <a:pt x="25" y="623"/>
                  </a:cubicBezTo>
                  <a:cubicBezTo>
                    <a:pt x="25" y="616"/>
                    <a:pt x="25" y="616"/>
                    <a:pt x="25" y="616"/>
                  </a:cubicBezTo>
                  <a:cubicBezTo>
                    <a:pt x="20" y="615"/>
                    <a:pt x="20" y="615"/>
                    <a:pt x="20" y="615"/>
                  </a:cubicBezTo>
                  <a:cubicBezTo>
                    <a:pt x="20" y="615"/>
                    <a:pt x="18" y="617"/>
                    <a:pt x="20" y="618"/>
                  </a:cubicBezTo>
                  <a:close/>
                  <a:moveTo>
                    <a:pt x="36" y="604"/>
                  </a:moveTo>
                  <a:cubicBezTo>
                    <a:pt x="36" y="601"/>
                    <a:pt x="36" y="601"/>
                    <a:pt x="36" y="601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4"/>
                    <a:pt x="34" y="604"/>
                    <a:pt x="34" y="604"/>
                  </a:cubicBezTo>
                  <a:lnTo>
                    <a:pt x="36" y="604"/>
                  </a:lnTo>
                  <a:close/>
                  <a:moveTo>
                    <a:pt x="45" y="607"/>
                  </a:moveTo>
                  <a:cubicBezTo>
                    <a:pt x="48" y="605"/>
                    <a:pt x="48" y="601"/>
                    <a:pt x="44" y="600"/>
                  </a:cubicBezTo>
                  <a:cubicBezTo>
                    <a:pt x="40" y="598"/>
                    <a:pt x="40" y="603"/>
                    <a:pt x="40" y="603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7"/>
                    <a:pt x="42" y="608"/>
                    <a:pt x="45" y="607"/>
                  </a:cubicBezTo>
                  <a:close/>
                  <a:moveTo>
                    <a:pt x="42" y="598"/>
                  </a:moveTo>
                  <a:cubicBezTo>
                    <a:pt x="45" y="598"/>
                    <a:pt x="45" y="598"/>
                    <a:pt x="45" y="598"/>
                  </a:cubicBezTo>
                  <a:cubicBezTo>
                    <a:pt x="46" y="596"/>
                    <a:pt x="46" y="596"/>
                    <a:pt x="46" y="596"/>
                  </a:cubicBezTo>
                  <a:cubicBezTo>
                    <a:pt x="43" y="593"/>
                    <a:pt x="43" y="593"/>
                    <a:pt x="43" y="593"/>
                  </a:cubicBezTo>
                  <a:cubicBezTo>
                    <a:pt x="41" y="593"/>
                    <a:pt x="41" y="593"/>
                    <a:pt x="41" y="593"/>
                  </a:cubicBezTo>
                  <a:cubicBezTo>
                    <a:pt x="42" y="596"/>
                    <a:pt x="42" y="596"/>
                    <a:pt x="42" y="596"/>
                  </a:cubicBezTo>
                  <a:lnTo>
                    <a:pt x="42" y="598"/>
                  </a:lnTo>
                  <a:close/>
                  <a:moveTo>
                    <a:pt x="53" y="593"/>
                  </a:moveTo>
                  <a:cubicBezTo>
                    <a:pt x="49" y="594"/>
                    <a:pt x="49" y="594"/>
                    <a:pt x="49" y="594"/>
                  </a:cubicBezTo>
                  <a:cubicBezTo>
                    <a:pt x="49" y="603"/>
                    <a:pt x="49" y="603"/>
                    <a:pt x="49" y="603"/>
                  </a:cubicBezTo>
                  <a:cubicBezTo>
                    <a:pt x="57" y="598"/>
                    <a:pt x="57" y="598"/>
                    <a:pt x="57" y="598"/>
                  </a:cubicBezTo>
                  <a:lnTo>
                    <a:pt x="53" y="593"/>
                  </a:lnTo>
                  <a:close/>
                  <a:moveTo>
                    <a:pt x="57" y="593"/>
                  </a:moveTo>
                  <a:cubicBezTo>
                    <a:pt x="60" y="596"/>
                    <a:pt x="60" y="596"/>
                    <a:pt x="60" y="596"/>
                  </a:cubicBezTo>
                  <a:cubicBezTo>
                    <a:pt x="65" y="594"/>
                    <a:pt x="65" y="594"/>
                    <a:pt x="65" y="594"/>
                  </a:cubicBezTo>
                  <a:cubicBezTo>
                    <a:pt x="61" y="592"/>
                    <a:pt x="61" y="592"/>
                    <a:pt x="61" y="592"/>
                  </a:cubicBezTo>
                  <a:lnTo>
                    <a:pt x="57" y="593"/>
                  </a:lnTo>
                  <a:close/>
                  <a:moveTo>
                    <a:pt x="55" y="587"/>
                  </a:moveTo>
                  <a:cubicBezTo>
                    <a:pt x="51" y="591"/>
                    <a:pt x="51" y="591"/>
                    <a:pt x="51" y="591"/>
                  </a:cubicBezTo>
                  <a:cubicBezTo>
                    <a:pt x="58" y="591"/>
                    <a:pt x="58" y="591"/>
                    <a:pt x="58" y="591"/>
                  </a:cubicBezTo>
                  <a:lnTo>
                    <a:pt x="55" y="587"/>
                  </a:lnTo>
                  <a:close/>
                  <a:moveTo>
                    <a:pt x="57" y="586"/>
                  </a:moveTo>
                  <a:cubicBezTo>
                    <a:pt x="59" y="586"/>
                    <a:pt x="61" y="581"/>
                    <a:pt x="58" y="582"/>
                  </a:cubicBezTo>
                  <a:cubicBezTo>
                    <a:pt x="55" y="583"/>
                    <a:pt x="56" y="586"/>
                    <a:pt x="57" y="586"/>
                  </a:cubicBezTo>
                  <a:close/>
                  <a:moveTo>
                    <a:pt x="63" y="580"/>
                  </a:moveTo>
                  <a:cubicBezTo>
                    <a:pt x="59" y="579"/>
                    <a:pt x="59" y="579"/>
                    <a:pt x="59" y="579"/>
                  </a:cubicBezTo>
                  <a:cubicBezTo>
                    <a:pt x="62" y="582"/>
                    <a:pt x="62" y="582"/>
                    <a:pt x="62" y="582"/>
                  </a:cubicBezTo>
                  <a:lnTo>
                    <a:pt x="63" y="580"/>
                  </a:lnTo>
                  <a:close/>
                  <a:moveTo>
                    <a:pt x="63" y="577"/>
                  </a:moveTo>
                  <a:cubicBezTo>
                    <a:pt x="62" y="578"/>
                    <a:pt x="62" y="578"/>
                    <a:pt x="62" y="578"/>
                  </a:cubicBezTo>
                  <a:cubicBezTo>
                    <a:pt x="65" y="580"/>
                    <a:pt x="65" y="580"/>
                    <a:pt x="65" y="580"/>
                  </a:cubicBezTo>
                  <a:lnTo>
                    <a:pt x="63" y="577"/>
                  </a:lnTo>
                  <a:close/>
                  <a:moveTo>
                    <a:pt x="71" y="575"/>
                  </a:moveTo>
                  <a:cubicBezTo>
                    <a:pt x="71" y="571"/>
                    <a:pt x="71" y="571"/>
                    <a:pt x="71" y="571"/>
                  </a:cubicBezTo>
                  <a:cubicBezTo>
                    <a:pt x="69" y="571"/>
                    <a:pt x="69" y="571"/>
                    <a:pt x="69" y="571"/>
                  </a:cubicBezTo>
                  <a:cubicBezTo>
                    <a:pt x="69" y="575"/>
                    <a:pt x="69" y="575"/>
                    <a:pt x="69" y="575"/>
                  </a:cubicBezTo>
                  <a:lnTo>
                    <a:pt x="71" y="575"/>
                  </a:lnTo>
                  <a:close/>
                  <a:moveTo>
                    <a:pt x="80" y="578"/>
                  </a:moveTo>
                  <a:cubicBezTo>
                    <a:pt x="85" y="576"/>
                    <a:pt x="85" y="575"/>
                    <a:pt x="82" y="575"/>
                  </a:cubicBezTo>
                  <a:cubicBezTo>
                    <a:pt x="78" y="573"/>
                    <a:pt x="77" y="576"/>
                    <a:pt x="77" y="577"/>
                  </a:cubicBezTo>
                  <a:cubicBezTo>
                    <a:pt x="77" y="578"/>
                    <a:pt x="80" y="578"/>
                    <a:pt x="80" y="578"/>
                  </a:cubicBezTo>
                  <a:close/>
                  <a:moveTo>
                    <a:pt x="87" y="568"/>
                  </a:moveTo>
                  <a:cubicBezTo>
                    <a:pt x="82" y="567"/>
                    <a:pt x="82" y="567"/>
                    <a:pt x="82" y="567"/>
                  </a:cubicBezTo>
                  <a:cubicBezTo>
                    <a:pt x="80" y="568"/>
                    <a:pt x="80" y="568"/>
                    <a:pt x="80" y="568"/>
                  </a:cubicBezTo>
                  <a:cubicBezTo>
                    <a:pt x="83" y="571"/>
                    <a:pt x="83" y="571"/>
                    <a:pt x="83" y="571"/>
                  </a:cubicBezTo>
                  <a:lnTo>
                    <a:pt x="87" y="568"/>
                  </a:lnTo>
                  <a:close/>
                  <a:moveTo>
                    <a:pt x="110" y="557"/>
                  </a:moveTo>
                  <a:cubicBezTo>
                    <a:pt x="109" y="551"/>
                    <a:pt x="109" y="551"/>
                    <a:pt x="109" y="551"/>
                  </a:cubicBezTo>
                  <a:cubicBezTo>
                    <a:pt x="106" y="551"/>
                    <a:pt x="106" y="551"/>
                    <a:pt x="106" y="551"/>
                  </a:cubicBezTo>
                  <a:cubicBezTo>
                    <a:pt x="107" y="554"/>
                    <a:pt x="107" y="554"/>
                    <a:pt x="107" y="554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0" y="558"/>
                    <a:pt x="100" y="558"/>
                    <a:pt x="100" y="558"/>
                  </a:cubicBezTo>
                  <a:cubicBezTo>
                    <a:pt x="105" y="562"/>
                    <a:pt x="105" y="562"/>
                    <a:pt x="105" y="562"/>
                  </a:cubicBezTo>
                  <a:lnTo>
                    <a:pt x="110" y="557"/>
                  </a:lnTo>
                  <a:close/>
                  <a:moveTo>
                    <a:pt x="116" y="555"/>
                  </a:moveTo>
                  <a:cubicBezTo>
                    <a:pt x="116" y="552"/>
                    <a:pt x="116" y="552"/>
                    <a:pt x="116" y="552"/>
                  </a:cubicBezTo>
                  <a:cubicBezTo>
                    <a:pt x="111" y="553"/>
                    <a:pt x="111" y="553"/>
                    <a:pt x="111" y="553"/>
                  </a:cubicBezTo>
                  <a:cubicBezTo>
                    <a:pt x="112" y="557"/>
                    <a:pt x="112" y="557"/>
                    <a:pt x="112" y="557"/>
                  </a:cubicBezTo>
                  <a:lnTo>
                    <a:pt x="116" y="555"/>
                  </a:lnTo>
                  <a:close/>
                  <a:moveTo>
                    <a:pt x="113" y="548"/>
                  </a:moveTo>
                  <a:cubicBezTo>
                    <a:pt x="111" y="552"/>
                    <a:pt x="111" y="552"/>
                    <a:pt x="111" y="552"/>
                  </a:cubicBezTo>
                  <a:cubicBezTo>
                    <a:pt x="115" y="551"/>
                    <a:pt x="115" y="551"/>
                    <a:pt x="115" y="551"/>
                  </a:cubicBezTo>
                  <a:lnTo>
                    <a:pt x="113" y="548"/>
                  </a:lnTo>
                  <a:close/>
                  <a:moveTo>
                    <a:pt x="124" y="545"/>
                  </a:moveTo>
                  <a:cubicBezTo>
                    <a:pt x="117" y="545"/>
                    <a:pt x="121" y="549"/>
                    <a:pt x="123" y="549"/>
                  </a:cubicBezTo>
                  <a:cubicBezTo>
                    <a:pt x="126" y="550"/>
                    <a:pt x="130" y="545"/>
                    <a:pt x="124" y="545"/>
                  </a:cubicBezTo>
                  <a:close/>
                  <a:moveTo>
                    <a:pt x="135" y="547"/>
                  </a:moveTo>
                  <a:cubicBezTo>
                    <a:pt x="133" y="542"/>
                    <a:pt x="133" y="542"/>
                    <a:pt x="133" y="542"/>
                  </a:cubicBezTo>
                  <a:cubicBezTo>
                    <a:pt x="132" y="544"/>
                    <a:pt x="132" y="544"/>
                    <a:pt x="132" y="544"/>
                  </a:cubicBezTo>
                  <a:cubicBezTo>
                    <a:pt x="129" y="541"/>
                    <a:pt x="129" y="541"/>
                    <a:pt x="129" y="541"/>
                  </a:cubicBezTo>
                  <a:cubicBezTo>
                    <a:pt x="127" y="542"/>
                    <a:pt x="127" y="542"/>
                    <a:pt x="127" y="542"/>
                  </a:cubicBezTo>
                  <a:cubicBezTo>
                    <a:pt x="132" y="549"/>
                    <a:pt x="132" y="549"/>
                    <a:pt x="132" y="549"/>
                  </a:cubicBezTo>
                  <a:lnTo>
                    <a:pt x="135" y="547"/>
                  </a:lnTo>
                  <a:close/>
                  <a:moveTo>
                    <a:pt x="118" y="535"/>
                  </a:moveTo>
                  <a:cubicBezTo>
                    <a:pt x="123" y="537"/>
                    <a:pt x="123" y="537"/>
                    <a:pt x="123" y="537"/>
                  </a:cubicBezTo>
                  <a:cubicBezTo>
                    <a:pt x="127" y="536"/>
                    <a:pt x="127" y="536"/>
                    <a:pt x="127" y="536"/>
                  </a:cubicBezTo>
                  <a:cubicBezTo>
                    <a:pt x="127" y="536"/>
                    <a:pt x="127" y="529"/>
                    <a:pt x="123" y="530"/>
                  </a:cubicBezTo>
                  <a:cubicBezTo>
                    <a:pt x="117" y="530"/>
                    <a:pt x="115" y="531"/>
                    <a:pt x="115" y="531"/>
                  </a:cubicBezTo>
                  <a:cubicBezTo>
                    <a:pt x="116" y="535"/>
                    <a:pt x="116" y="535"/>
                    <a:pt x="116" y="535"/>
                  </a:cubicBezTo>
                  <a:lnTo>
                    <a:pt x="118" y="535"/>
                  </a:lnTo>
                  <a:close/>
                  <a:moveTo>
                    <a:pt x="138" y="522"/>
                  </a:moveTo>
                  <a:cubicBezTo>
                    <a:pt x="138" y="522"/>
                    <a:pt x="131" y="524"/>
                    <a:pt x="131" y="528"/>
                  </a:cubicBezTo>
                  <a:cubicBezTo>
                    <a:pt x="131" y="533"/>
                    <a:pt x="138" y="530"/>
                    <a:pt x="145" y="529"/>
                  </a:cubicBezTo>
                  <a:cubicBezTo>
                    <a:pt x="154" y="526"/>
                    <a:pt x="158" y="523"/>
                    <a:pt x="156" y="522"/>
                  </a:cubicBezTo>
                  <a:cubicBezTo>
                    <a:pt x="154" y="521"/>
                    <a:pt x="150" y="521"/>
                    <a:pt x="150" y="521"/>
                  </a:cubicBezTo>
                  <a:cubicBezTo>
                    <a:pt x="150" y="518"/>
                    <a:pt x="150" y="518"/>
                    <a:pt x="150" y="518"/>
                  </a:cubicBezTo>
                  <a:cubicBezTo>
                    <a:pt x="150" y="518"/>
                    <a:pt x="147" y="518"/>
                    <a:pt x="143" y="519"/>
                  </a:cubicBezTo>
                  <a:cubicBezTo>
                    <a:pt x="139" y="519"/>
                    <a:pt x="138" y="522"/>
                    <a:pt x="138" y="522"/>
                  </a:cubicBezTo>
                  <a:close/>
                  <a:moveTo>
                    <a:pt x="139" y="516"/>
                  </a:moveTo>
                  <a:cubicBezTo>
                    <a:pt x="147" y="514"/>
                    <a:pt x="147" y="514"/>
                    <a:pt x="147" y="514"/>
                  </a:cubicBezTo>
                  <a:cubicBezTo>
                    <a:pt x="146" y="508"/>
                    <a:pt x="146" y="508"/>
                    <a:pt x="146" y="508"/>
                  </a:cubicBezTo>
                  <a:cubicBezTo>
                    <a:pt x="146" y="508"/>
                    <a:pt x="142" y="513"/>
                    <a:pt x="139" y="513"/>
                  </a:cubicBezTo>
                  <a:cubicBezTo>
                    <a:pt x="137" y="514"/>
                    <a:pt x="131" y="515"/>
                    <a:pt x="131" y="515"/>
                  </a:cubicBezTo>
                  <a:cubicBezTo>
                    <a:pt x="132" y="516"/>
                    <a:pt x="132" y="516"/>
                    <a:pt x="132" y="516"/>
                  </a:cubicBezTo>
                  <a:lnTo>
                    <a:pt x="139" y="516"/>
                  </a:lnTo>
                  <a:close/>
                  <a:moveTo>
                    <a:pt x="159" y="517"/>
                  </a:moveTo>
                  <a:cubicBezTo>
                    <a:pt x="154" y="518"/>
                    <a:pt x="154" y="518"/>
                    <a:pt x="154" y="518"/>
                  </a:cubicBezTo>
                  <a:cubicBezTo>
                    <a:pt x="153" y="519"/>
                    <a:pt x="153" y="519"/>
                    <a:pt x="153" y="519"/>
                  </a:cubicBezTo>
                  <a:cubicBezTo>
                    <a:pt x="159" y="519"/>
                    <a:pt x="159" y="519"/>
                    <a:pt x="159" y="519"/>
                  </a:cubicBezTo>
                  <a:lnTo>
                    <a:pt x="159" y="517"/>
                  </a:lnTo>
                  <a:close/>
                  <a:moveTo>
                    <a:pt x="162" y="515"/>
                  </a:moveTo>
                  <a:cubicBezTo>
                    <a:pt x="162" y="521"/>
                    <a:pt x="162" y="521"/>
                    <a:pt x="162" y="521"/>
                  </a:cubicBezTo>
                  <a:cubicBezTo>
                    <a:pt x="166" y="519"/>
                    <a:pt x="166" y="519"/>
                    <a:pt x="166" y="519"/>
                  </a:cubicBezTo>
                  <a:lnTo>
                    <a:pt x="162" y="515"/>
                  </a:lnTo>
                  <a:close/>
                  <a:moveTo>
                    <a:pt x="235" y="425"/>
                  </a:moveTo>
                  <a:cubicBezTo>
                    <a:pt x="235" y="425"/>
                    <a:pt x="232" y="424"/>
                    <a:pt x="230" y="425"/>
                  </a:cubicBezTo>
                  <a:cubicBezTo>
                    <a:pt x="227" y="427"/>
                    <a:pt x="229" y="430"/>
                    <a:pt x="229" y="430"/>
                  </a:cubicBezTo>
                  <a:lnTo>
                    <a:pt x="235" y="425"/>
                  </a:lnTo>
                  <a:close/>
                  <a:moveTo>
                    <a:pt x="215" y="439"/>
                  </a:moveTo>
                  <a:cubicBezTo>
                    <a:pt x="216" y="439"/>
                    <a:pt x="214" y="441"/>
                    <a:pt x="214" y="441"/>
                  </a:cubicBezTo>
                  <a:cubicBezTo>
                    <a:pt x="216" y="443"/>
                    <a:pt x="216" y="443"/>
                    <a:pt x="216" y="443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9"/>
                    <a:pt x="220" y="434"/>
                    <a:pt x="214" y="435"/>
                  </a:cubicBezTo>
                  <a:cubicBezTo>
                    <a:pt x="210" y="436"/>
                    <a:pt x="207" y="440"/>
                    <a:pt x="207" y="440"/>
                  </a:cubicBezTo>
                  <a:cubicBezTo>
                    <a:pt x="210" y="442"/>
                    <a:pt x="210" y="442"/>
                    <a:pt x="210" y="442"/>
                  </a:cubicBezTo>
                  <a:cubicBezTo>
                    <a:pt x="210" y="442"/>
                    <a:pt x="214" y="438"/>
                    <a:pt x="215" y="439"/>
                  </a:cubicBezTo>
                  <a:close/>
                  <a:moveTo>
                    <a:pt x="239" y="396"/>
                  </a:moveTo>
                  <a:cubicBezTo>
                    <a:pt x="244" y="390"/>
                    <a:pt x="244" y="390"/>
                    <a:pt x="244" y="390"/>
                  </a:cubicBezTo>
                  <a:cubicBezTo>
                    <a:pt x="242" y="387"/>
                    <a:pt x="242" y="387"/>
                    <a:pt x="242" y="387"/>
                  </a:cubicBezTo>
                  <a:cubicBezTo>
                    <a:pt x="242" y="387"/>
                    <a:pt x="236" y="386"/>
                    <a:pt x="237" y="391"/>
                  </a:cubicBezTo>
                  <a:cubicBezTo>
                    <a:pt x="237" y="396"/>
                    <a:pt x="239" y="396"/>
                    <a:pt x="239" y="396"/>
                  </a:cubicBezTo>
                  <a:close/>
                  <a:moveTo>
                    <a:pt x="242" y="408"/>
                  </a:moveTo>
                  <a:cubicBezTo>
                    <a:pt x="244" y="408"/>
                    <a:pt x="244" y="408"/>
                    <a:pt x="244" y="408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4" y="402"/>
                    <a:pt x="244" y="402"/>
                    <a:pt x="244" y="402"/>
                  </a:cubicBezTo>
                  <a:lnTo>
                    <a:pt x="242" y="408"/>
                  </a:lnTo>
                  <a:close/>
                  <a:moveTo>
                    <a:pt x="259" y="367"/>
                  </a:moveTo>
                  <a:cubicBezTo>
                    <a:pt x="259" y="367"/>
                    <a:pt x="254" y="371"/>
                    <a:pt x="253" y="373"/>
                  </a:cubicBezTo>
                  <a:cubicBezTo>
                    <a:pt x="252" y="374"/>
                    <a:pt x="255" y="378"/>
                    <a:pt x="255" y="378"/>
                  </a:cubicBezTo>
                  <a:cubicBezTo>
                    <a:pt x="260" y="373"/>
                    <a:pt x="260" y="373"/>
                    <a:pt x="260" y="373"/>
                  </a:cubicBezTo>
                  <a:cubicBezTo>
                    <a:pt x="265" y="370"/>
                    <a:pt x="265" y="370"/>
                    <a:pt x="265" y="370"/>
                  </a:cubicBezTo>
                  <a:cubicBezTo>
                    <a:pt x="266" y="367"/>
                    <a:pt x="266" y="367"/>
                    <a:pt x="266" y="367"/>
                  </a:cubicBezTo>
                  <a:cubicBezTo>
                    <a:pt x="260" y="370"/>
                    <a:pt x="260" y="370"/>
                    <a:pt x="260" y="370"/>
                  </a:cubicBezTo>
                  <a:lnTo>
                    <a:pt x="259" y="367"/>
                  </a:lnTo>
                  <a:close/>
                  <a:moveTo>
                    <a:pt x="253" y="366"/>
                  </a:moveTo>
                  <a:cubicBezTo>
                    <a:pt x="259" y="363"/>
                    <a:pt x="259" y="363"/>
                    <a:pt x="259" y="363"/>
                  </a:cubicBezTo>
                  <a:cubicBezTo>
                    <a:pt x="260" y="360"/>
                    <a:pt x="260" y="360"/>
                    <a:pt x="260" y="360"/>
                  </a:cubicBezTo>
                  <a:cubicBezTo>
                    <a:pt x="258" y="359"/>
                    <a:pt x="258" y="359"/>
                    <a:pt x="258" y="359"/>
                  </a:cubicBezTo>
                  <a:cubicBezTo>
                    <a:pt x="260" y="357"/>
                    <a:pt x="260" y="357"/>
                    <a:pt x="260" y="357"/>
                  </a:cubicBezTo>
                  <a:cubicBezTo>
                    <a:pt x="259" y="353"/>
                    <a:pt x="259" y="353"/>
                    <a:pt x="259" y="353"/>
                  </a:cubicBezTo>
                  <a:cubicBezTo>
                    <a:pt x="255" y="356"/>
                    <a:pt x="255" y="356"/>
                    <a:pt x="255" y="356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2" y="363"/>
                    <a:pt x="252" y="363"/>
                    <a:pt x="252" y="363"/>
                  </a:cubicBezTo>
                  <a:lnTo>
                    <a:pt x="253" y="366"/>
                  </a:lnTo>
                  <a:close/>
                  <a:moveTo>
                    <a:pt x="263" y="349"/>
                  </a:moveTo>
                  <a:cubicBezTo>
                    <a:pt x="262" y="352"/>
                    <a:pt x="262" y="352"/>
                    <a:pt x="262" y="352"/>
                  </a:cubicBezTo>
                  <a:cubicBezTo>
                    <a:pt x="264" y="355"/>
                    <a:pt x="264" y="355"/>
                    <a:pt x="264" y="355"/>
                  </a:cubicBezTo>
                  <a:cubicBezTo>
                    <a:pt x="268" y="350"/>
                    <a:pt x="268" y="350"/>
                    <a:pt x="268" y="350"/>
                  </a:cubicBezTo>
                  <a:lnTo>
                    <a:pt x="263" y="349"/>
                  </a:lnTo>
                  <a:close/>
                  <a:moveTo>
                    <a:pt x="264" y="359"/>
                  </a:moveTo>
                  <a:cubicBezTo>
                    <a:pt x="265" y="357"/>
                    <a:pt x="265" y="357"/>
                    <a:pt x="265" y="357"/>
                  </a:cubicBezTo>
                  <a:cubicBezTo>
                    <a:pt x="262" y="357"/>
                    <a:pt x="262" y="357"/>
                    <a:pt x="262" y="357"/>
                  </a:cubicBezTo>
                  <a:lnTo>
                    <a:pt x="264" y="359"/>
                  </a:lnTo>
                  <a:close/>
                  <a:moveTo>
                    <a:pt x="266" y="343"/>
                  </a:moveTo>
                  <a:cubicBezTo>
                    <a:pt x="269" y="340"/>
                    <a:pt x="269" y="340"/>
                    <a:pt x="269" y="340"/>
                  </a:cubicBezTo>
                  <a:cubicBezTo>
                    <a:pt x="265" y="339"/>
                    <a:pt x="265" y="339"/>
                    <a:pt x="265" y="339"/>
                  </a:cubicBezTo>
                  <a:lnTo>
                    <a:pt x="266" y="343"/>
                  </a:lnTo>
                  <a:close/>
                  <a:moveTo>
                    <a:pt x="261" y="330"/>
                  </a:moveTo>
                  <a:cubicBezTo>
                    <a:pt x="258" y="329"/>
                    <a:pt x="258" y="329"/>
                    <a:pt x="258" y="329"/>
                  </a:cubicBezTo>
                  <a:cubicBezTo>
                    <a:pt x="257" y="333"/>
                    <a:pt x="257" y="333"/>
                    <a:pt x="257" y="333"/>
                  </a:cubicBezTo>
                  <a:cubicBezTo>
                    <a:pt x="260" y="332"/>
                    <a:pt x="260" y="332"/>
                    <a:pt x="260" y="332"/>
                  </a:cubicBezTo>
                  <a:lnTo>
                    <a:pt x="261" y="330"/>
                  </a:lnTo>
                  <a:close/>
                  <a:moveTo>
                    <a:pt x="272" y="351"/>
                  </a:moveTo>
                  <a:cubicBezTo>
                    <a:pt x="269" y="350"/>
                    <a:pt x="269" y="350"/>
                    <a:pt x="269" y="350"/>
                  </a:cubicBezTo>
                  <a:cubicBezTo>
                    <a:pt x="268" y="356"/>
                    <a:pt x="268" y="356"/>
                    <a:pt x="268" y="356"/>
                  </a:cubicBezTo>
                  <a:lnTo>
                    <a:pt x="272" y="351"/>
                  </a:lnTo>
                  <a:close/>
                  <a:moveTo>
                    <a:pt x="280" y="319"/>
                  </a:moveTo>
                  <a:cubicBezTo>
                    <a:pt x="278" y="317"/>
                    <a:pt x="278" y="317"/>
                    <a:pt x="278" y="317"/>
                  </a:cubicBezTo>
                  <a:cubicBezTo>
                    <a:pt x="276" y="320"/>
                    <a:pt x="276" y="320"/>
                    <a:pt x="276" y="320"/>
                  </a:cubicBezTo>
                  <a:lnTo>
                    <a:pt x="280" y="319"/>
                  </a:lnTo>
                  <a:close/>
                  <a:moveTo>
                    <a:pt x="284" y="313"/>
                  </a:moveTo>
                  <a:cubicBezTo>
                    <a:pt x="279" y="312"/>
                    <a:pt x="279" y="312"/>
                    <a:pt x="279" y="312"/>
                  </a:cubicBezTo>
                  <a:cubicBezTo>
                    <a:pt x="276" y="315"/>
                    <a:pt x="276" y="315"/>
                    <a:pt x="276" y="315"/>
                  </a:cubicBezTo>
                  <a:cubicBezTo>
                    <a:pt x="284" y="315"/>
                    <a:pt x="284" y="315"/>
                    <a:pt x="284" y="315"/>
                  </a:cubicBezTo>
                  <a:lnTo>
                    <a:pt x="284" y="313"/>
                  </a:lnTo>
                  <a:close/>
                  <a:moveTo>
                    <a:pt x="301" y="300"/>
                  </a:moveTo>
                  <a:cubicBezTo>
                    <a:pt x="304" y="290"/>
                    <a:pt x="304" y="290"/>
                    <a:pt x="304" y="290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1" y="294"/>
                    <a:pt x="301" y="294"/>
                    <a:pt x="301" y="294"/>
                  </a:cubicBezTo>
                  <a:cubicBezTo>
                    <a:pt x="297" y="292"/>
                    <a:pt x="297" y="292"/>
                    <a:pt x="297" y="292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300" y="298"/>
                    <a:pt x="300" y="298"/>
                    <a:pt x="300" y="298"/>
                  </a:cubicBezTo>
                  <a:cubicBezTo>
                    <a:pt x="300" y="300"/>
                    <a:pt x="300" y="300"/>
                    <a:pt x="300" y="300"/>
                  </a:cubicBezTo>
                  <a:lnTo>
                    <a:pt x="301" y="300"/>
                  </a:lnTo>
                  <a:close/>
                  <a:moveTo>
                    <a:pt x="305" y="276"/>
                  </a:moveTo>
                  <a:cubicBezTo>
                    <a:pt x="298" y="279"/>
                    <a:pt x="304" y="279"/>
                    <a:pt x="306" y="278"/>
                  </a:cubicBezTo>
                  <a:cubicBezTo>
                    <a:pt x="311" y="276"/>
                    <a:pt x="310" y="273"/>
                    <a:pt x="305" y="276"/>
                  </a:cubicBezTo>
                  <a:close/>
                  <a:moveTo>
                    <a:pt x="262" y="260"/>
                  </a:moveTo>
                  <a:cubicBezTo>
                    <a:pt x="260" y="266"/>
                    <a:pt x="260" y="266"/>
                    <a:pt x="260" y="266"/>
                  </a:cubicBezTo>
                  <a:cubicBezTo>
                    <a:pt x="265" y="263"/>
                    <a:pt x="265" y="263"/>
                    <a:pt x="265" y="263"/>
                  </a:cubicBezTo>
                  <a:lnTo>
                    <a:pt x="262" y="260"/>
                  </a:lnTo>
                  <a:close/>
                  <a:moveTo>
                    <a:pt x="320" y="244"/>
                  </a:moveTo>
                  <a:cubicBezTo>
                    <a:pt x="327" y="242"/>
                    <a:pt x="327" y="242"/>
                    <a:pt x="327" y="242"/>
                  </a:cubicBezTo>
                  <a:cubicBezTo>
                    <a:pt x="327" y="241"/>
                    <a:pt x="327" y="241"/>
                    <a:pt x="327" y="241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44"/>
                  </a:lnTo>
                  <a:close/>
                  <a:moveTo>
                    <a:pt x="323" y="236"/>
                  </a:moveTo>
                  <a:cubicBezTo>
                    <a:pt x="327" y="239"/>
                    <a:pt x="327" y="239"/>
                    <a:pt x="327" y="239"/>
                  </a:cubicBezTo>
                  <a:cubicBezTo>
                    <a:pt x="327" y="238"/>
                    <a:pt x="324" y="234"/>
                    <a:pt x="324" y="234"/>
                  </a:cubicBezTo>
                  <a:lnTo>
                    <a:pt x="323" y="236"/>
                  </a:lnTo>
                  <a:close/>
                  <a:moveTo>
                    <a:pt x="353" y="201"/>
                  </a:moveTo>
                  <a:cubicBezTo>
                    <a:pt x="346" y="195"/>
                    <a:pt x="347" y="207"/>
                    <a:pt x="347" y="207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45" y="210"/>
                    <a:pt x="345" y="210"/>
                    <a:pt x="345" y="210"/>
                  </a:cubicBezTo>
                  <a:cubicBezTo>
                    <a:pt x="351" y="208"/>
                    <a:pt x="351" y="208"/>
                    <a:pt x="351" y="208"/>
                  </a:cubicBezTo>
                  <a:cubicBezTo>
                    <a:pt x="351" y="208"/>
                    <a:pt x="358" y="206"/>
                    <a:pt x="353" y="201"/>
                  </a:cubicBezTo>
                  <a:close/>
                  <a:moveTo>
                    <a:pt x="343" y="217"/>
                  </a:moveTo>
                  <a:cubicBezTo>
                    <a:pt x="348" y="213"/>
                    <a:pt x="348" y="213"/>
                    <a:pt x="348" y="213"/>
                  </a:cubicBezTo>
                  <a:cubicBezTo>
                    <a:pt x="343" y="214"/>
                    <a:pt x="343" y="214"/>
                    <a:pt x="343" y="214"/>
                  </a:cubicBezTo>
                  <a:lnTo>
                    <a:pt x="343" y="217"/>
                  </a:lnTo>
                  <a:close/>
                  <a:moveTo>
                    <a:pt x="350" y="229"/>
                  </a:moveTo>
                  <a:cubicBezTo>
                    <a:pt x="348" y="232"/>
                    <a:pt x="348" y="232"/>
                    <a:pt x="348" y="232"/>
                  </a:cubicBezTo>
                  <a:cubicBezTo>
                    <a:pt x="354" y="232"/>
                    <a:pt x="354" y="232"/>
                    <a:pt x="354" y="232"/>
                  </a:cubicBezTo>
                  <a:lnTo>
                    <a:pt x="350" y="229"/>
                  </a:lnTo>
                  <a:close/>
                  <a:moveTo>
                    <a:pt x="265" y="251"/>
                  </a:moveTo>
                  <a:cubicBezTo>
                    <a:pt x="265" y="251"/>
                    <a:pt x="270" y="250"/>
                    <a:pt x="271" y="247"/>
                  </a:cubicBezTo>
                  <a:cubicBezTo>
                    <a:pt x="271" y="245"/>
                    <a:pt x="270" y="242"/>
                    <a:pt x="271" y="242"/>
                  </a:cubicBezTo>
                  <a:cubicBezTo>
                    <a:pt x="272" y="242"/>
                    <a:pt x="275" y="238"/>
                    <a:pt x="275" y="238"/>
                  </a:cubicBezTo>
                  <a:cubicBezTo>
                    <a:pt x="275" y="238"/>
                    <a:pt x="281" y="237"/>
                    <a:pt x="281" y="232"/>
                  </a:cubicBezTo>
                  <a:cubicBezTo>
                    <a:pt x="281" y="226"/>
                    <a:pt x="278" y="227"/>
                    <a:pt x="278" y="227"/>
                  </a:cubicBezTo>
                  <a:cubicBezTo>
                    <a:pt x="274" y="235"/>
                    <a:pt x="274" y="235"/>
                    <a:pt x="274" y="235"/>
                  </a:cubicBezTo>
                  <a:cubicBezTo>
                    <a:pt x="272" y="232"/>
                    <a:pt x="272" y="232"/>
                    <a:pt x="272" y="232"/>
                  </a:cubicBezTo>
                  <a:cubicBezTo>
                    <a:pt x="272" y="232"/>
                    <a:pt x="266" y="239"/>
                    <a:pt x="266" y="242"/>
                  </a:cubicBezTo>
                  <a:cubicBezTo>
                    <a:pt x="265" y="245"/>
                    <a:pt x="266" y="247"/>
                    <a:pt x="266" y="248"/>
                  </a:cubicBezTo>
                  <a:cubicBezTo>
                    <a:pt x="266" y="249"/>
                    <a:pt x="264" y="250"/>
                    <a:pt x="265" y="251"/>
                  </a:cubicBezTo>
                  <a:close/>
                  <a:moveTo>
                    <a:pt x="282" y="233"/>
                  </a:moveTo>
                  <a:cubicBezTo>
                    <a:pt x="282" y="233"/>
                    <a:pt x="287" y="233"/>
                    <a:pt x="289" y="232"/>
                  </a:cubicBezTo>
                  <a:cubicBezTo>
                    <a:pt x="292" y="231"/>
                    <a:pt x="290" y="226"/>
                    <a:pt x="290" y="226"/>
                  </a:cubicBezTo>
                  <a:cubicBezTo>
                    <a:pt x="290" y="226"/>
                    <a:pt x="297" y="222"/>
                    <a:pt x="301" y="221"/>
                  </a:cubicBezTo>
                  <a:cubicBezTo>
                    <a:pt x="303" y="220"/>
                    <a:pt x="298" y="215"/>
                    <a:pt x="296" y="215"/>
                  </a:cubicBezTo>
                  <a:cubicBezTo>
                    <a:pt x="293" y="215"/>
                    <a:pt x="298" y="219"/>
                    <a:pt x="296" y="220"/>
                  </a:cubicBezTo>
                  <a:cubicBezTo>
                    <a:pt x="294" y="221"/>
                    <a:pt x="292" y="215"/>
                    <a:pt x="292" y="215"/>
                  </a:cubicBezTo>
                  <a:cubicBezTo>
                    <a:pt x="288" y="219"/>
                    <a:pt x="288" y="219"/>
                    <a:pt x="288" y="219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85" y="223"/>
                    <a:pt x="285" y="223"/>
                    <a:pt x="285" y="223"/>
                  </a:cubicBezTo>
                  <a:cubicBezTo>
                    <a:pt x="282" y="224"/>
                    <a:pt x="282" y="224"/>
                    <a:pt x="282" y="224"/>
                  </a:cubicBezTo>
                  <a:cubicBezTo>
                    <a:pt x="282" y="227"/>
                    <a:pt x="282" y="227"/>
                    <a:pt x="282" y="227"/>
                  </a:cubicBezTo>
                  <a:cubicBezTo>
                    <a:pt x="284" y="229"/>
                    <a:pt x="284" y="229"/>
                    <a:pt x="284" y="229"/>
                  </a:cubicBezTo>
                  <a:lnTo>
                    <a:pt x="282" y="233"/>
                  </a:lnTo>
                  <a:close/>
                  <a:moveTo>
                    <a:pt x="303" y="221"/>
                  </a:moveTo>
                  <a:cubicBezTo>
                    <a:pt x="303" y="223"/>
                    <a:pt x="301" y="226"/>
                    <a:pt x="301" y="226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11" y="216"/>
                    <a:pt x="311" y="216"/>
                    <a:pt x="311" y="216"/>
                  </a:cubicBezTo>
                  <a:cubicBezTo>
                    <a:pt x="313" y="220"/>
                    <a:pt x="313" y="220"/>
                    <a:pt x="313" y="220"/>
                  </a:cubicBezTo>
                  <a:cubicBezTo>
                    <a:pt x="322" y="207"/>
                    <a:pt x="322" y="207"/>
                    <a:pt x="322" y="207"/>
                  </a:cubicBezTo>
                  <a:cubicBezTo>
                    <a:pt x="322" y="207"/>
                    <a:pt x="317" y="208"/>
                    <a:pt x="317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05" y="213"/>
                    <a:pt x="305" y="213"/>
                    <a:pt x="305" y="213"/>
                  </a:cubicBezTo>
                  <a:cubicBezTo>
                    <a:pt x="306" y="217"/>
                    <a:pt x="306" y="217"/>
                    <a:pt x="306" y="217"/>
                  </a:cubicBezTo>
                  <a:cubicBezTo>
                    <a:pt x="303" y="216"/>
                    <a:pt x="303" y="216"/>
                    <a:pt x="303" y="216"/>
                  </a:cubicBezTo>
                  <a:cubicBezTo>
                    <a:pt x="303" y="216"/>
                    <a:pt x="304" y="219"/>
                    <a:pt x="303" y="221"/>
                  </a:cubicBezTo>
                  <a:close/>
                  <a:moveTo>
                    <a:pt x="362" y="187"/>
                  </a:moveTo>
                  <a:cubicBezTo>
                    <a:pt x="362" y="187"/>
                    <a:pt x="366" y="187"/>
                    <a:pt x="367" y="186"/>
                  </a:cubicBezTo>
                  <a:cubicBezTo>
                    <a:pt x="369" y="186"/>
                    <a:pt x="372" y="184"/>
                    <a:pt x="372" y="184"/>
                  </a:cubicBezTo>
                  <a:cubicBezTo>
                    <a:pt x="367" y="178"/>
                    <a:pt x="367" y="178"/>
                    <a:pt x="367" y="178"/>
                  </a:cubicBezTo>
                  <a:lnTo>
                    <a:pt x="362" y="187"/>
                  </a:lnTo>
                  <a:close/>
                  <a:moveTo>
                    <a:pt x="378" y="177"/>
                  </a:moveTo>
                  <a:cubicBezTo>
                    <a:pt x="377" y="175"/>
                    <a:pt x="376" y="174"/>
                    <a:pt x="374" y="174"/>
                  </a:cubicBezTo>
                  <a:cubicBezTo>
                    <a:pt x="371" y="173"/>
                    <a:pt x="369" y="175"/>
                    <a:pt x="369" y="175"/>
                  </a:cubicBezTo>
                  <a:cubicBezTo>
                    <a:pt x="369" y="175"/>
                    <a:pt x="370" y="182"/>
                    <a:pt x="373" y="182"/>
                  </a:cubicBezTo>
                  <a:cubicBezTo>
                    <a:pt x="375" y="183"/>
                    <a:pt x="379" y="178"/>
                    <a:pt x="378" y="177"/>
                  </a:cubicBezTo>
                  <a:close/>
                  <a:moveTo>
                    <a:pt x="352" y="177"/>
                  </a:moveTo>
                  <a:cubicBezTo>
                    <a:pt x="355" y="179"/>
                    <a:pt x="357" y="179"/>
                    <a:pt x="357" y="179"/>
                  </a:cubicBezTo>
                  <a:cubicBezTo>
                    <a:pt x="357" y="174"/>
                    <a:pt x="357" y="174"/>
                    <a:pt x="357" y="174"/>
                  </a:cubicBezTo>
                  <a:cubicBezTo>
                    <a:pt x="350" y="171"/>
                    <a:pt x="350" y="171"/>
                    <a:pt x="350" y="171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50" y="177"/>
                    <a:pt x="352" y="177"/>
                  </a:cubicBezTo>
                  <a:close/>
                  <a:moveTo>
                    <a:pt x="348" y="178"/>
                  </a:moveTo>
                  <a:cubicBezTo>
                    <a:pt x="344" y="183"/>
                    <a:pt x="344" y="183"/>
                    <a:pt x="344" y="183"/>
                  </a:cubicBezTo>
                  <a:cubicBezTo>
                    <a:pt x="348" y="188"/>
                    <a:pt x="348" y="188"/>
                    <a:pt x="348" y="188"/>
                  </a:cubicBezTo>
                  <a:cubicBezTo>
                    <a:pt x="344" y="189"/>
                    <a:pt x="344" y="189"/>
                    <a:pt x="344" y="189"/>
                  </a:cubicBezTo>
                  <a:cubicBezTo>
                    <a:pt x="337" y="201"/>
                    <a:pt x="337" y="201"/>
                    <a:pt x="337" y="201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2" y="177"/>
                    <a:pt x="338" y="175"/>
                  </a:cubicBezTo>
                  <a:cubicBezTo>
                    <a:pt x="333" y="173"/>
                    <a:pt x="333" y="185"/>
                    <a:pt x="333" y="185"/>
                  </a:cubicBezTo>
                  <a:cubicBezTo>
                    <a:pt x="330" y="186"/>
                    <a:pt x="330" y="186"/>
                    <a:pt x="330" y="186"/>
                  </a:cubicBezTo>
                  <a:cubicBezTo>
                    <a:pt x="331" y="197"/>
                    <a:pt x="331" y="197"/>
                    <a:pt x="331" y="197"/>
                  </a:cubicBezTo>
                  <a:cubicBezTo>
                    <a:pt x="324" y="202"/>
                    <a:pt x="324" y="202"/>
                    <a:pt x="324" y="202"/>
                  </a:cubicBezTo>
                  <a:cubicBezTo>
                    <a:pt x="325" y="206"/>
                    <a:pt x="325" y="206"/>
                    <a:pt x="325" y="206"/>
                  </a:cubicBezTo>
                  <a:cubicBezTo>
                    <a:pt x="319" y="218"/>
                    <a:pt x="319" y="218"/>
                    <a:pt x="319" y="218"/>
                  </a:cubicBezTo>
                  <a:cubicBezTo>
                    <a:pt x="322" y="218"/>
                    <a:pt x="322" y="218"/>
                    <a:pt x="322" y="218"/>
                  </a:cubicBezTo>
                  <a:cubicBezTo>
                    <a:pt x="331" y="208"/>
                    <a:pt x="331" y="208"/>
                    <a:pt x="331" y="208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35" y="215"/>
                    <a:pt x="335" y="215"/>
                    <a:pt x="335" y="215"/>
                  </a:cubicBezTo>
                  <a:cubicBezTo>
                    <a:pt x="336" y="215"/>
                    <a:pt x="337" y="209"/>
                    <a:pt x="337" y="209"/>
                  </a:cubicBezTo>
                  <a:cubicBezTo>
                    <a:pt x="340" y="211"/>
                    <a:pt x="340" y="211"/>
                    <a:pt x="340" y="211"/>
                  </a:cubicBezTo>
                  <a:cubicBezTo>
                    <a:pt x="340" y="211"/>
                    <a:pt x="345" y="202"/>
                    <a:pt x="346" y="200"/>
                  </a:cubicBezTo>
                  <a:cubicBezTo>
                    <a:pt x="347" y="198"/>
                    <a:pt x="354" y="198"/>
                    <a:pt x="354" y="198"/>
                  </a:cubicBezTo>
                  <a:cubicBezTo>
                    <a:pt x="354" y="198"/>
                    <a:pt x="357" y="193"/>
                    <a:pt x="358" y="188"/>
                  </a:cubicBezTo>
                  <a:cubicBezTo>
                    <a:pt x="359" y="184"/>
                    <a:pt x="348" y="178"/>
                    <a:pt x="348" y="178"/>
                  </a:cubicBezTo>
                  <a:close/>
                  <a:moveTo>
                    <a:pt x="330" y="179"/>
                  </a:moveTo>
                  <a:cubicBezTo>
                    <a:pt x="330" y="174"/>
                    <a:pt x="330" y="174"/>
                    <a:pt x="330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43" y="162"/>
                    <a:pt x="343" y="162"/>
                    <a:pt x="343" y="162"/>
                  </a:cubicBezTo>
                  <a:cubicBezTo>
                    <a:pt x="343" y="162"/>
                    <a:pt x="351" y="146"/>
                    <a:pt x="341" y="155"/>
                  </a:cubicBezTo>
                  <a:cubicBezTo>
                    <a:pt x="331" y="162"/>
                    <a:pt x="326" y="174"/>
                    <a:pt x="327" y="177"/>
                  </a:cubicBezTo>
                  <a:cubicBezTo>
                    <a:pt x="328" y="181"/>
                    <a:pt x="330" y="179"/>
                    <a:pt x="330" y="179"/>
                  </a:cubicBezTo>
                  <a:close/>
                  <a:moveTo>
                    <a:pt x="312" y="197"/>
                  </a:moveTo>
                  <a:cubicBezTo>
                    <a:pt x="315" y="194"/>
                    <a:pt x="319" y="192"/>
                    <a:pt x="319" y="192"/>
                  </a:cubicBezTo>
                  <a:cubicBezTo>
                    <a:pt x="313" y="199"/>
                    <a:pt x="313" y="199"/>
                    <a:pt x="313" y="199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27" y="191"/>
                    <a:pt x="327" y="191"/>
                    <a:pt x="327" y="191"/>
                  </a:cubicBezTo>
                  <a:cubicBezTo>
                    <a:pt x="325" y="187"/>
                    <a:pt x="325" y="187"/>
                    <a:pt x="325" y="187"/>
                  </a:cubicBezTo>
                  <a:cubicBezTo>
                    <a:pt x="327" y="185"/>
                    <a:pt x="327" y="185"/>
                    <a:pt x="327" y="185"/>
                  </a:cubicBezTo>
                  <a:cubicBezTo>
                    <a:pt x="322" y="171"/>
                    <a:pt x="322" y="171"/>
                    <a:pt x="322" y="171"/>
                  </a:cubicBezTo>
                  <a:cubicBezTo>
                    <a:pt x="315" y="172"/>
                    <a:pt x="315" y="172"/>
                    <a:pt x="315" y="172"/>
                  </a:cubicBezTo>
                  <a:cubicBezTo>
                    <a:pt x="320" y="183"/>
                    <a:pt x="320" y="183"/>
                    <a:pt x="320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7" y="188"/>
                    <a:pt x="317" y="188"/>
                    <a:pt x="317" y="188"/>
                  </a:cubicBezTo>
                  <a:cubicBezTo>
                    <a:pt x="309" y="186"/>
                    <a:pt x="309" y="186"/>
                    <a:pt x="309" y="186"/>
                  </a:cubicBezTo>
                  <a:cubicBezTo>
                    <a:pt x="309" y="186"/>
                    <a:pt x="306" y="191"/>
                    <a:pt x="305" y="194"/>
                  </a:cubicBezTo>
                  <a:cubicBezTo>
                    <a:pt x="303" y="199"/>
                    <a:pt x="308" y="198"/>
                    <a:pt x="312" y="197"/>
                  </a:cubicBezTo>
                  <a:close/>
                  <a:moveTo>
                    <a:pt x="309" y="186"/>
                  </a:moveTo>
                  <a:cubicBezTo>
                    <a:pt x="309" y="186"/>
                    <a:pt x="309" y="186"/>
                    <a:pt x="309" y="186"/>
                  </a:cubicBezTo>
                  <a:moveTo>
                    <a:pt x="313" y="206"/>
                  </a:moveTo>
                  <a:cubicBezTo>
                    <a:pt x="322" y="206"/>
                    <a:pt x="319" y="202"/>
                    <a:pt x="313" y="202"/>
                  </a:cubicBezTo>
                  <a:cubicBezTo>
                    <a:pt x="307" y="202"/>
                    <a:pt x="306" y="206"/>
                    <a:pt x="313" y="206"/>
                  </a:cubicBezTo>
                  <a:close/>
                  <a:moveTo>
                    <a:pt x="361" y="157"/>
                  </a:moveTo>
                  <a:cubicBezTo>
                    <a:pt x="367" y="159"/>
                    <a:pt x="367" y="159"/>
                    <a:pt x="367" y="159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62" y="168"/>
                    <a:pt x="368" y="170"/>
                    <a:pt x="371" y="168"/>
                  </a:cubicBezTo>
                  <a:cubicBezTo>
                    <a:pt x="376" y="157"/>
                    <a:pt x="376" y="157"/>
                    <a:pt x="376" y="157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9" y="144"/>
                    <a:pt x="389" y="144"/>
                    <a:pt x="389" y="144"/>
                  </a:cubicBezTo>
                  <a:cubicBezTo>
                    <a:pt x="389" y="144"/>
                    <a:pt x="391" y="135"/>
                    <a:pt x="384" y="132"/>
                  </a:cubicBezTo>
                  <a:cubicBezTo>
                    <a:pt x="376" y="129"/>
                    <a:pt x="370" y="139"/>
                    <a:pt x="370" y="139"/>
                  </a:cubicBezTo>
                  <a:cubicBezTo>
                    <a:pt x="375" y="145"/>
                    <a:pt x="375" y="145"/>
                    <a:pt x="375" y="145"/>
                  </a:cubicBezTo>
                  <a:cubicBezTo>
                    <a:pt x="371" y="143"/>
                    <a:pt x="371" y="143"/>
                    <a:pt x="371" y="143"/>
                  </a:cubicBezTo>
                  <a:cubicBezTo>
                    <a:pt x="371" y="143"/>
                    <a:pt x="362" y="144"/>
                    <a:pt x="362" y="145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7" y="152"/>
                    <a:pt x="367" y="152"/>
                    <a:pt x="367" y="152"/>
                  </a:cubicBezTo>
                  <a:cubicBezTo>
                    <a:pt x="360" y="155"/>
                    <a:pt x="360" y="155"/>
                    <a:pt x="360" y="155"/>
                  </a:cubicBezTo>
                  <a:lnTo>
                    <a:pt x="361" y="157"/>
                  </a:lnTo>
                  <a:close/>
                  <a:moveTo>
                    <a:pt x="401" y="132"/>
                  </a:moveTo>
                  <a:cubicBezTo>
                    <a:pt x="406" y="130"/>
                    <a:pt x="406" y="127"/>
                    <a:pt x="406" y="127"/>
                  </a:cubicBezTo>
                  <a:cubicBezTo>
                    <a:pt x="404" y="127"/>
                    <a:pt x="404" y="127"/>
                    <a:pt x="404" y="127"/>
                  </a:cubicBezTo>
                  <a:cubicBezTo>
                    <a:pt x="404" y="127"/>
                    <a:pt x="405" y="121"/>
                    <a:pt x="407" y="120"/>
                  </a:cubicBezTo>
                  <a:cubicBezTo>
                    <a:pt x="408" y="119"/>
                    <a:pt x="410" y="118"/>
                    <a:pt x="410" y="118"/>
                  </a:cubicBezTo>
                  <a:cubicBezTo>
                    <a:pt x="410" y="118"/>
                    <a:pt x="408" y="111"/>
                    <a:pt x="403" y="112"/>
                  </a:cubicBezTo>
                  <a:cubicBezTo>
                    <a:pt x="399" y="112"/>
                    <a:pt x="401" y="119"/>
                    <a:pt x="401" y="119"/>
                  </a:cubicBezTo>
                  <a:cubicBezTo>
                    <a:pt x="397" y="118"/>
                    <a:pt x="397" y="118"/>
                    <a:pt x="397" y="118"/>
                  </a:cubicBezTo>
                  <a:cubicBezTo>
                    <a:pt x="393" y="121"/>
                    <a:pt x="393" y="121"/>
                    <a:pt x="393" y="121"/>
                  </a:cubicBezTo>
                  <a:cubicBezTo>
                    <a:pt x="394" y="124"/>
                    <a:pt x="394" y="124"/>
                    <a:pt x="394" y="124"/>
                  </a:cubicBezTo>
                  <a:cubicBezTo>
                    <a:pt x="390" y="123"/>
                    <a:pt x="390" y="123"/>
                    <a:pt x="390" y="123"/>
                  </a:cubicBezTo>
                  <a:cubicBezTo>
                    <a:pt x="389" y="126"/>
                    <a:pt x="389" y="126"/>
                    <a:pt x="389" y="126"/>
                  </a:cubicBezTo>
                  <a:cubicBezTo>
                    <a:pt x="390" y="129"/>
                    <a:pt x="390" y="129"/>
                    <a:pt x="390" y="129"/>
                  </a:cubicBezTo>
                  <a:cubicBezTo>
                    <a:pt x="388" y="128"/>
                    <a:pt x="388" y="128"/>
                    <a:pt x="388" y="128"/>
                  </a:cubicBezTo>
                  <a:cubicBezTo>
                    <a:pt x="388" y="132"/>
                    <a:pt x="388" y="132"/>
                    <a:pt x="388" y="132"/>
                  </a:cubicBezTo>
                  <a:cubicBezTo>
                    <a:pt x="388" y="132"/>
                    <a:pt x="395" y="134"/>
                    <a:pt x="401" y="132"/>
                  </a:cubicBezTo>
                  <a:close/>
                  <a:moveTo>
                    <a:pt x="408" y="111"/>
                  </a:moveTo>
                  <a:cubicBezTo>
                    <a:pt x="410" y="112"/>
                    <a:pt x="411" y="112"/>
                    <a:pt x="411" y="112"/>
                  </a:cubicBezTo>
                  <a:cubicBezTo>
                    <a:pt x="412" y="115"/>
                    <a:pt x="412" y="115"/>
                    <a:pt x="412" y="115"/>
                  </a:cubicBezTo>
                  <a:cubicBezTo>
                    <a:pt x="412" y="115"/>
                    <a:pt x="420" y="113"/>
                    <a:pt x="420" y="109"/>
                  </a:cubicBezTo>
                  <a:cubicBezTo>
                    <a:pt x="420" y="106"/>
                    <a:pt x="420" y="106"/>
                    <a:pt x="420" y="106"/>
                  </a:cubicBezTo>
                  <a:cubicBezTo>
                    <a:pt x="420" y="106"/>
                    <a:pt x="426" y="104"/>
                    <a:pt x="424" y="102"/>
                  </a:cubicBezTo>
                  <a:cubicBezTo>
                    <a:pt x="423" y="99"/>
                    <a:pt x="418" y="100"/>
                    <a:pt x="418" y="100"/>
                  </a:cubicBezTo>
                  <a:cubicBezTo>
                    <a:pt x="418" y="100"/>
                    <a:pt x="416" y="96"/>
                    <a:pt x="411" y="97"/>
                  </a:cubicBezTo>
                  <a:cubicBezTo>
                    <a:pt x="408" y="98"/>
                    <a:pt x="403" y="106"/>
                    <a:pt x="403" y="106"/>
                  </a:cubicBezTo>
                  <a:cubicBezTo>
                    <a:pt x="403" y="106"/>
                    <a:pt x="406" y="110"/>
                    <a:pt x="408" y="111"/>
                  </a:cubicBezTo>
                  <a:close/>
                  <a:moveTo>
                    <a:pt x="424" y="106"/>
                  </a:moveTo>
                  <a:cubicBezTo>
                    <a:pt x="421" y="111"/>
                    <a:pt x="421" y="111"/>
                    <a:pt x="421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33" y="100"/>
                    <a:pt x="433" y="100"/>
                    <a:pt x="433" y="100"/>
                  </a:cubicBezTo>
                  <a:cubicBezTo>
                    <a:pt x="429" y="100"/>
                    <a:pt x="429" y="100"/>
                    <a:pt x="429" y="100"/>
                  </a:cubicBezTo>
                  <a:lnTo>
                    <a:pt x="424" y="106"/>
                  </a:lnTo>
                  <a:close/>
                  <a:moveTo>
                    <a:pt x="426" y="97"/>
                  </a:moveTo>
                  <a:cubicBezTo>
                    <a:pt x="433" y="98"/>
                    <a:pt x="434" y="97"/>
                    <a:pt x="433" y="93"/>
                  </a:cubicBezTo>
                  <a:cubicBezTo>
                    <a:pt x="431" y="90"/>
                    <a:pt x="427" y="87"/>
                    <a:pt x="427" y="87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2" y="83"/>
                    <a:pt x="422" y="83"/>
                    <a:pt x="422" y="83"/>
                  </a:cubicBezTo>
                  <a:cubicBezTo>
                    <a:pt x="420" y="87"/>
                    <a:pt x="420" y="87"/>
                    <a:pt x="420" y="87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4" y="94"/>
                    <a:pt x="422" y="96"/>
                    <a:pt x="426" y="97"/>
                  </a:cubicBezTo>
                  <a:close/>
                  <a:moveTo>
                    <a:pt x="421" y="95"/>
                  </a:moveTo>
                  <a:cubicBezTo>
                    <a:pt x="417" y="91"/>
                    <a:pt x="417" y="91"/>
                    <a:pt x="417" y="91"/>
                  </a:cubicBezTo>
                  <a:cubicBezTo>
                    <a:pt x="417" y="94"/>
                    <a:pt x="417" y="94"/>
                    <a:pt x="417" y="94"/>
                  </a:cubicBezTo>
                  <a:lnTo>
                    <a:pt x="421" y="95"/>
                  </a:lnTo>
                  <a:close/>
                  <a:moveTo>
                    <a:pt x="413" y="95"/>
                  </a:moveTo>
                  <a:cubicBezTo>
                    <a:pt x="415" y="87"/>
                    <a:pt x="415" y="87"/>
                    <a:pt x="415" y="87"/>
                  </a:cubicBezTo>
                  <a:cubicBezTo>
                    <a:pt x="409" y="84"/>
                    <a:pt x="409" y="84"/>
                    <a:pt x="409" y="84"/>
                  </a:cubicBezTo>
                  <a:cubicBezTo>
                    <a:pt x="409" y="95"/>
                    <a:pt x="409" y="95"/>
                    <a:pt x="409" y="95"/>
                  </a:cubicBezTo>
                  <a:lnTo>
                    <a:pt x="413" y="95"/>
                  </a:lnTo>
                  <a:close/>
                  <a:moveTo>
                    <a:pt x="407" y="97"/>
                  </a:moveTo>
                  <a:cubicBezTo>
                    <a:pt x="403" y="94"/>
                    <a:pt x="403" y="94"/>
                    <a:pt x="403" y="94"/>
                  </a:cubicBezTo>
                  <a:cubicBezTo>
                    <a:pt x="403" y="98"/>
                    <a:pt x="403" y="98"/>
                    <a:pt x="403" y="98"/>
                  </a:cubicBezTo>
                  <a:cubicBezTo>
                    <a:pt x="397" y="96"/>
                    <a:pt x="397" y="96"/>
                    <a:pt x="397" y="96"/>
                  </a:cubicBezTo>
                  <a:cubicBezTo>
                    <a:pt x="400" y="103"/>
                    <a:pt x="400" y="103"/>
                    <a:pt x="400" y="103"/>
                  </a:cubicBezTo>
                  <a:lnTo>
                    <a:pt x="407" y="97"/>
                  </a:lnTo>
                  <a:close/>
                  <a:moveTo>
                    <a:pt x="443" y="96"/>
                  </a:moveTo>
                  <a:cubicBezTo>
                    <a:pt x="449" y="97"/>
                    <a:pt x="452" y="90"/>
                    <a:pt x="449" y="84"/>
                  </a:cubicBezTo>
                  <a:cubicBezTo>
                    <a:pt x="446" y="79"/>
                    <a:pt x="441" y="83"/>
                    <a:pt x="440" y="90"/>
                  </a:cubicBezTo>
                  <a:cubicBezTo>
                    <a:pt x="439" y="95"/>
                    <a:pt x="443" y="96"/>
                    <a:pt x="443" y="96"/>
                  </a:cubicBezTo>
                  <a:close/>
                  <a:moveTo>
                    <a:pt x="455" y="99"/>
                  </a:moveTo>
                  <a:cubicBezTo>
                    <a:pt x="451" y="96"/>
                    <a:pt x="451" y="96"/>
                    <a:pt x="451" y="96"/>
                  </a:cubicBezTo>
                  <a:cubicBezTo>
                    <a:pt x="451" y="96"/>
                    <a:pt x="449" y="99"/>
                    <a:pt x="448" y="100"/>
                  </a:cubicBezTo>
                  <a:lnTo>
                    <a:pt x="455" y="99"/>
                  </a:lnTo>
                  <a:close/>
                  <a:moveTo>
                    <a:pt x="445" y="105"/>
                  </a:moveTo>
                  <a:cubicBezTo>
                    <a:pt x="444" y="111"/>
                    <a:pt x="444" y="111"/>
                    <a:pt x="444" y="111"/>
                  </a:cubicBezTo>
                  <a:cubicBezTo>
                    <a:pt x="449" y="109"/>
                    <a:pt x="449" y="109"/>
                    <a:pt x="449" y="109"/>
                  </a:cubicBezTo>
                  <a:cubicBezTo>
                    <a:pt x="448" y="104"/>
                    <a:pt x="448" y="104"/>
                    <a:pt x="448" y="104"/>
                  </a:cubicBezTo>
                  <a:lnTo>
                    <a:pt x="445" y="105"/>
                  </a:lnTo>
                  <a:close/>
                  <a:moveTo>
                    <a:pt x="474" y="58"/>
                  </a:moveTo>
                  <a:cubicBezTo>
                    <a:pt x="479" y="58"/>
                    <a:pt x="479" y="58"/>
                    <a:pt x="479" y="58"/>
                  </a:cubicBezTo>
                  <a:cubicBezTo>
                    <a:pt x="476" y="63"/>
                    <a:pt x="476" y="63"/>
                    <a:pt x="476" y="63"/>
                  </a:cubicBezTo>
                  <a:cubicBezTo>
                    <a:pt x="478" y="65"/>
                    <a:pt x="484" y="64"/>
                    <a:pt x="492" y="60"/>
                  </a:cubicBezTo>
                  <a:cubicBezTo>
                    <a:pt x="500" y="56"/>
                    <a:pt x="497" y="50"/>
                    <a:pt x="497" y="50"/>
                  </a:cubicBezTo>
                  <a:cubicBezTo>
                    <a:pt x="504" y="41"/>
                    <a:pt x="504" y="41"/>
                    <a:pt x="504" y="41"/>
                  </a:cubicBezTo>
                  <a:cubicBezTo>
                    <a:pt x="500" y="36"/>
                    <a:pt x="500" y="36"/>
                    <a:pt x="500" y="36"/>
                  </a:cubicBezTo>
                  <a:cubicBezTo>
                    <a:pt x="492" y="40"/>
                    <a:pt x="492" y="40"/>
                    <a:pt x="492" y="40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88" y="44"/>
                    <a:pt x="488" y="44"/>
                    <a:pt x="488" y="44"/>
                  </a:cubicBezTo>
                  <a:cubicBezTo>
                    <a:pt x="486" y="46"/>
                    <a:pt x="486" y="46"/>
                    <a:pt x="486" y="46"/>
                  </a:cubicBezTo>
                  <a:cubicBezTo>
                    <a:pt x="490" y="52"/>
                    <a:pt x="490" y="52"/>
                    <a:pt x="490" y="52"/>
                  </a:cubicBezTo>
                  <a:cubicBezTo>
                    <a:pt x="483" y="48"/>
                    <a:pt x="483" y="48"/>
                    <a:pt x="483" y="48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79" y="53"/>
                    <a:pt x="479" y="53"/>
                    <a:pt x="479" y="53"/>
                  </a:cubicBezTo>
                  <a:cubicBezTo>
                    <a:pt x="472" y="55"/>
                    <a:pt x="472" y="55"/>
                    <a:pt x="472" y="55"/>
                  </a:cubicBezTo>
                  <a:lnTo>
                    <a:pt x="474" y="58"/>
                  </a:lnTo>
                  <a:close/>
                  <a:moveTo>
                    <a:pt x="484" y="73"/>
                  </a:moveTo>
                  <a:cubicBezTo>
                    <a:pt x="484" y="76"/>
                    <a:pt x="489" y="76"/>
                    <a:pt x="489" y="76"/>
                  </a:cubicBezTo>
                  <a:cubicBezTo>
                    <a:pt x="489" y="76"/>
                    <a:pt x="498" y="77"/>
                    <a:pt x="497" y="73"/>
                  </a:cubicBezTo>
                  <a:cubicBezTo>
                    <a:pt x="497" y="68"/>
                    <a:pt x="482" y="66"/>
                    <a:pt x="484" y="73"/>
                  </a:cubicBezTo>
                  <a:close/>
                  <a:moveTo>
                    <a:pt x="503" y="55"/>
                  </a:moveTo>
                  <a:cubicBezTo>
                    <a:pt x="501" y="59"/>
                    <a:pt x="501" y="59"/>
                    <a:pt x="501" y="59"/>
                  </a:cubicBezTo>
                  <a:cubicBezTo>
                    <a:pt x="499" y="57"/>
                    <a:pt x="499" y="57"/>
                    <a:pt x="499" y="57"/>
                  </a:cubicBezTo>
                  <a:cubicBezTo>
                    <a:pt x="493" y="66"/>
                    <a:pt x="493" y="66"/>
                    <a:pt x="493" y="66"/>
                  </a:cubicBezTo>
                  <a:cubicBezTo>
                    <a:pt x="499" y="68"/>
                    <a:pt x="499" y="68"/>
                    <a:pt x="499" y="68"/>
                  </a:cubicBezTo>
                  <a:cubicBezTo>
                    <a:pt x="500" y="66"/>
                    <a:pt x="500" y="66"/>
                    <a:pt x="500" y="66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4" y="72"/>
                    <a:pt x="504" y="72"/>
                    <a:pt x="504" y="72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05" y="48"/>
                    <a:pt x="505" y="48"/>
                    <a:pt x="505" y="48"/>
                  </a:cubicBezTo>
                  <a:cubicBezTo>
                    <a:pt x="501" y="50"/>
                    <a:pt x="501" y="50"/>
                    <a:pt x="501" y="50"/>
                  </a:cubicBezTo>
                  <a:lnTo>
                    <a:pt x="503" y="55"/>
                  </a:lnTo>
                  <a:close/>
                  <a:moveTo>
                    <a:pt x="514" y="56"/>
                  </a:moveTo>
                  <a:cubicBezTo>
                    <a:pt x="517" y="56"/>
                    <a:pt x="521" y="48"/>
                    <a:pt x="516" y="43"/>
                  </a:cubicBezTo>
                  <a:cubicBezTo>
                    <a:pt x="509" y="37"/>
                    <a:pt x="505" y="43"/>
                    <a:pt x="508" y="50"/>
                  </a:cubicBezTo>
                  <a:cubicBezTo>
                    <a:pt x="508" y="50"/>
                    <a:pt x="510" y="56"/>
                    <a:pt x="514" y="56"/>
                  </a:cubicBezTo>
                  <a:close/>
                  <a:moveTo>
                    <a:pt x="513" y="22"/>
                  </a:moveTo>
                  <a:cubicBezTo>
                    <a:pt x="506" y="22"/>
                    <a:pt x="511" y="30"/>
                    <a:pt x="511" y="30"/>
                  </a:cubicBezTo>
                  <a:cubicBezTo>
                    <a:pt x="517" y="29"/>
                    <a:pt x="518" y="22"/>
                    <a:pt x="513" y="22"/>
                  </a:cubicBezTo>
                  <a:close/>
                  <a:moveTo>
                    <a:pt x="528" y="14"/>
                  </a:moveTo>
                  <a:cubicBezTo>
                    <a:pt x="523" y="17"/>
                    <a:pt x="523" y="17"/>
                    <a:pt x="523" y="17"/>
                  </a:cubicBezTo>
                  <a:cubicBezTo>
                    <a:pt x="531" y="19"/>
                    <a:pt x="531" y="19"/>
                    <a:pt x="531" y="19"/>
                  </a:cubicBezTo>
                  <a:lnTo>
                    <a:pt x="528" y="14"/>
                  </a:lnTo>
                  <a:close/>
                  <a:moveTo>
                    <a:pt x="538" y="19"/>
                  </a:moveTo>
                  <a:cubicBezTo>
                    <a:pt x="539" y="19"/>
                    <a:pt x="541" y="17"/>
                    <a:pt x="541" y="17"/>
                  </a:cubicBezTo>
                  <a:cubicBezTo>
                    <a:pt x="541" y="20"/>
                    <a:pt x="541" y="20"/>
                    <a:pt x="541" y="20"/>
                  </a:cubicBezTo>
                  <a:cubicBezTo>
                    <a:pt x="548" y="22"/>
                    <a:pt x="548" y="22"/>
                    <a:pt x="548" y="22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559" y="12"/>
                    <a:pt x="559" y="12"/>
                    <a:pt x="559" y="12"/>
                  </a:cubicBezTo>
                  <a:cubicBezTo>
                    <a:pt x="553" y="16"/>
                    <a:pt x="553" y="16"/>
                    <a:pt x="553" y="16"/>
                  </a:cubicBezTo>
                  <a:cubicBezTo>
                    <a:pt x="550" y="14"/>
                    <a:pt x="550" y="14"/>
                    <a:pt x="550" y="14"/>
                  </a:cubicBezTo>
                  <a:cubicBezTo>
                    <a:pt x="555" y="10"/>
                    <a:pt x="555" y="10"/>
                    <a:pt x="555" y="10"/>
                  </a:cubicBezTo>
                  <a:cubicBezTo>
                    <a:pt x="552" y="6"/>
                    <a:pt x="552" y="6"/>
                    <a:pt x="552" y="6"/>
                  </a:cubicBezTo>
                  <a:cubicBezTo>
                    <a:pt x="550" y="10"/>
                    <a:pt x="550" y="10"/>
                    <a:pt x="550" y="10"/>
                  </a:cubicBezTo>
                  <a:cubicBezTo>
                    <a:pt x="548" y="5"/>
                    <a:pt x="548" y="5"/>
                    <a:pt x="548" y="5"/>
                  </a:cubicBezTo>
                  <a:cubicBezTo>
                    <a:pt x="544" y="8"/>
                    <a:pt x="544" y="8"/>
                    <a:pt x="544" y="8"/>
                  </a:cubicBezTo>
                  <a:cubicBezTo>
                    <a:pt x="546" y="12"/>
                    <a:pt x="546" y="12"/>
                    <a:pt x="546" y="12"/>
                  </a:cubicBezTo>
                  <a:cubicBezTo>
                    <a:pt x="537" y="14"/>
                    <a:pt x="537" y="14"/>
                    <a:pt x="537" y="14"/>
                  </a:cubicBezTo>
                  <a:lnTo>
                    <a:pt x="538" y="19"/>
                  </a:lnTo>
                  <a:close/>
                  <a:moveTo>
                    <a:pt x="658" y="62"/>
                  </a:moveTo>
                  <a:cubicBezTo>
                    <a:pt x="659" y="72"/>
                    <a:pt x="659" y="72"/>
                    <a:pt x="659" y="72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2" y="60"/>
                    <a:pt x="662" y="60"/>
                    <a:pt x="662" y="60"/>
                  </a:cubicBezTo>
                  <a:lnTo>
                    <a:pt x="658" y="6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Es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671E315-3C47-824F-A5A3-69AB71AF8C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9465" y="2996422"/>
              <a:ext cx="513227" cy="326749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Weiß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8C100FD-BEE3-1C42-8D88-5EE56446FF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3604" y="3489846"/>
              <a:ext cx="871330" cy="788819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Let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165B0C-0C09-8A4A-9C6B-43FD4A0558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8112" y="3255510"/>
              <a:ext cx="636995" cy="359755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Moldawien" descr="© INSCALE GmbH, 05.05.2010&#10;http://www.presentationload.com/">
              <a:extLst>
                <a:ext uri="{FF2B5EF4-FFF2-40B4-BE49-F238E27FC236}">
                  <a16:creationId xmlns:a16="http://schemas.microsoft.com/office/drawing/2014/main" id="{49A541BA-EE10-0C4F-96B4-A95A88D331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3924" y="4656571"/>
              <a:ext cx="429064" cy="448867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7" name="Fin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D681938-DCF9-3D4F-9FBD-19B7F7E68B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65919" y="1417135"/>
              <a:ext cx="912587" cy="1608991"/>
            </a:xfrm>
            <a:custGeom>
              <a:avLst/>
              <a:gdLst/>
              <a:ahLst/>
              <a:cxnLst>
                <a:cxn ang="0">
                  <a:pos x="318" y="380"/>
                </a:cxn>
                <a:cxn ang="0">
                  <a:pos x="302" y="312"/>
                </a:cxn>
                <a:cxn ang="0">
                  <a:pos x="283" y="281"/>
                </a:cxn>
                <a:cxn ang="0">
                  <a:pos x="264" y="225"/>
                </a:cxn>
                <a:cxn ang="0">
                  <a:pos x="205" y="113"/>
                </a:cxn>
                <a:cxn ang="0">
                  <a:pos x="202" y="27"/>
                </a:cxn>
                <a:cxn ang="0">
                  <a:pos x="124" y="29"/>
                </a:cxn>
                <a:cxn ang="0">
                  <a:pos x="105" y="103"/>
                </a:cxn>
                <a:cxn ang="0">
                  <a:pos x="51" y="107"/>
                </a:cxn>
                <a:cxn ang="0">
                  <a:pos x="2" y="90"/>
                </a:cxn>
                <a:cxn ang="0">
                  <a:pos x="23" y="108"/>
                </a:cxn>
                <a:cxn ang="0">
                  <a:pos x="63" y="131"/>
                </a:cxn>
                <a:cxn ang="0">
                  <a:pos x="86" y="186"/>
                </a:cxn>
                <a:cxn ang="0">
                  <a:pos x="106" y="229"/>
                </a:cxn>
                <a:cxn ang="0">
                  <a:pos x="116" y="275"/>
                </a:cxn>
                <a:cxn ang="0">
                  <a:pos x="147" y="294"/>
                </a:cxn>
                <a:cxn ang="0">
                  <a:pos x="163" y="331"/>
                </a:cxn>
                <a:cxn ang="0">
                  <a:pos x="147" y="355"/>
                </a:cxn>
                <a:cxn ang="0">
                  <a:pos x="131" y="401"/>
                </a:cxn>
                <a:cxn ang="0">
                  <a:pos x="108" y="414"/>
                </a:cxn>
                <a:cxn ang="0">
                  <a:pos x="111" y="430"/>
                </a:cxn>
                <a:cxn ang="0">
                  <a:pos x="96" y="438"/>
                </a:cxn>
                <a:cxn ang="0">
                  <a:pos x="80" y="462"/>
                </a:cxn>
                <a:cxn ang="0">
                  <a:pos x="77" y="486"/>
                </a:cxn>
                <a:cxn ang="0">
                  <a:pos x="80" y="523"/>
                </a:cxn>
                <a:cxn ang="0">
                  <a:pos x="91" y="559"/>
                </a:cxn>
                <a:cxn ang="0">
                  <a:pos x="93" y="572"/>
                </a:cxn>
                <a:cxn ang="0">
                  <a:pos x="95" y="598"/>
                </a:cxn>
                <a:cxn ang="0">
                  <a:pos x="95" y="613"/>
                </a:cxn>
                <a:cxn ang="0">
                  <a:pos x="104" y="635"/>
                </a:cxn>
                <a:cxn ang="0">
                  <a:pos x="118" y="635"/>
                </a:cxn>
                <a:cxn ang="0">
                  <a:pos x="144" y="645"/>
                </a:cxn>
                <a:cxn ang="0">
                  <a:pos x="157" y="656"/>
                </a:cxn>
                <a:cxn ang="0">
                  <a:pos x="161" y="666"/>
                </a:cxn>
                <a:cxn ang="0">
                  <a:pos x="189" y="654"/>
                </a:cxn>
                <a:cxn ang="0">
                  <a:pos x="206" y="645"/>
                </a:cxn>
                <a:cxn ang="0">
                  <a:pos x="248" y="626"/>
                </a:cxn>
                <a:cxn ang="0">
                  <a:pos x="260" y="617"/>
                </a:cxn>
                <a:cxn ang="0">
                  <a:pos x="293" y="603"/>
                </a:cxn>
                <a:cxn ang="0">
                  <a:pos x="328" y="554"/>
                </a:cxn>
                <a:cxn ang="0">
                  <a:pos x="382" y="418"/>
                </a:cxn>
                <a:cxn ang="0">
                  <a:pos x="60" y="653"/>
                </a:cxn>
                <a:cxn ang="0">
                  <a:pos x="45" y="651"/>
                </a:cxn>
                <a:cxn ang="0">
                  <a:pos x="50" y="670"/>
                </a:cxn>
                <a:cxn ang="0">
                  <a:pos x="39" y="658"/>
                </a:cxn>
                <a:cxn ang="0">
                  <a:pos x="55" y="670"/>
                </a:cxn>
                <a:cxn ang="0">
                  <a:pos x="107" y="657"/>
                </a:cxn>
                <a:cxn ang="0">
                  <a:pos x="113" y="654"/>
                </a:cxn>
                <a:cxn ang="0">
                  <a:pos x="148" y="643"/>
                </a:cxn>
                <a:cxn ang="0">
                  <a:pos x="136" y="655"/>
                </a:cxn>
                <a:cxn ang="0">
                  <a:pos x="147" y="649"/>
                </a:cxn>
                <a:cxn ang="0">
                  <a:pos x="112" y="643"/>
                </a:cxn>
                <a:cxn ang="0">
                  <a:pos x="99" y="634"/>
                </a:cxn>
                <a:cxn ang="0">
                  <a:pos x="94" y="628"/>
                </a:cxn>
                <a:cxn ang="0">
                  <a:pos x="175" y="667"/>
                </a:cxn>
                <a:cxn ang="0">
                  <a:pos x="62" y="461"/>
                </a:cxn>
                <a:cxn ang="0">
                  <a:pos x="72" y="456"/>
                </a:cxn>
                <a:cxn ang="0">
                  <a:pos x="157" y="329"/>
                </a:cxn>
                <a:cxn ang="0">
                  <a:pos x="153" y="336"/>
                </a:cxn>
                <a:cxn ang="0">
                  <a:pos x="243" y="631"/>
                </a:cxn>
                <a:cxn ang="0">
                  <a:pos x="265" y="614"/>
                </a:cxn>
              </a:cxnLst>
              <a:rect l="0" t="0" r="r" b="b"/>
              <a:pathLst>
                <a:path w="382" h="674">
                  <a:moveTo>
                    <a:pt x="382" y="418"/>
                  </a:moveTo>
                  <a:cubicBezTo>
                    <a:pt x="381" y="412"/>
                    <a:pt x="369" y="412"/>
                    <a:pt x="369" y="412"/>
                  </a:cubicBezTo>
                  <a:cubicBezTo>
                    <a:pt x="366" y="404"/>
                    <a:pt x="366" y="404"/>
                    <a:pt x="366" y="404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39" y="394"/>
                    <a:pt x="339" y="394"/>
                    <a:pt x="339" y="394"/>
                  </a:cubicBezTo>
                  <a:cubicBezTo>
                    <a:pt x="318" y="380"/>
                    <a:pt x="318" y="380"/>
                    <a:pt x="318" y="380"/>
                  </a:cubicBezTo>
                  <a:cubicBezTo>
                    <a:pt x="327" y="374"/>
                    <a:pt x="327" y="374"/>
                    <a:pt x="327" y="374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26" y="370"/>
                    <a:pt x="331" y="355"/>
                    <a:pt x="327" y="346"/>
                  </a:cubicBezTo>
                  <a:cubicBezTo>
                    <a:pt x="323" y="338"/>
                    <a:pt x="313" y="344"/>
                    <a:pt x="308" y="335"/>
                  </a:cubicBezTo>
                  <a:cubicBezTo>
                    <a:pt x="301" y="326"/>
                    <a:pt x="307" y="320"/>
                    <a:pt x="307" y="320"/>
                  </a:cubicBezTo>
                  <a:cubicBezTo>
                    <a:pt x="302" y="312"/>
                    <a:pt x="302" y="312"/>
                    <a:pt x="302" y="312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285" y="301"/>
                    <a:pt x="285" y="301"/>
                    <a:pt x="285" y="301"/>
                  </a:cubicBezTo>
                  <a:cubicBezTo>
                    <a:pt x="292" y="296"/>
                    <a:pt x="292" y="296"/>
                    <a:pt x="292" y="296"/>
                  </a:cubicBezTo>
                  <a:cubicBezTo>
                    <a:pt x="291" y="291"/>
                    <a:pt x="291" y="291"/>
                    <a:pt x="291" y="291"/>
                  </a:cubicBezTo>
                  <a:cubicBezTo>
                    <a:pt x="280" y="293"/>
                    <a:pt x="280" y="293"/>
                    <a:pt x="280" y="293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0" y="272"/>
                    <a:pt x="280" y="272"/>
                    <a:pt x="280" y="272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8" y="259"/>
                    <a:pt x="288" y="259"/>
                    <a:pt x="288" y="259"/>
                  </a:cubicBezTo>
                  <a:cubicBezTo>
                    <a:pt x="288" y="259"/>
                    <a:pt x="286" y="249"/>
                    <a:pt x="281" y="240"/>
                  </a:cubicBezTo>
                  <a:cubicBezTo>
                    <a:pt x="277" y="232"/>
                    <a:pt x="264" y="225"/>
                    <a:pt x="264" y="225"/>
                  </a:cubicBezTo>
                  <a:cubicBezTo>
                    <a:pt x="261" y="223"/>
                    <a:pt x="262" y="214"/>
                    <a:pt x="254" y="208"/>
                  </a:cubicBezTo>
                  <a:cubicBezTo>
                    <a:pt x="248" y="204"/>
                    <a:pt x="237" y="187"/>
                    <a:pt x="237" y="187"/>
                  </a:cubicBezTo>
                  <a:cubicBezTo>
                    <a:pt x="237" y="187"/>
                    <a:pt x="252" y="152"/>
                    <a:pt x="251" y="142"/>
                  </a:cubicBezTo>
                  <a:cubicBezTo>
                    <a:pt x="250" y="133"/>
                    <a:pt x="238" y="133"/>
                    <a:pt x="238" y="133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05" y="113"/>
                    <a:pt x="205" y="113"/>
                    <a:pt x="205" y="113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9" y="70"/>
                    <a:pt x="199" y="70"/>
                    <a:pt x="199" y="70"/>
                  </a:cubicBezTo>
                  <a:cubicBezTo>
                    <a:pt x="188" y="68"/>
                    <a:pt x="188" y="68"/>
                    <a:pt x="188" y="68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197" y="57"/>
                    <a:pt x="194" y="52"/>
                    <a:pt x="194" y="46"/>
                  </a:cubicBezTo>
                  <a:cubicBezTo>
                    <a:pt x="194" y="41"/>
                    <a:pt x="202" y="27"/>
                    <a:pt x="202" y="27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13"/>
                    <a:pt x="163" y="0"/>
                    <a:pt x="157" y="1"/>
                  </a:cubicBezTo>
                  <a:cubicBezTo>
                    <a:pt x="151" y="2"/>
                    <a:pt x="142" y="14"/>
                    <a:pt x="142" y="14"/>
                  </a:cubicBezTo>
                  <a:cubicBezTo>
                    <a:pt x="142" y="14"/>
                    <a:pt x="135" y="12"/>
                    <a:pt x="129" y="15"/>
                  </a:cubicBezTo>
                  <a:cubicBezTo>
                    <a:pt x="123" y="17"/>
                    <a:pt x="124" y="29"/>
                    <a:pt x="124" y="29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1" y="75"/>
                    <a:pt x="122" y="80"/>
                  </a:cubicBezTo>
                  <a:cubicBezTo>
                    <a:pt x="122" y="86"/>
                    <a:pt x="119" y="90"/>
                    <a:pt x="117" y="93"/>
                  </a:cubicBezTo>
                  <a:cubicBezTo>
                    <a:pt x="114" y="97"/>
                    <a:pt x="112" y="110"/>
                    <a:pt x="112" y="110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1" y="97"/>
                    <a:pt x="86" y="97"/>
                  </a:cubicBezTo>
                  <a:cubicBezTo>
                    <a:pt x="80" y="97"/>
                    <a:pt x="78" y="105"/>
                    <a:pt x="78" y="105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4" y="99"/>
                    <a:pt x="37" y="93"/>
                  </a:cubicBezTo>
                  <a:cubicBezTo>
                    <a:pt x="32" y="88"/>
                    <a:pt x="25" y="78"/>
                    <a:pt x="25" y="78"/>
                  </a:cubicBezTo>
                  <a:cubicBezTo>
                    <a:pt x="25" y="78"/>
                    <a:pt x="16" y="75"/>
                    <a:pt x="12" y="80"/>
                  </a:cubicBezTo>
                  <a:cubicBezTo>
                    <a:pt x="6" y="84"/>
                    <a:pt x="14" y="91"/>
                    <a:pt x="13" y="93"/>
                  </a:cubicBezTo>
                  <a:cubicBezTo>
                    <a:pt x="11" y="95"/>
                    <a:pt x="2" y="90"/>
                    <a:pt x="2" y="9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53" y="126"/>
                    <a:pt x="63" y="131"/>
                  </a:cubicBezTo>
                  <a:cubicBezTo>
                    <a:pt x="72" y="136"/>
                    <a:pt x="73" y="146"/>
                    <a:pt x="73" y="146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86" y="152"/>
                    <a:pt x="88" y="155"/>
                  </a:cubicBezTo>
                  <a:cubicBezTo>
                    <a:pt x="90" y="158"/>
                    <a:pt x="85" y="158"/>
                    <a:pt x="84" y="162"/>
                  </a:cubicBezTo>
                  <a:cubicBezTo>
                    <a:pt x="83" y="167"/>
                    <a:pt x="85" y="170"/>
                    <a:pt x="86" y="174"/>
                  </a:cubicBezTo>
                  <a:cubicBezTo>
                    <a:pt x="88" y="180"/>
                    <a:pt x="86" y="186"/>
                    <a:pt x="86" y="186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95" y="197"/>
                    <a:pt x="94" y="199"/>
                    <a:pt x="94" y="204"/>
                  </a:cubicBezTo>
                  <a:cubicBezTo>
                    <a:pt x="94" y="210"/>
                    <a:pt x="103" y="215"/>
                    <a:pt x="105" y="218"/>
                  </a:cubicBezTo>
                  <a:cubicBezTo>
                    <a:pt x="107" y="222"/>
                    <a:pt x="106" y="229"/>
                    <a:pt x="106" y="229"/>
                  </a:cubicBezTo>
                  <a:cubicBezTo>
                    <a:pt x="106" y="229"/>
                    <a:pt x="108" y="233"/>
                    <a:pt x="110" y="237"/>
                  </a:cubicBezTo>
                  <a:cubicBezTo>
                    <a:pt x="111" y="240"/>
                    <a:pt x="106" y="243"/>
                    <a:pt x="103" y="248"/>
                  </a:cubicBezTo>
                  <a:cubicBezTo>
                    <a:pt x="101" y="252"/>
                    <a:pt x="106" y="253"/>
                    <a:pt x="106" y="253"/>
                  </a:cubicBezTo>
                  <a:cubicBezTo>
                    <a:pt x="106" y="253"/>
                    <a:pt x="106" y="254"/>
                    <a:pt x="105" y="260"/>
                  </a:cubicBezTo>
                  <a:cubicBezTo>
                    <a:pt x="105" y="264"/>
                    <a:pt x="112" y="265"/>
                    <a:pt x="114" y="266"/>
                  </a:cubicBezTo>
                  <a:cubicBezTo>
                    <a:pt x="116" y="268"/>
                    <a:pt x="115" y="271"/>
                    <a:pt x="116" y="275"/>
                  </a:cubicBezTo>
                  <a:cubicBezTo>
                    <a:pt x="117" y="279"/>
                    <a:pt x="122" y="281"/>
                    <a:pt x="122" y="281"/>
                  </a:cubicBezTo>
                  <a:cubicBezTo>
                    <a:pt x="123" y="288"/>
                    <a:pt x="123" y="288"/>
                    <a:pt x="123" y="288"/>
                  </a:cubicBezTo>
                  <a:cubicBezTo>
                    <a:pt x="128" y="286"/>
                    <a:pt x="128" y="286"/>
                    <a:pt x="128" y="286"/>
                  </a:cubicBezTo>
                  <a:cubicBezTo>
                    <a:pt x="139" y="293"/>
                    <a:pt x="139" y="293"/>
                    <a:pt x="139" y="293"/>
                  </a:cubicBezTo>
                  <a:cubicBezTo>
                    <a:pt x="139" y="295"/>
                    <a:pt x="139" y="295"/>
                    <a:pt x="139" y="295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54" y="297"/>
                    <a:pt x="154" y="297"/>
                    <a:pt x="154" y="297"/>
                  </a:cubicBezTo>
                  <a:cubicBezTo>
                    <a:pt x="154" y="297"/>
                    <a:pt x="159" y="301"/>
                    <a:pt x="162" y="308"/>
                  </a:cubicBezTo>
                  <a:cubicBezTo>
                    <a:pt x="166" y="314"/>
                    <a:pt x="162" y="324"/>
                    <a:pt x="162" y="324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2" y="334"/>
                    <a:pt x="162" y="334"/>
                    <a:pt x="162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7" y="342"/>
                    <a:pt x="160" y="340"/>
                    <a:pt x="154" y="341"/>
                  </a:cubicBezTo>
                  <a:cubicBezTo>
                    <a:pt x="150" y="342"/>
                    <a:pt x="147" y="346"/>
                    <a:pt x="147" y="346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66"/>
                    <a:pt x="145" y="366"/>
                    <a:pt x="145" y="366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37" y="376"/>
                    <a:pt x="137" y="376"/>
                    <a:pt x="137" y="376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1" y="401"/>
                    <a:pt x="131" y="401"/>
                    <a:pt x="131" y="401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409"/>
                    <a:pt x="124" y="409"/>
                    <a:pt x="124" y="409"/>
                  </a:cubicBezTo>
                  <a:cubicBezTo>
                    <a:pt x="117" y="413"/>
                    <a:pt x="117" y="413"/>
                    <a:pt x="117" y="413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2" y="413"/>
                    <a:pt x="112" y="413"/>
                    <a:pt x="112" y="413"/>
                  </a:cubicBezTo>
                  <a:cubicBezTo>
                    <a:pt x="108" y="414"/>
                    <a:pt x="108" y="414"/>
                    <a:pt x="108" y="414"/>
                  </a:cubicBezTo>
                  <a:cubicBezTo>
                    <a:pt x="108" y="417"/>
                    <a:pt x="108" y="417"/>
                    <a:pt x="108" y="417"/>
                  </a:cubicBezTo>
                  <a:cubicBezTo>
                    <a:pt x="106" y="418"/>
                    <a:pt x="106" y="418"/>
                    <a:pt x="106" y="418"/>
                  </a:cubicBezTo>
                  <a:cubicBezTo>
                    <a:pt x="105" y="421"/>
                    <a:pt x="105" y="421"/>
                    <a:pt x="105" y="421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3" y="422"/>
                    <a:pt x="113" y="422"/>
                    <a:pt x="113" y="422"/>
                  </a:cubicBezTo>
                  <a:cubicBezTo>
                    <a:pt x="111" y="430"/>
                    <a:pt x="111" y="430"/>
                    <a:pt x="111" y="430"/>
                  </a:cubicBezTo>
                  <a:cubicBezTo>
                    <a:pt x="111" y="430"/>
                    <a:pt x="107" y="426"/>
                    <a:pt x="104" y="428"/>
                  </a:cubicBezTo>
                  <a:cubicBezTo>
                    <a:pt x="100" y="430"/>
                    <a:pt x="102" y="436"/>
                    <a:pt x="102" y="436"/>
                  </a:cubicBezTo>
                  <a:cubicBezTo>
                    <a:pt x="102" y="439"/>
                    <a:pt x="102" y="439"/>
                    <a:pt x="102" y="439"/>
                  </a:cubicBezTo>
                  <a:cubicBezTo>
                    <a:pt x="101" y="441"/>
                    <a:pt x="100" y="442"/>
                    <a:pt x="100" y="442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6" y="438"/>
                    <a:pt x="96" y="438"/>
                    <a:pt x="96" y="438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444"/>
                    <a:pt x="99" y="455"/>
                    <a:pt x="98" y="457"/>
                  </a:cubicBezTo>
                  <a:cubicBezTo>
                    <a:pt x="97" y="460"/>
                    <a:pt x="91" y="458"/>
                    <a:pt x="89" y="458"/>
                  </a:cubicBezTo>
                  <a:cubicBezTo>
                    <a:pt x="82" y="458"/>
                    <a:pt x="82" y="458"/>
                    <a:pt x="82" y="458"/>
                  </a:cubicBezTo>
                  <a:cubicBezTo>
                    <a:pt x="82" y="458"/>
                    <a:pt x="82" y="462"/>
                    <a:pt x="80" y="462"/>
                  </a:cubicBezTo>
                  <a:cubicBezTo>
                    <a:pt x="79" y="462"/>
                    <a:pt x="77" y="459"/>
                    <a:pt x="77" y="459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83" y="475"/>
                    <a:pt x="83" y="475"/>
                    <a:pt x="83" y="475"/>
                  </a:cubicBezTo>
                  <a:cubicBezTo>
                    <a:pt x="77" y="474"/>
                    <a:pt x="77" y="474"/>
                    <a:pt x="77" y="474"/>
                  </a:cubicBezTo>
                  <a:cubicBezTo>
                    <a:pt x="75" y="482"/>
                    <a:pt x="75" y="482"/>
                    <a:pt x="75" y="482"/>
                  </a:cubicBezTo>
                  <a:cubicBezTo>
                    <a:pt x="75" y="482"/>
                    <a:pt x="77" y="484"/>
                    <a:pt x="77" y="486"/>
                  </a:cubicBezTo>
                  <a:cubicBezTo>
                    <a:pt x="77" y="487"/>
                    <a:pt x="72" y="487"/>
                    <a:pt x="72" y="487"/>
                  </a:cubicBezTo>
                  <a:cubicBezTo>
                    <a:pt x="69" y="492"/>
                    <a:pt x="69" y="492"/>
                    <a:pt x="69" y="492"/>
                  </a:cubicBezTo>
                  <a:cubicBezTo>
                    <a:pt x="68" y="504"/>
                    <a:pt x="68" y="504"/>
                    <a:pt x="68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72" y="504"/>
                    <a:pt x="69" y="508"/>
                    <a:pt x="70" y="513"/>
                  </a:cubicBezTo>
                  <a:cubicBezTo>
                    <a:pt x="70" y="517"/>
                    <a:pt x="78" y="519"/>
                    <a:pt x="80" y="523"/>
                  </a:cubicBezTo>
                  <a:cubicBezTo>
                    <a:pt x="83" y="528"/>
                    <a:pt x="80" y="534"/>
                    <a:pt x="80" y="534"/>
                  </a:cubicBezTo>
                  <a:cubicBezTo>
                    <a:pt x="80" y="543"/>
                    <a:pt x="80" y="543"/>
                    <a:pt x="80" y="543"/>
                  </a:cubicBezTo>
                  <a:cubicBezTo>
                    <a:pt x="83" y="546"/>
                    <a:pt x="83" y="546"/>
                    <a:pt x="83" y="546"/>
                  </a:cubicBezTo>
                  <a:cubicBezTo>
                    <a:pt x="86" y="544"/>
                    <a:pt x="86" y="544"/>
                    <a:pt x="86" y="544"/>
                  </a:cubicBezTo>
                  <a:cubicBezTo>
                    <a:pt x="86" y="544"/>
                    <a:pt x="86" y="550"/>
                    <a:pt x="87" y="552"/>
                  </a:cubicBezTo>
                  <a:cubicBezTo>
                    <a:pt x="88" y="555"/>
                    <a:pt x="91" y="559"/>
                    <a:pt x="91" y="559"/>
                  </a:cubicBezTo>
                  <a:cubicBezTo>
                    <a:pt x="90" y="561"/>
                    <a:pt x="90" y="561"/>
                    <a:pt x="90" y="561"/>
                  </a:cubicBezTo>
                  <a:cubicBezTo>
                    <a:pt x="94" y="562"/>
                    <a:pt x="94" y="562"/>
                    <a:pt x="94" y="562"/>
                  </a:cubicBezTo>
                  <a:cubicBezTo>
                    <a:pt x="95" y="567"/>
                    <a:pt x="95" y="567"/>
                    <a:pt x="95" y="567"/>
                  </a:cubicBezTo>
                  <a:cubicBezTo>
                    <a:pt x="90" y="566"/>
                    <a:pt x="90" y="566"/>
                    <a:pt x="90" y="566"/>
                  </a:cubicBezTo>
                  <a:cubicBezTo>
                    <a:pt x="90" y="569"/>
                    <a:pt x="90" y="569"/>
                    <a:pt x="90" y="569"/>
                  </a:cubicBezTo>
                  <a:cubicBezTo>
                    <a:pt x="93" y="572"/>
                    <a:pt x="93" y="572"/>
                    <a:pt x="93" y="572"/>
                  </a:cubicBezTo>
                  <a:cubicBezTo>
                    <a:pt x="89" y="572"/>
                    <a:pt x="89" y="572"/>
                    <a:pt x="89" y="572"/>
                  </a:cubicBezTo>
                  <a:cubicBezTo>
                    <a:pt x="93" y="577"/>
                    <a:pt x="93" y="577"/>
                    <a:pt x="93" y="577"/>
                  </a:cubicBezTo>
                  <a:cubicBezTo>
                    <a:pt x="90" y="578"/>
                    <a:pt x="90" y="578"/>
                    <a:pt x="90" y="578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5" y="584"/>
                    <a:pt x="96" y="588"/>
                    <a:pt x="94" y="591"/>
                  </a:cubicBezTo>
                  <a:cubicBezTo>
                    <a:pt x="91" y="593"/>
                    <a:pt x="95" y="598"/>
                    <a:pt x="95" y="598"/>
                  </a:cubicBezTo>
                  <a:cubicBezTo>
                    <a:pt x="95" y="598"/>
                    <a:pt x="90" y="599"/>
                    <a:pt x="90" y="603"/>
                  </a:cubicBezTo>
                  <a:cubicBezTo>
                    <a:pt x="91" y="607"/>
                    <a:pt x="94" y="610"/>
                    <a:pt x="94" y="610"/>
                  </a:cubicBezTo>
                  <a:cubicBezTo>
                    <a:pt x="91" y="610"/>
                    <a:pt x="91" y="610"/>
                    <a:pt x="91" y="610"/>
                  </a:cubicBezTo>
                  <a:cubicBezTo>
                    <a:pt x="88" y="607"/>
                    <a:pt x="88" y="607"/>
                    <a:pt x="88" y="607"/>
                  </a:cubicBezTo>
                  <a:cubicBezTo>
                    <a:pt x="87" y="613"/>
                    <a:pt x="87" y="613"/>
                    <a:pt x="87" y="613"/>
                  </a:cubicBezTo>
                  <a:cubicBezTo>
                    <a:pt x="95" y="613"/>
                    <a:pt x="95" y="613"/>
                    <a:pt x="95" y="613"/>
                  </a:cubicBezTo>
                  <a:cubicBezTo>
                    <a:pt x="93" y="614"/>
                    <a:pt x="93" y="614"/>
                    <a:pt x="93" y="614"/>
                  </a:cubicBezTo>
                  <a:cubicBezTo>
                    <a:pt x="94" y="619"/>
                    <a:pt x="94" y="619"/>
                    <a:pt x="94" y="619"/>
                  </a:cubicBezTo>
                  <a:cubicBezTo>
                    <a:pt x="97" y="622"/>
                    <a:pt x="97" y="622"/>
                    <a:pt x="97" y="622"/>
                  </a:cubicBezTo>
                  <a:cubicBezTo>
                    <a:pt x="97" y="622"/>
                    <a:pt x="95" y="624"/>
                    <a:pt x="97" y="628"/>
                  </a:cubicBezTo>
                  <a:cubicBezTo>
                    <a:pt x="99" y="632"/>
                    <a:pt x="101" y="632"/>
                    <a:pt x="101" y="632"/>
                  </a:cubicBezTo>
                  <a:cubicBezTo>
                    <a:pt x="104" y="635"/>
                    <a:pt x="104" y="635"/>
                    <a:pt x="104" y="635"/>
                  </a:cubicBezTo>
                  <a:cubicBezTo>
                    <a:pt x="104" y="630"/>
                    <a:pt x="104" y="630"/>
                    <a:pt x="104" y="630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35"/>
                    <a:pt x="110" y="635"/>
                    <a:pt x="110" y="635"/>
                  </a:cubicBezTo>
                  <a:cubicBezTo>
                    <a:pt x="112" y="635"/>
                    <a:pt x="112" y="635"/>
                    <a:pt x="112" y="635"/>
                  </a:cubicBezTo>
                  <a:cubicBezTo>
                    <a:pt x="113" y="631"/>
                    <a:pt x="113" y="631"/>
                    <a:pt x="113" y="631"/>
                  </a:cubicBezTo>
                  <a:cubicBezTo>
                    <a:pt x="118" y="635"/>
                    <a:pt x="118" y="635"/>
                    <a:pt x="118" y="635"/>
                  </a:cubicBezTo>
                  <a:cubicBezTo>
                    <a:pt x="124" y="635"/>
                    <a:pt x="124" y="635"/>
                    <a:pt x="124" y="635"/>
                  </a:cubicBezTo>
                  <a:cubicBezTo>
                    <a:pt x="131" y="638"/>
                    <a:pt x="131" y="638"/>
                    <a:pt x="131" y="638"/>
                  </a:cubicBezTo>
                  <a:cubicBezTo>
                    <a:pt x="137" y="638"/>
                    <a:pt x="137" y="638"/>
                    <a:pt x="137" y="638"/>
                  </a:cubicBezTo>
                  <a:cubicBezTo>
                    <a:pt x="135" y="646"/>
                    <a:pt x="135" y="646"/>
                    <a:pt x="135" y="646"/>
                  </a:cubicBezTo>
                  <a:cubicBezTo>
                    <a:pt x="137" y="648"/>
                    <a:pt x="137" y="648"/>
                    <a:pt x="137" y="648"/>
                  </a:cubicBezTo>
                  <a:cubicBezTo>
                    <a:pt x="144" y="645"/>
                    <a:pt x="144" y="645"/>
                    <a:pt x="144" y="645"/>
                  </a:cubicBezTo>
                  <a:cubicBezTo>
                    <a:pt x="151" y="639"/>
                    <a:pt x="151" y="639"/>
                    <a:pt x="151" y="639"/>
                  </a:cubicBezTo>
                  <a:cubicBezTo>
                    <a:pt x="152" y="640"/>
                    <a:pt x="152" y="640"/>
                    <a:pt x="152" y="640"/>
                  </a:cubicBezTo>
                  <a:cubicBezTo>
                    <a:pt x="149" y="649"/>
                    <a:pt x="149" y="649"/>
                    <a:pt x="149" y="649"/>
                  </a:cubicBezTo>
                  <a:cubicBezTo>
                    <a:pt x="154" y="653"/>
                    <a:pt x="154" y="653"/>
                    <a:pt x="154" y="653"/>
                  </a:cubicBezTo>
                  <a:cubicBezTo>
                    <a:pt x="153" y="657"/>
                    <a:pt x="153" y="657"/>
                    <a:pt x="153" y="657"/>
                  </a:cubicBezTo>
                  <a:cubicBezTo>
                    <a:pt x="157" y="656"/>
                    <a:pt x="157" y="656"/>
                    <a:pt x="157" y="656"/>
                  </a:cubicBezTo>
                  <a:cubicBezTo>
                    <a:pt x="157" y="658"/>
                    <a:pt x="157" y="658"/>
                    <a:pt x="157" y="658"/>
                  </a:cubicBezTo>
                  <a:cubicBezTo>
                    <a:pt x="150" y="664"/>
                    <a:pt x="150" y="664"/>
                    <a:pt x="150" y="664"/>
                  </a:cubicBezTo>
                  <a:cubicBezTo>
                    <a:pt x="151" y="666"/>
                    <a:pt x="151" y="666"/>
                    <a:pt x="151" y="666"/>
                  </a:cubicBezTo>
                  <a:cubicBezTo>
                    <a:pt x="156" y="666"/>
                    <a:pt x="156" y="666"/>
                    <a:pt x="156" y="666"/>
                  </a:cubicBezTo>
                  <a:cubicBezTo>
                    <a:pt x="159" y="662"/>
                    <a:pt x="159" y="662"/>
                    <a:pt x="159" y="662"/>
                  </a:cubicBezTo>
                  <a:cubicBezTo>
                    <a:pt x="159" y="662"/>
                    <a:pt x="161" y="664"/>
                    <a:pt x="161" y="666"/>
                  </a:cubicBezTo>
                  <a:cubicBezTo>
                    <a:pt x="162" y="669"/>
                    <a:pt x="152" y="674"/>
                    <a:pt x="152" y="674"/>
                  </a:cubicBezTo>
                  <a:cubicBezTo>
                    <a:pt x="163" y="671"/>
                    <a:pt x="163" y="671"/>
                    <a:pt x="163" y="671"/>
                  </a:cubicBezTo>
                  <a:cubicBezTo>
                    <a:pt x="171" y="655"/>
                    <a:pt x="171" y="655"/>
                    <a:pt x="171" y="655"/>
                  </a:cubicBezTo>
                  <a:cubicBezTo>
                    <a:pt x="169" y="663"/>
                    <a:pt x="169" y="663"/>
                    <a:pt x="169" y="663"/>
                  </a:cubicBezTo>
                  <a:cubicBezTo>
                    <a:pt x="181" y="660"/>
                    <a:pt x="181" y="660"/>
                    <a:pt x="181" y="660"/>
                  </a:cubicBezTo>
                  <a:cubicBezTo>
                    <a:pt x="189" y="654"/>
                    <a:pt x="189" y="654"/>
                    <a:pt x="189" y="654"/>
                  </a:cubicBezTo>
                  <a:cubicBezTo>
                    <a:pt x="192" y="654"/>
                    <a:pt x="192" y="654"/>
                    <a:pt x="192" y="654"/>
                  </a:cubicBezTo>
                  <a:cubicBezTo>
                    <a:pt x="198" y="649"/>
                    <a:pt x="198" y="649"/>
                    <a:pt x="198" y="649"/>
                  </a:cubicBezTo>
                  <a:cubicBezTo>
                    <a:pt x="201" y="650"/>
                    <a:pt x="201" y="650"/>
                    <a:pt x="201" y="650"/>
                  </a:cubicBezTo>
                  <a:cubicBezTo>
                    <a:pt x="203" y="655"/>
                    <a:pt x="203" y="655"/>
                    <a:pt x="203" y="655"/>
                  </a:cubicBezTo>
                  <a:cubicBezTo>
                    <a:pt x="206" y="653"/>
                    <a:pt x="206" y="653"/>
                    <a:pt x="206" y="653"/>
                  </a:cubicBezTo>
                  <a:cubicBezTo>
                    <a:pt x="206" y="645"/>
                    <a:pt x="206" y="645"/>
                    <a:pt x="206" y="645"/>
                  </a:cubicBezTo>
                  <a:cubicBezTo>
                    <a:pt x="221" y="638"/>
                    <a:pt x="221" y="638"/>
                    <a:pt x="221" y="638"/>
                  </a:cubicBezTo>
                  <a:cubicBezTo>
                    <a:pt x="222" y="635"/>
                    <a:pt x="222" y="635"/>
                    <a:pt x="222" y="635"/>
                  </a:cubicBezTo>
                  <a:cubicBezTo>
                    <a:pt x="235" y="629"/>
                    <a:pt x="235" y="629"/>
                    <a:pt x="235" y="629"/>
                  </a:cubicBezTo>
                  <a:cubicBezTo>
                    <a:pt x="235" y="622"/>
                    <a:pt x="235" y="622"/>
                    <a:pt x="235" y="622"/>
                  </a:cubicBezTo>
                  <a:cubicBezTo>
                    <a:pt x="235" y="622"/>
                    <a:pt x="237" y="628"/>
                    <a:pt x="241" y="628"/>
                  </a:cubicBezTo>
                  <a:cubicBezTo>
                    <a:pt x="244" y="628"/>
                    <a:pt x="248" y="626"/>
                    <a:pt x="248" y="626"/>
                  </a:cubicBezTo>
                  <a:cubicBezTo>
                    <a:pt x="245" y="624"/>
                    <a:pt x="245" y="624"/>
                    <a:pt x="245" y="624"/>
                  </a:cubicBezTo>
                  <a:cubicBezTo>
                    <a:pt x="246" y="620"/>
                    <a:pt x="246" y="620"/>
                    <a:pt x="246" y="620"/>
                  </a:cubicBezTo>
                  <a:cubicBezTo>
                    <a:pt x="251" y="624"/>
                    <a:pt x="251" y="624"/>
                    <a:pt x="251" y="624"/>
                  </a:cubicBezTo>
                  <a:cubicBezTo>
                    <a:pt x="251" y="622"/>
                    <a:pt x="251" y="622"/>
                    <a:pt x="251" y="622"/>
                  </a:cubicBezTo>
                  <a:cubicBezTo>
                    <a:pt x="245" y="613"/>
                    <a:pt x="245" y="613"/>
                    <a:pt x="245" y="613"/>
                  </a:cubicBezTo>
                  <a:cubicBezTo>
                    <a:pt x="245" y="613"/>
                    <a:pt x="254" y="619"/>
                    <a:pt x="260" y="617"/>
                  </a:cubicBezTo>
                  <a:cubicBezTo>
                    <a:pt x="264" y="614"/>
                    <a:pt x="262" y="611"/>
                    <a:pt x="262" y="611"/>
                  </a:cubicBezTo>
                  <a:cubicBezTo>
                    <a:pt x="268" y="610"/>
                    <a:pt x="268" y="610"/>
                    <a:pt x="268" y="610"/>
                  </a:cubicBezTo>
                  <a:cubicBezTo>
                    <a:pt x="273" y="608"/>
                    <a:pt x="273" y="608"/>
                    <a:pt x="273" y="608"/>
                  </a:cubicBezTo>
                  <a:cubicBezTo>
                    <a:pt x="279" y="608"/>
                    <a:pt x="279" y="608"/>
                    <a:pt x="279" y="608"/>
                  </a:cubicBezTo>
                  <a:cubicBezTo>
                    <a:pt x="283" y="602"/>
                    <a:pt x="283" y="602"/>
                    <a:pt x="283" y="602"/>
                  </a:cubicBezTo>
                  <a:cubicBezTo>
                    <a:pt x="293" y="603"/>
                    <a:pt x="293" y="603"/>
                    <a:pt x="293" y="603"/>
                  </a:cubicBezTo>
                  <a:cubicBezTo>
                    <a:pt x="304" y="598"/>
                    <a:pt x="304" y="598"/>
                    <a:pt x="304" y="598"/>
                  </a:cubicBezTo>
                  <a:cubicBezTo>
                    <a:pt x="304" y="597"/>
                    <a:pt x="304" y="597"/>
                    <a:pt x="304" y="597"/>
                  </a:cubicBezTo>
                  <a:cubicBezTo>
                    <a:pt x="312" y="581"/>
                    <a:pt x="312" y="581"/>
                    <a:pt x="312" y="581"/>
                  </a:cubicBezTo>
                  <a:cubicBezTo>
                    <a:pt x="323" y="566"/>
                    <a:pt x="323" y="566"/>
                    <a:pt x="323" y="566"/>
                  </a:cubicBezTo>
                  <a:cubicBezTo>
                    <a:pt x="327" y="563"/>
                    <a:pt x="327" y="563"/>
                    <a:pt x="327" y="563"/>
                  </a:cubicBezTo>
                  <a:cubicBezTo>
                    <a:pt x="328" y="554"/>
                    <a:pt x="328" y="554"/>
                    <a:pt x="328" y="554"/>
                  </a:cubicBezTo>
                  <a:cubicBezTo>
                    <a:pt x="341" y="540"/>
                    <a:pt x="341" y="540"/>
                    <a:pt x="341" y="540"/>
                  </a:cubicBezTo>
                  <a:cubicBezTo>
                    <a:pt x="341" y="540"/>
                    <a:pt x="346" y="527"/>
                    <a:pt x="349" y="521"/>
                  </a:cubicBezTo>
                  <a:cubicBezTo>
                    <a:pt x="352" y="516"/>
                    <a:pt x="360" y="496"/>
                    <a:pt x="363" y="485"/>
                  </a:cubicBezTo>
                  <a:cubicBezTo>
                    <a:pt x="366" y="473"/>
                    <a:pt x="375" y="460"/>
                    <a:pt x="375" y="460"/>
                  </a:cubicBezTo>
                  <a:cubicBezTo>
                    <a:pt x="375" y="460"/>
                    <a:pt x="377" y="456"/>
                    <a:pt x="378" y="452"/>
                  </a:cubicBezTo>
                  <a:cubicBezTo>
                    <a:pt x="380" y="448"/>
                    <a:pt x="382" y="424"/>
                    <a:pt x="382" y="418"/>
                  </a:cubicBezTo>
                  <a:close/>
                  <a:moveTo>
                    <a:pt x="52" y="662"/>
                  </a:moveTo>
                  <a:cubicBezTo>
                    <a:pt x="52" y="658"/>
                    <a:pt x="52" y="658"/>
                    <a:pt x="52" y="658"/>
                  </a:cubicBezTo>
                  <a:cubicBezTo>
                    <a:pt x="54" y="657"/>
                    <a:pt x="54" y="657"/>
                    <a:pt x="54" y="657"/>
                  </a:cubicBezTo>
                  <a:cubicBezTo>
                    <a:pt x="54" y="657"/>
                    <a:pt x="54" y="659"/>
                    <a:pt x="55" y="661"/>
                  </a:cubicBezTo>
                  <a:cubicBezTo>
                    <a:pt x="56" y="662"/>
                    <a:pt x="61" y="660"/>
                    <a:pt x="61" y="660"/>
                  </a:cubicBezTo>
                  <a:cubicBezTo>
                    <a:pt x="60" y="653"/>
                    <a:pt x="60" y="653"/>
                    <a:pt x="60" y="653"/>
                  </a:cubicBezTo>
                  <a:cubicBezTo>
                    <a:pt x="55" y="653"/>
                    <a:pt x="55" y="653"/>
                    <a:pt x="55" y="653"/>
                  </a:cubicBezTo>
                  <a:cubicBezTo>
                    <a:pt x="55" y="650"/>
                    <a:pt x="55" y="650"/>
                    <a:pt x="55" y="650"/>
                  </a:cubicBezTo>
                  <a:cubicBezTo>
                    <a:pt x="51" y="651"/>
                    <a:pt x="51" y="651"/>
                    <a:pt x="51" y="651"/>
                  </a:cubicBezTo>
                  <a:cubicBezTo>
                    <a:pt x="51" y="651"/>
                    <a:pt x="50" y="649"/>
                    <a:pt x="50" y="647"/>
                  </a:cubicBezTo>
                  <a:cubicBezTo>
                    <a:pt x="50" y="646"/>
                    <a:pt x="47" y="644"/>
                    <a:pt x="45" y="648"/>
                  </a:cubicBezTo>
                  <a:cubicBezTo>
                    <a:pt x="45" y="651"/>
                    <a:pt x="45" y="651"/>
                    <a:pt x="45" y="651"/>
                  </a:cubicBezTo>
                  <a:cubicBezTo>
                    <a:pt x="48" y="657"/>
                    <a:pt x="48" y="657"/>
                    <a:pt x="48" y="657"/>
                  </a:cubicBezTo>
                  <a:cubicBezTo>
                    <a:pt x="45" y="659"/>
                    <a:pt x="45" y="659"/>
                    <a:pt x="45" y="659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1" y="658"/>
                    <a:pt x="41" y="658"/>
                    <a:pt x="41" y="658"/>
                  </a:cubicBezTo>
                  <a:cubicBezTo>
                    <a:pt x="46" y="669"/>
                    <a:pt x="46" y="669"/>
                    <a:pt x="46" y="669"/>
                  </a:cubicBezTo>
                  <a:cubicBezTo>
                    <a:pt x="50" y="670"/>
                    <a:pt x="50" y="670"/>
                    <a:pt x="50" y="670"/>
                  </a:cubicBezTo>
                  <a:cubicBezTo>
                    <a:pt x="54" y="666"/>
                    <a:pt x="54" y="666"/>
                    <a:pt x="54" y="666"/>
                  </a:cubicBezTo>
                  <a:cubicBezTo>
                    <a:pt x="54" y="662"/>
                    <a:pt x="54" y="662"/>
                    <a:pt x="54" y="662"/>
                  </a:cubicBezTo>
                  <a:lnTo>
                    <a:pt x="52" y="662"/>
                  </a:lnTo>
                  <a:close/>
                  <a:moveTo>
                    <a:pt x="37" y="666"/>
                  </a:moveTo>
                  <a:cubicBezTo>
                    <a:pt x="41" y="664"/>
                    <a:pt x="41" y="664"/>
                    <a:pt x="41" y="664"/>
                  </a:cubicBezTo>
                  <a:cubicBezTo>
                    <a:pt x="39" y="658"/>
                    <a:pt x="39" y="658"/>
                    <a:pt x="39" y="658"/>
                  </a:cubicBezTo>
                  <a:lnTo>
                    <a:pt x="37" y="666"/>
                  </a:lnTo>
                  <a:close/>
                  <a:moveTo>
                    <a:pt x="55" y="670"/>
                  </a:moveTo>
                  <a:cubicBezTo>
                    <a:pt x="61" y="674"/>
                    <a:pt x="61" y="674"/>
                    <a:pt x="61" y="674"/>
                  </a:cubicBezTo>
                  <a:cubicBezTo>
                    <a:pt x="63" y="671"/>
                    <a:pt x="63" y="671"/>
                    <a:pt x="63" y="671"/>
                  </a:cubicBezTo>
                  <a:cubicBezTo>
                    <a:pt x="56" y="667"/>
                    <a:pt x="56" y="667"/>
                    <a:pt x="56" y="667"/>
                  </a:cubicBezTo>
                  <a:lnTo>
                    <a:pt x="55" y="670"/>
                  </a:lnTo>
                  <a:close/>
                  <a:moveTo>
                    <a:pt x="63" y="663"/>
                  </a:moveTo>
                  <a:cubicBezTo>
                    <a:pt x="61" y="664"/>
                    <a:pt x="61" y="667"/>
                    <a:pt x="64" y="667"/>
                  </a:cubicBezTo>
                  <a:cubicBezTo>
                    <a:pt x="66" y="666"/>
                    <a:pt x="66" y="662"/>
                    <a:pt x="63" y="663"/>
                  </a:cubicBezTo>
                  <a:close/>
                  <a:moveTo>
                    <a:pt x="107" y="657"/>
                  </a:moveTo>
                  <a:cubicBezTo>
                    <a:pt x="104" y="657"/>
                    <a:pt x="100" y="662"/>
                    <a:pt x="106" y="661"/>
                  </a:cubicBezTo>
                  <a:cubicBezTo>
                    <a:pt x="106" y="661"/>
                    <a:pt x="111" y="657"/>
                    <a:pt x="107" y="657"/>
                  </a:cubicBezTo>
                  <a:close/>
                  <a:moveTo>
                    <a:pt x="113" y="654"/>
                  </a:moveTo>
                  <a:cubicBezTo>
                    <a:pt x="111" y="655"/>
                    <a:pt x="112" y="657"/>
                    <a:pt x="112" y="657"/>
                  </a:cubicBezTo>
                  <a:cubicBezTo>
                    <a:pt x="110" y="659"/>
                    <a:pt x="110" y="659"/>
                    <a:pt x="110" y="659"/>
                  </a:cubicBezTo>
                  <a:cubicBezTo>
                    <a:pt x="111" y="660"/>
                    <a:pt x="111" y="660"/>
                    <a:pt x="111" y="660"/>
                  </a:cubicBezTo>
                  <a:cubicBezTo>
                    <a:pt x="117" y="655"/>
                    <a:pt x="117" y="655"/>
                    <a:pt x="117" y="655"/>
                  </a:cubicBezTo>
                  <a:cubicBezTo>
                    <a:pt x="117" y="655"/>
                    <a:pt x="115" y="653"/>
                    <a:pt x="113" y="654"/>
                  </a:cubicBezTo>
                  <a:close/>
                  <a:moveTo>
                    <a:pt x="119" y="654"/>
                  </a:moveTo>
                  <a:cubicBezTo>
                    <a:pt x="120" y="657"/>
                    <a:pt x="120" y="657"/>
                    <a:pt x="120" y="657"/>
                  </a:cubicBezTo>
                  <a:cubicBezTo>
                    <a:pt x="122" y="656"/>
                    <a:pt x="122" y="656"/>
                    <a:pt x="122" y="656"/>
                  </a:cubicBezTo>
                  <a:cubicBezTo>
                    <a:pt x="122" y="654"/>
                    <a:pt x="122" y="654"/>
                    <a:pt x="122" y="654"/>
                  </a:cubicBezTo>
                  <a:lnTo>
                    <a:pt x="119" y="654"/>
                  </a:lnTo>
                  <a:close/>
                  <a:moveTo>
                    <a:pt x="148" y="643"/>
                  </a:moveTo>
                  <a:cubicBezTo>
                    <a:pt x="146" y="647"/>
                    <a:pt x="146" y="647"/>
                    <a:pt x="146" y="647"/>
                  </a:cubicBezTo>
                  <a:cubicBezTo>
                    <a:pt x="142" y="648"/>
                    <a:pt x="142" y="648"/>
                    <a:pt x="142" y="648"/>
                  </a:cubicBezTo>
                  <a:cubicBezTo>
                    <a:pt x="139" y="650"/>
                    <a:pt x="139" y="650"/>
                    <a:pt x="139" y="650"/>
                  </a:cubicBezTo>
                  <a:cubicBezTo>
                    <a:pt x="134" y="651"/>
                    <a:pt x="134" y="651"/>
                    <a:pt x="134" y="651"/>
                  </a:cubicBezTo>
                  <a:cubicBezTo>
                    <a:pt x="133" y="655"/>
                    <a:pt x="133" y="655"/>
                    <a:pt x="133" y="655"/>
                  </a:cubicBezTo>
                  <a:cubicBezTo>
                    <a:pt x="136" y="655"/>
                    <a:pt x="136" y="655"/>
                    <a:pt x="136" y="655"/>
                  </a:cubicBezTo>
                  <a:cubicBezTo>
                    <a:pt x="133" y="659"/>
                    <a:pt x="133" y="659"/>
                    <a:pt x="133" y="659"/>
                  </a:cubicBezTo>
                  <a:cubicBezTo>
                    <a:pt x="133" y="664"/>
                    <a:pt x="133" y="664"/>
                    <a:pt x="133" y="664"/>
                  </a:cubicBezTo>
                  <a:cubicBezTo>
                    <a:pt x="139" y="661"/>
                    <a:pt x="139" y="661"/>
                    <a:pt x="139" y="661"/>
                  </a:cubicBezTo>
                  <a:cubicBezTo>
                    <a:pt x="145" y="661"/>
                    <a:pt x="145" y="661"/>
                    <a:pt x="145" y="661"/>
                  </a:cubicBezTo>
                  <a:cubicBezTo>
                    <a:pt x="149" y="654"/>
                    <a:pt x="149" y="654"/>
                    <a:pt x="149" y="654"/>
                  </a:cubicBezTo>
                  <a:cubicBezTo>
                    <a:pt x="147" y="649"/>
                    <a:pt x="147" y="649"/>
                    <a:pt x="147" y="649"/>
                  </a:cubicBezTo>
                  <a:cubicBezTo>
                    <a:pt x="149" y="644"/>
                    <a:pt x="149" y="644"/>
                    <a:pt x="149" y="644"/>
                  </a:cubicBezTo>
                  <a:lnTo>
                    <a:pt x="148" y="643"/>
                  </a:lnTo>
                  <a:close/>
                  <a:moveTo>
                    <a:pt x="111" y="639"/>
                  </a:moveTo>
                  <a:cubicBezTo>
                    <a:pt x="112" y="640"/>
                    <a:pt x="112" y="640"/>
                    <a:pt x="112" y="640"/>
                  </a:cubicBezTo>
                  <a:cubicBezTo>
                    <a:pt x="110" y="643"/>
                    <a:pt x="110" y="643"/>
                    <a:pt x="110" y="643"/>
                  </a:cubicBezTo>
                  <a:cubicBezTo>
                    <a:pt x="112" y="643"/>
                    <a:pt x="112" y="643"/>
                    <a:pt x="112" y="643"/>
                  </a:cubicBezTo>
                  <a:cubicBezTo>
                    <a:pt x="114" y="642"/>
                    <a:pt x="114" y="642"/>
                    <a:pt x="114" y="642"/>
                  </a:cubicBezTo>
                  <a:cubicBezTo>
                    <a:pt x="117" y="644"/>
                    <a:pt x="117" y="644"/>
                    <a:pt x="117" y="644"/>
                  </a:cubicBezTo>
                  <a:cubicBezTo>
                    <a:pt x="118" y="641"/>
                    <a:pt x="118" y="641"/>
                    <a:pt x="118" y="641"/>
                  </a:cubicBezTo>
                  <a:cubicBezTo>
                    <a:pt x="113" y="638"/>
                    <a:pt x="113" y="638"/>
                    <a:pt x="113" y="638"/>
                  </a:cubicBezTo>
                  <a:lnTo>
                    <a:pt x="111" y="639"/>
                  </a:lnTo>
                  <a:close/>
                  <a:moveTo>
                    <a:pt x="99" y="634"/>
                  </a:moveTo>
                  <a:cubicBezTo>
                    <a:pt x="95" y="631"/>
                    <a:pt x="94" y="630"/>
                    <a:pt x="95" y="632"/>
                  </a:cubicBezTo>
                  <a:cubicBezTo>
                    <a:pt x="97" y="637"/>
                    <a:pt x="97" y="637"/>
                    <a:pt x="97" y="637"/>
                  </a:cubicBezTo>
                  <a:cubicBezTo>
                    <a:pt x="102" y="637"/>
                    <a:pt x="102" y="637"/>
                    <a:pt x="99" y="634"/>
                  </a:cubicBezTo>
                  <a:close/>
                  <a:moveTo>
                    <a:pt x="90" y="628"/>
                  </a:moveTo>
                  <a:cubicBezTo>
                    <a:pt x="93" y="631"/>
                    <a:pt x="93" y="631"/>
                    <a:pt x="93" y="631"/>
                  </a:cubicBezTo>
                  <a:cubicBezTo>
                    <a:pt x="94" y="628"/>
                    <a:pt x="94" y="628"/>
                    <a:pt x="94" y="628"/>
                  </a:cubicBezTo>
                  <a:cubicBezTo>
                    <a:pt x="91" y="627"/>
                    <a:pt x="91" y="627"/>
                    <a:pt x="91" y="627"/>
                  </a:cubicBezTo>
                  <a:lnTo>
                    <a:pt x="90" y="628"/>
                  </a:lnTo>
                  <a:close/>
                  <a:moveTo>
                    <a:pt x="175" y="667"/>
                  </a:moveTo>
                  <a:cubicBezTo>
                    <a:pt x="175" y="664"/>
                    <a:pt x="175" y="664"/>
                    <a:pt x="175" y="664"/>
                  </a:cubicBezTo>
                  <a:cubicBezTo>
                    <a:pt x="170" y="666"/>
                    <a:pt x="170" y="666"/>
                    <a:pt x="170" y="666"/>
                  </a:cubicBezTo>
                  <a:lnTo>
                    <a:pt x="175" y="667"/>
                  </a:lnTo>
                  <a:close/>
                  <a:moveTo>
                    <a:pt x="74" y="466"/>
                  </a:moveTo>
                  <a:cubicBezTo>
                    <a:pt x="72" y="462"/>
                    <a:pt x="72" y="462"/>
                    <a:pt x="72" y="462"/>
                  </a:cubicBezTo>
                  <a:cubicBezTo>
                    <a:pt x="72" y="462"/>
                    <a:pt x="69" y="464"/>
                    <a:pt x="68" y="464"/>
                  </a:cubicBezTo>
                  <a:cubicBezTo>
                    <a:pt x="66" y="464"/>
                    <a:pt x="67" y="461"/>
                    <a:pt x="67" y="461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6" y="468"/>
                    <a:pt x="66" y="468"/>
                    <a:pt x="66" y="468"/>
                  </a:cubicBezTo>
                  <a:cubicBezTo>
                    <a:pt x="71" y="469"/>
                    <a:pt x="74" y="466"/>
                    <a:pt x="74" y="466"/>
                  </a:cubicBezTo>
                  <a:close/>
                  <a:moveTo>
                    <a:pt x="72" y="456"/>
                  </a:moveTo>
                  <a:cubicBezTo>
                    <a:pt x="67" y="457"/>
                    <a:pt x="67" y="457"/>
                    <a:pt x="67" y="457"/>
                  </a:cubicBezTo>
                  <a:cubicBezTo>
                    <a:pt x="70" y="460"/>
                    <a:pt x="70" y="460"/>
                    <a:pt x="70" y="460"/>
                  </a:cubicBezTo>
                  <a:lnTo>
                    <a:pt x="72" y="456"/>
                  </a:lnTo>
                  <a:close/>
                  <a:moveTo>
                    <a:pt x="93" y="452"/>
                  </a:moveTo>
                  <a:cubicBezTo>
                    <a:pt x="90" y="456"/>
                    <a:pt x="90" y="456"/>
                    <a:pt x="90" y="456"/>
                  </a:cubicBezTo>
                  <a:cubicBezTo>
                    <a:pt x="94" y="456"/>
                    <a:pt x="94" y="456"/>
                    <a:pt x="94" y="456"/>
                  </a:cubicBezTo>
                  <a:cubicBezTo>
                    <a:pt x="97" y="454"/>
                    <a:pt x="97" y="454"/>
                    <a:pt x="97" y="454"/>
                  </a:cubicBezTo>
                  <a:lnTo>
                    <a:pt x="93" y="452"/>
                  </a:lnTo>
                  <a:close/>
                  <a:moveTo>
                    <a:pt x="157" y="329"/>
                  </a:moveTo>
                  <a:cubicBezTo>
                    <a:pt x="153" y="331"/>
                    <a:pt x="153" y="331"/>
                    <a:pt x="153" y="331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45" y="331"/>
                    <a:pt x="145" y="331"/>
                    <a:pt x="145" y="331"/>
                  </a:cubicBezTo>
                  <a:cubicBezTo>
                    <a:pt x="145" y="335"/>
                    <a:pt x="145" y="335"/>
                    <a:pt x="145" y="335"/>
                  </a:cubicBezTo>
                  <a:cubicBezTo>
                    <a:pt x="145" y="336"/>
                    <a:pt x="147" y="338"/>
                    <a:pt x="147" y="338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52" y="332"/>
                    <a:pt x="152" y="332"/>
                    <a:pt x="152" y="332"/>
                  </a:cubicBezTo>
                  <a:cubicBezTo>
                    <a:pt x="157" y="331"/>
                    <a:pt x="157" y="331"/>
                    <a:pt x="157" y="331"/>
                  </a:cubicBezTo>
                  <a:lnTo>
                    <a:pt x="157" y="329"/>
                  </a:lnTo>
                  <a:close/>
                  <a:moveTo>
                    <a:pt x="244" y="634"/>
                  </a:moveTo>
                  <a:cubicBezTo>
                    <a:pt x="247" y="630"/>
                    <a:pt x="247" y="630"/>
                    <a:pt x="247" y="630"/>
                  </a:cubicBezTo>
                  <a:cubicBezTo>
                    <a:pt x="243" y="631"/>
                    <a:pt x="243" y="631"/>
                    <a:pt x="243" y="631"/>
                  </a:cubicBezTo>
                  <a:lnTo>
                    <a:pt x="244" y="634"/>
                  </a:lnTo>
                  <a:close/>
                  <a:moveTo>
                    <a:pt x="260" y="618"/>
                  </a:moveTo>
                  <a:cubicBezTo>
                    <a:pt x="265" y="619"/>
                    <a:pt x="265" y="619"/>
                    <a:pt x="265" y="619"/>
                  </a:cubicBezTo>
                  <a:cubicBezTo>
                    <a:pt x="263" y="616"/>
                    <a:pt x="263" y="616"/>
                    <a:pt x="263" y="616"/>
                  </a:cubicBezTo>
                  <a:lnTo>
                    <a:pt x="260" y="618"/>
                  </a:lnTo>
                  <a:close/>
                  <a:moveTo>
                    <a:pt x="265" y="614"/>
                  </a:moveTo>
                  <a:cubicBezTo>
                    <a:pt x="267" y="617"/>
                    <a:pt x="267" y="617"/>
                    <a:pt x="267" y="617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0" y="613"/>
                    <a:pt x="270" y="613"/>
                    <a:pt x="270" y="613"/>
                  </a:cubicBezTo>
                  <a:lnTo>
                    <a:pt x="265" y="6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Bulgarien" descr="© INSCALE GmbH, 05.05.2010&#10;http://www.presentationload.com/">
              <a:extLst>
                <a:ext uri="{FF2B5EF4-FFF2-40B4-BE49-F238E27FC236}">
                  <a16:creationId xmlns:a16="http://schemas.microsoft.com/office/drawing/2014/main" id="{FFD8B23C-3580-D242-BC2F-EAD95064FB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9023" y="5331521"/>
              <a:ext cx="717858" cy="521478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9" name="Griech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E9E8D4A-2346-0D4F-BF18-89022210D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16437" y="5724279"/>
              <a:ext cx="1150222" cy="1079262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56AD95A7-9F61-E443-A7E4-A416134BA3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30303" y="3909008"/>
              <a:ext cx="1807022" cy="1227784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I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9B613DB-BDAB-E74A-9F2D-354F7F8AC6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4193" y="1559056"/>
              <a:ext cx="679902" cy="561084"/>
            </a:xfrm>
            <a:custGeom>
              <a:avLst/>
              <a:gdLst/>
              <a:ahLst/>
              <a:cxnLst>
                <a:cxn ang="0">
                  <a:pos x="273" y="136"/>
                </a:cxn>
                <a:cxn ang="0">
                  <a:pos x="262" y="113"/>
                </a:cxn>
                <a:cxn ang="0">
                  <a:pos x="268" y="98"/>
                </a:cxn>
                <a:cxn ang="0">
                  <a:pos x="252" y="81"/>
                </a:cxn>
                <a:cxn ang="0">
                  <a:pos x="229" y="89"/>
                </a:cxn>
                <a:cxn ang="0">
                  <a:pos x="206" y="89"/>
                </a:cxn>
                <a:cxn ang="0">
                  <a:pos x="189" y="71"/>
                </a:cxn>
                <a:cxn ang="0">
                  <a:pos x="178" y="102"/>
                </a:cxn>
                <a:cxn ang="0">
                  <a:pos x="177" y="75"/>
                </a:cxn>
                <a:cxn ang="0">
                  <a:pos x="170" y="63"/>
                </a:cxn>
                <a:cxn ang="0">
                  <a:pos x="144" y="81"/>
                </a:cxn>
                <a:cxn ang="0">
                  <a:pos x="141" y="52"/>
                </a:cxn>
                <a:cxn ang="0">
                  <a:pos x="133" y="54"/>
                </a:cxn>
                <a:cxn ang="0">
                  <a:pos x="115" y="81"/>
                </a:cxn>
                <a:cxn ang="0">
                  <a:pos x="110" y="75"/>
                </a:cxn>
                <a:cxn ang="0">
                  <a:pos x="95" y="81"/>
                </a:cxn>
                <a:cxn ang="0">
                  <a:pos x="90" y="75"/>
                </a:cxn>
                <a:cxn ang="0">
                  <a:pos x="92" y="54"/>
                </a:cxn>
                <a:cxn ang="0">
                  <a:pos x="109" y="44"/>
                </a:cxn>
                <a:cxn ang="0">
                  <a:pos x="104" y="23"/>
                </a:cxn>
                <a:cxn ang="0">
                  <a:pos x="97" y="10"/>
                </a:cxn>
                <a:cxn ang="0">
                  <a:pos x="81" y="5"/>
                </a:cxn>
                <a:cxn ang="0">
                  <a:pos x="88" y="13"/>
                </a:cxn>
                <a:cxn ang="0">
                  <a:pos x="87" y="29"/>
                </a:cxn>
                <a:cxn ang="0">
                  <a:pos x="79" y="32"/>
                </a:cxn>
                <a:cxn ang="0">
                  <a:pos x="73" y="27"/>
                </a:cxn>
                <a:cxn ang="0">
                  <a:pos x="71" y="13"/>
                </a:cxn>
                <a:cxn ang="0">
                  <a:pos x="53" y="22"/>
                </a:cxn>
                <a:cxn ang="0">
                  <a:pos x="57" y="38"/>
                </a:cxn>
                <a:cxn ang="0">
                  <a:pos x="38" y="23"/>
                </a:cxn>
                <a:cxn ang="0">
                  <a:pos x="30" y="36"/>
                </a:cxn>
                <a:cxn ang="0">
                  <a:pos x="30" y="49"/>
                </a:cxn>
                <a:cxn ang="0">
                  <a:pos x="60" y="50"/>
                </a:cxn>
                <a:cxn ang="0">
                  <a:pos x="72" y="64"/>
                </a:cxn>
                <a:cxn ang="0">
                  <a:pos x="72" y="75"/>
                </a:cxn>
                <a:cxn ang="0">
                  <a:pos x="69" y="87"/>
                </a:cxn>
                <a:cxn ang="0">
                  <a:pos x="45" y="87"/>
                </a:cxn>
                <a:cxn ang="0">
                  <a:pos x="31" y="83"/>
                </a:cxn>
                <a:cxn ang="0">
                  <a:pos x="4" y="84"/>
                </a:cxn>
                <a:cxn ang="0">
                  <a:pos x="34" y="97"/>
                </a:cxn>
                <a:cxn ang="0">
                  <a:pos x="36" y="117"/>
                </a:cxn>
                <a:cxn ang="0">
                  <a:pos x="48" y="121"/>
                </a:cxn>
                <a:cxn ang="0">
                  <a:pos x="36" y="132"/>
                </a:cxn>
                <a:cxn ang="0">
                  <a:pos x="36" y="141"/>
                </a:cxn>
                <a:cxn ang="0">
                  <a:pos x="14" y="149"/>
                </a:cxn>
                <a:cxn ang="0">
                  <a:pos x="0" y="154"/>
                </a:cxn>
                <a:cxn ang="0">
                  <a:pos x="28" y="168"/>
                </a:cxn>
                <a:cxn ang="0">
                  <a:pos x="45" y="177"/>
                </a:cxn>
                <a:cxn ang="0">
                  <a:pos x="55" y="194"/>
                </a:cxn>
                <a:cxn ang="0">
                  <a:pos x="79" y="224"/>
                </a:cxn>
                <a:cxn ang="0">
                  <a:pos x="123" y="221"/>
                </a:cxn>
                <a:cxn ang="0">
                  <a:pos x="155" y="227"/>
                </a:cxn>
                <a:cxn ang="0">
                  <a:pos x="195" y="217"/>
                </a:cxn>
                <a:cxn ang="0">
                  <a:pos x="212" y="218"/>
                </a:cxn>
                <a:cxn ang="0">
                  <a:pos x="240" y="207"/>
                </a:cxn>
                <a:cxn ang="0">
                  <a:pos x="243" y="194"/>
                </a:cxn>
                <a:cxn ang="0">
                  <a:pos x="258" y="190"/>
                </a:cxn>
                <a:cxn ang="0">
                  <a:pos x="263" y="183"/>
                </a:cxn>
                <a:cxn ang="0">
                  <a:pos x="272" y="183"/>
                </a:cxn>
                <a:cxn ang="0">
                  <a:pos x="278" y="173"/>
                </a:cxn>
                <a:cxn ang="0">
                  <a:pos x="284" y="155"/>
                </a:cxn>
                <a:cxn ang="0">
                  <a:pos x="50" y="205"/>
                </a:cxn>
              </a:cxnLst>
              <a:rect l="0" t="0" r="r" b="b"/>
              <a:pathLst>
                <a:path w="285" h="235">
                  <a:moveTo>
                    <a:pt x="284" y="155"/>
                  </a:moveTo>
                  <a:cubicBezTo>
                    <a:pt x="280" y="156"/>
                    <a:pt x="280" y="156"/>
                    <a:pt x="280" y="156"/>
                  </a:cubicBezTo>
                  <a:cubicBezTo>
                    <a:pt x="280" y="153"/>
                    <a:pt x="280" y="153"/>
                    <a:pt x="280" y="153"/>
                  </a:cubicBezTo>
                  <a:cubicBezTo>
                    <a:pt x="279" y="153"/>
                    <a:pt x="279" y="153"/>
                    <a:pt x="279" y="153"/>
                  </a:cubicBezTo>
                  <a:cubicBezTo>
                    <a:pt x="281" y="150"/>
                    <a:pt x="281" y="150"/>
                    <a:pt x="281" y="150"/>
                  </a:cubicBezTo>
                  <a:cubicBezTo>
                    <a:pt x="280" y="149"/>
                    <a:pt x="280" y="149"/>
                    <a:pt x="280" y="149"/>
                  </a:cubicBezTo>
                  <a:cubicBezTo>
                    <a:pt x="280" y="149"/>
                    <a:pt x="275" y="147"/>
                    <a:pt x="272" y="143"/>
                  </a:cubicBezTo>
                  <a:cubicBezTo>
                    <a:pt x="270" y="139"/>
                    <a:pt x="273" y="136"/>
                    <a:pt x="273" y="136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59" y="130"/>
                    <a:pt x="259" y="130"/>
                    <a:pt x="259" y="130"/>
                  </a:cubicBezTo>
                  <a:cubicBezTo>
                    <a:pt x="259" y="130"/>
                    <a:pt x="260" y="128"/>
                    <a:pt x="262" y="128"/>
                  </a:cubicBezTo>
                  <a:cubicBezTo>
                    <a:pt x="264" y="127"/>
                    <a:pt x="265" y="127"/>
                    <a:pt x="269" y="124"/>
                  </a:cubicBezTo>
                  <a:cubicBezTo>
                    <a:pt x="273" y="122"/>
                    <a:pt x="272" y="116"/>
                    <a:pt x="271" y="115"/>
                  </a:cubicBezTo>
                  <a:cubicBezTo>
                    <a:pt x="270" y="113"/>
                    <a:pt x="268" y="115"/>
                    <a:pt x="265" y="115"/>
                  </a:cubicBezTo>
                  <a:cubicBezTo>
                    <a:pt x="264" y="115"/>
                    <a:pt x="262" y="113"/>
                    <a:pt x="262" y="113"/>
                  </a:cubicBezTo>
                  <a:cubicBezTo>
                    <a:pt x="262" y="113"/>
                    <a:pt x="263" y="112"/>
                    <a:pt x="263" y="110"/>
                  </a:cubicBezTo>
                  <a:cubicBezTo>
                    <a:pt x="263" y="108"/>
                    <a:pt x="260" y="107"/>
                    <a:pt x="260" y="107"/>
                  </a:cubicBezTo>
                  <a:cubicBezTo>
                    <a:pt x="260" y="107"/>
                    <a:pt x="269" y="106"/>
                    <a:pt x="270" y="105"/>
                  </a:cubicBezTo>
                  <a:cubicBezTo>
                    <a:pt x="271" y="102"/>
                    <a:pt x="271" y="99"/>
                    <a:pt x="271" y="99"/>
                  </a:cubicBezTo>
                  <a:cubicBezTo>
                    <a:pt x="284" y="97"/>
                    <a:pt x="284" y="97"/>
                    <a:pt x="284" y="97"/>
                  </a:cubicBezTo>
                  <a:cubicBezTo>
                    <a:pt x="284" y="97"/>
                    <a:pt x="280" y="96"/>
                    <a:pt x="278" y="96"/>
                  </a:cubicBezTo>
                  <a:cubicBezTo>
                    <a:pt x="277" y="95"/>
                    <a:pt x="279" y="94"/>
                    <a:pt x="276" y="93"/>
                  </a:cubicBezTo>
                  <a:cubicBezTo>
                    <a:pt x="274" y="92"/>
                    <a:pt x="270" y="97"/>
                    <a:pt x="268" y="98"/>
                  </a:cubicBezTo>
                  <a:cubicBezTo>
                    <a:pt x="264" y="99"/>
                    <a:pt x="265" y="96"/>
                    <a:pt x="262" y="97"/>
                  </a:cubicBezTo>
                  <a:cubicBezTo>
                    <a:pt x="258" y="97"/>
                    <a:pt x="259" y="101"/>
                    <a:pt x="258" y="102"/>
                  </a:cubicBezTo>
                  <a:cubicBezTo>
                    <a:pt x="257" y="102"/>
                    <a:pt x="256" y="99"/>
                    <a:pt x="256" y="97"/>
                  </a:cubicBezTo>
                  <a:cubicBezTo>
                    <a:pt x="255" y="96"/>
                    <a:pt x="253" y="95"/>
                    <a:pt x="253" y="95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92"/>
                    <a:pt x="255" y="90"/>
                    <a:pt x="256" y="86"/>
                  </a:cubicBezTo>
                  <a:cubicBezTo>
                    <a:pt x="258" y="84"/>
                    <a:pt x="252" y="81"/>
                    <a:pt x="252" y="81"/>
                  </a:cubicBezTo>
                  <a:cubicBezTo>
                    <a:pt x="252" y="81"/>
                    <a:pt x="255" y="79"/>
                    <a:pt x="253" y="74"/>
                  </a:cubicBezTo>
                  <a:cubicBezTo>
                    <a:pt x="251" y="69"/>
                    <a:pt x="245" y="74"/>
                    <a:pt x="245" y="74"/>
                  </a:cubicBezTo>
                  <a:cubicBezTo>
                    <a:pt x="245" y="74"/>
                    <a:pt x="242" y="69"/>
                    <a:pt x="240" y="69"/>
                  </a:cubicBezTo>
                  <a:cubicBezTo>
                    <a:pt x="238" y="69"/>
                    <a:pt x="238" y="75"/>
                    <a:pt x="238" y="77"/>
                  </a:cubicBezTo>
                  <a:cubicBezTo>
                    <a:pt x="238" y="79"/>
                    <a:pt x="236" y="80"/>
                    <a:pt x="236" y="80"/>
                  </a:cubicBezTo>
                  <a:cubicBezTo>
                    <a:pt x="236" y="80"/>
                    <a:pt x="236" y="86"/>
                    <a:pt x="235" y="89"/>
                  </a:cubicBezTo>
                  <a:cubicBezTo>
                    <a:pt x="232" y="90"/>
                    <a:pt x="230" y="90"/>
                    <a:pt x="230" y="90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6" y="89"/>
                    <a:pt x="226" y="89"/>
                    <a:pt x="226" y="89"/>
                  </a:cubicBezTo>
                  <a:cubicBezTo>
                    <a:pt x="226" y="89"/>
                    <a:pt x="224" y="90"/>
                    <a:pt x="223" y="91"/>
                  </a:cubicBezTo>
                  <a:cubicBezTo>
                    <a:pt x="222" y="91"/>
                    <a:pt x="219" y="89"/>
                    <a:pt x="219" y="89"/>
                  </a:cubicBezTo>
                  <a:cubicBezTo>
                    <a:pt x="220" y="84"/>
                    <a:pt x="220" y="84"/>
                    <a:pt x="220" y="84"/>
                  </a:cubicBezTo>
                  <a:cubicBezTo>
                    <a:pt x="220" y="84"/>
                    <a:pt x="217" y="81"/>
                    <a:pt x="214" y="82"/>
                  </a:cubicBezTo>
                  <a:cubicBezTo>
                    <a:pt x="210" y="82"/>
                    <a:pt x="210" y="84"/>
                    <a:pt x="210" y="86"/>
                  </a:cubicBezTo>
                  <a:cubicBezTo>
                    <a:pt x="209" y="87"/>
                    <a:pt x="206" y="87"/>
                    <a:pt x="206" y="87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3"/>
                    <a:pt x="202" y="91"/>
                    <a:pt x="199" y="90"/>
                  </a:cubicBezTo>
                  <a:cubicBezTo>
                    <a:pt x="198" y="89"/>
                    <a:pt x="197" y="90"/>
                    <a:pt x="197" y="90"/>
                  </a:cubicBezTo>
                  <a:cubicBezTo>
                    <a:pt x="196" y="80"/>
                    <a:pt x="196" y="80"/>
                    <a:pt x="196" y="80"/>
                  </a:cubicBezTo>
                  <a:cubicBezTo>
                    <a:pt x="195" y="79"/>
                    <a:pt x="195" y="79"/>
                    <a:pt x="195" y="79"/>
                  </a:cubicBezTo>
                  <a:cubicBezTo>
                    <a:pt x="195" y="76"/>
                    <a:pt x="195" y="76"/>
                    <a:pt x="195" y="76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4" y="71"/>
                    <a:pt x="183" y="78"/>
                  </a:cubicBezTo>
                  <a:cubicBezTo>
                    <a:pt x="181" y="84"/>
                    <a:pt x="183" y="85"/>
                    <a:pt x="183" y="8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1" y="87"/>
                    <a:pt x="181" y="87"/>
                    <a:pt x="181" y="87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93"/>
                    <a:pt x="182" y="93"/>
                    <a:pt x="182" y="93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7" y="98"/>
                    <a:pt x="177" y="98"/>
                    <a:pt x="177" y="98"/>
                  </a:cubicBezTo>
                  <a:cubicBezTo>
                    <a:pt x="177" y="98"/>
                    <a:pt x="177" y="96"/>
                    <a:pt x="178" y="95"/>
                  </a:cubicBezTo>
                  <a:cubicBezTo>
                    <a:pt x="179" y="94"/>
                    <a:pt x="179" y="92"/>
                    <a:pt x="179" y="92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83"/>
                    <a:pt x="175" y="81"/>
                    <a:pt x="175" y="80"/>
                  </a:cubicBezTo>
                  <a:cubicBezTo>
                    <a:pt x="175" y="78"/>
                    <a:pt x="177" y="77"/>
                    <a:pt x="177" y="75"/>
                  </a:cubicBezTo>
                  <a:cubicBezTo>
                    <a:pt x="178" y="74"/>
                    <a:pt x="177" y="71"/>
                    <a:pt x="177" y="71"/>
                  </a:cubicBezTo>
                  <a:cubicBezTo>
                    <a:pt x="178" y="69"/>
                    <a:pt x="178" y="69"/>
                    <a:pt x="178" y="69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5" y="67"/>
                    <a:pt x="175" y="67"/>
                    <a:pt x="175" y="67"/>
                  </a:cubicBezTo>
                  <a:cubicBezTo>
                    <a:pt x="176" y="65"/>
                    <a:pt x="176" y="65"/>
                    <a:pt x="176" y="65"/>
                  </a:cubicBezTo>
                  <a:cubicBezTo>
                    <a:pt x="175" y="64"/>
                    <a:pt x="175" y="64"/>
                    <a:pt x="175" y="64"/>
                  </a:cubicBezTo>
                  <a:cubicBezTo>
                    <a:pt x="172" y="66"/>
                    <a:pt x="172" y="66"/>
                    <a:pt x="172" y="66"/>
                  </a:cubicBezTo>
                  <a:cubicBezTo>
                    <a:pt x="172" y="66"/>
                    <a:pt x="173" y="63"/>
                    <a:pt x="170" y="63"/>
                  </a:cubicBezTo>
                  <a:cubicBezTo>
                    <a:pt x="167" y="62"/>
                    <a:pt x="166" y="66"/>
                    <a:pt x="164" y="66"/>
                  </a:cubicBezTo>
                  <a:cubicBezTo>
                    <a:pt x="162" y="67"/>
                    <a:pt x="161" y="65"/>
                    <a:pt x="159" y="64"/>
                  </a:cubicBezTo>
                  <a:cubicBezTo>
                    <a:pt x="156" y="64"/>
                    <a:pt x="155" y="67"/>
                    <a:pt x="155" y="68"/>
                  </a:cubicBezTo>
                  <a:cubicBezTo>
                    <a:pt x="154" y="69"/>
                    <a:pt x="153" y="68"/>
                    <a:pt x="150" y="70"/>
                  </a:cubicBezTo>
                  <a:cubicBezTo>
                    <a:pt x="149" y="73"/>
                    <a:pt x="151" y="76"/>
                    <a:pt x="150" y="79"/>
                  </a:cubicBezTo>
                  <a:cubicBezTo>
                    <a:pt x="149" y="82"/>
                    <a:pt x="145" y="83"/>
                    <a:pt x="145" y="83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3" y="75"/>
                    <a:pt x="143" y="73"/>
                  </a:cubicBezTo>
                  <a:cubicBezTo>
                    <a:pt x="144" y="71"/>
                    <a:pt x="141" y="69"/>
                    <a:pt x="141" y="69"/>
                  </a:cubicBezTo>
                  <a:cubicBezTo>
                    <a:pt x="141" y="69"/>
                    <a:pt x="141" y="66"/>
                    <a:pt x="142" y="64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2" y="59"/>
                    <a:pt x="143" y="57"/>
                    <a:pt x="143" y="54"/>
                  </a:cubicBezTo>
                  <a:cubicBezTo>
                    <a:pt x="143" y="53"/>
                    <a:pt x="141" y="52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8" y="52"/>
                    <a:pt x="138" y="52"/>
                    <a:pt x="138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0" y="63"/>
                    <a:pt x="128" y="66"/>
                  </a:cubicBezTo>
                  <a:cubicBezTo>
                    <a:pt x="126" y="70"/>
                    <a:pt x="126" y="76"/>
                    <a:pt x="126" y="76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4" y="85"/>
                    <a:pt x="112" y="85"/>
                  </a:cubicBezTo>
                  <a:cubicBezTo>
                    <a:pt x="110" y="84"/>
                    <a:pt x="113" y="79"/>
                    <a:pt x="11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4" y="75"/>
                    <a:pt x="102" y="77"/>
                    <a:pt x="102" y="77"/>
                  </a:cubicBezTo>
                  <a:cubicBezTo>
                    <a:pt x="102" y="77"/>
                    <a:pt x="101" y="78"/>
                    <a:pt x="100" y="80"/>
                  </a:cubicBezTo>
                  <a:cubicBezTo>
                    <a:pt x="99" y="82"/>
                    <a:pt x="98" y="89"/>
                    <a:pt x="98" y="89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6"/>
                    <a:pt x="92" y="89"/>
                    <a:pt x="91" y="90"/>
                  </a:cubicBezTo>
                  <a:cubicBezTo>
                    <a:pt x="90" y="91"/>
                    <a:pt x="90" y="95"/>
                    <a:pt x="90" y="95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97"/>
                    <a:pt x="88" y="92"/>
                    <a:pt x="89" y="89"/>
                  </a:cubicBezTo>
                  <a:cubicBezTo>
                    <a:pt x="89" y="85"/>
                    <a:pt x="93" y="82"/>
                    <a:pt x="93" y="82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2" y="64"/>
                    <a:pt x="91" y="62"/>
                  </a:cubicBezTo>
                  <a:cubicBezTo>
                    <a:pt x="90" y="60"/>
                    <a:pt x="91" y="60"/>
                    <a:pt x="92" y="59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9"/>
                    <a:pt x="94" y="60"/>
                  </a:cubicBezTo>
                  <a:cubicBezTo>
                    <a:pt x="94" y="62"/>
                    <a:pt x="97" y="62"/>
                    <a:pt x="98" y="62"/>
                  </a:cubicBezTo>
                  <a:cubicBezTo>
                    <a:pt x="100" y="62"/>
                    <a:pt x="99" y="59"/>
                    <a:pt x="99" y="59"/>
                  </a:cubicBezTo>
                  <a:cubicBezTo>
                    <a:pt x="99" y="59"/>
                    <a:pt x="101" y="60"/>
                    <a:pt x="107" y="54"/>
                  </a:cubicBezTo>
                  <a:cubicBezTo>
                    <a:pt x="112" y="49"/>
                    <a:pt x="101" y="47"/>
                    <a:pt x="102" y="46"/>
                  </a:cubicBezTo>
                  <a:cubicBezTo>
                    <a:pt x="102" y="44"/>
                    <a:pt x="109" y="46"/>
                    <a:pt x="109" y="46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37"/>
                    <a:pt x="105" y="35"/>
                    <a:pt x="106" y="33"/>
                  </a:cubicBezTo>
                  <a:cubicBezTo>
                    <a:pt x="107" y="30"/>
                    <a:pt x="104" y="30"/>
                    <a:pt x="102" y="28"/>
                  </a:cubicBezTo>
                  <a:cubicBezTo>
                    <a:pt x="101" y="26"/>
                    <a:pt x="104" y="23"/>
                    <a:pt x="104" y="23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9" y="17"/>
                    <a:pt x="100" y="16"/>
                  </a:cubicBezTo>
                  <a:cubicBezTo>
                    <a:pt x="102" y="14"/>
                    <a:pt x="98" y="12"/>
                    <a:pt x="98" y="12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3" y="5"/>
                    <a:pt x="81" y="5"/>
                  </a:cubicBezTo>
                  <a:cubicBezTo>
                    <a:pt x="80" y="6"/>
                    <a:pt x="79" y="3"/>
                    <a:pt x="79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7" y="6"/>
                    <a:pt x="80" y="8"/>
                  </a:cubicBezTo>
                  <a:cubicBezTo>
                    <a:pt x="83" y="11"/>
                    <a:pt x="87" y="8"/>
                    <a:pt x="87" y="8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2" y="19"/>
                    <a:pt x="91" y="18"/>
                  </a:cubicBezTo>
                  <a:cubicBezTo>
                    <a:pt x="89" y="17"/>
                    <a:pt x="87" y="17"/>
                    <a:pt x="85" y="15"/>
                  </a:cubicBezTo>
                  <a:cubicBezTo>
                    <a:pt x="84" y="13"/>
                    <a:pt x="81" y="13"/>
                    <a:pt x="79" y="14"/>
                  </a:cubicBezTo>
                  <a:cubicBezTo>
                    <a:pt x="76" y="16"/>
                    <a:pt x="81" y="22"/>
                    <a:pt x="82" y="23"/>
                  </a:cubicBezTo>
                  <a:cubicBezTo>
                    <a:pt x="83" y="24"/>
                    <a:pt x="87" y="29"/>
                    <a:pt x="87" y="29"/>
                  </a:cubicBezTo>
                  <a:cubicBezTo>
                    <a:pt x="87" y="29"/>
                    <a:pt x="84" y="30"/>
                    <a:pt x="83" y="31"/>
                  </a:cubicBezTo>
                  <a:cubicBezTo>
                    <a:pt x="82" y="32"/>
                    <a:pt x="83" y="34"/>
                    <a:pt x="82" y="37"/>
                  </a:cubicBezTo>
                  <a:cubicBezTo>
                    <a:pt x="82" y="41"/>
                    <a:pt x="78" y="43"/>
                    <a:pt x="78" y="43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80" y="38"/>
                    <a:pt x="80" y="34"/>
                  </a:cubicBezTo>
                  <a:cubicBezTo>
                    <a:pt x="80" y="31"/>
                    <a:pt x="75" y="38"/>
                    <a:pt x="75" y="38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69" y="22"/>
                    <a:pt x="68" y="21"/>
                  </a:cubicBezTo>
                  <a:cubicBezTo>
                    <a:pt x="68" y="20"/>
                    <a:pt x="72" y="19"/>
                    <a:pt x="72" y="19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68" y="10"/>
                    <a:pt x="64" y="10"/>
                  </a:cubicBezTo>
                  <a:cubicBezTo>
                    <a:pt x="60" y="11"/>
                    <a:pt x="65" y="14"/>
                    <a:pt x="65" y="14"/>
                  </a:cubicBezTo>
                  <a:cubicBezTo>
                    <a:pt x="65" y="14"/>
                    <a:pt x="63" y="13"/>
                    <a:pt x="61" y="13"/>
                  </a:cubicBezTo>
                  <a:cubicBezTo>
                    <a:pt x="60" y="13"/>
                    <a:pt x="59" y="13"/>
                    <a:pt x="61" y="16"/>
                  </a:cubicBezTo>
                  <a:cubicBezTo>
                    <a:pt x="62" y="20"/>
                    <a:pt x="63" y="21"/>
                    <a:pt x="62" y="21"/>
                  </a:cubicBezTo>
                  <a:cubicBezTo>
                    <a:pt x="61" y="22"/>
                    <a:pt x="60" y="20"/>
                    <a:pt x="59" y="18"/>
                  </a:cubicBezTo>
                  <a:cubicBezTo>
                    <a:pt x="58" y="15"/>
                    <a:pt x="56" y="13"/>
                    <a:pt x="53" y="14"/>
                  </a:cubicBezTo>
                  <a:cubicBezTo>
                    <a:pt x="50" y="16"/>
                    <a:pt x="53" y="21"/>
                    <a:pt x="53" y="22"/>
                  </a:cubicBezTo>
                  <a:cubicBezTo>
                    <a:pt x="55" y="24"/>
                    <a:pt x="52" y="24"/>
                    <a:pt x="52" y="24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0" y="23"/>
                    <a:pt x="47" y="21"/>
                  </a:cubicBezTo>
                  <a:cubicBezTo>
                    <a:pt x="45" y="20"/>
                    <a:pt x="45" y="29"/>
                    <a:pt x="48" y="32"/>
                  </a:cubicBezTo>
                  <a:cubicBezTo>
                    <a:pt x="51" y="36"/>
                    <a:pt x="58" y="36"/>
                    <a:pt x="58" y="36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5" y="41"/>
                    <a:pt x="46" y="37"/>
                  </a:cubicBezTo>
                  <a:cubicBezTo>
                    <a:pt x="46" y="34"/>
                    <a:pt x="38" y="23"/>
                    <a:pt x="38" y="23"/>
                  </a:cubicBezTo>
                  <a:cubicBezTo>
                    <a:pt x="38" y="23"/>
                    <a:pt x="35" y="26"/>
                    <a:pt x="35" y="29"/>
                  </a:cubicBezTo>
                  <a:cubicBezTo>
                    <a:pt x="35" y="32"/>
                    <a:pt x="38" y="37"/>
                    <a:pt x="38" y="3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41"/>
                    <a:pt x="36" y="43"/>
                    <a:pt x="36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3"/>
                    <a:pt x="32" y="39"/>
                    <a:pt x="32" y="38"/>
                  </a:cubicBezTo>
                  <a:cubicBezTo>
                    <a:pt x="32" y="37"/>
                    <a:pt x="30" y="38"/>
                    <a:pt x="30" y="36"/>
                  </a:cubicBezTo>
                  <a:cubicBezTo>
                    <a:pt x="30" y="34"/>
                    <a:pt x="30" y="31"/>
                    <a:pt x="27" y="30"/>
                  </a:cubicBezTo>
                  <a:cubicBezTo>
                    <a:pt x="24" y="29"/>
                    <a:pt x="23" y="33"/>
                    <a:pt x="22" y="34"/>
                  </a:cubicBezTo>
                  <a:cubicBezTo>
                    <a:pt x="20" y="35"/>
                    <a:pt x="18" y="35"/>
                    <a:pt x="17" y="36"/>
                  </a:cubicBezTo>
                  <a:cubicBezTo>
                    <a:pt x="16" y="37"/>
                    <a:pt x="19" y="37"/>
                    <a:pt x="23" y="38"/>
                  </a:cubicBezTo>
                  <a:cubicBezTo>
                    <a:pt x="25" y="38"/>
                    <a:pt x="25" y="41"/>
                    <a:pt x="26" y="42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6" y="48"/>
                    <a:pt x="30" y="49"/>
                  </a:cubicBezTo>
                  <a:cubicBezTo>
                    <a:pt x="33" y="51"/>
                    <a:pt x="36" y="48"/>
                    <a:pt x="41" y="49"/>
                  </a:cubicBezTo>
                  <a:cubicBezTo>
                    <a:pt x="45" y="50"/>
                    <a:pt x="46" y="52"/>
                    <a:pt x="48" y="52"/>
                  </a:cubicBezTo>
                  <a:cubicBezTo>
                    <a:pt x="49" y="52"/>
                    <a:pt x="51" y="48"/>
                    <a:pt x="51" y="48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6" y="66"/>
                    <a:pt x="77" y="68"/>
                  </a:cubicBezTo>
                  <a:cubicBezTo>
                    <a:pt x="78" y="70"/>
                    <a:pt x="77" y="71"/>
                    <a:pt x="77" y="7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64" y="75"/>
                    <a:pt x="58" y="76"/>
                  </a:cubicBezTo>
                  <a:cubicBezTo>
                    <a:pt x="50" y="76"/>
                    <a:pt x="56" y="79"/>
                    <a:pt x="56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8" y="86"/>
                    <a:pt x="60" y="85"/>
                    <a:pt x="60" y="85"/>
                  </a:cubicBezTo>
                  <a:cubicBezTo>
                    <a:pt x="60" y="85"/>
                    <a:pt x="61" y="90"/>
                    <a:pt x="62" y="90"/>
                  </a:cubicBezTo>
                  <a:cubicBezTo>
                    <a:pt x="64" y="90"/>
                    <a:pt x="69" y="87"/>
                    <a:pt x="69" y="87"/>
                  </a:cubicBezTo>
                  <a:cubicBezTo>
                    <a:pt x="69" y="87"/>
                    <a:pt x="72" y="86"/>
                    <a:pt x="73" y="89"/>
                  </a:cubicBezTo>
                  <a:cubicBezTo>
                    <a:pt x="74" y="92"/>
                    <a:pt x="66" y="93"/>
                    <a:pt x="66" y="93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0" y="96"/>
                    <a:pt x="59" y="92"/>
                    <a:pt x="59" y="92"/>
                  </a:cubicBezTo>
                  <a:cubicBezTo>
                    <a:pt x="59" y="92"/>
                    <a:pt x="58" y="91"/>
                    <a:pt x="57" y="92"/>
                  </a:cubicBezTo>
                  <a:cubicBezTo>
                    <a:pt x="55" y="92"/>
                    <a:pt x="55" y="89"/>
                    <a:pt x="51" y="86"/>
                  </a:cubicBezTo>
                  <a:cubicBezTo>
                    <a:pt x="48" y="84"/>
                    <a:pt x="45" y="87"/>
                    <a:pt x="45" y="87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0" y="85"/>
                    <a:pt x="38" y="85"/>
                  </a:cubicBezTo>
                  <a:cubicBezTo>
                    <a:pt x="36" y="85"/>
                    <a:pt x="36" y="84"/>
                    <a:pt x="35" y="82"/>
                  </a:cubicBezTo>
                  <a:cubicBezTo>
                    <a:pt x="34" y="81"/>
                    <a:pt x="33" y="83"/>
                    <a:pt x="31" y="85"/>
                  </a:cubicBezTo>
                  <a:cubicBezTo>
                    <a:pt x="29" y="87"/>
                    <a:pt x="30" y="83"/>
                    <a:pt x="31" y="83"/>
                  </a:cubicBezTo>
                  <a:cubicBezTo>
                    <a:pt x="32" y="82"/>
                    <a:pt x="32" y="80"/>
                    <a:pt x="30" y="80"/>
                  </a:cubicBezTo>
                  <a:cubicBezTo>
                    <a:pt x="28" y="79"/>
                    <a:pt x="28" y="83"/>
                    <a:pt x="26" y="83"/>
                  </a:cubicBezTo>
                  <a:cubicBezTo>
                    <a:pt x="24" y="83"/>
                    <a:pt x="25" y="81"/>
                    <a:pt x="25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16" y="81"/>
                    <a:pt x="14" y="81"/>
                  </a:cubicBezTo>
                  <a:cubicBezTo>
                    <a:pt x="12" y="80"/>
                    <a:pt x="13" y="76"/>
                    <a:pt x="9" y="76"/>
                  </a:cubicBezTo>
                  <a:cubicBezTo>
                    <a:pt x="4" y="76"/>
                    <a:pt x="3" y="81"/>
                    <a:pt x="4" y="84"/>
                  </a:cubicBezTo>
                  <a:cubicBezTo>
                    <a:pt x="4" y="89"/>
                    <a:pt x="8" y="90"/>
                    <a:pt x="10" y="90"/>
                  </a:cubicBezTo>
                  <a:cubicBezTo>
                    <a:pt x="12" y="90"/>
                    <a:pt x="11" y="87"/>
                    <a:pt x="13" y="86"/>
                  </a:cubicBezTo>
                  <a:cubicBezTo>
                    <a:pt x="15" y="86"/>
                    <a:pt x="16" y="89"/>
                    <a:pt x="17" y="90"/>
                  </a:cubicBezTo>
                  <a:cubicBezTo>
                    <a:pt x="18" y="90"/>
                    <a:pt x="19" y="89"/>
                    <a:pt x="19" y="89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3" y="98"/>
                    <a:pt x="33" y="97"/>
                    <a:pt x="34" y="97"/>
                  </a:cubicBezTo>
                  <a:cubicBezTo>
                    <a:pt x="36" y="98"/>
                    <a:pt x="35" y="99"/>
                    <a:pt x="36" y="100"/>
                  </a:cubicBezTo>
                  <a:cubicBezTo>
                    <a:pt x="38" y="101"/>
                    <a:pt x="40" y="99"/>
                    <a:pt x="41" y="100"/>
                  </a:cubicBezTo>
                  <a:cubicBezTo>
                    <a:pt x="43" y="102"/>
                    <a:pt x="41" y="103"/>
                    <a:pt x="41" y="103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36" y="122"/>
                    <a:pt x="36" y="124"/>
                    <a:pt x="39" y="124"/>
                  </a:cubicBezTo>
                  <a:cubicBezTo>
                    <a:pt x="40" y="124"/>
                    <a:pt x="42" y="122"/>
                    <a:pt x="42" y="122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8" y="125"/>
                    <a:pt x="48" y="125"/>
                    <a:pt x="48" y="125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2" y="125"/>
                    <a:pt x="38" y="128"/>
                    <a:pt x="38" y="128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3" y="134"/>
                    <a:pt x="33" y="134"/>
                    <a:pt x="33" y="134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3" y="136"/>
                    <a:pt x="45" y="133"/>
                    <a:pt x="49" y="136"/>
                  </a:cubicBezTo>
                  <a:cubicBezTo>
                    <a:pt x="52" y="137"/>
                    <a:pt x="50" y="140"/>
                    <a:pt x="50" y="140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7" y="137"/>
                    <a:pt x="44" y="138"/>
                    <a:pt x="41" y="138"/>
                  </a:cubicBezTo>
                  <a:cubicBezTo>
                    <a:pt x="38" y="138"/>
                    <a:pt x="36" y="138"/>
                    <a:pt x="36" y="141"/>
                  </a:cubicBezTo>
                  <a:cubicBezTo>
                    <a:pt x="35" y="143"/>
                    <a:pt x="38" y="147"/>
                    <a:pt x="38" y="147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27" y="146"/>
                    <a:pt x="27" y="146"/>
                    <a:pt x="27" y="146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0"/>
                    <a:pt x="22" y="149"/>
                    <a:pt x="19" y="149"/>
                  </a:cubicBezTo>
                  <a:cubicBezTo>
                    <a:pt x="17" y="148"/>
                    <a:pt x="15" y="149"/>
                    <a:pt x="14" y="149"/>
                  </a:cubicBezTo>
                  <a:cubicBezTo>
                    <a:pt x="12" y="149"/>
                    <a:pt x="10" y="147"/>
                    <a:pt x="10" y="147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9" y="140"/>
                    <a:pt x="9" y="140"/>
                    <a:pt x="9" y="140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2" y="159"/>
                    <a:pt x="13" y="160"/>
                  </a:cubicBezTo>
                  <a:cubicBezTo>
                    <a:pt x="14" y="161"/>
                    <a:pt x="19" y="163"/>
                    <a:pt x="19" y="163"/>
                  </a:cubicBezTo>
                  <a:cubicBezTo>
                    <a:pt x="19" y="163"/>
                    <a:pt x="24" y="163"/>
                    <a:pt x="26" y="164"/>
                  </a:cubicBezTo>
                  <a:cubicBezTo>
                    <a:pt x="28" y="165"/>
                    <a:pt x="28" y="168"/>
                    <a:pt x="28" y="168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42" y="165"/>
                    <a:pt x="44" y="166"/>
                  </a:cubicBezTo>
                  <a:cubicBezTo>
                    <a:pt x="46" y="168"/>
                    <a:pt x="41" y="169"/>
                    <a:pt x="41" y="169"/>
                  </a:cubicBezTo>
                  <a:cubicBezTo>
                    <a:pt x="41" y="169"/>
                    <a:pt x="42" y="170"/>
                    <a:pt x="43" y="172"/>
                  </a:cubicBezTo>
                  <a:cubicBezTo>
                    <a:pt x="43" y="174"/>
                    <a:pt x="43" y="175"/>
                    <a:pt x="45" y="177"/>
                  </a:cubicBezTo>
                  <a:cubicBezTo>
                    <a:pt x="47" y="178"/>
                    <a:pt x="47" y="181"/>
                    <a:pt x="47" y="181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1" y="183"/>
                    <a:pt x="50" y="183"/>
                  </a:cubicBezTo>
                  <a:cubicBezTo>
                    <a:pt x="49" y="184"/>
                    <a:pt x="49" y="184"/>
                    <a:pt x="49" y="184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1" y="189"/>
                    <a:pt x="51" y="189"/>
                    <a:pt x="51" y="189"/>
                  </a:cubicBezTo>
                  <a:cubicBezTo>
                    <a:pt x="51" y="194"/>
                    <a:pt x="51" y="194"/>
                    <a:pt x="51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53" y="196"/>
                    <a:pt x="53" y="196"/>
                    <a:pt x="53" y="196"/>
                  </a:cubicBezTo>
                  <a:cubicBezTo>
                    <a:pt x="53" y="196"/>
                    <a:pt x="55" y="202"/>
                    <a:pt x="56" y="204"/>
                  </a:cubicBezTo>
                  <a:cubicBezTo>
                    <a:pt x="58" y="206"/>
                    <a:pt x="60" y="205"/>
                    <a:pt x="61" y="205"/>
                  </a:cubicBezTo>
                  <a:cubicBezTo>
                    <a:pt x="62" y="205"/>
                    <a:pt x="64" y="208"/>
                    <a:pt x="65" y="208"/>
                  </a:cubicBezTo>
                  <a:cubicBezTo>
                    <a:pt x="66" y="209"/>
                    <a:pt x="67" y="208"/>
                    <a:pt x="67" y="208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7" y="211"/>
                    <a:pt x="72" y="216"/>
                    <a:pt x="74" y="218"/>
                  </a:cubicBezTo>
                  <a:cubicBezTo>
                    <a:pt x="76" y="220"/>
                    <a:pt x="79" y="224"/>
                    <a:pt x="79" y="224"/>
                  </a:cubicBezTo>
                  <a:cubicBezTo>
                    <a:pt x="79" y="224"/>
                    <a:pt x="83" y="224"/>
                    <a:pt x="85" y="226"/>
                  </a:cubicBezTo>
                  <a:cubicBezTo>
                    <a:pt x="89" y="229"/>
                    <a:pt x="91" y="229"/>
                    <a:pt x="91" y="229"/>
                  </a:cubicBezTo>
                  <a:cubicBezTo>
                    <a:pt x="91" y="229"/>
                    <a:pt x="99" y="232"/>
                    <a:pt x="106" y="233"/>
                  </a:cubicBezTo>
                  <a:cubicBezTo>
                    <a:pt x="112" y="235"/>
                    <a:pt x="118" y="227"/>
                    <a:pt x="118" y="227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0" y="224"/>
                    <a:pt x="120" y="224"/>
                    <a:pt x="120" y="224"/>
                  </a:cubicBezTo>
                  <a:cubicBezTo>
                    <a:pt x="120" y="224"/>
                    <a:pt x="120" y="221"/>
                    <a:pt x="123" y="221"/>
                  </a:cubicBezTo>
                  <a:cubicBezTo>
                    <a:pt x="127" y="221"/>
                    <a:pt x="126" y="224"/>
                    <a:pt x="126" y="224"/>
                  </a:cubicBezTo>
                  <a:cubicBezTo>
                    <a:pt x="133" y="223"/>
                    <a:pt x="133" y="223"/>
                    <a:pt x="133" y="223"/>
                  </a:cubicBezTo>
                  <a:cubicBezTo>
                    <a:pt x="133" y="225"/>
                    <a:pt x="133" y="225"/>
                    <a:pt x="133" y="225"/>
                  </a:cubicBezTo>
                  <a:cubicBezTo>
                    <a:pt x="142" y="225"/>
                    <a:pt x="142" y="225"/>
                    <a:pt x="142" y="225"/>
                  </a:cubicBezTo>
                  <a:cubicBezTo>
                    <a:pt x="144" y="225"/>
                    <a:pt x="148" y="228"/>
                    <a:pt x="148" y="228"/>
                  </a:cubicBezTo>
                  <a:cubicBezTo>
                    <a:pt x="153" y="224"/>
                    <a:pt x="153" y="224"/>
                    <a:pt x="153" y="224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61" y="226"/>
                    <a:pt x="161" y="226"/>
                    <a:pt x="161" y="22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9"/>
                    <a:pt x="172" y="222"/>
                    <a:pt x="177" y="220"/>
                  </a:cubicBezTo>
                  <a:cubicBezTo>
                    <a:pt x="181" y="219"/>
                    <a:pt x="193" y="218"/>
                    <a:pt x="193" y="218"/>
                  </a:cubicBezTo>
                  <a:cubicBezTo>
                    <a:pt x="192" y="216"/>
                    <a:pt x="192" y="216"/>
                    <a:pt x="192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195" y="217"/>
                    <a:pt x="195" y="217"/>
                    <a:pt x="195" y="217"/>
                  </a:cubicBezTo>
                  <a:cubicBezTo>
                    <a:pt x="200" y="217"/>
                    <a:pt x="200" y="217"/>
                    <a:pt x="200" y="217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7" y="219"/>
                    <a:pt x="207" y="219"/>
                    <a:pt x="207" y="219"/>
                  </a:cubicBezTo>
                  <a:cubicBezTo>
                    <a:pt x="203" y="216"/>
                    <a:pt x="203" y="216"/>
                    <a:pt x="203" y="216"/>
                  </a:cubicBezTo>
                  <a:cubicBezTo>
                    <a:pt x="206" y="211"/>
                    <a:pt x="206" y="211"/>
                    <a:pt x="206" y="211"/>
                  </a:cubicBezTo>
                  <a:cubicBezTo>
                    <a:pt x="206" y="211"/>
                    <a:pt x="207" y="215"/>
                    <a:pt x="209" y="216"/>
                  </a:cubicBezTo>
                  <a:cubicBezTo>
                    <a:pt x="210" y="217"/>
                    <a:pt x="208" y="218"/>
                    <a:pt x="208" y="218"/>
                  </a:cubicBezTo>
                  <a:cubicBezTo>
                    <a:pt x="208" y="218"/>
                    <a:pt x="210" y="217"/>
                    <a:pt x="212" y="218"/>
                  </a:cubicBezTo>
                  <a:cubicBezTo>
                    <a:pt x="213" y="219"/>
                    <a:pt x="212" y="222"/>
                    <a:pt x="212" y="222"/>
                  </a:cubicBezTo>
                  <a:cubicBezTo>
                    <a:pt x="214" y="222"/>
                    <a:pt x="214" y="222"/>
                    <a:pt x="214" y="222"/>
                  </a:cubicBezTo>
                  <a:cubicBezTo>
                    <a:pt x="216" y="221"/>
                    <a:pt x="216" y="219"/>
                    <a:pt x="216" y="219"/>
                  </a:cubicBezTo>
                  <a:cubicBezTo>
                    <a:pt x="216" y="219"/>
                    <a:pt x="221" y="218"/>
                    <a:pt x="223" y="217"/>
                  </a:cubicBezTo>
                  <a:cubicBezTo>
                    <a:pt x="225" y="216"/>
                    <a:pt x="226" y="212"/>
                    <a:pt x="228" y="213"/>
                  </a:cubicBezTo>
                  <a:cubicBezTo>
                    <a:pt x="229" y="213"/>
                    <a:pt x="227" y="216"/>
                    <a:pt x="227" y="216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40" y="207"/>
                    <a:pt x="240" y="207"/>
                    <a:pt x="240" y="207"/>
                  </a:cubicBezTo>
                  <a:cubicBezTo>
                    <a:pt x="236" y="208"/>
                    <a:pt x="236" y="208"/>
                    <a:pt x="236" y="208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3" y="206"/>
                    <a:pt x="243" y="206"/>
                    <a:pt x="243" y="206"/>
                  </a:cubicBezTo>
                  <a:cubicBezTo>
                    <a:pt x="245" y="204"/>
                    <a:pt x="245" y="204"/>
                    <a:pt x="245" y="204"/>
                  </a:cubicBezTo>
                  <a:cubicBezTo>
                    <a:pt x="243" y="201"/>
                    <a:pt x="243" y="201"/>
                    <a:pt x="243" y="201"/>
                  </a:cubicBezTo>
                  <a:cubicBezTo>
                    <a:pt x="243" y="201"/>
                    <a:pt x="242" y="193"/>
                    <a:pt x="243" y="194"/>
                  </a:cubicBezTo>
                  <a:cubicBezTo>
                    <a:pt x="244" y="194"/>
                    <a:pt x="244" y="199"/>
                    <a:pt x="245" y="201"/>
                  </a:cubicBezTo>
                  <a:cubicBezTo>
                    <a:pt x="245" y="204"/>
                    <a:pt x="254" y="202"/>
                    <a:pt x="254" y="202"/>
                  </a:cubicBezTo>
                  <a:cubicBezTo>
                    <a:pt x="254" y="200"/>
                    <a:pt x="254" y="200"/>
                    <a:pt x="254" y="200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258" y="195"/>
                    <a:pt x="258" y="195"/>
                    <a:pt x="258" y="195"/>
                  </a:cubicBezTo>
                  <a:cubicBezTo>
                    <a:pt x="262" y="197"/>
                    <a:pt x="262" y="197"/>
                    <a:pt x="262" y="197"/>
                  </a:cubicBezTo>
                  <a:cubicBezTo>
                    <a:pt x="264" y="195"/>
                    <a:pt x="264" y="195"/>
                    <a:pt x="264" y="195"/>
                  </a:cubicBezTo>
                  <a:cubicBezTo>
                    <a:pt x="258" y="190"/>
                    <a:pt x="258" y="190"/>
                    <a:pt x="258" y="190"/>
                  </a:cubicBezTo>
                  <a:cubicBezTo>
                    <a:pt x="259" y="189"/>
                    <a:pt x="261" y="191"/>
                    <a:pt x="262" y="192"/>
                  </a:cubicBezTo>
                  <a:cubicBezTo>
                    <a:pt x="263" y="193"/>
                    <a:pt x="268" y="193"/>
                    <a:pt x="268" y="193"/>
                  </a:cubicBezTo>
                  <a:cubicBezTo>
                    <a:pt x="268" y="191"/>
                    <a:pt x="268" y="191"/>
                    <a:pt x="268" y="191"/>
                  </a:cubicBezTo>
                  <a:cubicBezTo>
                    <a:pt x="268" y="191"/>
                    <a:pt x="265" y="191"/>
                    <a:pt x="264" y="190"/>
                  </a:cubicBezTo>
                  <a:cubicBezTo>
                    <a:pt x="263" y="190"/>
                    <a:pt x="264" y="189"/>
                    <a:pt x="263" y="187"/>
                  </a:cubicBezTo>
                  <a:cubicBezTo>
                    <a:pt x="263" y="186"/>
                    <a:pt x="257" y="181"/>
                    <a:pt x="257" y="181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63" y="183"/>
                    <a:pt x="263" y="183"/>
                    <a:pt x="263" y="183"/>
                  </a:cubicBezTo>
                  <a:cubicBezTo>
                    <a:pt x="263" y="183"/>
                    <a:pt x="265" y="189"/>
                    <a:pt x="269" y="190"/>
                  </a:cubicBezTo>
                  <a:cubicBezTo>
                    <a:pt x="273" y="191"/>
                    <a:pt x="273" y="187"/>
                    <a:pt x="273" y="187"/>
                  </a:cubicBezTo>
                  <a:cubicBezTo>
                    <a:pt x="276" y="187"/>
                    <a:pt x="276" y="187"/>
                    <a:pt x="276" y="187"/>
                  </a:cubicBezTo>
                  <a:cubicBezTo>
                    <a:pt x="276" y="184"/>
                    <a:pt x="276" y="184"/>
                    <a:pt x="276" y="184"/>
                  </a:cubicBezTo>
                  <a:cubicBezTo>
                    <a:pt x="278" y="181"/>
                    <a:pt x="278" y="181"/>
                    <a:pt x="278" y="181"/>
                  </a:cubicBezTo>
                  <a:cubicBezTo>
                    <a:pt x="277" y="180"/>
                    <a:pt x="277" y="180"/>
                    <a:pt x="277" y="180"/>
                  </a:cubicBezTo>
                  <a:cubicBezTo>
                    <a:pt x="273" y="184"/>
                    <a:pt x="273" y="184"/>
                    <a:pt x="273" y="184"/>
                  </a:cubicBezTo>
                  <a:cubicBezTo>
                    <a:pt x="272" y="183"/>
                    <a:pt x="272" y="183"/>
                    <a:pt x="272" y="183"/>
                  </a:cubicBezTo>
                  <a:cubicBezTo>
                    <a:pt x="273" y="181"/>
                    <a:pt x="273" y="181"/>
                    <a:pt x="273" y="181"/>
                  </a:cubicBezTo>
                  <a:cubicBezTo>
                    <a:pt x="272" y="180"/>
                    <a:pt x="272" y="180"/>
                    <a:pt x="272" y="180"/>
                  </a:cubicBezTo>
                  <a:cubicBezTo>
                    <a:pt x="276" y="178"/>
                    <a:pt x="276" y="178"/>
                    <a:pt x="276" y="178"/>
                  </a:cubicBezTo>
                  <a:cubicBezTo>
                    <a:pt x="276" y="177"/>
                    <a:pt x="276" y="177"/>
                    <a:pt x="276" y="177"/>
                  </a:cubicBezTo>
                  <a:cubicBezTo>
                    <a:pt x="271" y="177"/>
                    <a:pt x="271" y="177"/>
                    <a:pt x="271" y="177"/>
                  </a:cubicBezTo>
                  <a:cubicBezTo>
                    <a:pt x="269" y="174"/>
                    <a:pt x="269" y="174"/>
                    <a:pt x="269" y="174"/>
                  </a:cubicBezTo>
                  <a:cubicBezTo>
                    <a:pt x="274" y="175"/>
                    <a:pt x="274" y="175"/>
                    <a:pt x="274" y="175"/>
                  </a:cubicBezTo>
                  <a:cubicBezTo>
                    <a:pt x="274" y="175"/>
                    <a:pt x="278" y="176"/>
                    <a:pt x="278" y="173"/>
                  </a:cubicBezTo>
                  <a:cubicBezTo>
                    <a:pt x="279" y="170"/>
                    <a:pt x="269" y="170"/>
                    <a:pt x="269" y="170"/>
                  </a:cubicBezTo>
                  <a:cubicBezTo>
                    <a:pt x="268" y="169"/>
                    <a:pt x="268" y="169"/>
                    <a:pt x="268" y="169"/>
                  </a:cubicBezTo>
                  <a:cubicBezTo>
                    <a:pt x="274" y="169"/>
                    <a:pt x="274" y="169"/>
                    <a:pt x="274" y="169"/>
                  </a:cubicBezTo>
                  <a:cubicBezTo>
                    <a:pt x="276" y="169"/>
                    <a:pt x="275" y="165"/>
                    <a:pt x="275" y="165"/>
                  </a:cubicBezTo>
                  <a:cubicBezTo>
                    <a:pt x="275" y="165"/>
                    <a:pt x="277" y="166"/>
                    <a:pt x="279" y="166"/>
                  </a:cubicBezTo>
                  <a:cubicBezTo>
                    <a:pt x="281" y="166"/>
                    <a:pt x="281" y="162"/>
                    <a:pt x="281" y="162"/>
                  </a:cubicBezTo>
                  <a:cubicBezTo>
                    <a:pt x="284" y="160"/>
                    <a:pt x="284" y="160"/>
                    <a:pt x="284" y="160"/>
                  </a:cubicBezTo>
                  <a:cubicBezTo>
                    <a:pt x="285" y="160"/>
                    <a:pt x="284" y="155"/>
                    <a:pt x="284" y="155"/>
                  </a:cubicBezTo>
                  <a:close/>
                  <a:moveTo>
                    <a:pt x="61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1" y="51"/>
                  </a:lnTo>
                  <a:close/>
                  <a:moveTo>
                    <a:pt x="48" y="210"/>
                  </a:moveTo>
                  <a:cubicBezTo>
                    <a:pt x="52" y="208"/>
                    <a:pt x="52" y="208"/>
                    <a:pt x="52" y="208"/>
                  </a:cubicBezTo>
                  <a:cubicBezTo>
                    <a:pt x="50" y="205"/>
                    <a:pt x="50" y="205"/>
                    <a:pt x="50" y="205"/>
                  </a:cubicBezTo>
                  <a:lnTo>
                    <a:pt x="48" y="210"/>
                  </a:lnTo>
                  <a:close/>
                  <a:moveTo>
                    <a:pt x="122" y="222"/>
                  </a:moveTo>
                  <a:cubicBezTo>
                    <a:pt x="122" y="222"/>
                    <a:pt x="121" y="225"/>
                    <a:pt x="124" y="224"/>
                  </a:cubicBezTo>
                  <a:cubicBezTo>
                    <a:pt x="126" y="224"/>
                    <a:pt x="125" y="221"/>
                    <a:pt x="122" y="2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Färöer" descr="© INSCALE GmbH, 05.05.2010&#10;http://www.presentationload.com/">
              <a:extLst>
                <a:ext uri="{FF2B5EF4-FFF2-40B4-BE49-F238E27FC236}">
                  <a16:creationId xmlns:a16="http://schemas.microsoft.com/office/drawing/2014/main" id="{C77D21BE-99F6-E342-B64C-CD873B8C1C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13677" y="2531052"/>
              <a:ext cx="123768" cy="146871"/>
            </a:xfrm>
            <a:custGeom>
              <a:avLst/>
              <a:gdLst/>
              <a:ahLst/>
              <a:cxnLst>
                <a:cxn ang="0">
                  <a:pos x="7" y="13"/>
                </a:cxn>
                <a:cxn ang="0">
                  <a:pos x="0" y="11"/>
                </a:cxn>
                <a:cxn ang="0">
                  <a:pos x="32" y="30"/>
                </a:cxn>
                <a:cxn ang="0">
                  <a:pos x="29" y="30"/>
                </a:cxn>
                <a:cxn ang="0">
                  <a:pos x="21" y="22"/>
                </a:cxn>
                <a:cxn ang="0">
                  <a:pos x="21" y="26"/>
                </a:cxn>
                <a:cxn ang="0">
                  <a:pos x="19" y="40"/>
                </a:cxn>
                <a:cxn ang="0">
                  <a:pos x="21" y="37"/>
                </a:cxn>
                <a:cxn ang="0">
                  <a:pos x="20" y="30"/>
                </a:cxn>
                <a:cxn ang="0">
                  <a:pos x="23" y="34"/>
                </a:cxn>
                <a:cxn ang="0">
                  <a:pos x="28" y="36"/>
                </a:cxn>
                <a:cxn ang="0">
                  <a:pos x="20" y="30"/>
                </a:cxn>
                <a:cxn ang="0">
                  <a:pos x="19" y="16"/>
                </a:cxn>
                <a:cxn ang="0">
                  <a:pos x="14" y="13"/>
                </a:cxn>
                <a:cxn ang="0">
                  <a:pos x="10" y="11"/>
                </a:cxn>
                <a:cxn ang="0">
                  <a:pos x="11" y="17"/>
                </a:cxn>
                <a:cxn ang="0">
                  <a:pos x="27" y="21"/>
                </a:cxn>
                <a:cxn ang="0">
                  <a:pos x="23" y="11"/>
                </a:cxn>
                <a:cxn ang="0">
                  <a:pos x="19" y="6"/>
                </a:cxn>
                <a:cxn ang="0">
                  <a:pos x="22" y="16"/>
                </a:cxn>
                <a:cxn ang="0">
                  <a:pos x="27" y="30"/>
                </a:cxn>
                <a:cxn ang="0">
                  <a:pos x="27" y="21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4" y="14"/>
                </a:cxn>
                <a:cxn ang="0">
                  <a:pos x="32" y="9"/>
                </a:cxn>
                <a:cxn ang="0">
                  <a:pos x="28" y="6"/>
                </a:cxn>
                <a:cxn ang="0">
                  <a:pos x="29" y="2"/>
                </a:cxn>
                <a:cxn ang="0">
                  <a:pos x="24" y="10"/>
                </a:cxn>
                <a:cxn ang="0">
                  <a:pos x="31" y="14"/>
                </a:cxn>
                <a:cxn ang="0">
                  <a:pos x="30" y="20"/>
                </a:cxn>
                <a:cxn ang="0">
                  <a:pos x="35" y="18"/>
                </a:cxn>
                <a:cxn ang="0">
                  <a:pos x="31" y="14"/>
                </a:cxn>
                <a:cxn ang="0">
                  <a:pos x="38" y="10"/>
                </a:cxn>
                <a:cxn ang="0">
                  <a:pos x="37" y="14"/>
                </a:cxn>
                <a:cxn ang="0">
                  <a:pos x="42" y="13"/>
                </a:cxn>
                <a:cxn ang="0">
                  <a:pos x="38" y="5"/>
                </a:cxn>
                <a:cxn ang="0">
                  <a:pos x="44" y="9"/>
                </a:cxn>
                <a:cxn ang="0">
                  <a:pos x="42" y="1"/>
                </a:cxn>
                <a:cxn ang="0">
                  <a:pos x="38" y="1"/>
                </a:cxn>
                <a:cxn ang="0">
                  <a:pos x="36" y="8"/>
                </a:cxn>
                <a:cxn ang="0">
                  <a:pos x="38" y="1"/>
                </a:cxn>
                <a:cxn ang="0">
                  <a:pos x="32" y="2"/>
                </a:cxn>
                <a:cxn ang="0">
                  <a:pos x="34" y="2"/>
                </a:cxn>
                <a:cxn ang="0">
                  <a:pos x="45" y="14"/>
                </a:cxn>
                <a:cxn ang="0">
                  <a:pos x="47" y="11"/>
                </a:cxn>
                <a:cxn ang="0">
                  <a:pos x="48" y="9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16" y="49"/>
                </a:cxn>
                <a:cxn ang="0">
                  <a:pos x="14" y="45"/>
                </a:cxn>
                <a:cxn ang="0">
                  <a:pos x="13" y="55"/>
                </a:cxn>
                <a:cxn ang="0">
                  <a:pos x="18" y="62"/>
                </a:cxn>
                <a:cxn ang="0">
                  <a:pos x="17" y="57"/>
                </a:cxn>
                <a:cxn ang="0">
                  <a:pos x="19" y="53"/>
                </a:cxn>
              </a:cxnLst>
              <a:rect l="0" t="0" r="r" b="b"/>
              <a:pathLst>
                <a:path w="51" h="62">
                  <a:moveTo>
                    <a:pt x="0" y="11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1"/>
                  </a:lnTo>
                  <a:close/>
                  <a:moveTo>
                    <a:pt x="29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30"/>
                  </a:lnTo>
                  <a:close/>
                  <a:moveTo>
                    <a:pt x="22" y="27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2" y="27"/>
                  </a:lnTo>
                  <a:close/>
                  <a:moveTo>
                    <a:pt x="19" y="40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7"/>
                    <a:pt x="21" y="37"/>
                    <a:pt x="21" y="37"/>
                  </a:cubicBezTo>
                  <a:lnTo>
                    <a:pt x="19" y="40"/>
                  </a:lnTo>
                  <a:close/>
                  <a:moveTo>
                    <a:pt x="20" y="30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7" y="34"/>
                    <a:pt x="24" y="32"/>
                  </a:cubicBezTo>
                  <a:cubicBezTo>
                    <a:pt x="23" y="31"/>
                    <a:pt x="20" y="30"/>
                    <a:pt x="20" y="30"/>
                  </a:cubicBezTo>
                  <a:close/>
                  <a:moveTo>
                    <a:pt x="15" y="20"/>
                  </a:moveTo>
                  <a:cubicBezTo>
                    <a:pt x="18" y="19"/>
                    <a:pt x="19" y="16"/>
                    <a:pt x="19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2" y="13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2" y="20"/>
                    <a:pt x="15" y="20"/>
                  </a:cubicBezTo>
                  <a:close/>
                  <a:moveTo>
                    <a:pt x="27" y="21"/>
                  </a:moveTo>
                  <a:cubicBezTo>
                    <a:pt x="27" y="21"/>
                    <a:pt x="28" y="19"/>
                    <a:pt x="27" y="18"/>
                  </a:cubicBezTo>
                  <a:cubicBezTo>
                    <a:pt x="26" y="17"/>
                    <a:pt x="23" y="11"/>
                    <a:pt x="23" y="11"/>
                  </a:cubicBezTo>
                  <a:cubicBezTo>
                    <a:pt x="23" y="11"/>
                    <a:pt x="23" y="3"/>
                    <a:pt x="21" y="3"/>
                  </a:cubicBezTo>
                  <a:cubicBezTo>
                    <a:pt x="20" y="3"/>
                    <a:pt x="19" y="6"/>
                    <a:pt x="19" y="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4"/>
                    <a:pt x="22" y="13"/>
                    <a:pt x="22" y="16"/>
                  </a:cubicBezTo>
                  <a:cubicBezTo>
                    <a:pt x="22" y="19"/>
                    <a:pt x="23" y="25"/>
                    <a:pt x="24" y="26"/>
                  </a:cubicBezTo>
                  <a:cubicBezTo>
                    <a:pt x="26" y="26"/>
                    <a:pt x="27" y="30"/>
                    <a:pt x="27" y="30"/>
                  </a:cubicBezTo>
                  <a:cubicBezTo>
                    <a:pt x="27" y="30"/>
                    <a:pt x="29" y="26"/>
                    <a:pt x="29" y="24"/>
                  </a:cubicBezTo>
                  <a:cubicBezTo>
                    <a:pt x="28" y="22"/>
                    <a:pt x="27" y="21"/>
                    <a:pt x="27" y="21"/>
                  </a:cubicBezTo>
                  <a:close/>
                  <a:moveTo>
                    <a:pt x="28" y="13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28" y="13"/>
                  </a:lnTo>
                  <a:close/>
                  <a:moveTo>
                    <a:pt x="31" y="14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1" y="14"/>
                  </a:lnTo>
                  <a:close/>
                  <a:moveTo>
                    <a:pt x="38" y="5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9" y="5"/>
                    <a:pt x="39" y="5"/>
                    <a:pt x="39" y="5"/>
                  </a:cubicBezTo>
                  <a:lnTo>
                    <a:pt x="38" y="5"/>
                  </a:lnTo>
                  <a:close/>
                  <a:moveTo>
                    <a:pt x="43" y="8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1"/>
                    <a:pt x="42" y="1"/>
                    <a:pt x="42" y="1"/>
                  </a:cubicBezTo>
                  <a:lnTo>
                    <a:pt x="43" y="8"/>
                  </a:lnTo>
                  <a:close/>
                  <a:moveTo>
                    <a:pt x="38" y="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8" y="1"/>
                  </a:lnTo>
                  <a:close/>
                  <a:moveTo>
                    <a:pt x="34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4" y="9"/>
                    <a:pt x="34" y="9"/>
                    <a:pt x="34" y="9"/>
                  </a:cubicBezTo>
                  <a:lnTo>
                    <a:pt x="34" y="2"/>
                  </a:lnTo>
                  <a:close/>
                  <a:moveTo>
                    <a:pt x="45" y="11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45" y="11"/>
                  </a:lnTo>
                  <a:close/>
                  <a:moveTo>
                    <a:pt x="48" y="5"/>
                  </a:moveTo>
                  <a:cubicBezTo>
                    <a:pt x="45" y="6"/>
                    <a:pt x="48" y="7"/>
                    <a:pt x="48" y="7"/>
                  </a:cubicBezTo>
                  <a:cubicBezTo>
                    <a:pt x="50" y="7"/>
                    <a:pt x="51" y="4"/>
                    <a:pt x="48" y="5"/>
                  </a:cubicBezTo>
                  <a:close/>
                  <a:moveTo>
                    <a:pt x="20" y="51"/>
                  </a:moveTo>
                  <a:cubicBezTo>
                    <a:pt x="18" y="50"/>
                    <a:pt x="16" y="50"/>
                    <a:pt x="16" y="49"/>
                  </a:cubicBezTo>
                  <a:cubicBezTo>
                    <a:pt x="16" y="48"/>
                    <a:pt x="17" y="47"/>
                    <a:pt x="17" y="46"/>
                  </a:cubicBezTo>
                  <a:cubicBezTo>
                    <a:pt x="17" y="45"/>
                    <a:pt x="15" y="42"/>
                    <a:pt x="14" y="45"/>
                  </a:cubicBezTo>
                  <a:cubicBezTo>
                    <a:pt x="13" y="47"/>
                    <a:pt x="14" y="53"/>
                    <a:pt x="14" y="53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1" y="53"/>
                    <a:pt x="20" y="5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" name="Georgien" descr="© INSCALE GmbH, 05.05.2010&#10;http://www.presentationload.com/">
              <a:extLst>
                <a:ext uri="{FF2B5EF4-FFF2-40B4-BE49-F238E27FC236}">
                  <a16:creationId xmlns:a16="http://schemas.microsoft.com/office/drawing/2014/main" id="{956358CE-417E-9643-A5AF-F3643670F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1069" y="4836447"/>
              <a:ext cx="872980" cy="364705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" name="Armenien" descr="© INSCALE GmbH, 05.05.2010&#10;http://www.presentationload.com/">
              <a:extLst>
                <a:ext uri="{FF2B5EF4-FFF2-40B4-BE49-F238E27FC236}">
                  <a16:creationId xmlns:a16="http://schemas.microsoft.com/office/drawing/2014/main" id="{57C09820-4D4F-3E41-AF2B-78E21DF7BB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44295" y="5046029"/>
              <a:ext cx="506627" cy="282191"/>
            </a:xfrm>
            <a:custGeom>
              <a:avLst/>
              <a:gdLst/>
              <a:ahLst/>
              <a:cxnLst>
                <a:cxn ang="0">
                  <a:pos x="103" y="103"/>
                </a:cxn>
                <a:cxn ang="0">
                  <a:pos x="0" y="47"/>
                </a:cxn>
                <a:cxn ang="0">
                  <a:pos x="207" y="104"/>
                </a:cxn>
                <a:cxn ang="0">
                  <a:pos x="196" y="91"/>
                </a:cxn>
                <a:cxn ang="0">
                  <a:pos x="198" y="83"/>
                </a:cxn>
                <a:cxn ang="0">
                  <a:pos x="190" y="74"/>
                </a:cxn>
                <a:cxn ang="0">
                  <a:pos x="174" y="74"/>
                </a:cxn>
                <a:cxn ang="0">
                  <a:pos x="149" y="70"/>
                </a:cxn>
                <a:cxn ang="0">
                  <a:pos x="133" y="66"/>
                </a:cxn>
                <a:cxn ang="0">
                  <a:pos x="142" y="41"/>
                </a:cxn>
                <a:cxn ang="0">
                  <a:pos x="104" y="35"/>
                </a:cxn>
                <a:cxn ang="0">
                  <a:pos x="109" y="13"/>
                </a:cxn>
                <a:cxn ang="0">
                  <a:pos x="96" y="9"/>
                </a:cxn>
                <a:cxn ang="0">
                  <a:pos x="88" y="13"/>
                </a:cxn>
                <a:cxn ang="0">
                  <a:pos x="82" y="11"/>
                </a:cxn>
                <a:cxn ang="0">
                  <a:pos x="81" y="5"/>
                </a:cxn>
                <a:cxn ang="0">
                  <a:pos x="66" y="5"/>
                </a:cxn>
                <a:cxn ang="0">
                  <a:pos x="57" y="8"/>
                </a:cxn>
                <a:cxn ang="0">
                  <a:pos x="43" y="24"/>
                </a:cxn>
                <a:cxn ang="0">
                  <a:pos x="28" y="29"/>
                </a:cxn>
                <a:cxn ang="0">
                  <a:pos x="16" y="40"/>
                </a:cxn>
                <a:cxn ang="0">
                  <a:pos x="1" y="49"/>
                </a:cxn>
                <a:cxn ang="0">
                  <a:pos x="22" y="60"/>
                </a:cxn>
                <a:cxn ang="0">
                  <a:pos x="59" y="103"/>
                </a:cxn>
                <a:cxn ang="0">
                  <a:pos x="103" y="103"/>
                </a:cxn>
                <a:cxn ang="0">
                  <a:pos x="125" y="101"/>
                </a:cxn>
                <a:cxn ang="0">
                  <a:pos x="130" y="97"/>
                </a:cxn>
                <a:cxn ang="0">
                  <a:pos x="144" y="97"/>
                </a:cxn>
                <a:cxn ang="0">
                  <a:pos x="161" y="99"/>
                </a:cxn>
                <a:cxn ang="0">
                  <a:pos x="177" y="105"/>
                </a:cxn>
                <a:cxn ang="0">
                  <a:pos x="201" y="112"/>
                </a:cxn>
                <a:cxn ang="0">
                  <a:pos x="212" y="106"/>
                </a:cxn>
              </a:cxnLst>
              <a:rect l="0" t="0" r="r" b="b"/>
              <a:pathLst>
                <a:path w="212" h="119">
                  <a:moveTo>
                    <a:pt x="103" y="103"/>
                  </a:moveTo>
                  <a:cubicBezTo>
                    <a:pt x="103" y="103"/>
                    <a:pt x="103" y="103"/>
                    <a:pt x="103" y="103"/>
                  </a:cubicBezTo>
                  <a:moveTo>
                    <a:pt x="1" y="49"/>
                  </a:moveTo>
                  <a:cubicBezTo>
                    <a:pt x="1" y="48"/>
                    <a:pt x="1" y="48"/>
                    <a:pt x="0" y="47"/>
                  </a:cubicBezTo>
                  <a:cubicBezTo>
                    <a:pt x="1" y="48"/>
                    <a:pt x="1" y="48"/>
                    <a:pt x="1" y="49"/>
                  </a:cubicBezTo>
                  <a:close/>
                  <a:moveTo>
                    <a:pt x="207" y="104"/>
                  </a:moveTo>
                  <a:cubicBezTo>
                    <a:pt x="207" y="104"/>
                    <a:pt x="206" y="99"/>
                    <a:pt x="205" y="96"/>
                  </a:cubicBezTo>
                  <a:cubicBezTo>
                    <a:pt x="205" y="92"/>
                    <a:pt x="196" y="94"/>
                    <a:pt x="196" y="91"/>
                  </a:cubicBezTo>
                  <a:cubicBezTo>
                    <a:pt x="196" y="88"/>
                    <a:pt x="200" y="90"/>
                    <a:pt x="203" y="88"/>
                  </a:cubicBezTo>
                  <a:cubicBezTo>
                    <a:pt x="207" y="86"/>
                    <a:pt x="203" y="85"/>
                    <a:pt x="198" y="83"/>
                  </a:cubicBezTo>
                  <a:cubicBezTo>
                    <a:pt x="193" y="82"/>
                    <a:pt x="189" y="83"/>
                    <a:pt x="186" y="81"/>
                  </a:cubicBezTo>
                  <a:cubicBezTo>
                    <a:pt x="185" y="77"/>
                    <a:pt x="188" y="75"/>
                    <a:pt x="190" y="74"/>
                  </a:cubicBezTo>
                  <a:cubicBezTo>
                    <a:pt x="192" y="73"/>
                    <a:pt x="191" y="69"/>
                    <a:pt x="183" y="69"/>
                  </a:cubicBezTo>
                  <a:cubicBezTo>
                    <a:pt x="176" y="69"/>
                    <a:pt x="176" y="73"/>
                    <a:pt x="174" y="74"/>
                  </a:cubicBezTo>
                  <a:cubicBezTo>
                    <a:pt x="170" y="75"/>
                    <a:pt x="163" y="70"/>
                    <a:pt x="160" y="68"/>
                  </a:cubicBezTo>
                  <a:cubicBezTo>
                    <a:pt x="157" y="67"/>
                    <a:pt x="151" y="70"/>
                    <a:pt x="149" y="70"/>
                  </a:cubicBezTo>
                  <a:cubicBezTo>
                    <a:pt x="147" y="70"/>
                    <a:pt x="148" y="67"/>
                    <a:pt x="146" y="66"/>
                  </a:cubicBezTo>
                  <a:cubicBezTo>
                    <a:pt x="144" y="65"/>
                    <a:pt x="136" y="68"/>
                    <a:pt x="133" y="66"/>
                  </a:cubicBezTo>
                  <a:cubicBezTo>
                    <a:pt x="130" y="64"/>
                    <a:pt x="144" y="59"/>
                    <a:pt x="146" y="56"/>
                  </a:cubicBezTo>
                  <a:cubicBezTo>
                    <a:pt x="148" y="53"/>
                    <a:pt x="146" y="43"/>
                    <a:pt x="142" y="41"/>
                  </a:cubicBezTo>
                  <a:cubicBezTo>
                    <a:pt x="139" y="38"/>
                    <a:pt x="131" y="43"/>
                    <a:pt x="123" y="41"/>
                  </a:cubicBezTo>
                  <a:cubicBezTo>
                    <a:pt x="114" y="39"/>
                    <a:pt x="104" y="35"/>
                    <a:pt x="104" y="35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4" y="23"/>
                    <a:pt x="111" y="20"/>
                    <a:pt x="109" y="13"/>
                  </a:cubicBezTo>
                  <a:cubicBezTo>
                    <a:pt x="107" y="8"/>
                    <a:pt x="96" y="13"/>
                    <a:pt x="96" y="1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12"/>
                    <a:pt x="88" y="13"/>
                  </a:cubicBezTo>
                  <a:cubicBezTo>
                    <a:pt x="84" y="13"/>
                    <a:pt x="87" y="19"/>
                    <a:pt x="84" y="19"/>
                  </a:cubicBezTo>
                  <a:cubicBezTo>
                    <a:pt x="81" y="19"/>
                    <a:pt x="84" y="12"/>
                    <a:pt x="82" y="11"/>
                  </a:cubicBezTo>
                  <a:cubicBezTo>
                    <a:pt x="80" y="10"/>
                    <a:pt x="77" y="17"/>
                    <a:pt x="74" y="17"/>
                  </a:cubicBezTo>
                  <a:cubicBezTo>
                    <a:pt x="70" y="16"/>
                    <a:pt x="82" y="10"/>
                    <a:pt x="81" y="5"/>
                  </a:cubicBezTo>
                  <a:cubicBezTo>
                    <a:pt x="80" y="0"/>
                    <a:pt x="74" y="5"/>
                    <a:pt x="71" y="6"/>
                  </a:cubicBezTo>
                  <a:cubicBezTo>
                    <a:pt x="70" y="6"/>
                    <a:pt x="68" y="5"/>
                    <a:pt x="66" y="5"/>
                  </a:cubicBezTo>
                  <a:cubicBezTo>
                    <a:pt x="66" y="6"/>
                    <a:pt x="66" y="6"/>
                    <a:pt x="65" y="7"/>
                  </a:cubicBezTo>
                  <a:cubicBezTo>
                    <a:pt x="62" y="10"/>
                    <a:pt x="57" y="8"/>
                    <a:pt x="57" y="8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48" y="22"/>
                    <a:pt x="43" y="24"/>
                  </a:cubicBezTo>
                  <a:cubicBezTo>
                    <a:pt x="36" y="27"/>
                    <a:pt x="31" y="22"/>
                    <a:pt x="31" y="22"/>
                  </a:cubicBezTo>
                  <a:cubicBezTo>
                    <a:pt x="31" y="22"/>
                    <a:pt x="30" y="27"/>
                    <a:pt x="28" y="29"/>
                  </a:cubicBezTo>
                  <a:cubicBezTo>
                    <a:pt x="26" y="31"/>
                    <a:pt x="17" y="36"/>
                    <a:pt x="17" y="36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0" y="43"/>
                    <a:pt x="6" y="43"/>
                  </a:cubicBezTo>
                  <a:cubicBezTo>
                    <a:pt x="5" y="43"/>
                    <a:pt x="3" y="45"/>
                    <a:pt x="1" y="49"/>
                  </a:cubicBezTo>
                  <a:cubicBezTo>
                    <a:pt x="1" y="50"/>
                    <a:pt x="1" y="52"/>
                    <a:pt x="4" y="52"/>
                  </a:cubicBezTo>
                  <a:cubicBezTo>
                    <a:pt x="10" y="52"/>
                    <a:pt x="19" y="51"/>
                    <a:pt x="22" y="60"/>
                  </a:cubicBezTo>
                  <a:cubicBezTo>
                    <a:pt x="25" y="71"/>
                    <a:pt x="22" y="84"/>
                    <a:pt x="32" y="94"/>
                  </a:cubicBezTo>
                  <a:cubicBezTo>
                    <a:pt x="43" y="103"/>
                    <a:pt x="51" y="108"/>
                    <a:pt x="59" y="103"/>
                  </a:cubicBezTo>
                  <a:cubicBezTo>
                    <a:pt x="67" y="97"/>
                    <a:pt x="71" y="90"/>
                    <a:pt x="83" y="94"/>
                  </a:cubicBezTo>
                  <a:cubicBezTo>
                    <a:pt x="95" y="96"/>
                    <a:pt x="103" y="103"/>
                    <a:pt x="103" y="103"/>
                  </a:cubicBezTo>
                  <a:cubicBezTo>
                    <a:pt x="103" y="103"/>
                    <a:pt x="110" y="91"/>
                    <a:pt x="115" y="90"/>
                  </a:cubicBezTo>
                  <a:cubicBezTo>
                    <a:pt x="121" y="89"/>
                    <a:pt x="125" y="101"/>
                    <a:pt x="125" y="101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4" y="97"/>
                    <a:pt x="150" y="86"/>
                    <a:pt x="155" y="86"/>
                  </a:cubicBezTo>
                  <a:cubicBezTo>
                    <a:pt x="160" y="86"/>
                    <a:pt x="161" y="99"/>
                    <a:pt x="161" y="99"/>
                  </a:cubicBezTo>
                  <a:cubicBezTo>
                    <a:pt x="161" y="99"/>
                    <a:pt x="169" y="97"/>
                    <a:pt x="173" y="97"/>
                  </a:cubicBezTo>
                  <a:cubicBezTo>
                    <a:pt x="177" y="98"/>
                    <a:pt x="177" y="105"/>
                    <a:pt x="177" y="105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01" y="112"/>
                    <a:pt x="201" y="112"/>
                    <a:pt x="201" y="112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12" y="106"/>
                    <a:pt x="212" y="106"/>
                    <a:pt x="212" y="106"/>
                  </a:cubicBezTo>
                  <a:lnTo>
                    <a:pt x="207" y="1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" name="Türkei" descr="© INSCALE GmbH, 05.05.2010&#10;http://www.presentationload.com/">
              <a:extLst>
                <a:ext uri="{FF2B5EF4-FFF2-40B4-BE49-F238E27FC236}">
                  <a16:creationId xmlns:a16="http://schemas.microsoft.com/office/drawing/2014/main" id="{B45B3F96-2873-B042-BF63-AC5FC2A442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39245" y="5128541"/>
              <a:ext cx="2440715" cy="1366405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" name="Li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051CAE99-3A6A-294A-8FCF-1890FAB22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4370" y="6452040"/>
              <a:ext cx="151823" cy="306945"/>
            </a:xfrm>
            <a:custGeom>
              <a:avLst/>
              <a:gdLst/>
              <a:ahLst/>
              <a:cxnLst>
                <a:cxn ang="0">
                  <a:pos x="26" y="106"/>
                </a:cxn>
                <a:cxn ang="0">
                  <a:pos x="37" y="87"/>
                </a:cxn>
                <a:cxn ang="0">
                  <a:pos x="36" y="83"/>
                </a:cxn>
                <a:cxn ang="0">
                  <a:pos x="43" y="75"/>
                </a:cxn>
                <a:cxn ang="0">
                  <a:pos x="29" y="74"/>
                </a:cxn>
                <a:cxn ang="0">
                  <a:pos x="31" y="67"/>
                </a:cxn>
                <a:cxn ang="0">
                  <a:pos x="35" y="64"/>
                </a:cxn>
                <a:cxn ang="0">
                  <a:pos x="54" y="56"/>
                </a:cxn>
                <a:cxn ang="0">
                  <a:pos x="48" y="51"/>
                </a:cxn>
                <a:cxn ang="0">
                  <a:pos x="46" y="47"/>
                </a:cxn>
                <a:cxn ang="0">
                  <a:pos x="58" y="45"/>
                </a:cxn>
                <a:cxn ang="0">
                  <a:pos x="48" y="42"/>
                </a:cxn>
                <a:cxn ang="0">
                  <a:pos x="61" y="27"/>
                </a:cxn>
                <a:cxn ang="0">
                  <a:pos x="48" y="17"/>
                </a:cxn>
                <a:cxn ang="0">
                  <a:pos x="48" y="11"/>
                </a:cxn>
                <a:cxn ang="0">
                  <a:pos x="35" y="10"/>
                </a:cxn>
                <a:cxn ang="0">
                  <a:pos x="38" y="0"/>
                </a:cxn>
                <a:cxn ang="0">
                  <a:pos x="29" y="1"/>
                </a:cxn>
                <a:cxn ang="0">
                  <a:pos x="28" y="6"/>
                </a:cxn>
                <a:cxn ang="0">
                  <a:pos x="20" y="7"/>
                </a:cxn>
                <a:cxn ang="0">
                  <a:pos x="14" y="12"/>
                </a:cxn>
                <a:cxn ang="0">
                  <a:pos x="15" y="20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1" y="38"/>
                </a:cxn>
                <a:cxn ang="0">
                  <a:pos x="2" y="49"/>
                </a:cxn>
                <a:cxn ang="0">
                  <a:pos x="10" y="56"/>
                </a:cxn>
                <a:cxn ang="0">
                  <a:pos x="6" y="63"/>
                </a:cxn>
                <a:cxn ang="0">
                  <a:pos x="3" y="77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3" y="109"/>
                </a:cxn>
                <a:cxn ang="0">
                  <a:pos x="0" y="112"/>
                </a:cxn>
                <a:cxn ang="0">
                  <a:pos x="0" y="115"/>
                </a:cxn>
                <a:cxn ang="0">
                  <a:pos x="3" y="115"/>
                </a:cxn>
                <a:cxn ang="0">
                  <a:pos x="2" y="126"/>
                </a:cxn>
                <a:cxn ang="0">
                  <a:pos x="8" y="125"/>
                </a:cxn>
                <a:cxn ang="0">
                  <a:pos x="12" y="121"/>
                </a:cxn>
                <a:cxn ang="0">
                  <a:pos x="19" y="122"/>
                </a:cxn>
                <a:cxn ang="0">
                  <a:pos x="19" y="112"/>
                </a:cxn>
                <a:cxn ang="0">
                  <a:pos x="19" y="106"/>
                </a:cxn>
                <a:cxn ang="0">
                  <a:pos x="26" y="106"/>
                </a:cxn>
              </a:cxnLst>
              <a:rect l="0" t="0" r="r" b="b"/>
              <a:pathLst>
                <a:path w="63" h="129">
                  <a:moveTo>
                    <a:pt x="26" y="106"/>
                  </a:moveTo>
                  <a:cubicBezTo>
                    <a:pt x="37" y="87"/>
                    <a:pt x="37" y="87"/>
                    <a:pt x="37" y="87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3"/>
                    <a:pt x="43" y="79"/>
                    <a:pt x="43" y="75"/>
                  </a:cubicBezTo>
                  <a:cubicBezTo>
                    <a:pt x="44" y="72"/>
                    <a:pt x="29" y="74"/>
                    <a:pt x="29" y="74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5" y="66"/>
                    <a:pt x="35" y="64"/>
                  </a:cubicBezTo>
                  <a:cubicBezTo>
                    <a:pt x="35" y="61"/>
                    <a:pt x="54" y="56"/>
                    <a:pt x="54" y="56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58" y="32"/>
                    <a:pt x="61" y="27"/>
                  </a:cubicBezTo>
                  <a:cubicBezTo>
                    <a:pt x="63" y="22"/>
                    <a:pt x="48" y="17"/>
                    <a:pt x="48" y="1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9" y="24"/>
                    <a:pt x="6" y="28"/>
                  </a:cubicBezTo>
                  <a:cubicBezTo>
                    <a:pt x="4" y="31"/>
                    <a:pt x="6" y="33"/>
                    <a:pt x="5" y="36"/>
                  </a:cubicBezTo>
                  <a:cubicBezTo>
                    <a:pt x="3" y="38"/>
                    <a:pt x="1" y="38"/>
                    <a:pt x="1" y="3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0" y="52"/>
                    <a:pt x="10" y="56"/>
                  </a:cubicBezTo>
                  <a:cubicBezTo>
                    <a:pt x="10" y="60"/>
                    <a:pt x="6" y="63"/>
                    <a:pt x="6" y="63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5"/>
                    <a:pt x="3" y="115"/>
                    <a:pt x="3" y="115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2" y="126"/>
                    <a:pt x="5" y="126"/>
                    <a:pt x="8" y="125"/>
                  </a:cubicBezTo>
                  <a:cubicBezTo>
                    <a:pt x="10" y="123"/>
                    <a:pt x="12" y="121"/>
                    <a:pt x="12" y="121"/>
                  </a:cubicBezTo>
                  <a:cubicBezTo>
                    <a:pt x="12" y="121"/>
                    <a:pt x="15" y="129"/>
                    <a:pt x="19" y="122"/>
                  </a:cubicBezTo>
                  <a:cubicBezTo>
                    <a:pt x="25" y="115"/>
                    <a:pt x="19" y="112"/>
                    <a:pt x="19" y="112"/>
                  </a:cubicBezTo>
                  <a:cubicBezTo>
                    <a:pt x="19" y="106"/>
                    <a:pt x="19" y="106"/>
                    <a:pt x="19" y="106"/>
                  </a:cubicBezTo>
                  <a:lnTo>
                    <a:pt x="26" y="10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" name="Syrien" descr="© INSCALE GmbH, 05.05.2010&#10;http://www.presentationload.com/">
              <a:extLst>
                <a:ext uri="{FF2B5EF4-FFF2-40B4-BE49-F238E27FC236}">
                  <a16:creationId xmlns:a16="http://schemas.microsoft.com/office/drawing/2014/main" id="{00529286-D76C-1F42-B6E2-D487CC64237A}"/>
                </a:ext>
              </a:extLst>
            </p:cNvPr>
            <p:cNvSpPr>
              <a:spLocks/>
            </p:cNvSpPr>
            <p:nvPr/>
          </p:nvSpPr>
          <p:spPr bwMode="gray">
            <a:xfrm>
              <a:off x="7879910" y="5773786"/>
              <a:ext cx="736010" cy="1028105"/>
            </a:xfrm>
            <a:custGeom>
              <a:avLst/>
              <a:gdLst/>
              <a:ahLst/>
              <a:cxnLst>
                <a:cxn ang="0">
                  <a:pos x="294" y="149"/>
                </a:cxn>
                <a:cxn ang="0">
                  <a:pos x="274" y="96"/>
                </a:cxn>
                <a:cxn ang="0">
                  <a:pos x="287" y="50"/>
                </a:cxn>
                <a:cxn ang="0">
                  <a:pos x="302" y="18"/>
                </a:cxn>
                <a:cxn ang="0">
                  <a:pos x="297" y="1"/>
                </a:cxn>
                <a:cxn ang="0">
                  <a:pos x="262" y="26"/>
                </a:cxn>
                <a:cxn ang="0">
                  <a:pos x="178" y="89"/>
                </a:cxn>
                <a:cxn ang="0">
                  <a:pos x="129" y="111"/>
                </a:cxn>
                <a:cxn ang="0">
                  <a:pos x="81" y="127"/>
                </a:cxn>
                <a:cxn ang="0">
                  <a:pos x="72" y="136"/>
                </a:cxn>
                <a:cxn ang="0">
                  <a:pos x="42" y="142"/>
                </a:cxn>
                <a:cxn ang="0">
                  <a:pos x="22" y="168"/>
                </a:cxn>
                <a:cxn ang="0">
                  <a:pos x="21" y="188"/>
                </a:cxn>
                <a:cxn ang="0">
                  <a:pos x="20" y="218"/>
                </a:cxn>
                <a:cxn ang="0">
                  <a:pos x="0" y="224"/>
                </a:cxn>
                <a:cxn ang="0">
                  <a:pos x="4" y="236"/>
                </a:cxn>
                <a:cxn ang="0">
                  <a:pos x="3" y="243"/>
                </a:cxn>
                <a:cxn ang="0">
                  <a:pos x="16" y="254"/>
                </a:cxn>
                <a:cxn ang="0">
                  <a:pos x="22" y="280"/>
                </a:cxn>
                <a:cxn ang="0">
                  <a:pos x="34" y="297"/>
                </a:cxn>
                <a:cxn ang="0">
                  <a:pos x="51" y="290"/>
                </a:cxn>
                <a:cxn ang="0">
                  <a:pos x="61" y="284"/>
                </a:cxn>
                <a:cxn ang="0">
                  <a:pos x="71" y="295"/>
                </a:cxn>
                <a:cxn ang="0">
                  <a:pos x="84" y="311"/>
                </a:cxn>
                <a:cxn ang="0">
                  <a:pos x="81" y="329"/>
                </a:cxn>
                <a:cxn ang="0">
                  <a:pos x="71" y="335"/>
                </a:cxn>
                <a:cxn ang="0">
                  <a:pos x="58" y="348"/>
                </a:cxn>
                <a:cxn ang="0">
                  <a:pos x="52" y="358"/>
                </a:cxn>
                <a:cxn ang="0">
                  <a:pos x="59" y="367"/>
                </a:cxn>
                <a:cxn ang="0">
                  <a:pos x="49" y="390"/>
                </a:cxn>
                <a:cxn ang="0">
                  <a:pos x="54" y="409"/>
                </a:cxn>
                <a:cxn ang="0">
                  <a:pos x="77" y="419"/>
                </a:cxn>
                <a:cxn ang="0">
                  <a:pos x="93" y="429"/>
                </a:cxn>
                <a:cxn ang="0">
                  <a:pos x="108" y="430"/>
                </a:cxn>
                <a:cxn ang="0">
                  <a:pos x="304" y="206"/>
                </a:cxn>
                <a:cxn ang="0">
                  <a:pos x="305" y="189"/>
                </a:cxn>
                <a:cxn ang="0">
                  <a:pos x="307" y="175"/>
                </a:cxn>
              </a:cxnLst>
              <a:rect l="0" t="0" r="r" b="b"/>
              <a:pathLst>
                <a:path w="308" h="430">
                  <a:moveTo>
                    <a:pt x="307" y="175"/>
                  </a:moveTo>
                  <a:cubicBezTo>
                    <a:pt x="307" y="175"/>
                    <a:pt x="297" y="164"/>
                    <a:pt x="294" y="149"/>
                  </a:cubicBezTo>
                  <a:cubicBezTo>
                    <a:pt x="290" y="133"/>
                    <a:pt x="295" y="121"/>
                    <a:pt x="289" y="113"/>
                  </a:cubicBezTo>
                  <a:cubicBezTo>
                    <a:pt x="285" y="105"/>
                    <a:pt x="278" y="106"/>
                    <a:pt x="274" y="96"/>
                  </a:cubicBezTo>
                  <a:cubicBezTo>
                    <a:pt x="270" y="88"/>
                    <a:pt x="264" y="74"/>
                    <a:pt x="268" y="66"/>
                  </a:cubicBezTo>
                  <a:cubicBezTo>
                    <a:pt x="273" y="60"/>
                    <a:pt x="282" y="62"/>
                    <a:pt x="287" y="50"/>
                  </a:cubicBezTo>
                  <a:cubicBezTo>
                    <a:pt x="294" y="39"/>
                    <a:pt x="296" y="26"/>
                    <a:pt x="296" y="26"/>
                  </a:cubicBezTo>
                  <a:cubicBezTo>
                    <a:pt x="296" y="26"/>
                    <a:pt x="302" y="21"/>
                    <a:pt x="302" y="18"/>
                  </a:cubicBezTo>
                  <a:cubicBezTo>
                    <a:pt x="302" y="14"/>
                    <a:pt x="301" y="5"/>
                    <a:pt x="301" y="5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2" y="17"/>
                    <a:pt x="262" y="26"/>
                  </a:cubicBezTo>
                  <a:cubicBezTo>
                    <a:pt x="242" y="34"/>
                    <a:pt x="222" y="42"/>
                    <a:pt x="222" y="42"/>
                  </a:cubicBezTo>
                  <a:cubicBezTo>
                    <a:pt x="222" y="42"/>
                    <a:pt x="193" y="77"/>
                    <a:pt x="178" y="89"/>
                  </a:cubicBezTo>
                  <a:cubicBezTo>
                    <a:pt x="163" y="100"/>
                    <a:pt x="148" y="102"/>
                    <a:pt x="148" y="102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11" y="101"/>
                    <a:pt x="104" y="106"/>
                  </a:cubicBezTo>
                  <a:cubicBezTo>
                    <a:pt x="95" y="109"/>
                    <a:pt x="81" y="127"/>
                    <a:pt x="81" y="127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2" y="142"/>
                    <a:pt x="42" y="142"/>
                    <a:pt x="42" y="142"/>
                  </a:cubicBezTo>
                  <a:cubicBezTo>
                    <a:pt x="42" y="142"/>
                    <a:pt x="23" y="139"/>
                    <a:pt x="23" y="145"/>
                  </a:cubicBezTo>
                  <a:cubicBezTo>
                    <a:pt x="22" y="152"/>
                    <a:pt x="22" y="168"/>
                    <a:pt x="22" y="168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" y="225"/>
                    <a:pt x="6" y="225"/>
                    <a:pt x="6" y="225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3" y="243"/>
                    <a:pt x="3" y="243"/>
                    <a:pt x="3" y="243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248"/>
                    <a:pt x="12" y="250"/>
                    <a:pt x="16" y="254"/>
                  </a:cubicBezTo>
                  <a:cubicBezTo>
                    <a:pt x="18" y="258"/>
                    <a:pt x="22" y="259"/>
                    <a:pt x="22" y="264"/>
                  </a:cubicBezTo>
                  <a:cubicBezTo>
                    <a:pt x="22" y="280"/>
                    <a:pt x="22" y="280"/>
                    <a:pt x="22" y="280"/>
                  </a:cubicBezTo>
                  <a:cubicBezTo>
                    <a:pt x="28" y="283"/>
                    <a:pt x="28" y="283"/>
                    <a:pt x="28" y="283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1" y="290"/>
                    <a:pt x="51" y="290"/>
                    <a:pt x="51" y="290"/>
                  </a:cubicBezTo>
                  <a:cubicBezTo>
                    <a:pt x="52" y="285"/>
                    <a:pt x="52" y="285"/>
                    <a:pt x="52" y="285"/>
                  </a:cubicBezTo>
                  <a:cubicBezTo>
                    <a:pt x="61" y="284"/>
                    <a:pt x="61" y="284"/>
                    <a:pt x="61" y="284"/>
                  </a:cubicBezTo>
                  <a:cubicBezTo>
                    <a:pt x="58" y="294"/>
                    <a:pt x="58" y="294"/>
                    <a:pt x="58" y="294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86" y="306"/>
                    <a:pt x="84" y="311"/>
                  </a:cubicBezTo>
                  <a:cubicBezTo>
                    <a:pt x="81" y="316"/>
                    <a:pt x="71" y="326"/>
                    <a:pt x="71" y="326"/>
                  </a:cubicBezTo>
                  <a:cubicBezTo>
                    <a:pt x="81" y="329"/>
                    <a:pt x="81" y="329"/>
                    <a:pt x="81" y="329"/>
                  </a:cubicBezTo>
                  <a:cubicBezTo>
                    <a:pt x="69" y="331"/>
                    <a:pt x="69" y="331"/>
                    <a:pt x="69" y="331"/>
                  </a:cubicBezTo>
                  <a:cubicBezTo>
                    <a:pt x="71" y="335"/>
                    <a:pt x="71" y="335"/>
                    <a:pt x="71" y="335"/>
                  </a:cubicBezTo>
                  <a:cubicBezTo>
                    <a:pt x="77" y="340"/>
                    <a:pt x="77" y="340"/>
                    <a:pt x="77" y="340"/>
                  </a:cubicBezTo>
                  <a:cubicBezTo>
                    <a:pt x="77" y="340"/>
                    <a:pt x="58" y="345"/>
                    <a:pt x="58" y="348"/>
                  </a:cubicBezTo>
                  <a:cubicBezTo>
                    <a:pt x="58" y="350"/>
                    <a:pt x="54" y="351"/>
                    <a:pt x="54" y="351"/>
                  </a:cubicBezTo>
                  <a:cubicBezTo>
                    <a:pt x="52" y="358"/>
                    <a:pt x="52" y="358"/>
                    <a:pt x="52" y="358"/>
                  </a:cubicBezTo>
                  <a:cubicBezTo>
                    <a:pt x="52" y="358"/>
                    <a:pt x="67" y="356"/>
                    <a:pt x="66" y="359"/>
                  </a:cubicBezTo>
                  <a:cubicBezTo>
                    <a:pt x="66" y="363"/>
                    <a:pt x="59" y="367"/>
                    <a:pt x="59" y="367"/>
                  </a:cubicBezTo>
                  <a:cubicBezTo>
                    <a:pt x="60" y="371"/>
                    <a:pt x="60" y="371"/>
                    <a:pt x="60" y="371"/>
                  </a:cubicBezTo>
                  <a:cubicBezTo>
                    <a:pt x="49" y="390"/>
                    <a:pt x="49" y="390"/>
                    <a:pt x="49" y="390"/>
                  </a:cubicBezTo>
                  <a:cubicBezTo>
                    <a:pt x="54" y="392"/>
                    <a:pt x="54" y="392"/>
                    <a:pt x="54" y="392"/>
                  </a:cubicBezTo>
                  <a:cubicBezTo>
                    <a:pt x="54" y="409"/>
                    <a:pt x="54" y="409"/>
                    <a:pt x="54" y="409"/>
                  </a:cubicBezTo>
                  <a:cubicBezTo>
                    <a:pt x="64" y="427"/>
                    <a:pt x="64" y="427"/>
                    <a:pt x="64" y="427"/>
                  </a:cubicBezTo>
                  <a:cubicBezTo>
                    <a:pt x="64" y="427"/>
                    <a:pt x="69" y="419"/>
                    <a:pt x="77" y="419"/>
                  </a:cubicBezTo>
                  <a:cubicBezTo>
                    <a:pt x="85" y="420"/>
                    <a:pt x="89" y="429"/>
                    <a:pt x="89" y="429"/>
                  </a:cubicBezTo>
                  <a:cubicBezTo>
                    <a:pt x="93" y="429"/>
                    <a:pt x="93" y="429"/>
                    <a:pt x="93" y="429"/>
                  </a:cubicBezTo>
                  <a:cubicBezTo>
                    <a:pt x="93" y="429"/>
                    <a:pt x="94" y="425"/>
                    <a:pt x="101" y="425"/>
                  </a:cubicBezTo>
                  <a:cubicBezTo>
                    <a:pt x="107" y="426"/>
                    <a:pt x="108" y="430"/>
                    <a:pt x="108" y="430"/>
                  </a:cubicBezTo>
                  <a:cubicBezTo>
                    <a:pt x="135" y="429"/>
                    <a:pt x="135" y="429"/>
                    <a:pt x="135" y="429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6" y="205"/>
                    <a:pt x="306" y="205"/>
                    <a:pt x="306" y="205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7" y="17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8" name="Kasac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11672C6-B181-004B-91A4-67E75729AB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168705" y="2215855"/>
              <a:ext cx="975295" cy="2222884"/>
            </a:xfrm>
            <a:custGeom>
              <a:avLst/>
              <a:gdLst/>
              <a:ahLst/>
              <a:cxnLst>
                <a:cxn ang="0">
                  <a:pos x="291" y="856"/>
                </a:cxn>
                <a:cxn ang="0">
                  <a:pos x="395" y="19"/>
                </a:cxn>
                <a:cxn ang="0">
                  <a:pos x="377" y="43"/>
                </a:cxn>
                <a:cxn ang="0">
                  <a:pos x="362" y="71"/>
                </a:cxn>
                <a:cxn ang="0">
                  <a:pos x="341" y="94"/>
                </a:cxn>
                <a:cxn ang="0">
                  <a:pos x="322" y="113"/>
                </a:cxn>
                <a:cxn ang="0">
                  <a:pos x="342" y="125"/>
                </a:cxn>
                <a:cxn ang="0">
                  <a:pos x="358" y="139"/>
                </a:cxn>
                <a:cxn ang="0">
                  <a:pos x="393" y="125"/>
                </a:cxn>
                <a:cxn ang="0">
                  <a:pos x="372" y="151"/>
                </a:cxn>
                <a:cxn ang="0">
                  <a:pos x="378" y="186"/>
                </a:cxn>
                <a:cxn ang="0">
                  <a:pos x="385" y="211"/>
                </a:cxn>
                <a:cxn ang="0">
                  <a:pos x="398" y="240"/>
                </a:cxn>
                <a:cxn ang="0">
                  <a:pos x="379" y="327"/>
                </a:cxn>
                <a:cxn ang="0">
                  <a:pos x="336" y="337"/>
                </a:cxn>
                <a:cxn ang="0">
                  <a:pos x="318" y="353"/>
                </a:cxn>
                <a:cxn ang="0">
                  <a:pos x="297" y="382"/>
                </a:cxn>
                <a:cxn ang="0">
                  <a:pos x="258" y="417"/>
                </a:cxn>
                <a:cxn ang="0">
                  <a:pos x="234" y="423"/>
                </a:cxn>
                <a:cxn ang="0">
                  <a:pos x="239" y="433"/>
                </a:cxn>
                <a:cxn ang="0">
                  <a:pos x="194" y="426"/>
                </a:cxn>
                <a:cxn ang="0">
                  <a:pos x="151" y="437"/>
                </a:cxn>
                <a:cxn ang="0">
                  <a:pos x="116" y="441"/>
                </a:cxn>
                <a:cxn ang="0">
                  <a:pos x="102" y="454"/>
                </a:cxn>
                <a:cxn ang="0">
                  <a:pos x="77" y="471"/>
                </a:cxn>
                <a:cxn ang="0">
                  <a:pos x="65" y="507"/>
                </a:cxn>
                <a:cxn ang="0">
                  <a:pos x="59" y="537"/>
                </a:cxn>
                <a:cxn ang="0">
                  <a:pos x="35" y="572"/>
                </a:cxn>
                <a:cxn ang="0">
                  <a:pos x="67" y="596"/>
                </a:cxn>
                <a:cxn ang="0">
                  <a:pos x="1" y="614"/>
                </a:cxn>
                <a:cxn ang="0">
                  <a:pos x="25" y="685"/>
                </a:cxn>
                <a:cxn ang="0">
                  <a:pos x="60" y="742"/>
                </a:cxn>
                <a:cxn ang="0">
                  <a:pos x="82" y="754"/>
                </a:cxn>
                <a:cxn ang="0">
                  <a:pos x="139" y="754"/>
                </a:cxn>
                <a:cxn ang="0">
                  <a:pos x="166" y="801"/>
                </a:cxn>
                <a:cxn ang="0">
                  <a:pos x="202" y="791"/>
                </a:cxn>
                <a:cxn ang="0">
                  <a:pos x="195" y="782"/>
                </a:cxn>
                <a:cxn ang="0">
                  <a:pos x="209" y="778"/>
                </a:cxn>
                <a:cxn ang="0">
                  <a:pos x="224" y="756"/>
                </a:cxn>
                <a:cxn ang="0">
                  <a:pos x="235" y="733"/>
                </a:cxn>
                <a:cxn ang="0">
                  <a:pos x="266" y="705"/>
                </a:cxn>
                <a:cxn ang="0">
                  <a:pos x="281" y="707"/>
                </a:cxn>
                <a:cxn ang="0">
                  <a:pos x="296" y="707"/>
                </a:cxn>
                <a:cxn ang="0">
                  <a:pos x="309" y="688"/>
                </a:cxn>
                <a:cxn ang="0">
                  <a:pos x="332" y="678"/>
                </a:cxn>
                <a:cxn ang="0">
                  <a:pos x="338" y="696"/>
                </a:cxn>
                <a:cxn ang="0">
                  <a:pos x="352" y="706"/>
                </a:cxn>
                <a:cxn ang="0">
                  <a:pos x="359" y="718"/>
                </a:cxn>
                <a:cxn ang="0">
                  <a:pos x="391" y="756"/>
                </a:cxn>
                <a:cxn ang="0">
                  <a:pos x="331" y="789"/>
                </a:cxn>
                <a:cxn ang="0">
                  <a:pos x="326" y="823"/>
                </a:cxn>
                <a:cxn ang="0">
                  <a:pos x="314" y="838"/>
                </a:cxn>
                <a:cxn ang="0">
                  <a:pos x="328" y="842"/>
                </a:cxn>
                <a:cxn ang="0">
                  <a:pos x="345" y="850"/>
                </a:cxn>
                <a:cxn ang="0">
                  <a:pos x="301" y="879"/>
                </a:cxn>
                <a:cxn ang="0">
                  <a:pos x="385" y="913"/>
                </a:cxn>
                <a:cxn ang="0">
                  <a:pos x="402" y="925"/>
                </a:cxn>
                <a:cxn ang="0">
                  <a:pos x="379" y="327"/>
                </a:cxn>
              </a:cxnLst>
              <a:rect l="0" t="0" r="r" b="b"/>
              <a:pathLst>
                <a:path w="408" h="931">
                  <a:moveTo>
                    <a:pt x="290" y="844"/>
                  </a:moveTo>
                  <a:cubicBezTo>
                    <a:pt x="285" y="844"/>
                    <a:pt x="285" y="844"/>
                    <a:pt x="285" y="844"/>
                  </a:cubicBezTo>
                  <a:cubicBezTo>
                    <a:pt x="287" y="851"/>
                    <a:pt x="287" y="851"/>
                    <a:pt x="287" y="851"/>
                  </a:cubicBezTo>
                  <a:cubicBezTo>
                    <a:pt x="291" y="856"/>
                    <a:pt x="291" y="856"/>
                    <a:pt x="291" y="856"/>
                  </a:cubicBezTo>
                  <a:cubicBezTo>
                    <a:pt x="293" y="855"/>
                    <a:pt x="293" y="855"/>
                    <a:pt x="293" y="855"/>
                  </a:cubicBezTo>
                  <a:cubicBezTo>
                    <a:pt x="291" y="851"/>
                    <a:pt x="291" y="851"/>
                    <a:pt x="291" y="851"/>
                  </a:cubicBezTo>
                  <a:lnTo>
                    <a:pt x="290" y="844"/>
                  </a:lnTo>
                  <a:close/>
                  <a:moveTo>
                    <a:pt x="395" y="19"/>
                  </a:moveTo>
                  <a:cubicBezTo>
                    <a:pt x="395" y="19"/>
                    <a:pt x="400" y="22"/>
                    <a:pt x="398" y="25"/>
                  </a:cubicBezTo>
                  <a:cubicBezTo>
                    <a:pt x="397" y="28"/>
                    <a:pt x="391" y="28"/>
                    <a:pt x="391" y="28"/>
                  </a:cubicBezTo>
                  <a:cubicBezTo>
                    <a:pt x="385" y="40"/>
                    <a:pt x="385" y="40"/>
                    <a:pt x="385" y="40"/>
                  </a:cubicBezTo>
                  <a:cubicBezTo>
                    <a:pt x="377" y="43"/>
                    <a:pt x="377" y="43"/>
                    <a:pt x="377" y="43"/>
                  </a:cubicBezTo>
                  <a:cubicBezTo>
                    <a:pt x="381" y="50"/>
                    <a:pt x="381" y="50"/>
                    <a:pt x="381" y="50"/>
                  </a:cubicBezTo>
                  <a:cubicBezTo>
                    <a:pt x="366" y="63"/>
                    <a:pt x="366" y="63"/>
                    <a:pt x="366" y="63"/>
                  </a:cubicBezTo>
                  <a:cubicBezTo>
                    <a:pt x="366" y="63"/>
                    <a:pt x="376" y="75"/>
                    <a:pt x="371" y="77"/>
                  </a:cubicBezTo>
                  <a:cubicBezTo>
                    <a:pt x="365" y="80"/>
                    <a:pt x="362" y="71"/>
                    <a:pt x="362" y="7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2" y="90"/>
                    <a:pt x="352" y="90"/>
                    <a:pt x="352" y="90"/>
                  </a:cubicBezTo>
                  <a:cubicBezTo>
                    <a:pt x="343" y="88"/>
                    <a:pt x="343" y="88"/>
                    <a:pt x="343" y="88"/>
                  </a:cubicBezTo>
                  <a:cubicBezTo>
                    <a:pt x="341" y="94"/>
                    <a:pt x="341" y="94"/>
                    <a:pt x="341" y="94"/>
                  </a:cubicBezTo>
                  <a:cubicBezTo>
                    <a:pt x="328" y="94"/>
                    <a:pt x="328" y="94"/>
                    <a:pt x="328" y="94"/>
                  </a:cubicBezTo>
                  <a:cubicBezTo>
                    <a:pt x="327" y="102"/>
                    <a:pt x="327" y="102"/>
                    <a:pt x="327" y="102"/>
                  </a:cubicBezTo>
                  <a:cubicBezTo>
                    <a:pt x="331" y="104"/>
                    <a:pt x="331" y="104"/>
                    <a:pt x="331" y="104"/>
                  </a:cubicBezTo>
                  <a:cubicBezTo>
                    <a:pt x="322" y="113"/>
                    <a:pt x="322" y="113"/>
                    <a:pt x="322" y="113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6" y="123"/>
                    <a:pt x="336" y="123"/>
                    <a:pt x="336" y="123"/>
                  </a:cubicBezTo>
                  <a:cubicBezTo>
                    <a:pt x="333" y="129"/>
                    <a:pt x="333" y="129"/>
                    <a:pt x="333" y="129"/>
                  </a:cubicBezTo>
                  <a:cubicBezTo>
                    <a:pt x="342" y="125"/>
                    <a:pt x="342" y="125"/>
                    <a:pt x="342" y="125"/>
                  </a:cubicBezTo>
                  <a:cubicBezTo>
                    <a:pt x="348" y="126"/>
                    <a:pt x="348" y="126"/>
                    <a:pt x="348" y="126"/>
                  </a:cubicBezTo>
                  <a:cubicBezTo>
                    <a:pt x="348" y="126"/>
                    <a:pt x="354" y="114"/>
                    <a:pt x="359" y="118"/>
                  </a:cubicBezTo>
                  <a:cubicBezTo>
                    <a:pt x="364" y="121"/>
                    <a:pt x="354" y="126"/>
                    <a:pt x="354" y="126"/>
                  </a:cubicBezTo>
                  <a:cubicBezTo>
                    <a:pt x="358" y="139"/>
                    <a:pt x="358" y="139"/>
                    <a:pt x="358" y="139"/>
                  </a:cubicBezTo>
                  <a:cubicBezTo>
                    <a:pt x="374" y="134"/>
                    <a:pt x="374" y="134"/>
                    <a:pt x="374" y="134"/>
                  </a:cubicBezTo>
                  <a:cubicBezTo>
                    <a:pt x="373" y="130"/>
                    <a:pt x="373" y="130"/>
                    <a:pt x="373" y="130"/>
                  </a:cubicBezTo>
                  <a:cubicBezTo>
                    <a:pt x="373" y="130"/>
                    <a:pt x="379" y="130"/>
                    <a:pt x="382" y="129"/>
                  </a:cubicBezTo>
                  <a:cubicBezTo>
                    <a:pt x="387" y="127"/>
                    <a:pt x="389" y="121"/>
                    <a:pt x="393" y="125"/>
                  </a:cubicBezTo>
                  <a:cubicBezTo>
                    <a:pt x="398" y="129"/>
                    <a:pt x="400" y="132"/>
                    <a:pt x="396" y="134"/>
                  </a:cubicBezTo>
                  <a:cubicBezTo>
                    <a:pt x="392" y="136"/>
                    <a:pt x="386" y="145"/>
                    <a:pt x="386" y="145"/>
                  </a:cubicBezTo>
                  <a:cubicBezTo>
                    <a:pt x="377" y="146"/>
                    <a:pt x="377" y="146"/>
                    <a:pt x="377" y="146"/>
                  </a:cubicBezTo>
                  <a:cubicBezTo>
                    <a:pt x="372" y="151"/>
                    <a:pt x="372" y="151"/>
                    <a:pt x="372" y="151"/>
                  </a:cubicBezTo>
                  <a:cubicBezTo>
                    <a:pt x="361" y="159"/>
                    <a:pt x="361" y="159"/>
                    <a:pt x="361" y="159"/>
                  </a:cubicBezTo>
                  <a:cubicBezTo>
                    <a:pt x="361" y="159"/>
                    <a:pt x="367" y="161"/>
                    <a:pt x="367" y="162"/>
                  </a:cubicBezTo>
                  <a:cubicBezTo>
                    <a:pt x="367" y="164"/>
                    <a:pt x="364" y="181"/>
                    <a:pt x="364" y="181"/>
                  </a:cubicBezTo>
                  <a:cubicBezTo>
                    <a:pt x="378" y="186"/>
                    <a:pt x="378" y="186"/>
                    <a:pt x="378" y="186"/>
                  </a:cubicBezTo>
                  <a:cubicBezTo>
                    <a:pt x="383" y="184"/>
                    <a:pt x="383" y="184"/>
                    <a:pt x="383" y="184"/>
                  </a:cubicBezTo>
                  <a:cubicBezTo>
                    <a:pt x="393" y="187"/>
                    <a:pt x="393" y="187"/>
                    <a:pt x="393" y="187"/>
                  </a:cubicBezTo>
                  <a:cubicBezTo>
                    <a:pt x="391" y="209"/>
                    <a:pt x="391" y="209"/>
                    <a:pt x="391" y="209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77" y="234"/>
                    <a:pt x="377" y="234"/>
                    <a:pt x="377" y="234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80" y="239"/>
                    <a:pt x="396" y="229"/>
                    <a:pt x="398" y="232"/>
                  </a:cubicBezTo>
                  <a:cubicBezTo>
                    <a:pt x="402" y="236"/>
                    <a:pt x="398" y="240"/>
                    <a:pt x="398" y="240"/>
                  </a:cubicBezTo>
                  <a:cubicBezTo>
                    <a:pt x="408" y="239"/>
                    <a:pt x="408" y="239"/>
                    <a:pt x="408" y="23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395" y="19"/>
                  </a:lnTo>
                  <a:close/>
                  <a:moveTo>
                    <a:pt x="379" y="327"/>
                  </a:moveTo>
                  <a:cubicBezTo>
                    <a:pt x="370" y="322"/>
                    <a:pt x="370" y="316"/>
                    <a:pt x="364" y="316"/>
                  </a:cubicBezTo>
                  <a:cubicBezTo>
                    <a:pt x="359" y="318"/>
                    <a:pt x="354" y="319"/>
                    <a:pt x="354" y="319"/>
                  </a:cubicBezTo>
                  <a:cubicBezTo>
                    <a:pt x="354" y="319"/>
                    <a:pt x="358" y="326"/>
                    <a:pt x="355" y="328"/>
                  </a:cubicBezTo>
                  <a:cubicBezTo>
                    <a:pt x="353" y="330"/>
                    <a:pt x="336" y="337"/>
                    <a:pt x="336" y="337"/>
                  </a:cubicBezTo>
                  <a:cubicBezTo>
                    <a:pt x="345" y="346"/>
                    <a:pt x="345" y="346"/>
                    <a:pt x="345" y="346"/>
                  </a:cubicBezTo>
                  <a:cubicBezTo>
                    <a:pt x="345" y="346"/>
                    <a:pt x="338" y="346"/>
                    <a:pt x="337" y="347"/>
                  </a:cubicBezTo>
                  <a:cubicBezTo>
                    <a:pt x="336" y="350"/>
                    <a:pt x="340" y="354"/>
                    <a:pt x="337" y="356"/>
                  </a:cubicBezTo>
                  <a:cubicBezTo>
                    <a:pt x="332" y="358"/>
                    <a:pt x="318" y="353"/>
                    <a:pt x="318" y="353"/>
                  </a:cubicBezTo>
                  <a:cubicBezTo>
                    <a:pt x="306" y="362"/>
                    <a:pt x="306" y="362"/>
                    <a:pt x="306" y="362"/>
                  </a:cubicBezTo>
                  <a:cubicBezTo>
                    <a:pt x="306" y="362"/>
                    <a:pt x="311" y="370"/>
                    <a:pt x="307" y="371"/>
                  </a:cubicBezTo>
                  <a:cubicBezTo>
                    <a:pt x="303" y="371"/>
                    <a:pt x="296" y="367"/>
                    <a:pt x="296" y="367"/>
                  </a:cubicBezTo>
                  <a:cubicBezTo>
                    <a:pt x="297" y="382"/>
                    <a:pt x="297" y="382"/>
                    <a:pt x="297" y="382"/>
                  </a:cubicBezTo>
                  <a:cubicBezTo>
                    <a:pt x="292" y="384"/>
                    <a:pt x="292" y="384"/>
                    <a:pt x="292" y="384"/>
                  </a:cubicBezTo>
                  <a:cubicBezTo>
                    <a:pt x="292" y="384"/>
                    <a:pt x="298" y="390"/>
                    <a:pt x="296" y="397"/>
                  </a:cubicBezTo>
                  <a:cubicBezTo>
                    <a:pt x="294" y="402"/>
                    <a:pt x="290" y="414"/>
                    <a:pt x="290" y="414"/>
                  </a:cubicBezTo>
                  <a:cubicBezTo>
                    <a:pt x="258" y="417"/>
                    <a:pt x="258" y="417"/>
                    <a:pt x="258" y="417"/>
                  </a:cubicBezTo>
                  <a:cubicBezTo>
                    <a:pt x="258" y="417"/>
                    <a:pt x="258" y="414"/>
                    <a:pt x="255" y="413"/>
                  </a:cubicBezTo>
                  <a:cubicBezTo>
                    <a:pt x="251" y="413"/>
                    <a:pt x="248" y="415"/>
                    <a:pt x="248" y="415"/>
                  </a:cubicBezTo>
                  <a:cubicBezTo>
                    <a:pt x="248" y="415"/>
                    <a:pt x="236" y="410"/>
                    <a:pt x="234" y="415"/>
                  </a:cubicBezTo>
                  <a:cubicBezTo>
                    <a:pt x="232" y="419"/>
                    <a:pt x="232" y="422"/>
                    <a:pt x="234" y="423"/>
                  </a:cubicBezTo>
                  <a:cubicBezTo>
                    <a:pt x="238" y="423"/>
                    <a:pt x="243" y="422"/>
                    <a:pt x="245" y="428"/>
                  </a:cubicBezTo>
                  <a:cubicBezTo>
                    <a:pt x="247" y="432"/>
                    <a:pt x="255" y="432"/>
                    <a:pt x="254" y="436"/>
                  </a:cubicBezTo>
                  <a:cubicBezTo>
                    <a:pt x="252" y="440"/>
                    <a:pt x="251" y="448"/>
                    <a:pt x="246" y="445"/>
                  </a:cubicBezTo>
                  <a:cubicBezTo>
                    <a:pt x="242" y="442"/>
                    <a:pt x="239" y="436"/>
                    <a:pt x="239" y="433"/>
                  </a:cubicBezTo>
                  <a:cubicBezTo>
                    <a:pt x="239" y="429"/>
                    <a:pt x="238" y="428"/>
                    <a:pt x="232" y="428"/>
                  </a:cubicBezTo>
                  <a:cubicBezTo>
                    <a:pt x="227" y="428"/>
                    <a:pt x="221" y="429"/>
                    <a:pt x="215" y="424"/>
                  </a:cubicBezTo>
                  <a:cubicBezTo>
                    <a:pt x="210" y="420"/>
                    <a:pt x="205" y="419"/>
                    <a:pt x="202" y="422"/>
                  </a:cubicBezTo>
                  <a:cubicBezTo>
                    <a:pt x="199" y="426"/>
                    <a:pt x="198" y="428"/>
                    <a:pt x="194" y="426"/>
                  </a:cubicBezTo>
                  <a:cubicBezTo>
                    <a:pt x="189" y="425"/>
                    <a:pt x="191" y="417"/>
                    <a:pt x="182" y="418"/>
                  </a:cubicBezTo>
                  <a:cubicBezTo>
                    <a:pt x="174" y="419"/>
                    <a:pt x="161" y="431"/>
                    <a:pt x="161" y="431"/>
                  </a:cubicBezTo>
                  <a:cubicBezTo>
                    <a:pt x="153" y="431"/>
                    <a:pt x="153" y="431"/>
                    <a:pt x="153" y="431"/>
                  </a:cubicBezTo>
                  <a:cubicBezTo>
                    <a:pt x="153" y="431"/>
                    <a:pt x="157" y="437"/>
                    <a:pt x="151" y="437"/>
                  </a:cubicBezTo>
                  <a:cubicBezTo>
                    <a:pt x="145" y="438"/>
                    <a:pt x="129" y="428"/>
                    <a:pt x="129" y="428"/>
                  </a:cubicBezTo>
                  <a:cubicBezTo>
                    <a:pt x="125" y="430"/>
                    <a:pt x="125" y="430"/>
                    <a:pt x="125" y="430"/>
                  </a:cubicBezTo>
                  <a:cubicBezTo>
                    <a:pt x="127" y="437"/>
                    <a:pt x="127" y="437"/>
                    <a:pt x="127" y="437"/>
                  </a:cubicBezTo>
                  <a:cubicBezTo>
                    <a:pt x="127" y="437"/>
                    <a:pt x="118" y="437"/>
                    <a:pt x="116" y="441"/>
                  </a:cubicBezTo>
                  <a:cubicBezTo>
                    <a:pt x="114" y="446"/>
                    <a:pt x="123" y="452"/>
                    <a:pt x="119" y="454"/>
                  </a:cubicBezTo>
                  <a:cubicBezTo>
                    <a:pt x="116" y="456"/>
                    <a:pt x="111" y="455"/>
                    <a:pt x="111" y="455"/>
                  </a:cubicBezTo>
                  <a:cubicBezTo>
                    <a:pt x="111" y="455"/>
                    <a:pt x="110" y="468"/>
                    <a:pt x="104" y="466"/>
                  </a:cubicBezTo>
                  <a:cubicBezTo>
                    <a:pt x="99" y="465"/>
                    <a:pt x="105" y="455"/>
                    <a:pt x="102" y="454"/>
                  </a:cubicBezTo>
                  <a:cubicBezTo>
                    <a:pt x="99" y="453"/>
                    <a:pt x="88" y="460"/>
                    <a:pt x="88" y="460"/>
                  </a:cubicBezTo>
                  <a:cubicBezTo>
                    <a:pt x="77" y="460"/>
                    <a:pt x="77" y="460"/>
                    <a:pt x="77" y="460"/>
                  </a:cubicBezTo>
                  <a:cubicBezTo>
                    <a:pt x="84" y="466"/>
                    <a:pt x="84" y="466"/>
                    <a:pt x="84" y="466"/>
                  </a:cubicBezTo>
                  <a:cubicBezTo>
                    <a:pt x="84" y="466"/>
                    <a:pt x="79" y="469"/>
                    <a:pt x="77" y="471"/>
                  </a:cubicBezTo>
                  <a:cubicBezTo>
                    <a:pt x="75" y="473"/>
                    <a:pt x="80" y="480"/>
                    <a:pt x="80" y="482"/>
                  </a:cubicBezTo>
                  <a:cubicBezTo>
                    <a:pt x="80" y="485"/>
                    <a:pt x="70" y="487"/>
                    <a:pt x="71" y="489"/>
                  </a:cubicBezTo>
                  <a:cubicBezTo>
                    <a:pt x="72" y="493"/>
                    <a:pt x="79" y="492"/>
                    <a:pt x="78" y="496"/>
                  </a:cubicBezTo>
                  <a:cubicBezTo>
                    <a:pt x="78" y="499"/>
                    <a:pt x="65" y="507"/>
                    <a:pt x="65" y="507"/>
                  </a:cubicBezTo>
                  <a:cubicBezTo>
                    <a:pt x="59" y="518"/>
                    <a:pt x="59" y="518"/>
                    <a:pt x="59" y="518"/>
                  </a:cubicBezTo>
                  <a:cubicBezTo>
                    <a:pt x="49" y="524"/>
                    <a:pt x="49" y="524"/>
                    <a:pt x="49" y="524"/>
                  </a:cubicBezTo>
                  <a:cubicBezTo>
                    <a:pt x="51" y="534"/>
                    <a:pt x="51" y="534"/>
                    <a:pt x="51" y="534"/>
                  </a:cubicBezTo>
                  <a:cubicBezTo>
                    <a:pt x="51" y="534"/>
                    <a:pt x="61" y="533"/>
                    <a:pt x="59" y="537"/>
                  </a:cubicBezTo>
                  <a:cubicBezTo>
                    <a:pt x="58" y="543"/>
                    <a:pt x="51" y="548"/>
                    <a:pt x="51" y="548"/>
                  </a:cubicBezTo>
                  <a:cubicBezTo>
                    <a:pt x="51" y="548"/>
                    <a:pt x="53" y="564"/>
                    <a:pt x="47" y="565"/>
                  </a:cubicBezTo>
                  <a:cubicBezTo>
                    <a:pt x="41" y="566"/>
                    <a:pt x="36" y="568"/>
                    <a:pt x="36" y="568"/>
                  </a:cubicBezTo>
                  <a:cubicBezTo>
                    <a:pt x="35" y="572"/>
                    <a:pt x="35" y="572"/>
                    <a:pt x="35" y="572"/>
                  </a:cubicBezTo>
                  <a:cubicBezTo>
                    <a:pt x="39" y="572"/>
                    <a:pt x="39" y="572"/>
                    <a:pt x="39" y="572"/>
                  </a:cubicBezTo>
                  <a:cubicBezTo>
                    <a:pt x="39" y="572"/>
                    <a:pt x="49" y="584"/>
                    <a:pt x="53" y="588"/>
                  </a:cubicBezTo>
                  <a:cubicBezTo>
                    <a:pt x="58" y="590"/>
                    <a:pt x="61" y="595"/>
                    <a:pt x="61" y="595"/>
                  </a:cubicBezTo>
                  <a:cubicBezTo>
                    <a:pt x="61" y="595"/>
                    <a:pt x="68" y="587"/>
                    <a:pt x="67" y="596"/>
                  </a:cubicBezTo>
                  <a:cubicBezTo>
                    <a:pt x="66" y="606"/>
                    <a:pt x="60" y="620"/>
                    <a:pt x="54" y="620"/>
                  </a:cubicBezTo>
                  <a:cubicBezTo>
                    <a:pt x="48" y="620"/>
                    <a:pt x="41" y="621"/>
                    <a:pt x="37" y="614"/>
                  </a:cubicBezTo>
                  <a:cubicBezTo>
                    <a:pt x="34" y="609"/>
                    <a:pt x="22" y="600"/>
                    <a:pt x="14" y="600"/>
                  </a:cubicBezTo>
                  <a:cubicBezTo>
                    <a:pt x="4" y="600"/>
                    <a:pt x="0" y="607"/>
                    <a:pt x="1" y="614"/>
                  </a:cubicBezTo>
                  <a:cubicBezTo>
                    <a:pt x="1" y="622"/>
                    <a:pt x="10" y="623"/>
                    <a:pt x="9" y="628"/>
                  </a:cubicBezTo>
                  <a:cubicBezTo>
                    <a:pt x="0" y="643"/>
                    <a:pt x="0" y="643"/>
                    <a:pt x="0" y="643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22" y="676"/>
                    <a:pt x="25" y="685"/>
                  </a:cubicBezTo>
                  <a:cubicBezTo>
                    <a:pt x="28" y="693"/>
                    <a:pt x="22" y="703"/>
                    <a:pt x="22" y="703"/>
                  </a:cubicBezTo>
                  <a:cubicBezTo>
                    <a:pt x="28" y="742"/>
                    <a:pt x="28" y="742"/>
                    <a:pt x="28" y="742"/>
                  </a:cubicBezTo>
                  <a:cubicBezTo>
                    <a:pt x="57" y="736"/>
                    <a:pt x="57" y="736"/>
                    <a:pt x="57" y="736"/>
                  </a:cubicBezTo>
                  <a:cubicBezTo>
                    <a:pt x="57" y="736"/>
                    <a:pt x="57" y="740"/>
                    <a:pt x="60" y="742"/>
                  </a:cubicBezTo>
                  <a:cubicBezTo>
                    <a:pt x="62" y="745"/>
                    <a:pt x="67" y="747"/>
                    <a:pt x="65" y="750"/>
                  </a:cubicBezTo>
                  <a:cubicBezTo>
                    <a:pt x="64" y="752"/>
                    <a:pt x="63" y="759"/>
                    <a:pt x="68" y="760"/>
                  </a:cubicBezTo>
                  <a:cubicBezTo>
                    <a:pt x="74" y="762"/>
                    <a:pt x="86" y="762"/>
                    <a:pt x="86" y="762"/>
                  </a:cubicBezTo>
                  <a:cubicBezTo>
                    <a:pt x="82" y="754"/>
                    <a:pt x="82" y="754"/>
                    <a:pt x="82" y="754"/>
                  </a:cubicBezTo>
                  <a:cubicBezTo>
                    <a:pt x="82" y="754"/>
                    <a:pt x="87" y="755"/>
                    <a:pt x="94" y="753"/>
                  </a:cubicBezTo>
                  <a:cubicBezTo>
                    <a:pt x="101" y="751"/>
                    <a:pt x="98" y="739"/>
                    <a:pt x="108" y="742"/>
                  </a:cubicBezTo>
                  <a:cubicBezTo>
                    <a:pt x="117" y="745"/>
                    <a:pt x="118" y="756"/>
                    <a:pt x="125" y="756"/>
                  </a:cubicBezTo>
                  <a:cubicBezTo>
                    <a:pt x="132" y="756"/>
                    <a:pt x="133" y="752"/>
                    <a:pt x="139" y="754"/>
                  </a:cubicBezTo>
                  <a:cubicBezTo>
                    <a:pt x="144" y="757"/>
                    <a:pt x="149" y="768"/>
                    <a:pt x="157" y="770"/>
                  </a:cubicBezTo>
                  <a:cubicBezTo>
                    <a:pt x="164" y="772"/>
                    <a:pt x="183" y="779"/>
                    <a:pt x="178" y="784"/>
                  </a:cubicBezTo>
                  <a:cubicBezTo>
                    <a:pt x="174" y="788"/>
                    <a:pt x="164" y="782"/>
                    <a:pt x="160" y="787"/>
                  </a:cubicBezTo>
                  <a:cubicBezTo>
                    <a:pt x="156" y="794"/>
                    <a:pt x="157" y="800"/>
                    <a:pt x="166" y="801"/>
                  </a:cubicBezTo>
                  <a:cubicBezTo>
                    <a:pt x="177" y="802"/>
                    <a:pt x="200" y="798"/>
                    <a:pt x="200" y="798"/>
                  </a:cubicBezTo>
                  <a:cubicBezTo>
                    <a:pt x="199" y="794"/>
                    <a:pt x="199" y="794"/>
                    <a:pt x="199" y="794"/>
                  </a:cubicBezTo>
                  <a:cubicBezTo>
                    <a:pt x="196" y="793"/>
                    <a:pt x="196" y="793"/>
                    <a:pt x="196" y="793"/>
                  </a:cubicBezTo>
                  <a:cubicBezTo>
                    <a:pt x="202" y="791"/>
                    <a:pt x="202" y="791"/>
                    <a:pt x="202" y="791"/>
                  </a:cubicBezTo>
                  <a:cubicBezTo>
                    <a:pt x="202" y="788"/>
                    <a:pt x="202" y="788"/>
                    <a:pt x="202" y="788"/>
                  </a:cubicBezTo>
                  <a:cubicBezTo>
                    <a:pt x="198" y="789"/>
                    <a:pt x="198" y="789"/>
                    <a:pt x="198" y="789"/>
                  </a:cubicBezTo>
                  <a:cubicBezTo>
                    <a:pt x="198" y="785"/>
                    <a:pt x="198" y="785"/>
                    <a:pt x="198" y="785"/>
                  </a:cubicBezTo>
                  <a:cubicBezTo>
                    <a:pt x="195" y="782"/>
                    <a:pt x="195" y="782"/>
                    <a:pt x="195" y="782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5" y="779"/>
                    <a:pt x="205" y="779"/>
                    <a:pt x="205" y="779"/>
                  </a:cubicBezTo>
                  <a:cubicBezTo>
                    <a:pt x="209" y="784"/>
                    <a:pt x="209" y="784"/>
                    <a:pt x="209" y="784"/>
                  </a:cubicBezTo>
                  <a:cubicBezTo>
                    <a:pt x="209" y="778"/>
                    <a:pt x="209" y="778"/>
                    <a:pt x="209" y="778"/>
                  </a:cubicBezTo>
                  <a:cubicBezTo>
                    <a:pt x="209" y="778"/>
                    <a:pt x="212" y="780"/>
                    <a:pt x="215" y="775"/>
                  </a:cubicBezTo>
                  <a:cubicBezTo>
                    <a:pt x="219" y="770"/>
                    <a:pt x="218" y="765"/>
                    <a:pt x="218" y="765"/>
                  </a:cubicBezTo>
                  <a:cubicBezTo>
                    <a:pt x="218" y="765"/>
                    <a:pt x="222" y="768"/>
                    <a:pt x="223" y="765"/>
                  </a:cubicBezTo>
                  <a:cubicBezTo>
                    <a:pt x="225" y="763"/>
                    <a:pt x="224" y="756"/>
                    <a:pt x="224" y="756"/>
                  </a:cubicBezTo>
                  <a:cubicBezTo>
                    <a:pt x="228" y="754"/>
                    <a:pt x="228" y="754"/>
                    <a:pt x="228" y="754"/>
                  </a:cubicBezTo>
                  <a:cubicBezTo>
                    <a:pt x="228" y="740"/>
                    <a:pt x="228" y="740"/>
                    <a:pt x="228" y="740"/>
                  </a:cubicBezTo>
                  <a:cubicBezTo>
                    <a:pt x="236" y="740"/>
                    <a:pt x="236" y="740"/>
                    <a:pt x="236" y="740"/>
                  </a:cubicBezTo>
                  <a:cubicBezTo>
                    <a:pt x="235" y="733"/>
                    <a:pt x="235" y="733"/>
                    <a:pt x="235" y="733"/>
                  </a:cubicBezTo>
                  <a:cubicBezTo>
                    <a:pt x="243" y="732"/>
                    <a:pt x="243" y="732"/>
                    <a:pt x="243" y="732"/>
                  </a:cubicBezTo>
                  <a:cubicBezTo>
                    <a:pt x="243" y="732"/>
                    <a:pt x="239" y="722"/>
                    <a:pt x="247" y="714"/>
                  </a:cubicBezTo>
                  <a:cubicBezTo>
                    <a:pt x="256" y="705"/>
                    <a:pt x="262" y="707"/>
                    <a:pt x="262" y="707"/>
                  </a:cubicBezTo>
                  <a:cubicBezTo>
                    <a:pt x="266" y="705"/>
                    <a:pt x="266" y="705"/>
                    <a:pt x="266" y="705"/>
                  </a:cubicBezTo>
                  <a:cubicBezTo>
                    <a:pt x="268" y="707"/>
                    <a:pt x="268" y="707"/>
                    <a:pt x="268" y="707"/>
                  </a:cubicBezTo>
                  <a:cubicBezTo>
                    <a:pt x="270" y="703"/>
                    <a:pt x="270" y="703"/>
                    <a:pt x="270" y="703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81" y="707"/>
                    <a:pt x="281" y="707"/>
                    <a:pt x="281" y="707"/>
                  </a:cubicBezTo>
                  <a:cubicBezTo>
                    <a:pt x="283" y="702"/>
                    <a:pt x="283" y="702"/>
                    <a:pt x="283" y="702"/>
                  </a:cubicBezTo>
                  <a:cubicBezTo>
                    <a:pt x="285" y="708"/>
                    <a:pt x="285" y="708"/>
                    <a:pt x="285" y="708"/>
                  </a:cubicBezTo>
                  <a:cubicBezTo>
                    <a:pt x="290" y="703"/>
                    <a:pt x="290" y="703"/>
                    <a:pt x="290" y="703"/>
                  </a:cubicBezTo>
                  <a:cubicBezTo>
                    <a:pt x="290" y="703"/>
                    <a:pt x="293" y="708"/>
                    <a:pt x="296" y="707"/>
                  </a:cubicBezTo>
                  <a:cubicBezTo>
                    <a:pt x="299" y="706"/>
                    <a:pt x="298" y="699"/>
                    <a:pt x="298" y="699"/>
                  </a:cubicBezTo>
                  <a:cubicBezTo>
                    <a:pt x="304" y="696"/>
                    <a:pt x="304" y="696"/>
                    <a:pt x="304" y="696"/>
                  </a:cubicBezTo>
                  <a:cubicBezTo>
                    <a:pt x="304" y="696"/>
                    <a:pt x="301" y="687"/>
                    <a:pt x="304" y="685"/>
                  </a:cubicBezTo>
                  <a:cubicBezTo>
                    <a:pt x="307" y="683"/>
                    <a:pt x="309" y="688"/>
                    <a:pt x="309" y="688"/>
                  </a:cubicBezTo>
                  <a:cubicBezTo>
                    <a:pt x="318" y="683"/>
                    <a:pt x="318" y="683"/>
                    <a:pt x="318" y="683"/>
                  </a:cubicBezTo>
                  <a:cubicBezTo>
                    <a:pt x="318" y="683"/>
                    <a:pt x="318" y="677"/>
                    <a:pt x="322" y="677"/>
                  </a:cubicBezTo>
                  <a:cubicBezTo>
                    <a:pt x="326" y="677"/>
                    <a:pt x="326" y="679"/>
                    <a:pt x="326" y="679"/>
                  </a:cubicBezTo>
                  <a:cubicBezTo>
                    <a:pt x="332" y="678"/>
                    <a:pt x="332" y="678"/>
                    <a:pt x="332" y="678"/>
                  </a:cubicBezTo>
                  <a:cubicBezTo>
                    <a:pt x="332" y="678"/>
                    <a:pt x="333" y="684"/>
                    <a:pt x="337" y="685"/>
                  </a:cubicBezTo>
                  <a:cubicBezTo>
                    <a:pt x="340" y="685"/>
                    <a:pt x="345" y="682"/>
                    <a:pt x="345" y="685"/>
                  </a:cubicBezTo>
                  <a:cubicBezTo>
                    <a:pt x="345" y="689"/>
                    <a:pt x="337" y="691"/>
                    <a:pt x="337" y="691"/>
                  </a:cubicBezTo>
                  <a:cubicBezTo>
                    <a:pt x="338" y="696"/>
                    <a:pt x="338" y="696"/>
                    <a:pt x="338" y="696"/>
                  </a:cubicBezTo>
                  <a:cubicBezTo>
                    <a:pt x="341" y="694"/>
                    <a:pt x="341" y="694"/>
                    <a:pt x="341" y="694"/>
                  </a:cubicBezTo>
                  <a:cubicBezTo>
                    <a:pt x="342" y="701"/>
                    <a:pt x="342" y="701"/>
                    <a:pt x="342" y="701"/>
                  </a:cubicBezTo>
                  <a:cubicBezTo>
                    <a:pt x="352" y="703"/>
                    <a:pt x="352" y="703"/>
                    <a:pt x="352" y="703"/>
                  </a:cubicBezTo>
                  <a:cubicBezTo>
                    <a:pt x="352" y="706"/>
                    <a:pt x="352" y="706"/>
                    <a:pt x="352" y="706"/>
                  </a:cubicBezTo>
                  <a:cubicBezTo>
                    <a:pt x="346" y="706"/>
                    <a:pt x="346" y="706"/>
                    <a:pt x="346" y="706"/>
                  </a:cubicBezTo>
                  <a:cubicBezTo>
                    <a:pt x="348" y="713"/>
                    <a:pt x="348" y="713"/>
                    <a:pt x="348" y="713"/>
                  </a:cubicBezTo>
                  <a:cubicBezTo>
                    <a:pt x="357" y="709"/>
                    <a:pt x="357" y="709"/>
                    <a:pt x="357" y="709"/>
                  </a:cubicBezTo>
                  <a:cubicBezTo>
                    <a:pt x="357" y="709"/>
                    <a:pt x="357" y="716"/>
                    <a:pt x="359" y="718"/>
                  </a:cubicBezTo>
                  <a:cubicBezTo>
                    <a:pt x="361" y="720"/>
                    <a:pt x="364" y="725"/>
                    <a:pt x="363" y="732"/>
                  </a:cubicBezTo>
                  <a:cubicBezTo>
                    <a:pt x="363" y="738"/>
                    <a:pt x="361" y="741"/>
                    <a:pt x="361" y="748"/>
                  </a:cubicBezTo>
                  <a:cubicBezTo>
                    <a:pt x="361" y="753"/>
                    <a:pt x="367" y="760"/>
                    <a:pt x="367" y="760"/>
                  </a:cubicBezTo>
                  <a:cubicBezTo>
                    <a:pt x="391" y="756"/>
                    <a:pt x="391" y="756"/>
                    <a:pt x="391" y="756"/>
                  </a:cubicBezTo>
                  <a:cubicBezTo>
                    <a:pt x="391" y="756"/>
                    <a:pt x="388" y="767"/>
                    <a:pt x="381" y="768"/>
                  </a:cubicBezTo>
                  <a:cubicBezTo>
                    <a:pt x="374" y="770"/>
                    <a:pt x="366" y="769"/>
                    <a:pt x="362" y="772"/>
                  </a:cubicBezTo>
                  <a:cubicBezTo>
                    <a:pt x="358" y="776"/>
                    <a:pt x="350" y="784"/>
                    <a:pt x="346" y="786"/>
                  </a:cubicBezTo>
                  <a:cubicBezTo>
                    <a:pt x="342" y="788"/>
                    <a:pt x="331" y="789"/>
                    <a:pt x="331" y="789"/>
                  </a:cubicBezTo>
                  <a:cubicBezTo>
                    <a:pt x="330" y="799"/>
                    <a:pt x="330" y="799"/>
                    <a:pt x="330" y="799"/>
                  </a:cubicBezTo>
                  <a:cubicBezTo>
                    <a:pt x="323" y="801"/>
                    <a:pt x="323" y="801"/>
                    <a:pt x="323" y="801"/>
                  </a:cubicBezTo>
                  <a:cubicBezTo>
                    <a:pt x="323" y="801"/>
                    <a:pt x="321" y="810"/>
                    <a:pt x="321" y="814"/>
                  </a:cubicBezTo>
                  <a:cubicBezTo>
                    <a:pt x="321" y="818"/>
                    <a:pt x="326" y="823"/>
                    <a:pt x="326" y="823"/>
                  </a:cubicBezTo>
                  <a:cubicBezTo>
                    <a:pt x="326" y="823"/>
                    <a:pt x="323" y="823"/>
                    <a:pt x="321" y="825"/>
                  </a:cubicBezTo>
                  <a:cubicBezTo>
                    <a:pt x="318" y="827"/>
                    <a:pt x="317" y="831"/>
                    <a:pt x="317" y="831"/>
                  </a:cubicBezTo>
                  <a:cubicBezTo>
                    <a:pt x="313" y="834"/>
                    <a:pt x="313" y="834"/>
                    <a:pt x="313" y="834"/>
                  </a:cubicBezTo>
                  <a:cubicBezTo>
                    <a:pt x="314" y="838"/>
                    <a:pt x="314" y="838"/>
                    <a:pt x="314" y="838"/>
                  </a:cubicBezTo>
                  <a:cubicBezTo>
                    <a:pt x="322" y="836"/>
                    <a:pt x="322" y="836"/>
                    <a:pt x="322" y="836"/>
                  </a:cubicBezTo>
                  <a:cubicBezTo>
                    <a:pt x="321" y="842"/>
                    <a:pt x="321" y="842"/>
                    <a:pt x="321" y="842"/>
                  </a:cubicBezTo>
                  <a:cubicBezTo>
                    <a:pt x="327" y="840"/>
                    <a:pt x="327" y="840"/>
                    <a:pt x="327" y="840"/>
                  </a:cubicBezTo>
                  <a:cubicBezTo>
                    <a:pt x="328" y="842"/>
                    <a:pt x="328" y="842"/>
                    <a:pt x="328" y="842"/>
                  </a:cubicBezTo>
                  <a:cubicBezTo>
                    <a:pt x="337" y="842"/>
                    <a:pt x="337" y="842"/>
                    <a:pt x="337" y="842"/>
                  </a:cubicBezTo>
                  <a:cubicBezTo>
                    <a:pt x="337" y="842"/>
                    <a:pt x="339" y="846"/>
                    <a:pt x="342" y="846"/>
                  </a:cubicBezTo>
                  <a:cubicBezTo>
                    <a:pt x="346" y="845"/>
                    <a:pt x="349" y="840"/>
                    <a:pt x="352" y="843"/>
                  </a:cubicBezTo>
                  <a:cubicBezTo>
                    <a:pt x="355" y="847"/>
                    <a:pt x="345" y="850"/>
                    <a:pt x="345" y="850"/>
                  </a:cubicBezTo>
                  <a:cubicBezTo>
                    <a:pt x="345" y="850"/>
                    <a:pt x="344" y="860"/>
                    <a:pt x="340" y="859"/>
                  </a:cubicBezTo>
                  <a:cubicBezTo>
                    <a:pt x="336" y="858"/>
                    <a:pt x="323" y="857"/>
                    <a:pt x="323" y="857"/>
                  </a:cubicBezTo>
                  <a:cubicBezTo>
                    <a:pt x="323" y="857"/>
                    <a:pt x="316" y="863"/>
                    <a:pt x="312" y="864"/>
                  </a:cubicBezTo>
                  <a:cubicBezTo>
                    <a:pt x="309" y="865"/>
                    <a:pt x="297" y="866"/>
                    <a:pt x="301" y="879"/>
                  </a:cubicBezTo>
                  <a:cubicBezTo>
                    <a:pt x="306" y="891"/>
                    <a:pt x="314" y="889"/>
                    <a:pt x="321" y="886"/>
                  </a:cubicBezTo>
                  <a:cubicBezTo>
                    <a:pt x="328" y="883"/>
                    <a:pt x="336" y="879"/>
                    <a:pt x="341" y="886"/>
                  </a:cubicBezTo>
                  <a:cubicBezTo>
                    <a:pt x="346" y="891"/>
                    <a:pt x="363" y="907"/>
                    <a:pt x="367" y="906"/>
                  </a:cubicBezTo>
                  <a:cubicBezTo>
                    <a:pt x="373" y="906"/>
                    <a:pt x="378" y="904"/>
                    <a:pt x="385" y="913"/>
                  </a:cubicBezTo>
                  <a:cubicBezTo>
                    <a:pt x="391" y="922"/>
                    <a:pt x="390" y="931"/>
                    <a:pt x="390" y="931"/>
                  </a:cubicBezTo>
                  <a:cubicBezTo>
                    <a:pt x="393" y="931"/>
                    <a:pt x="393" y="931"/>
                    <a:pt x="393" y="931"/>
                  </a:cubicBezTo>
                  <a:cubicBezTo>
                    <a:pt x="397" y="925"/>
                    <a:pt x="397" y="925"/>
                    <a:pt x="397" y="925"/>
                  </a:cubicBezTo>
                  <a:cubicBezTo>
                    <a:pt x="402" y="925"/>
                    <a:pt x="402" y="925"/>
                    <a:pt x="402" y="925"/>
                  </a:cubicBezTo>
                  <a:cubicBezTo>
                    <a:pt x="402" y="925"/>
                    <a:pt x="402" y="921"/>
                    <a:pt x="406" y="920"/>
                  </a:cubicBezTo>
                  <a:cubicBezTo>
                    <a:pt x="408" y="920"/>
                    <a:pt x="408" y="920"/>
                    <a:pt x="408" y="920"/>
                  </a:cubicBezTo>
                  <a:cubicBezTo>
                    <a:pt x="408" y="320"/>
                    <a:pt x="408" y="320"/>
                    <a:pt x="408" y="320"/>
                  </a:cubicBezTo>
                  <a:cubicBezTo>
                    <a:pt x="399" y="324"/>
                    <a:pt x="387" y="331"/>
                    <a:pt x="379" y="32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9" name="Aserbaidschan" descr="© INSCALE GmbH, 05.05.2010&#10;http://www.presentationload.com/">
              <a:extLst>
                <a:ext uri="{FF2B5EF4-FFF2-40B4-BE49-F238E27FC236}">
                  <a16:creationId xmlns:a16="http://schemas.microsoft.com/office/drawing/2014/main" id="{5529BB09-426F-5E45-9E22-E62931A758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01070" y="4768787"/>
              <a:ext cx="542930" cy="584187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0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BFDF641-D34A-5444-AC30-FB96ABFD25A0}"/>
                </a:ext>
              </a:extLst>
            </p:cNvPr>
            <p:cNvSpPr>
              <a:spLocks/>
            </p:cNvSpPr>
            <p:nvPr/>
          </p:nvSpPr>
          <p:spPr bwMode="gray">
            <a:xfrm>
              <a:off x="8635723" y="5098836"/>
              <a:ext cx="508277" cy="696405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Irak" descr="© INSCALE GmbH, 05.05.2010&#10;http://www.presentationload.com/">
              <a:extLst>
                <a:ext uri="{FF2B5EF4-FFF2-40B4-BE49-F238E27FC236}">
                  <a16:creationId xmlns:a16="http://schemas.microsoft.com/office/drawing/2014/main" id="{9C4718FA-0804-CE45-8B48-D61ECC20E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98088" y="5654970"/>
              <a:ext cx="745912" cy="1082562"/>
            </a:xfrm>
            <a:custGeom>
              <a:avLst/>
              <a:gdLst/>
              <a:ahLst/>
              <a:cxnLst>
                <a:cxn ang="0">
                  <a:pos x="312" y="46"/>
                </a:cxn>
                <a:cxn ang="0">
                  <a:pos x="312" y="47"/>
                </a:cxn>
                <a:cxn ang="0">
                  <a:pos x="306" y="42"/>
                </a:cxn>
                <a:cxn ang="0">
                  <a:pos x="292" y="55"/>
                </a:cxn>
                <a:cxn ang="0">
                  <a:pos x="276" y="50"/>
                </a:cxn>
                <a:cxn ang="0">
                  <a:pos x="264" y="60"/>
                </a:cxn>
                <a:cxn ang="0">
                  <a:pos x="264" y="49"/>
                </a:cxn>
                <a:cxn ang="0">
                  <a:pos x="253" y="44"/>
                </a:cxn>
                <a:cxn ang="0">
                  <a:pos x="245" y="31"/>
                </a:cxn>
                <a:cxn ang="0">
                  <a:pos x="234" y="35"/>
                </a:cxn>
                <a:cxn ang="0">
                  <a:pos x="227" y="20"/>
                </a:cxn>
                <a:cxn ang="0">
                  <a:pos x="213" y="21"/>
                </a:cxn>
                <a:cxn ang="0">
                  <a:pos x="211" y="18"/>
                </a:cxn>
                <a:cxn ang="0">
                  <a:pos x="214" y="8"/>
                </a:cxn>
                <a:cxn ang="0">
                  <a:pos x="203" y="7"/>
                </a:cxn>
                <a:cxn ang="0">
                  <a:pos x="200" y="2"/>
                </a:cxn>
                <a:cxn ang="0">
                  <a:pos x="191" y="3"/>
                </a:cxn>
                <a:cxn ang="0">
                  <a:pos x="182" y="22"/>
                </a:cxn>
                <a:cxn ang="0">
                  <a:pos x="175" y="20"/>
                </a:cxn>
                <a:cxn ang="0">
                  <a:pos x="168" y="5"/>
                </a:cxn>
                <a:cxn ang="0">
                  <a:pos x="155" y="18"/>
                </a:cxn>
                <a:cxn ang="0">
                  <a:pos x="126" y="22"/>
                </a:cxn>
                <a:cxn ang="0">
                  <a:pos x="126" y="26"/>
                </a:cxn>
                <a:cxn ang="0">
                  <a:pos x="113" y="26"/>
                </a:cxn>
                <a:cxn ang="0">
                  <a:pos x="110" y="33"/>
                </a:cxn>
                <a:cxn ang="0">
                  <a:pos x="90" y="33"/>
                </a:cxn>
                <a:cxn ang="0">
                  <a:pos x="96" y="50"/>
                </a:cxn>
                <a:cxn ang="0">
                  <a:pos x="84" y="56"/>
                </a:cxn>
                <a:cxn ang="0">
                  <a:pos x="85" y="69"/>
                </a:cxn>
                <a:cxn ang="0">
                  <a:pos x="79" y="77"/>
                </a:cxn>
                <a:cxn ang="0">
                  <a:pos x="70" y="101"/>
                </a:cxn>
                <a:cxn ang="0">
                  <a:pos x="51" y="117"/>
                </a:cxn>
                <a:cxn ang="0">
                  <a:pos x="57" y="147"/>
                </a:cxn>
                <a:cxn ang="0">
                  <a:pos x="72" y="164"/>
                </a:cxn>
                <a:cxn ang="0">
                  <a:pos x="77" y="200"/>
                </a:cxn>
                <a:cxn ang="0">
                  <a:pos x="90" y="226"/>
                </a:cxn>
                <a:cxn ang="0">
                  <a:pos x="91" y="239"/>
                </a:cxn>
                <a:cxn ang="0">
                  <a:pos x="88" y="240"/>
                </a:cxn>
                <a:cxn ang="0">
                  <a:pos x="89" y="256"/>
                </a:cxn>
                <a:cxn ang="0">
                  <a:pos x="87" y="257"/>
                </a:cxn>
                <a:cxn ang="0">
                  <a:pos x="0" y="371"/>
                </a:cxn>
                <a:cxn ang="0">
                  <a:pos x="57" y="432"/>
                </a:cxn>
                <a:cxn ang="0">
                  <a:pos x="101" y="425"/>
                </a:cxn>
                <a:cxn ang="0">
                  <a:pos x="203" y="436"/>
                </a:cxn>
                <a:cxn ang="0">
                  <a:pos x="298" y="438"/>
                </a:cxn>
                <a:cxn ang="0">
                  <a:pos x="312" y="455"/>
                </a:cxn>
                <a:cxn ang="0">
                  <a:pos x="312" y="46"/>
                </a:cxn>
              </a:cxnLst>
              <a:rect l="0" t="0" r="r" b="b"/>
              <a:pathLst>
                <a:path w="312" h="455">
                  <a:moveTo>
                    <a:pt x="312" y="46"/>
                  </a:moveTo>
                  <a:cubicBezTo>
                    <a:pt x="312" y="47"/>
                    <a:pt x="312" y="47"/>
                    <a:pt x="312" y="47"/>
                  </a:cubicBezTo>
                  <a:cubicBezTo>
                    <a:pt x="306" y="42"/>
                    <a:pt x="306" y="42"/>
                    <a:pt x="306" y="42"/>
                  </a:cubicBezTo>
                  <a:cubicBezTo>
                    <a:pt x="306" y="42"/>
                    <a:pt x="297" y="52"/>
                    <a:pt x="292" y="55"/>
                  </a:cubicBezTo>
                  <a:cubicBezTo>
                    <a:pt x="286" y="57"/>
                    <a:pt x="281" y="51"/>
                    <a:pt x="276" y="50"/>
                  </a:cubicBezTo>
                  <a:cubicBezTo>
                    <a:pt x="271" y="49"/>
                    <a:pt x="264" y="60"/>
                    <a:pt x="264" y="6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4" y="49"/>
                    <a:pt x="258" y="48"/>
                    <a:pt x="253" y="44"/>
                  </a:cubicBezTo>
                  <a:cubicBezTo>
                    <a:pt x="250" y="39"/>
                    <a:pt x="245" y="31"/>
                    <a:pt x="245" y="31"/>
                  </a:cubicBezTo>
                  <a:cubicBezTo>
                    <a:pt x="245" y="31"/>
                    <a:pt x="242" y="36"/>
                    <a:pt x="234" y="35"/>
                  </a:cubicBezTo>
                  <a:cubicBezTo>
                    <a:pt x="227" y="34"/>
                    <a:pt x="230" y="22"/>
                    <a:pt x="227" y="20"/>
                  </a:cubicBezTo>
                  <a:cubicBezTo>
                    <a:pt x="222" y="18"/>
                    <a:pt x="213" y="21"/>
                    <a:pt x="213" y="21"/>
                  </a:cubicBezTo>
                  <a:cubicBezTo>
                    <a:pt x="211" y="18"/>
                    <a:pt x="211" y="18"/>
                    <a:pt x="211" y="18"/>
                  </a:cubicBezTo>
                  <a:cubicBezTo>
                    <a:pt x="211" y="18"/>
                    <a:pt x="214" y="14"/>
                    <a:pt x="214" y="8"/>
                  </a:cubicBezTo>
                  <a:cubicBezTo>
                    <a:pt x="213" y="4"/>
                    <a:pt x="203" y="7"/>
                    <a:pt x="203" y="7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2"/>
                    <a:pt x="193" y="0"/>
                    <a:pt x="191" y="3"/>
                  </a:cubicBezTo>
                  <a:cubicBezTo>
                    <a:pt x="188" y="7"/>
                    <a:pt x="182" y="22"/>
                    <a:pt x="182" y="22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75" y="20"/>
                    <a:pt x="180" y="5"/>
                    <a:pt x="168" y="5"/>
                  </a:cubicBezTo>
                  <a:cubicBezTo>
                    <a:pt x="156" y="5"/>
                    <a:pt x="155" y="18"/>
                    <a:pt x="155" y="18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5" y="65"/>
                    <a:pt x="85" y="69"/>
                  </a:cubicBezTo>
                  <a:cubicBezTo>
                    <a:pt x="85" y="72"/>
                    <a:pt x="79" y="77"/>
                    <a:pt x="79" y="77"/>
                  </a:cubicBezTo>
                  <a:cubicBezTo>
                    <a:pt x="79" y="77"/>
                    <a:pt x="77" y="90"/>
                    <a:pt x="70" y="101"/>
                  </a:cubicBezTo>
                  <a:cubicBezTo>
                    <a:pt x="65" y="113"/>
                    <a:pt x="56" y="111"/>
                    <a:pt x="51" y="117"/>
                  </a:cubicBezTo>
                  <a:cubicBezTo>
                    <a:pt x="47" y="125"/>
                    <a:pt x="53" y="139"/>
                    <a:pt x="57" y="147"/>
                  </a:cubicBezTo>
                  <a:cubicBezTo>
                    <a:pt x="61" y="157"/>
                    <a:pt x="68" y="156"/>
                    <a:pt x="72" y="164"/>
                  </a:cubicBezTo>
                  <a:cubicBezTo>
                    <a:pt x="78" y="172"/>
                    <a:pt x="73" y="184"/>
                    <a:pt x="77" y="200"/>
                  </a:cubicBezTo>
                  <a:cubicBezTo>
                    <a:pt x="80" y="215"/>
                    <a:pt x="90" y="226"/>
                    <a:pt x="90" y="226"/>
                  </a:cubicBezTo>
                  <a:cubicBezTo>
                    <a:pt x="91" y="239"/>
                    <a:pt x="91" y="239"/>
                    <a:pt x="91" y="239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57" y="432"/>
                    <a:pt x="57" y="432"/>
                    <a:pt x="57" y="432"/>
                  </a:cubicBezTo>
                  <a:cubicBezTo>
                    <a:pt x="57" y="432"/>
                    <a:pt x="87" y="425"/>
                    <a:pt x="101" y="425"/>
                  </a:cubicBezTo>
                  <a:cubicBezTo>
                    <a:pt x="114" y="425"/>
                    <a:pt x="176" y="436"/>
                    <a:pt x="203" y="436"/>
                  </a:cubicBezTo>
                  <a:cubicBezTo>
                    <a:pt x="230" y="438"/>
                    <a:pt x="298" y="438"/>
                    <a:pt x="298" y="438"/>
                  </a:cubicBezTo>
                  <a:cubicBezTo>
                    <a:pt x="312" y="455"/>
                    <a:pt x="312" y="455"/>
                    <a:pt x="312" y="455"/>
                  </a:cubicBezTo>
                  <a:lnTo>
                    <a:pt x="312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2" name="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34E1E18-0A34-5041-93BF-BF8328D2C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85402" y="889056"/>
              <a:ext cx="3658598" cy="4107465"/>
            </a:xfrm>
            <a:custGeom>
              <a:avLst/>
              <a:gdLst/>
              <a:ahLst/>
              <a:cxnLst>
                <a:cxn ang="0">
                  <a:pos x="24" y="1219"/>
                </a:cxn>
                <a:cxn ang="0">
                  <a:pos x="8" y="1240"/>
                </a:cxn>
                <a:cxn ang="0">
                  <a:pos x="229" y="230"/>
                </a:cxn>
                <a:cxn ang="0">
                  <a:pos x="352" y="472"/>
                </a:cxn>
                <a:cxn ang="0">
                  <a:pos x="677" y="24"/>
                </a:cxn>
                <a:cxn ang="0">
                  <a:pos x="626" y="78"/>
                </a:cxn>
                <a:cxn ang="0">
                  <a:pos x="603" y="203"/>
                </a:cxn>
                <a:cxn ang="0">
                  <a:pos x="448" y="151"/>
                </a:cxn>
                <a:cxn ang="0">
                  <a:pos x="531" y="298"/>
                </a:cxn>
                <a:cxn ang="0">
                  <a:pos x="472" y="442"/>
                </a:cxn>
                <a:cxn ang="0">
                  <a:pos x="434" y="468"/>
                </a:cxn>
                <a:cxn ang="0">
                  <a:pos x="423" y="504"/>
                </a:cxn>
                <a:cxn ang="0">
                  <a:pos x="396" y="529"/>
                </a:cxn>
                <a:cxn ang="0">
                  <a:pos x="342" y="498"/>
                </a:cxn>
                <a:cxn ang="0">
                  <a:pos x="275" y="414"/>
                </a:cxn>
                <a:cxn ang="0">
                  <a:pos x="257" y="401"/>
                </a:cxn>
                <a:cxn ang="0">
                  <a:pos x="215" y="380"/>
                </a:cxn>
                <a:cxn ang="0">
                  <a:pos x="297" y="390"/>
                </a:cxn>
                <a:cxn ang="0">
                  <a:pos x="444" y="343"/>
                </a:cxn>
                <a:cxn ang="0">
                  <a:pos x="386" y="262"/>
                </a:cxn>
                <a:cxn ang="0">
                  <a:pos x="269" y="230"/>
                </a:cxn>
                <a:cxn ang="0">
                  <a:pos x="212" y="247"/>
                </a:cxn>
                <a:cxn ang="0">
                  <a:pos x="186" y="232"/>
                </a:cxn>
                <a:cxn ang="0">
                  <a:pos x="188" y="225"/>
                </a:cxn>
                <a:cxn ang="0">
                  <a:pos x="143" y="237"/>
                </a:cxn>
                <a:cxn ang="0">
                  <a:pos x="160" y="363"/>
                </a:cxn>
                <a:cxn ang="0">
                  <a:pos x="216" y="541"/>
                </a:cxn>
                <a:cxn ang="0">
                  <a:pos x="237" y="775"/>
                </a:cxn>
                <a:cxn ang="0">
                  <a:pos x="246" y="825"/>
                </a:cxn>
                <a:cxn ang="0">
                  <a:pos x="239" y="876"/>
                </a:cxn>
                <a:cxn ang="0">
                  <a:pos x="242" y="1006"/>
                </a:cxn>
                <a:cxn ang="0">
                  <a:pos x="289" y="1074"/>
                </a:cxn>
                <a:cxn ang="0">
                  <a:pos x="413" y="1136"/>
                </a:cxn>
                <a:cxn ang="0">
                  <a:pos x="490" y="1247"/>
                </a:cxn>
                <a:cxn ang="0">
                  <a:pos x="560" y="1265"/>
                </a:cxn>
                <a:cxn ang="0">
                  <a:pos x="648" y="1333"/>
                </a:cxn>
                <a:cxn ang="0">
                  <a:pos x="764" y="1354"/>
                </a:cxn>
                <a:cxn ang="0">
                  <a:pos x="862" y="1350"/>
                </a:cxn>
                <a:cxn ang="0">
                  <a:pos x="900" y="1455"/>
                </a:cxn>
                <a:cxn ang="0">
                  <a:pos x="871" y="1537"/>
                </a:cxn>
                <a:cxn ang="0">
                  <a:pos x="862" y="1623"/>
                </a:cxn>
                <a:cxn ang="0">
                  <a:pos x="903" y="1684"/>
                </a:cxn>
                <a:cxn ang="0">
                  <a:pos x="1047" y="1703"/>
                </a:cxn>
                <a:cxn ang="0">
                  <a:pos x="1233" y="1674"/>
                </a:cxn>
                <a:cxn ang="0">
                  <a:pos x="1408" y="1689"/>
                </a:cxn>
                <a:cxn ang="0">
                  <a:pos x="1341" y="1543"/>
                </a:cxn>
                <a:cxn ang="0">
                  <a:pos x="1283" y="1465"/>
                </a:cxn>
                <a:cxn ang="0">
                  <a:pos x="1320" y="1398"/>
                </a:cxn>
                <a:cxn ang="0">
                  <a:pos x="1281" y="1326"/>
                </a:cxn>
                <a:cxn ang="0">
                  <a:pos x="1133" y="1184"/>
                </a:cxn>
                <a:cxn ang="0">
                  <a:pos x="1183" y="1074"/>
                </a:cxn>
                <a:cxn ang="0">
                  <a:pos x="1253" y="984"/>
                </a:cxn>
                <a:cxn ang="0">
                  <a:pos x="1379" y="969"/>
                </a:cxn>
                <a:cxn ang="0">
                  <a:pos x="1488" y="872"/>
                </a:cxn>
                <a:cxn ang="0">
                  <a:pos x="1496" y="707"/>
                </a:cxn>
                <a:cxn ang="0">
                  <a:pos x="1446" y="669"/>
                </a:cxn>
                <a:cxn ang="0">
                  <a:pos x="1519" y="575"/>
                </a:cxn>
                <a:cxn ang="0">
                  <a:pos x="266" y="764"/>
                </a:cxn>
                <a:cxn ang="0">
                  <a:pos x="356" y="755"/>
                </a:cxn>
                <a:cxn ang="0">
                  <a:pos x="381" y="658"/>
                </a:cxn>
                <a:cxn ang="0">
                  <a:pos x="422" y="650"/>
                </a:cxn>
                <a:cxn ang="0">
                  <a:pos x="464" y="712"/>
                </a:cxn>
              </a:cxnLst>
              <a:rect l="0" t="0" r="r" b="b"/>
              <a:pathLst>
                <a:path w="1532" h="1721">
                  <a:moveTo>
                    <a:pt x="113" y="1210"/>
                  </a:moveTo>
                  <a:cubicBezTo>
                    <a:pt x="110" y="1208"/>
                    <a:pt x="101" y="1201"/>
                    <a:pt x="101" y="1201"/>
                  </a:cubicBezTo>
                  <a:cubicBezTo>
                    <a:pt x="90" y="1201"/>
                    <a:pt x="90" y="1201"/>
                    <a:pt x="90" y="1201"/>
                  </a:cubicBezTo>
                  <a:cubicBezTo>
                    <a:pt x="80" y="1205"/>
                    <a:pt x="80" y="1205"/>
                    <a:pt x="80" y="1205"/>
                  </a:cubicBezTo>
                  <a:cubicBezTo>
                    <a:pt x="79" y="1201"/>
                    <a:pt x="79" y="1201"/>
                    <a:pt x="79" y="1201"/>
                  </a:cubicBezTo>
                  <a:cubicBezTo>
                    <a:pt x="79" y="1201"/>
                    <a:pt x="73" y="1203"/>
                    <a:pt x="69" y="1200"/>
                  </a:cubicBezTo>
                  <a:cubicBezTo>
                    <a:pt x="64" y="1198"/>
                    <a:pt x="62" y="1197"/>
                    <a:pt x="62" y="1197"/>
                  </a:cubicBezTo>
                  <a:cubicBezTo>
                    <a:pt x="56" y="1198"/>
                    <a:pt x="56" y="1198"/>
                    <a:pt x="56" y="1198"/>
                  </a:cubicBezTo>
                  <a:cubicBezTo>
                    <a:pt x="51" y="1194"/>
                    <a:pt x="51" y="1194"/>
                    <a:pt x="51" y="1194"/>
                  </a:cubicBezTo>
                  <a:cubicBezTo>
                    <a:pt x="49" y="1199"/>
                    <a:pt x="49" y="1199"/>
                    <a:pt x="49" y="1199"/>
                  </a:cubicBezTo>
                  <a:cubicBezTo>
                    <a:pt x="46" y="1199"/>
                    <a:pt x="46" y="1199"/>
                    <a:pt x="46" y="1199"/>
                  </a:cubicBezTo>
                  <a:cubicBezTo>
                    <a:pt x="51" y="1215"/>
                    <a:pt x="51" y="1215"/>
                    <a:pt x="51" y="1215"/>
                  </a:cubicBezTo>
                  <a:cubicBezTo>
                    <a:pt x="44" y="1219"/>
                    <a:pt x="44" y="1219"/>
                    <a:pt x="44" y="1219"/>
                  </a:cubicBezTo>
                  <a:cubicBezTo>
                    <a:pt x="37" y="1219"/>
                    <a:pt x="37" y="1219"/>
                    <a:pt x="37" y="1219"/>
                  </a:cubicBezTo>
                  <a:cubicBezTo>
                    <a:pt x="37" y="1219"/>
                    <a:pt x="33" y="1218"/>
                    <a:pt x="32" y="1218"/>
                  </a:cubicBezTo>
                  <a:cubicBezTo>
                    <a:pt x="31" y="1218"/>
                    <a:pt x="24" y="1219"/>
                    <a:pt x="24" y="1219"/>
                  </a:cubicBezTo>
                  <a:cubicBezTo>
                    <a:pt x="36" y="1202"/>
                    <a:pt x="36" y="1202"/>
                    <a:pt x="36" y="1202"/>
                  </a:cubicBezTo>
                  <a:cubicBezTo>
                    <a:pt x="36" y="1198"/>
                    <a:pt x="36" y="1198"/>
                    <a:pt x="36" y="1198"/>
                  </a:cubicBezTo>
                  <a:cubicBezTo>
                    <a:pt x="41" y="1193"/>
                    <a:pt x="41" y="1193"/>
                    <a:pt x="41" y="1193"/>
                  </a:cubicBezTo>
                  <a:cubicBezTo>
                    <a:pt x="39" y="1191"/>
                    <a:pt x="39" y="1191"/>
                    <a:pt x="39" y="1191"/>
                  </a:cubicBezTo>
                  <a:cubicBezTo>
                    <a:pt x="37" y="1192"/>
                    <a:pt x="37" y="1192"/>
                    <a:pt x="37" y="1192"/>
                  </a:cubicBezTo>
                  <a:cubicBezTo>
                    <a:pt x="32" y="1202"/>
                    <a:pt x="32" y="1202"/>
                    <a:pt x="32" y="1202"/>
                  </a:cubicBezTo>
                  <a:cubicBezTo>
                    <a:pt x="23" y="1215"/>
                    <a:pt x="23" y="1215"/>
                    <a:pt x="23" y="1215"/>
                  </a:cubicBezTo>
                  <a:cubicBezTo>
                    <a:pt x="20" y="1218"/>
                    <a:pt x="20" y="1218"/>
                    <a:pt x="20" y="1218"/>
                  </a:cubicBezTo>
                  <a:cubicBezTo>
                    <a:pt x="2" y="1221"/>
                    <a:pt x="2" y="1221"/>
                    <a:pt x="2" y="1221"/>
                  </a:cubicBezTo>
                  <a:cubicBezTo>
                    <a:pt x="0" y="1226"/>
                    <a:pt x="0" y="1226"/>
                    <a:pt x="0" y="1226"/>
                  </a:cubicBezTo>
                  <a:cubicBezTo>
                    <a:pt x="3" y="1230"/>
                    <a:pt x="3" y="1230"/>
                    <a:pt x="3" y="1230"/>
                  </a:cubicBezTo>
                  <a:cubicBezTo>
                    <a:pt x="0" y="1241"/>
                    <a:pt x="0" y="1241"/>
                    <a:pt x="0" y="1241"/>
                  </a:cubicBezTo>
                  <a:cubicBezTo>
                    <a:pt x="3" y="1242"/>
                    <a:pt x="3" y="1242"/>
                    <a:pt x="3" y="1242"/>
                  </a:cubicBezTo>
                  <a:cubicBezTo>
                    <a:pt x="4" y="1239"/>
                    <a:pt x="4" y="1239"/>
                    <a:pt x="4" y="1239"/>
                  </a:cubicBezTo>
                  <a:cubicBezTo>
                    <a:pt x="6" y="1237"/>
                    <a:pt x="6" y="1237"/>
                    <a:pt x="6" y="1237"/>
                  </a:cubicBezTo>
                  <a:cubicBezTo>
                    <a:pt x="8" y="1240"/>
                    <a:pt x="8" y="1240"/>
                    <a:pt x="8" y="1240"/>
                  </a:cubicBezTo>
                  <a:cubicBezTo>
                    <a:pt x="13" y="1235"/>
                    <a:pt x="13" y="1235"/>
                    <a:pt x="13" y="1235"/>
                  </a:cubicBezTo>
                  <a:cubicBezTo>
                    <a:pt x="21" y="1237"/>
                    <a:pt x="21" y="1237"/>
                    <a:pt x="21" y="1237"/>
                  </a:cubicBezTo>
                  <a:cubicBezTo>
                    <a:pt x="16" y="1239"/>
                    <a:pt x="16" y="1239"/>
                    <a:pt x="16" y="1239"/>
                  </a:cubicBezTo>
                  <a:cubicBezTo>
                    <a:pt x="16" y="1241"/>
                    <a:pt x="16" y="1241"/>
                    <a:pt x="16" y="1241"/>
                  </a:cubicBezTo>
                  <a:cubicBezTo>
                    <a:pt x="8" y="1246"/>
                    <a:pt x="8" y="1246"/>
                    <a:pt x="8" y="1246"/>
                  </a:cubicBezTo>
                  <a:cubicBezTo>
                    <a:pt x="6" y="1245"/>
                    <a:pt x="6" y="1245"/>
                    <a:pt x="6" y="1245"/>
                  </a:cubicBezTo>
                  <a:cubicBezTo>
                    <a:pt x="3" y="1253"/>
                    <a:pt x="3" y="1253"/>
                    <a:pt x="3" y="1253"/>
                  </a:cubicBezTo>
                  <a:cubicBezTo>
                    <a:pt x="11" y="1253"/>
                    <a:pt x="45" y="1255"/>
                    <a:pt x="58" y="1254"/>
                  </a:cubicBezTo>
                  <a:cubicBezTo>
                    <a:pt x="74" y="1254"/>
                    <a:pt x="113" y="1244"/>
                    <a:pt x="113" y="1244"/>
                  </a:cubicBezTo>
                  <a:cubicBezTo>
                    <a:pt x="113" y="1244"/>
                    <a:pt x="106" y="1237"/>
                    <a:pt x="107" y="1229"/>
                  </a:cubicBezTo>
                  <a:cubicBezTo>
                    <a:pt x="107" y="1223"/>
                    <a:pt x="109" y="1218"/>
                    <a:pt x="109" y="1218"/>
                  </a:cubicBezTo>
                  <a:cubicBezTo>
                    <a:pt x="109" y="1218"/>
                    <a:pt x="117" y="1213"/>
                    <a:pt x="113" y="1210"/>
                  </a:cubicBezTo>
                  <a:close/>
                  <a:moveTo>
                    <a:pt x="229" y="228"/>
                  </a:moveTo>
                  <a:cubicBezTo>
                    <a:pt x="222" y="228"/>
                    <a:pt x="222" y="228"/>
                    <a:pt x="222" y="228"/>
                  </a:cubicBezTo>
                  <a:cubicBezTo>
                    <a:pt x="219" y="232"/>
                    <a:pt x="219" y="232"/>
                    <a:pt x="219" y="232"/>
                  </a:cubicBezTo>
                  <a:cubicBezTo>
                    <a:pt x="229" y="230"/>
                    <a:pt x="229" y="230"/>
                    <a:pt x="229" y="230"/>
                  </a:cubicBezTo>
                  <a:lnTo>
                    <a:pt x="229" y="228"/>
                  </a:lnTo>
                  <a:close/>
                  <a:moveTo>
                    <a:pt x="246" y="829"/>
                  </a:moveTo>
                  <a:cubicBezTo>
                    <a:pt x="238" y="825"/>
                    <a:pt x="238" y="825"/>
                    <a:pt x="238" y="825"/>
                  </a:cubicBezTo>
                  <a:cubicBezTo>
                    <a:pt x="239" y="830"/>
                    <a:pt x="239" y="830"/>
                    <a:pt x="239" y="830"/>
                  </a:cubicBezTo>
                  <a:cubicBezTo>
                    <a:pt x="244" y="832"/>
                    <a:pt x="244" y="832"/>
                    <a:pt x="244" y="832"/>
                  </a:cubicBezTo>
                  <a:lnTo>
                    <a:pt x="246" y="829"/>
                  </a:lnTo>
                  <a:close/>
                  <a:moveTo>
                    <a:pt x="363" y="466"/>
                  </a:moveTo>
                  <a:cubicBezTo>
                    <a:pt x="365" y="470"/>
                    <a:pt x="365" y="470"/>
                    <a:pt x="365" y="470"/>
                  </a:cubicBezTo>
                  <a:cubicBezTo>
                    <a:pt x="372" y="462"/>
                    <a:pt x="372" y="462"/>
                    <a:pt x="372" y="462"/>
                  </a:cubicBezTo>
                  <a:lnTo>
                    <a:pt x="363" y="466"/>
                  </a:lnTo>
                  <a:close/>
                  <a:moveTo>
                    <a:pt x="352" y="472"/>
                  </a:moveTo>
                  <a:cubicBezTo>
                    <a:pt x="351" y="476"/>
                    <a:pt x="351" y="476"/>
                    <a:pt x="351" y="476"/>
                  </a:cubicBezTo>
                  <a:cubicBezTo>
                    <a:pt x="356" y="478"/>
                    <a:pt x="356" y="478"/>
                    <a:pt x="356" y="478"/>
                  </a:cubicBezTo>
                  <a:cubicBezTo>
                    <a:pt x="363" y="473"/>
                    <a:pt x="363" y="473"/>
                    <a:pt x="363" y="473"/>
                  </a:cubicBezTo>
                  <a:cubicBezTo>
                    <a:pt x="357" y="468"/>
                    <a:pt x="357" y="468"/>
                    <a:pt x="357" y="468"/>
                  </a:cubicBezTo>
                  <a:lnTo>
                    <a:pt x="352" y="472"/>
                  </a:lnTo>
                  <a:close/>
                  <a:moveTo>
                    <a:pt x="365" y="482"/>
                  </a:moveTo>
                  <a:cubicBezTo>
                    <a:pt x="369" y="478"/>
                    <a:pt x="367" y="475"/>
                    <a:pt x="360" y="480"/>
                  </a:cubicBezTo>
                  <a:cubicBezTo>
                    <a:pt x="360" y="480"/>
                    <a:pt x="362" y="485"/>
                    <a:pt x="365" y="482"/>
                  </a:cubicBezTo>
                  <a:close/>
                  <a:moveTo>
                    <a:pt x="1532" y="0"/>
                  </a:moveTo>
                  <a:cubicBezTo>
                    <a:pt x="716" y="0"/>
                    <a:pt x="716" y="0"/>
                    <a:pt x="716" y="0"/>
                  </a:cubicBezTo>
                  <a:cubicBezTo>
                    <a:pt x="712" y="19"/>
                    <a:pt x="712" y="19"/>
                    <a:pt x="712" y="19"/>
                  </a:cubicBezTo>
                  <a:cubicBezTo>
                    <a:pt x="712" y="19"/>
                    <a:pt x="721" y="31"/>
                    <a:pt x="720" y="35"/>
                  </a:cubicBezTo>
                  <a:cubicBezTo>
                    <a:pt x="719" y="39"/>
                    <a:pt x="708" y="33"/>
                    <a:pt x="708" y="33"/>
                  </a:cubicBezTo>
                  <a:cubicBezTo>
                    <a:pt x="699" y="34"/>
                    <a:pt x="699" y="34"/>
                    <a:pt x="699" y="34"/>
                  </a:cubicBezTo>
                  <a:cubicBezTo>
                    <a:pt x="699" y="34"/>
                    <a:pt x="698" y="39"/>
                    <a:pt x="698" y="42"/>
                  </a:cubicBezTo>
                  <a:cubicBezTo>
                    <a:pt x="698" y="46"/>
                    <a:pt x="694" y="46"/>
                    <a:pt x="690" y="46"/>
                  </a:cubicBezTo>
                  <a:cubicBezTo>
                    <a:pt x="684" y="47"/>
                    <a:pt x="681" y="55"/>
                    <a:pt x="681" y="55"/>
                  </a:cubicBezTo>
                  <a:cubicBezTo>
                    <a:pt x="681" y="55"/>
                    <a:pt x="678" y="50"/>
                    <a:pt x="679" y="46"/>
                  </a:cubicBezTo>
                  <a:cubicBezTo>
                    <a:pt x="681" y="41"/>
                    <a:pt x="693" y="39"/>
                    <a:pt x="693" y="39"/>
                  </a:cubicBezTo>
                  <a:cubicBezTo>
                    <a:pt x="693" y="39"/>
                    <a:pt x="691" y="30"/>
                    <a:pt x="686" y="29"/>
                  </a:cubicBezTo>
                  <a:cubicBezTo>
                    <a:pt x="683" y="28"/>
                    <a:pt x="677" y="24"/>
                    <a:pt x="677" y="24"/>
                  </a:cubicBezTo>
                  <a:cubicBezTo>
                    <a:pt x="677" y="16"/>
                    <a:pt x="677" y="16"/>
                    <a:pt x="677" y="16"/>
                  </a:cubicBezTo>
                  <a:cubicBezTo>
                    <a:pt x="675" y="15"/>
                    <a:pt x="675" y="15"/>
                    <a:pt x="675" y="15"/>
                  </a:cubicBezTo>
                  <a:cubicBezTo>
                    <a:pt x="675" y="15"/>
                    <a:pt x="676" y="9"/>
                    <a:pt x="672" y="9"/>
                  </a:cubicBezTo>
                  <a:cubicBezTo>
                    <a:pt x="669" y="9"/>
                    <a:pt x="667" y="14"/>
                    <a:pt x="667" y="14"/>
                  </a:cubicBezTo>
                  <a:cubicBezTo>
                    <a:pt x="667" y="14"/>
                    <a:pt x="665" y="10"/>
                    <a:pt x="663" y="10"/>
                  </a:cubicBezTo>
                  <a:cubicBezTo>
                    <a:pt x="661" y="10"/>
                    <a:pt x="654" y="18"/>
                    <a:pt x="652" y="27"/>
                  </a:cubicBezTo>
                  <a:cubicBezTo>
                    <a:pt x="650" y="34"/>
                    <a:pt x="651" y="41"/>
                    <a:pt x="651" y="41"/>
                  </a:cubicBezTo>
                  <a:cubicBezTo>
                    <a:pt x="651" y="41"/>
                    <a:pt x="655" y="43"/>
                    <a:pt x="660" y="47"/>
                  </a:cubicBezTo>
                  <a:cubicBezTo>
                    <a:pt x="664" y="50"/>
                    <a:pt x="664" y="57"/>
                    <a:pt x="660" y="62"/>
                  </a:cubicBezTo>
                  <a:cubicBezTo>
                    <a:pt x="657" y="67"/>
                    <a:pt x="651" y="53"/>
                    <a:pt x="651" y="53"/>
                  </a:cubicBezTo>
                  <a:cubicBezTo>
                    <a:pt x="647" y="53"/>
                    <a:pt x="647" y="53"/>
                    <a:pt x="647" y="53"/>
                  </a:cubicBezTo>
                  <a:cubicBezTo>
                    <a:pt x="649" y="45"/>
                    <a:pt x="649" y="45"/>
                    <a:pt x="649" y="45"/>
                  </a:cubicBezTo>
                  <a:cubicBezTo>
                    <a:pt x="649" y="45"/>
                    <a:pt x="644" y="51"/>
                    <a:pt x="643" y="55"/>
                  </a:cubicBezTo>
                  <a:cubicBezTo>
                    <a:pt x="642" y="58"/>
                    <a:pt x="637" y="62"/>
                    <a:pt x="632" y="63"/>
                  </a:cubicBezTo>
                  <a:cubicBezTo>
                    <a:pt x="627" y="63"/>
                    <a:pt x="625" y="71"/>
                    <a:pt x="625" y="71"/>
                  </a:cubicBezTo>
                  <a:cubicBezTo>
                    <a:pt x="626" y="78"/>
                    <a:pt x="626" y="78"/>
                    <a:pt x="626" y="78"/>
                  </a:cubicBezTo>
                  <a:cubicBezTo>
                    <a:pt x="626" y="78"/>
                    <a:pt x="627" y="72"/>
                    <a:pt x="630" y="70"/>
                  </a:cubicBezTo>
                  <a:cubicBezTo>
                    <a:pt x="633" y="67"/>
                    <a:pt x="635" y="65"/>
                    <a:pt x="637" y="66"/>
                  </a:cubicBezTo>
                  <a:cubicBezTo>
                    <a:pt x="641" y="66"/>
                    <a:pt x="637" y="71"/>
                    <a:pt x="634" y="74"/>
                  </a:cubicBezTo>
                  <a:cubicBezTo>
                    <a:pt x="630" y="77"/>
                    <a:pt x="623" y="81"/>
                    <a:pt x="620" y="89"/>
                  </a:cubicBezTo>
                  <a:cubicBezTo>
                    <a:pt x="618" y="96"/>
                    <a:pt x="619" y="112"/>
                    <a:pt x="619" y="112"/>
                  </a:cubicBezTo>
                  <a:cubicBezTo>
                    <a:pt x="615" y="113"/>
                    <a:pt x="615" y="113"/>
                    <a:pt x="615" y="113"/>
                  </a:cubicBezTo>
                  <a:cubicBezTo>
                    <a:pt x="602" y="133"/>
                    <a:pt x="602" y="133"/>
                    <a:pt x="602" y="133"/>
                  </a:cubicBezTo>
                  <a:cubicBezTo>
                    <a:pt x="593" y="135"/>
                    <a:pt x="593" y="135"/>
                    <a:pt x="593" y="135"/>
                  </a:cubicBezTo>
                  <a:cubicBezTo>
                    <a:pt x="602" y="143"/>
                    <a:pt x="602" y="143"/>
                    <a:pt x="602" y="143"/>
                  </a:cubicBezTo>
                  <a:cubicBezTo>
                    <a:pt x="609" y="142"/>
                    <a:pt x="609" y="142"/>
                    <a:pt x="609" y="142"/>
                  </a:cubicBezTo>
                  <a:cubicBezTo>
                    <a:pt x="612" y="146"/>
                    <a:pt x="612" y="146"/>
                    <a:pt x="612" y="146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47"/>
                    <a:pt x="587" y="155"/>
                    <a:pt x="586" y="161"/>
                  </a:cubicBezTo>
                  <a:cubicBezTo>
                    <a:pt x="584" y="168"/>
                    <a:pt x="596" y="184"/>
                    <a:pt x="596" y="184"/>
                  </a:cubicBezTo>
                  <a:cubicBezTo>
                    <a:pt x="594" y="187"/>
                    <a:pt x="594" y="187"/>
                    <a:pt x="594" y="187"/>
                  </a:cubicBezTo>
                  <a:cubicBezTo>
                    <a:pt x="594" y="187"/>
                    <a:pt x="604" y="198"/>
                    <a:pt x="603" y="203"/>
                  </a:cubicBezTo>
                  <a:cubicBezTo>
                    <a:pt x="602" y="209"/>
                    <a:pt x="596" y="208"/>
                    <a:pt x="596" y="208"/>
                  </a:cubicBezTo>
                  <a:cubicBezTo>
                    <a:pt x="596" y="208"/>
                    <a:pt x="593" y="215"/>
                    <a:pt x="590" y="218"/>
                  </a:cubicBezTo>
                  <a:cubicBezTo>
                    <a:pt x="588" y="221"/>
                    <a:pt x="576" y="224"/>
                    <a:pt x="576" y="224"/>
                  </a:cubicBezTo>
                  <a:cubicBezTo>
                    <a:pt x="576" y="224"/>
                    <a:pt x="571" y="232"/>
                    <a:pt x="566" y="232"/>
                  </a:cubicBezTo>
                  <a:cubicBezTo>
                    <a:pt x="561" y="233"/>
                    <a:pt x="547" y="216"/>
                    <a:pt x="547" y="216"/>
                  </a:cubicBezTo>
                  <a:cubicBezTo>
                    <a:pt x="526" y="214"/>
                    <a:pt x="526" y="214"/>
                    <a:pt x="526" y="214"/>
                  </a:cubicBezTo>
                  <a:cubicBezTo>
                    <a:pt x="528" y="192"/>
                    <a:pt x="528" y="192"/>
                    <a:pt x="528" y="192"/>
                  </a:cubicBezTo>
                  <a:cubicBezTo>
                    <a:pt x="521" y="186"/>
                    <a:pt x="521" y="186"/>
                    <a:pt x="521" y="186"/>
                  </a:cubicBezTo>
                  <a:cubicBezTo>
                    <a:pt x="535" y="174"/>
                    <a:pt x="535" y="174"/>
                    <a:pt x="535" y="174"/>
                  </a:cubicBezTo>
                  <a:cubicBezTo>
                    <a:pt x="551" y="162"/>
                    <a:pt x="551" y="162"/>
                    <a:pt x="551" y="162"/>
                  </a:cubicBezTo>
                  <a:cubicBezTo>
                    <a:pt x="551" y="162"/>
                    <a:pt x="543" y="150"/>
                    <a:pt x="538" y="146"/>
                  </a:cubicBezTo>
                  <a:cubicBezTo>
                    <a:pt x="534" y="144"/>
                    <a:pt x="517" y="140"/>
                    <a:pt x="517" y="140"/>
                  </a:cubicBezTo>
                  <a:cubicBezTo>
                    <a:pt x="511" y="133"/>
                    <a:pt x="511" y="133"/>
                    <a:pt x="511" y="133"/>
                  </a:cubicBezTo>
                  <a:cubicBezTo>
                    <a:pt x="511" y="133"/>
                    <a:pt x="499" y="136"/>
                    <a:pt x="490" y="138"/>
                  </a:cubicBezTo>
                  <a:cubicBezTo>
                    <a:pt x="481" y="141"/>
                    <a:pt x="473" y="150"/>
                    <a:pt x="473" y="150"/>
                  </a:cubicBezTo>
                  <a:cubicBezTo>
                    <a:pt x="448" y="151"/>
                    <a:pt x="448" y="151"/>
                    <a:pt x="448" y="151"/>
                  </a:cubicBezTo>
                  <a:cubicBezTo>
                    <a:pt x="448" y="151"/>
                    <a:pt x="452" y="154"/>
                    <a:pt x="457" y="156"/>
                  </a:cubicBezTo>
                  <a:cubicBezTo>
                    <a:pt x="463" y="157"/>
                    <a:pt x="471" y="158"/>
                    <a:pt x="471" y="158"/>
                  </a:cubicBezTo>
                  <a:cubicBezTo>
                    <a:pt x="482" y="168"/>
                    <a:pt x="482" y="168"/>
                    <a:pt x="482" y="168"/>
                  </a:cubicBezTo>
                  <a:cubicBezTo>
                    <a:pt x="482" y="172"/>
                    <a:pt x="482" y="172"/>
                    <a:pt x="482" y="172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91" y="188"/>
                    <a:pt x="491" y="188"/>
                    <a:pt x="491" y="188"/>
                  </a:cubicBezTo>
                  <a:cubicBezTo>
                    <a:pt x="490" y="192"/>
                    <a:pt x="490" y="192"/>
                    <a:pt x="490" y="192"/>
                  </a:cubicBezTo>
                  <a:cubicBezTo>
                    <a:pt x="497" y="204"/>
                    <a:pt x="497" y="204"/>
                    <a:pt x="497" y="204"/>
                  </a:cubicBezTo>
                  <a:cubicBezTo>
                    <a:pt x="497" y="204"/>
                    <a:pt x="498" y="235"/>
                    <a:pt x="503" y="240"/>
                  </a:cubicBezTo>
                  <a:cubicBezTo>
                    <a:pt x="508" y="246"/>
                    <a:pt x="522" y="240"/>
                    <a:pt x="522" y="240"/>
                  </a:cubicBezTo>
                  <a:cubicBezTo>
                    <a:pt x="531" y="249"/>
                    <a:pt x="531" y="249"/>
                    <a:pt x="531" y="249"/>
                  </a:cubicBezTo>
                  <a:cubicBezTo>
                    <a:pt x="529" y="252"/>
                    <a:pt x="529" y="252"/>
                    <a:pt x="529" y="252"/>
                  </a:cubicBezTo>
                  <a:cubicBezTo>
                    <a:pt x="537" y="262"/>
                    <a:pt x="537" y="262"/>
                    <a:pt x="537" y="262"/>
                  </a:cubicBezTo>
                  <a:cubicBezTo>
                    <a:pt x="538" y="292"/>
                    <a:pt x="538" y="292"/>
                    <a:pt x="538" y="292"/>
                  </a:cubicBezTo>
                  <a:cubicBezTo>
                    <a:pt x="538" y="292"/>
                    <a:pt x="549" y="305"/>
                    <a:pt x="547" y="308"/>
                  </a:cubicBezTo>
                  <a:cubicBezTo>
                    <a:pt x="546" y="311"/>
                    <a:pt x="533" y="297"/>
                    <a:pt x="531" y="298"/>
                  </a:cubicBezTo>
                  <a:cubicBezTo>
                    <a:pt x="528" y="298"/>
                    <a:pt x="523" y="311"/>
                    <a:pt x="523" y="311"/>
                  </a:cubicBezTo>
                  <a:cubicBezTo>
                    <a:pt x="526" y="299"/>
                    <a:pt x="526" y="299"/>
                    <a:pt x="526" y="299"/>
                  </a:cubicBezTo>
                  <a:cubicBezTo>
                    <a:pt x="526" y="299"/>
                    <a:pt x="522" y="296"/>
                    <a:pt x="514" y="296"/>
                  </a:cubicBezTo>
                  <a:cubicBezTo>
                    <a:pt x="504" y="295"/>
                    <a:pt x="499" y="303"/>
                    <a:pt x="499" y="303"/>
                  </a:cubicBezTo>
                  <a:cubicBezTo>
                    <a:pt x="499" y="303"/>
                    <a:pt x="494" y="299"/>
                    <a:pt x="488" y="298"/>
                  </a:cubicBezTo>
                  <a:cubicBezTo>
                    <a:pt x="483" y="298"/>
                    <a:pt x="478" y="308"/>
                    <a:pt x="478" y="308"/>
                  </a:cubicBezTo>
                  <a:cubicBezTo>
                    <a:pt x="478" y="308"/>
                    <a:pt x="480" y="325"/>
                    <a:pt x="474" y="334"/>
                  </a:cubicBezTo>
                  <a:cubicBezTo>
                    <a:pt x="468" y="343"/>
                    <a:pt x="459" y="343"/>
                    <a:pt x="459" y="343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59" y="356"/>
                    <a:pt x="457" y="363"/>
                  </a:cubicBezTo>
                  <a:cubicBezTo>
                    <a:pt x="455" y="371"/>
                    <a:pt x="446" y="381"/>
                    <a:pt x="447" y="383"/>
                  </a:cubicBezTo>
                  <a:cubicBezTo>
                    <a:pt x="447" y="387"/>
                    <a:pt x="451" y="383"/>
                    <a:pt x="451" y="383"/>
                  </a:cubicBezTo>
                  <a:cubicBezTo>
                    <a:pt x="451" y="383"/>
                    <a:pt x="452" y="386"/>
                    <a:pt x="452" y="394"/>
                  </a:cubicBezTo>
                  <a:cubicBezTo>
                    <a:pt x="452" y="403"/>
                    <a:pt x="475" y="409"/>
                    <a:pt x="484" y="418"/>
                  </a:cubicBezTo>
                  <a:cubicBezTo>
                    <a:pt x="493" y="426"/>
                    <a:pt x="488" y="426"/>
                    <a:pt x="479" y="427"/>
                  </a:cubicBezTo>
                  <a:cubicBezTo>
                    <a:pt x="470" y="428"/>
                    <a:pt x="472" y="442"/>
                    <a:pt x="472" y="442"/>
                  </a:cubicBezTo>
                  <a:cubicBezTo>
                    <a:pt x="472" y="442"/>
                    <a:pt x="475" y="454"/>
                    <a:pt x="475" y="458"/>
                  </a:cubicBezTo>
                  <a:cubicBezTo>
                    <a:pt x="475" y="462"/>
                    <a:pt x="459" y="462"/>
                    <a:pt x="459" y="462"/>
                  </a:cubicBezTo>
                  <a:cubicBezTo>
                    <a:pt x="451" y="462"/>
                    <a:pt x="451" y="462"/>
                    <a:pt x="451" y="462"/>
                  </a:cubicBezTo>
                  <a:cubicBezTo>
                    <a:pt x="445" y="462"/>
                    <a:pt x="446" y="464"/>
                    <a:pt x="446" y="464"/>
                  </a:cubicBezTo>
                  <a:cubicBezTo>
                    <a:pt x="446" y="464"/>
                    <a:pt x="440" y="462"/>
                    <a:pt x="440" y="464"/>
                  </a:cubicBezTo>
                  <a:cubicBezTo>
                    <a:pt x="439" y="465"/>
                    <a:pt x="442" y="467"/>
                    <a:pt x="442" y="467"/>
                  </a:cubicBezTo>
                  <a:cubicBezTo>
                    <a:pt x="442" y="467"/>
                    <a:pt x="439" y="469"/>
                    <a:pt x="437" y="470"/>
                  </a:cubicBezTo>
                  <a:cubicBezTo>
                    <a:pt x="435" y="471"/>
                    <a:pt x="436" y="475"/>
                    <a:pt x="436" y="475"/>
                  </a:cubicBezTo>
                  <a:cubicBezTo>
                    <a:pt x="436" y="475"/>
                    <a:pt x="437" y="481"/>
                    <a:pt x="435" y="480"/>
                  </a:cubicBezTo>
                  <a:cubicBezTo>
                    <a:pt x="433" y="480"/>
                    <a:pt x="434" y="475"/>
                    <a:pt x="434" y="475"/>
                  </a:cubicBezTo>
                  <a:cubicBezTo>
                    <a:pt x="434" y="475"/>
                    <a:pt x="431" y="472"/>
                    <a:pt x="429" y="471"/>
                  </a:cubicBezTo>
                  <a:cubicBezTo>
                    <a:pt x="428" y="469"/>
                    <a:pt x="432" y="468"/>
                    <a:pt x="432" y="468"/>
                  </a:cubicBezTo>
                  <a:cubicBezTo>
                    <a:pt x="429" y="468"/>
                    <a:pt x="429" y="468"/>
                    <a:pt x="429" y="468"/>
                  </a:cubicBezTo>
                  <a:cubicBezTo>
                    <a:pt x="429" y="467"/>
                    <a:pt x="429" y="467"/>
                    <a:pt x="429" y="467"/>
                  </a:cubicBezTo>
                  <a:cubicBezTo>
                    <a:pt x="429" y="467"/>
                    <a:pt x="430" y="466"/>
                    <a:pt x="432" y="466"/>
                  </a:cubicBezTo>
                  <a:cubicBezTo>
                    <a:pt x="433" y="466"/>
                    <a:pt x="434" y="468"/>
                    <a:pt x="434" y="468"/>
                  </a:cubicBezTo>
                  <a:cubicBezTo>
                    <a:pt x="436" y="467"/>
                    <a:pt x="436" y="467"/>
                    <a:pt x="436" y="467"/>
                  </a:cubicBezTo>
                  <a:cubicBezTo>
                    <a:pt x="435" y="465"/>
                    <a:pt x="435" y="465"/>
                    <a:pt x="435" y="465"/>
                  </a:cubicBezTo>
                  <a:cubicBezTo>
                    <a:pt x="438" y="465"/>
                    <a:pt x="438" y="465"/>
                    <a:pt x="438" y="465"/>
                  </a:cubicBezTo>
                  <a:cubicBezTo>
                    <a:pt x="437" y="461"/>
                    <a:pt x="437" y="461"/>
                    <a:pt x="437" y="461"/>
                  </a:cubicBezTo>
                  <a:cubicBezTo>
                    <a:pt x="437" y="461"/>
                    <a:pt x="425" y="464"/>
                    <a:pt x="422" y="464"/>
                  </a:cubicBezTo>
                  <a:cubicBezTo>
                    <a:pt x="418" y="462"/>
                    <a:pt x="416" y="458"/>
                    <a:pt x="416" y="458"/>
                  </a:cubicBezTo>
                  <a:cubicBezTo>
                    <a:pt x="416" y="458"/>
                    <a:pt x="393" y="456"/>
                    <a:pt x="390" y="458"/>
                  </a:cubicBezTo>
                  <a:cubicBezTo>
                    <a:pt x="387" y="460"/>
                    <a:pt x="393" y="465"/>
                    <a:pt x="393" y="469"/>
                  </a:cubicBezTo>
                  <a:cubicBezTo>
                    <a:pt x="395" y="472"/>
                    <a:pt x="389" y="474"/>
                    <a:pt x="389" y="474"/>
                  </a:cubicBezTo>
                  <a:cubicBezTo>
                    <a:pt x="389" y="476"/>
                    <a:pt x="389" y="476"/>
                    <a:pt x="389" y="476"/>
                  </a:cubicBezTo>
                  <a:cubicBezTo>
                    <a:pt x="389" y="476"/>
                    <a:pt x="386" y="475"/>
                    <a:pt x="385" y="477"/>
                  </a:cubicBezTo>
                  <a:cubicBezTo>
                    <a:pt x="384" y="480"/>
                    <a:pt x="389" y="483"/>
                    <a:pt x="389" y="483"/>
                  </a:cubicBezTo>
                  <a:cubicBezTo>
                    <a:pt x="392" y="487"/>
                    <a:pt x="392" y="487"/>
                    <a:pt x="392" y="487"/>
                  </a:cubicBezTo>
                  <a:cubicBezTo>
                    <a:pt x="392" y="487"/>
                    <a:pt x="395" y="486"/>
                    <a:pt x="397" y="487"/>
                  </a:cubicBezTo>
                  <a:cubicBezTo>
                    <a:pt x="399" y="487"/>
                    <a:pt x="403" y="491"/>
                    <a:pt x="408" y="494"/>
                  </a:cubicBezTo>
                  <a:cubicBezTo>
                    <a:pt x="413" y="499"/>
                    <a:pt x="423" y="504"/>
                    <a:pt x="423" y="504"/>
                  </a:cubicBezTo>
                  <a:cubicBezTo>
                    <a:pt x="425" y="498"/>
                    <a:pt x="425" y="498"/>
                    <a:pt x="425" y="498"/>
                  </a:cubicBezTo>
                  <a:cubicBezTo>
                    <a:pt x="430" y="498"/>
                    <a:pt x="430" y="498"/>
                    <a:pt x="430" y="498"/>
                  </a:cubicBezTo>
                  <a:cubicBezTo>
                    <a:pt x="430" y="498"/>
                    <a:pt x="428" y="496"/>
                    <a:pt x="429" y="494"/>
                  </a:cubicBezTo>
                  <a:cubicBezTo>
                    <a:pt x="429" y="492"/>
                    <a:pt x="433" y="491"/>
                    <a:pt x="433" y="491"/>
                  </a:cubicBezTo>
                  <a:cubicBezTo>
                    <a:pt x="433" y="496"/>
                    <a:pt x="433" y="496"/>
                    <a:pt x="433" y="496"/>
                  </a:cubicBezTo>
                  <a:cubicBezTo>
                    <a:pt x="439" y="496"/>
                    <a:pt x="439" y="496"/>
                    <a:pt x="439" y="496"/>
                  </a:cubicBezTo>
                  <a:cubicBezTo>
                    <a:pt x="442" y="496"/>
                    <a:pt x="441" y="499"/>
                    <a:pt x="441" y="499"/>
                  </a:cubicBezTo>
                  <a:cubicBezTo>
                    <a:pt x="441" y="505"/>
                    <a:pt x="441" y="505"/>
                    <a:pt x="441" y="505"/>
                  </a:cubicBezTo>
                  <a:cubicBezTo>
                    <a:pt x="441" y="505"/>
                    <a:pt x="449" y="508"/>
                    <a:pt x="451" y="516"/>
                  </a:cubicBezTo>
                  <a:cubicBezTo>
                    <a:pt x="454" y="523"/>
                    <a:pt x="444" y="525"/>
                    <a:pt x="444" y="525"/>
                  </a:cubicBezTo>
                  <a:cubicBezTo>
                    <a:pt x="444" y="525"/>
                    <a:pt x="444" y="531"/>
                    <a:pt x="439" y="534"/>
                  </a:cubicBezTo>
                  <a:cubicBezTo>
                    <a:pt x="435" y="537"/>
                    <a:pt x="433" y="532"/>
                    <a:pt x="429" y="531"/>
                  </a:cubicBezTo>
                  <a:cubicBezTo>
                    <a:pt x="425" y="531"/>
                    <a:pt x="422" y="534"/>
                    <a:pt x="420" y="534"/>
                  </a:cubicBezTo>
                  <a:cubicBezTo>
                    <a:pt x="419" y="534"/>
                    <a:pt x="416" y="534"/>
                    <a:pt x="413" y="533"/>
                  </a:cubicBezTo>
                  <a:cubicBezTo>
                    <a:pt x="409" y="533"/>
                    <a:pt x="412" y="535"/>
                    <a:pt x="404" y="534"/>
                  </a:cubicBezTo>
                  <a:cubicBezTo>
                    <a:pt x="396" y="534"/>
                    <a:pt x="396" y="529"/>
                    <a:pt x="396" y="529"/>
                  </a:cubicBezTo>
                  <a:cubicBezTo>
                    <a:pt x="397" y="524"/>
                    <a:pt x="397" y="524"/>
                    <a:pt x="397" y="524"/>
                  </a:cubicBezTo>
                  <a:cubicBezTo>
                    <a:pt x="388" y="523"/>
                    <a:pt x="388" y="523"/>
                    <a:pt x="388" y="523"/>
                  </a:cubicBezTo>
                  <a:cubicBezTo>
                    <a:pt x="388" y="523"/>
                    <a:pt x="386" y="525"/>
                    <a:pt x="384" y="523"/>
                  </a:cubicBezTo>
                  <a:cubicBezTo>
                    <a:pt x="382" y="522"/>
                    <a:pt x="382" y="520"/>
                    <a:pt x="379" y="518"/>
                  </a:cubicBezTo>
                  <a:cubicBezTo>
                    <a:pt x="374" y="515"/>
                    <a:pt x="370" y="518"/>
                    <a:pt x="370" y="518"/>
                  </a:cubicBezTo>
                  <a:cubicBezTo>
                    <a:pt x="370" y="518"/>
                    <a:pt x="371" y="521"/>
                    <a:pt x="370" y="523"/>
                  </a:cubicBezTo>
                  <a:cubicBezTo>
                    <a:pt x="368" y="525"/>
                    <a:pt x="365" y="525"/>
                    <a:pt x="365" y="525"/>
                  </a:cubicBezTo>
                  <a:cubicBezTo>
                    <a:pt x="364" y="523"/>
                    <a:pt x="364" y="523"/>
                    <a:pt x="364" y="523"/>
                  </a:cubicBezTo>
                  <a:cubicBezTo>
                    <a:pt x="360" y="523"/>
                    <a:pt x="360" y="523"/>
                    <a:pt x="360" y="523"/>
                  </a:cubicBezTo>
                  <a:cubicBezTo>
                    <a:pt x="360" y="525"/>
                    <a:pt x="360" y="525"/>
                    <a:pt x="360" y="525"/>
                  </a:cubicBezTo>
                  <a:cubicBezTo>
                    <a:pt x="355" y="519"/>
                    <a:pt x="355" y="519"/>
                    <a:pt x="355" y="519"/>
                  </a:cubicBezTo>
                  <a:cubicBezTo>
                    <a:pt x="354" y="522"/>
                    <a:pt x="354" y="522"/>
                    <a:pt x="354" y="522"/>
                  </a:cubicBezTo>
                  <a:cubicBezTo>
                    <a:pt x="344" y="516"/>
                    <a:pt x="344" y="516"/>
                    <a:pt x="344" y="516"/>
                  </a:cubicBezTo>
                  <a:cubicBezTo>
                    <a:pt x="344" y="516"/>
                    <a:pt x="347" y="512"/>
                    <a:pt x="346" y="509"/>
                  </a:cubicBezTo>
                  <a:cubicBezTo>
                    <a:pt x="344" y="506"/>
                    <a:pt x="340" y="502"/>
                    <a:pt x="340" y="502"/>
                  </a:cubicBezTo>
                  <a:cubicBezTo>
                    <a:pt x="342" y="498"/>
                    <a:pt x="342" y="498"/>
                    <a:pt x="342" y="498"/>
                  </a:cubicBezTo>
                  <a:cubicBezTo>
                    <a:pt x="339" y="492"/>
                    <a:pt x="339" y="492"/>
                    <a:pt x="339" y="492"/>
                  </a:cubicBezTo>
                  <a:cubicBezTo>
                    <a:pt x="333" y="490"/>
                    <a:pt x="333" y="490"/>
                    <a:pt x="333" y="490"/>
                  </a:cubicBezTo>
                  <a:cubicBezTo>
                    <a:pt x="333" y="490"/>
                    <a:pt x="336" y="487"/>
                    <a:pt x="334" y="483"/>
                  </a:cubicBezTo>
                  <a:cubicBezTo>
                    <a:pt x="331" y="478"/>
                    <a:pt x="314" y="469"/>
                    <a:pt x="314" y="469"/>
                  </a:cubicBezTo>
                  <a:cubicBezTo>
                    <a:pt x="314" y="469"/>
                    <a:pt x="321" y="460"/>
                    <a:pt x="321" y="456"/>
                  </a:cubicBezTo>
                  <a:cubicBezTo>
                    <a:pt x="322" y="451"/>
                    <a:pt x="313" y="439"/>
                    <a:pt x="313" y="439"/>
                  </a:cubicBezTo>
                  <a:cubicBezTo>
                    <a:pt x="313" y="439"/>
                    <a:pt x="315" y="438"/>
                    <a:pt x="315" y="437"/>
                  </a:cubicBezTo>
                  <a:cubicBezTo>
                    <a:pt x="316" y="436"/>
                    <a:pt x="317" y="433"/>
                    <a:pt x="317" y="433"/>
                  </a:cubicBezTo>
                  <a:cubicBezTo>
                    <a:pt x="317" y="433"/>
                    <a:pt x="314" y="434"/>
                    <a:pt x="313" y="434"/>
                  </a:cubicBezTo>
                  <a:cubicBezTo>
                    <a:pt x="310" y="433"/>
                    <a:pt x="311" y="427"/>
                    <a:pt x="311" y="427"/>
                  </a:cubicBezTo>
                  <a:cubicBezTo>
                    <a:pt x="311" y="427"/>
                    <a:pt x="293" y="420"/>
                    <a:pt x="290" y="419"/>
                  </a:cubicBezTo>
                  <a:cubicBezTo>
                    <a:pt x="286" y="418"/>
                    <a:pt x="285" y="421"/>
                    <a:pt x="285" y="421"/>
                  </a:cubicBezTo>
                  <a:cubicBezTo>
                    <a:pt x="285" y="421"/>
                    <a:pt x="274" y="419"/>
                    <a:pt x="271" y="419"/>
                  </a:cubicBezTo>
                  <a:cubicBezTo>
                    <a:pt x="268" y="419"/>
                    <a:pt x="264" y="423"/>
                    <a:pt x="264" y="423"/>
                  </a:cubicBezTo>
                  <a:cubicBezTo>
                    <a:pt x="264" y="420"/>
                    <a:pt x="264" y="420"/>
                    <a:pt x="264" y="420"/>
                  </a:cubicBezTo>
                  <a:cubicBezTo>
                    <a:pt x="275" y="414"/>
                    <a:pt x="275" y="414"/>
                    <a:pt x="275" y="414"/>
                  </a:cubicBezTo>
                  <a:cubicBezTo>
                    <a:pt x="270" y="413"/>
                    <a:pt x="270" y="413"/>
                    <a:pt x="270" y="413"/>
                  </a:cubicBezTo>
                  <a:cubicBezTo>
                    <a:pt x="274" y="411"/>
                    <a:pt x="274" y="411"/>
                    <a:pt x="274" y="411"/>
                  </a:cubicBezTo>
                  <a:cubicBezTo>
                    <a:pt x="274" y="409"/>
                    <a:pt x="274" y="409"/>
                    <a:pt x="274" y="409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72" y="406"/>
                    <a:pt x="272" y="406"/>
                    <a:pt x="272" y="406"/>
                  </a:cubicBezTo>
                  <a:cubicBezTo>
                    <a:pt x="270" y="406"/>
                    <a:pt x="270" y="406"/>
                    <a:pt x="270" y="406"/>
                  </a:cubicBezTo>
                  <a:cubicBezTo>
                    <a:pt x="269" y="410"/>
                    <a:pt x="269" y="410"/>
                    <a:pt x="269" y="410"/>
                  </a:cubicBezTo>
                  <a:cubicBezTo>
                    <a:pt x="262" y="411"/>
                    <a:pt x="262" y="411"/>
                    <a:pt x="262" y="411"/>
                  </a:cubicBezTo>
                  <a:cubicBezTo>
                    <a:pt x="259" y="407"/>
                    <a:pt x="259" y="407"/>
                    <a:pt x="259" y="407"/>
                  </a:cubicBezTo>
                  <a:cubicBezTo>
                    <a:pt x="258" y="410"/>
                    <a:pt x="258" y="410"/>
                    <a:pt x="258" y="410"/>
                  </a:cubicBezTo>
                  <a:cubicBezTo>
                    <a:pt x="254" y="409"/>
                    <a:pt x="254" y="409"/>
                    <a:pt x="254" y="409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56" y="406"/>
                    <a:pt x="249" y="406"/>
                    <a:pt x="249" y="405"/>
                  </a:cubicBezTo>
                  <a:cubicBezTo>
                    <a:pt x="249" y="404"/>
                    <a:pt x="254" y="405"/>
                    <a:pt x="254" y="40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1" y="402"/>
                    <a:pt x="261" y="402"/>
                    <a:pt x="261" y="402"/>
                  </a:cubicBezTo>
                  <a:cubicBezTo>
                    <a:pt x="261" y="399"/>
                    <a:pt x="261" y="399"/>
                    <a:pt x="261" y="399"/>
                  </a:cubicBezTo>
                  <a:cubicBezTo>
                    <a:pt x="251" y="399"/>
                    <a:pt x="251" y="399"/>
                    <a:pt x="251" y="399"/>
                  </a:cubicBezTo>
                  <a:cubicBezTo>
                    <a:pt x="248" y="401"/>
                    <a:pt x="244" y="398"/>
                    <a:pt x="244" y="398"/>
                  </a:cubicBezTo>
                  <a:cubicBezTo>
                    <a:pt x="244" y="397"/>
                    <a:pt x="244" y="397"/>
                    <a:pt x="244" y="397"/>
                  </a:cubicBezTo>
                  <a:cubicBezTo>
                    <a:pt x="244" y="396"/>
                    <a:pt x="244" y="396"/>
                    <a:pt x="244" y="396"/>
                  </a:cubicBezTo>
                  <a:cubicBezTo>
                    <a:pt x="246" y="398"/>
                    <a:pt x="246" y="398"/>
                    <a:pt x="246" y="398"/>
                  </a:cubicBezTo>
                  <a:cubicBezTo>
                    <a:pt x="250" y="396"/>
                    <a:pt x="250" y="396"/>
                    <a:pt x="250" y="396"/>
                  </a:cubicBezTo>
                  <a:cubicBezTo>
                    <a:pt x="241" y="394"/>
                    <a:pt x="241" y="394"/>
                    <a:pt x="241" y="394"/>
                  </a:cubicBezTo>
                  <a:cubicBezTo>
                    <a:pt x="234" y="393"/>
                    <a:pt x="234" y="393"/>
                    <a:pt x="234" y="393"/>
                  </a:cubicBezTo>
                  <a:cubicBezTo>
                    <a:pt x="234" y="393"/>
                    <a:pt x="236" y="386"/>
                    <a:pt x="235" y="383"/>
                  </a:cubicBezTo>
                  <a:cubicBezTo>
                    <a:pt x="235" y="382"/>
                    <a:pt x="226" y="382"/>
                    <a:pt x="226" y="382"/>
                  </a:cubicBezTo>
                  <a:cubicBezTo>
                    <a:pt x="226" y="380"/>
                    <a:pt x="226" y="380"/>
                    <a:pt x="226" y="380"/>
                  </a:cubicBezTo>
                  <a:cubicBezTo>
                    <a:pt x="223" y="379"/>
                    <a:pt x="223" y="379"/>
                    <a:pt x="223" y="379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15" y="380"/>
                    <a:pt x="215" y="380"/>
                    <a:pt x="215" y="380"/>
                  </a:cubicBezTo>
                  <a:cubicBezTo>
                    <a:pt x="221" y="378"/>
                    <a:pt x="221" y="378"/>
                    <a:pt x="221" y="378"/>
                  </a:cubicBezTo>
                  <a:cubicBezTo>
                    <a:pt x="221" y="378"/>
                    <a:pt x="221" y="376"/>
                    <a:pt x="227" y="376"/>
                  </a:cubicBezTo>
                  <a:cubicBezTo>
                    <a:pt x="233" y="375"/>
                    <a:pt x="240" y="377"/>
                    <a:pt x="240" y="377"/>
                  </a:cubicBezTo>
                  <a:cubicBezTo>
                    <a:pt x="239" y="381"/>
                    <a:pt x="239" y="381"/>
                    <a:pt x="239" y="381"/>
                  </a:cubicBezTo>
                  <a:cubicBezTo>
                    <a:pt x="239" y="381"/>
                    <a:pt x="244" y="384"/>
                    <a:pt x="251" y="388"/>
                  </a:cubicBezTo>
                  <a:cubicBezTo>
                    <a:pt x="256" y="391"/>
                    <a:pt x="265" y="393"/>
                    <a:pt x="265" y="393"/>
                  </a:cubicBezTo>
                  <a:cubicBezTo>
                    <a:pt x="262" y="387"/>
                    <a:pt x="262" y="387"/>
                    <a:pt x="262" y="387"/>
                  </a:cubicBezTo>
                  <a:cubicBezTo>
                    <a:pt x="264" y="386"/>
                    <a:pt x="264" y="386"/>
                    <a:pt x="264" y="386"/>
                  </a:cubicBezTo>
                  <a:cubicBezTo>
                    <a:pt x="264" y="386"/>
                    <a:pt x="270" y="391"/>
                    <a:pt x="273" y="392"/>
                  </a:cubicBezTo>
                  <a:cubicBezTo>
                    <a:pt x="276" y="393"/>
                    <a:pt x="279" y="390"/>
                    <a:pt x="279" y="390"/>
                  </a:cubicBezTo>
                  <a:cubicBezTo>
                    <a:pt x="281" y="384"/>
                    <a:pt x="281" y="384"/>
                    <a:pt x="281" y="384"/>
                  </a:cubicBezTo>
                  <a:cubicBezTo>
                    <a:pt x="281" y="390"/>
                    <a:pt x="281" y="390"/>
                    <a:pt x="281" y="390"/>
                  </a:cubicBezTo>
                  <a:cubicBezTo>
                    <a:pt x="288" y="390"/>
                    <a:pt x="288" y="390"/>
                    <a:pt x="288" y="390"/>
                  </a:cubicBezTo>
                  <a:cubicBezTo>
                    <a:pt x="288" y="390"/>
                    <a:pt x="288" y="391"/>
                    <a:pt x="289" y="393"/>
                  </a:cubicBezTo>
                  <a:cubicBezTo>
                    <a:pt x="291" y="395"/>
                    <a:pt x="292" y="395"/>
                    <a:pt x="292" y="395"/>
                  </a:cubicBezTo>
                  <a:cubicBezTo>
                    <a:pt x="297" y="390"/>
                    <a:pt x="297" y="390"/>
                    <a:pt x="297" y="39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304" y="391"/>
                    <a:pt x="311" y="394"/>
                    <a:pt x="311" y="394"/>
                  </a:cubicBezTo>
                  <a:cubicBezTo>
                    <a:pt x="314" y="393"/>
                    <a:pt x="314" y="393"/>
                    <a:pt x="314" y="393"/>
                  </a:cubicBezTo>
                  <a:cubicBezTo>
                    <a:pt x="316" y="395"/>
                    <a:pt x="316" y="395"/>
                    <a:pt x="316" y="395"/>
                  </a:cubicBezTo>
                  <a:cubicBezTo>
                    <a:pt x="335" y="395"/>
                    <a:pt x="335" y="395"/>
                    <a:pt x="335" y="395"/>
                  </a:cubicBezTo>
                  <a:cubicBezTo>
                    <a:pt x="349" y="395"/>
                    <a:pt x="355" y="390"/>
                    <a:pt x="364" y="390"/>
                  </a:cubicBezTo>
                  <a:cubicBezTo>
                    <a:pt x="371" y="390"/>
                    <a:pt x="383" y="395"/>
                    <a:pt x="383" y="395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91" y="393"/>
                    <a:pt x="400" y="392"/>
                  </a:cubicBezTo>
                  <a:cubicBezTo>
                    <a:pt x="408" y="391"/>
                    <a:pt x="413" y="381"/>
                    <a:pt x="413" y="381"/>
                  </a:cubicBezTo>
                  <a:cubicBezTo>
                    <a:pt x="417" y="381"/>
                    <a:pt x="417" y="381"/>
                    <a:pt x="417" y="381"/>
                  </a:cubicBezTo>
                  <a:cubicBezTo>
                    <a:pt x="419" y="381"/>
                    <a:pt x="420" y="377"/>
                    <a:pt x="420" y="377"/>
                  </a:cubicBezTo>
                  <a:cubicBezTo>
                    <a:pt x="420" y="377"/>
                    <a:pt x="428" y="371"/>
                    <a:pt x="430" y="368"/>
                  </a:cubicBezTo>
                  <a:cubicBezTo>
                    <a:pt x="432" y="366"/>
                    <a:pt x="439" y="351"/>
                    <a:pt x="439" y="351"/>
                  </a:cubicBezTo>
                  <a:cubicBezTo>
                    <a:pt x="439" y="351"/>
                    <a:pt x="441" y="351"/>
                    <a:pt x="444" y="349"/>
                  </a:cubicBezTo>
                  <a:cubicBezTo>
                    <a:pt x="445" y="346"/>
                    <a:pt x="444" y="343"/>
                    <a:pt x="444" y="343"/>
                  </a:cubicBezTo>
                  <a:cubicBezTo>
                    <a:pt x="444" y="343"/>
                    <a:pt x="444" y="340"/>
                    <a:pt x="446" y="334"/>
                  </a:cubicBezTo>
                  <a:cubicBezTo>
                    <a:pt x="447" y="329"/>
                    <a:pt x="448" y="304"/>
                    <a:pt x="448" y="304"/>
                  </a:cubicBezTo>
                  <a:cubicBezTo>
                    <a:pt x="444" y="300"/>
                    <a:pt x="444" y="300"/>
                    <a:pt x="444" y="300"/>
                  </a:cubicBezTo>
                  <a:cubicBezTo>
                    <a:pt x="439" y="294"/>
                    <a:pt x="439" y="294"/>
                    <a:pt x="439" y="294"/>
                  </a:cubicBezTo>
                  <a:cubicBezTo>
                    <a:pt x="439" y="294"/>
                    <a:pt x="435" y="295"/>
                    <a:pt x="433" y="294"/>
                  </a:cubicBezTo>
                  <a:cubicBezTo>
                    <a:pt x="430" y="293"/>
                    <a:pt x="428" y="283"/>
                    <a:pt x="428" y="283"/>
                  </a:cubicBezTo>
                  <a:cubicBezTo>
                    <a:pt x="424" y="283"/>
                    <a:pt x="424" y="283"/>
                    <a:pt x="424" y="283"/>
                  </a:cubicBezTo>
                  <a:cubicBezTo>
                    <a:pt x="422" y="278"/>
                    <a:pt x="422" y="278"/>
                    <a:pt x="422" y="278"/>
                  </a:cubicBezTo>
                  <a:cubicBezTo>
                    <a:pt x="423" y="275"/>
                    <a:pt x="423" y="275"/>
                    <a:pt x="423" y="275"/>
                  </a:cubicBezTo>
                  <a:cubicBezTo>
                    <a:pt x="415" y="268"/>
                    <a:pt x="415" y="268"/>
                    <a:pt x="415" y="268"/>
                  </a:cubicBezTo>
                  <a:cubicBezTo>
                    <a:pt x="413" y="270"/>
                    <a:pt x="413" y="270"/>
                    <a:pt x="413" y="270"/>
                  </a:cubicBezTo>
                  <a:cubicBezTo>
                    <a:pt x="407" y="268"/>
                    <a:pt x="407" y="268"/>
                    <a:pt x="407" y="268"/>
                  </a:cubicBezTo>
                  <a:cubicBezTo>
                    <a:pt x="407" y="268"/>
                    <a:pt x="407" y="272"/>
                    <a:pt x="405" y="272"/>
                  </a:cubicBezTo>
                  <a:cubicBezTo>
                    <a:pt x="403" y="272"/>
                    <a:pt x="400" y="269"/>
                    <a:pt x="400" y="269"/>
                  </a:cubicBezTo>
                  <a:cubicBezTo>
                    <a:pt x="399" y="265"/>
                    <a:pt x="399" y="265"/>
                    <a:pt x="399" y="265"/>
                  </a:cubicBezTo>
                  <a:cubicBezTo>
                    <a:pt x="386" y="262"/>
                    <a:pt x="386" y="262"/>
                    <a:pt x="386" y="262"/>
                  </a:cubicBezTo>
                  <a:cubicBezTo>
                    <a:pt x="380" y="256"/>
                    <a:pt x="380" y="256"/>
                    <a:pt x="380" y="256"/>
                  </a:cubicBezTo>
                  <a:cubicBezTo>
                    <a:pt x="379" y="257"/>
                    <a:pt x="379" y="257"/>
                    <a:pt x="379" y="257"/>
                  </a:cubicBezTo>
                  <a:cubicBezTo>
                    <a:pt x="379" y="257"/>
                    <a:pt x="384" y="261"/>
                    <a:pt x="381" y="263"/>
                  </a:cubicBezTo>
                  <a:cubicBezTo>
                    <a:pt x="377" y="264"/>
                    <a:pt x="364" y="257"/>
                    <a:pt x="364" y="257"/>
                  </a:cubicBezTo>
                  <a:cubicBezTo>
                    <a:pt x="363" y="260"/>
                    <a:pt x="363" y="260"/>
                    <a:pt x="363" y="260"/>
                  </a:cubicBezTo>
                  <a:cubicBezTo>
                    <a:pt x="356" y="256"/>
                    <a:pt x="356" y="256"/>
                    <a:pt x="356" y="256"/>
                  </a:cubicBezTo>
                  <a:cubicBezTo>
                    <a:pt x="356" y="256"/>
                    <a:pt x="357" y="254"/>
                    <a:pt x="355" y="254"/>
                  </a:cubicBezTo>
                  <a:cubicBezTo>
                    <a:pt x="353" y="254"/>
                    <a:pt x="347" y="253"/>
                    <a:pt x="347" y="253"/>
                  </a:cubicBezTo>
                  <a:cubicBezTo>
                    <a:pt x="348" y="255"/>
                    <a:pt x="348" y="255"/>
                    <a:pt x="348" y="255"/>
                  </a:cubicBezTo>
                  <a:cubicBezTo>
                    <a:pt x="348" y="255"/>
                    <a:pt x="353" y="257"/>
                    <a:pt x="352" y="259"/>
                  </a:cubicBezTo>
                  <a:cubicBezTo>
                    <a:pt x="352" y="261"/>
                    <a:pt x="344" y="257"/>
                    <a:pt x="344" y="257"/>
                  </a:cubicBezTo>
                  <a:cubicBezTo>
                    <a:pt x="344" y="257"/>
                    <a:pt x="331" y="250"/>
                    <a:pt x="325" y="247"/>
                  </a:cubicBezTo>
                  <a:cubicBezTo>
                    <a:pt x="321" y="244"/>
                    <a:pt x="310" y="241"/>
                    <a:pt x="306" y="240"/>
                  </a:cubicBezTo>
                  <a:cubicBezTo>
                    <a:pt x="302" y="239"/>
                    <a:pt x="295" y="235"/>
                    <a:pt x="289" y="233"/>
                  </a:cubicBezTo>
                  <a:cubicBezTo>
                    <a:pt x="282" y="230"/>
                    <a:pt x="270" y="230"/>
                    <a:pt x="270" y="230"/>
                  </a:cubicBezTo>
                  <a:cubicBezTo>
                    <a:pt x="269" y="230"/>
                    <a:pt x="269" y="230"/>
                    <a:pt x="269" y="230"/>
                  </a:cubicBezTo>
                  <a:cubicBezTo>
                    <a:pt x="269" y="230"/>
                    <a:pt x="266" y="228"/>
                    <a:pt x="265" y="226"/>
                  </a:cubicBezTo>
                  <a:cubicBezTo>
                    <a:pt x="264" y="226"/>
                    <a:pt x="262" y="229"/>
                    <a:pt x="262" y="229"/>
                  </a:cubicBezTo>
                  <a:cubicBezTo>
                    <a:pt x="256" y="229"/>
                    <a:pt x="256" y="229"/>
                    <a:pt x="256" y="229"/>
                  </a:cubicBezTo>
                  <a:cubicBezTo>
                    <a:pt x="256" y="228"/>
                    <a:pt x="256" y="228"/>
                    <a:pt x="256" y="228"/>
                  </a:cubicBezTo>
                  <a:cubicBezTo>
                    <a:pt x="248" y="230"/>
                    <a:pt x="248" y="230"/>
                    <a:pt x="248" y="230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8" y="233"/>
                    <a:pt x="246" y="233"/>
                  </a:cubicBezTo>
                  <a:cubicBezTo>
                    <a:pt x="244" y="233"/>
                    <a:pt x="244" y="235"/>
                    <a:pt x="244" y="235"/>
                  </a:cubicBezTo>
                  <a:cubicBezTo>
                    <a:pt x="244" y="235"/>
                    <a:pt x="242" y="234"/>
                    <a:pt x="240" y="233"/>
                  </a:cubicBezTo>
                  <a:cubicBezTo>
                    <a:pt x="238" y="233"/>
                    <a:pt x="231" y="234"/>
                    <a:pt x="231" y="234"/>
                  </a:cubicBezTo>
                  <a:cubicBezTo>
                    <a:pt x="229" y="232"/>
                    <a:pt x="229" y="232"/>
                    <a:pt x="229" y="232"/>
                  </a:cubicBezTo>
                  <a:cubicBezTo>
                    <a:pt x="217" y="234"/>
                    <a:pt x="217" y="234"/>
                    <a:pt x="217" y="234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7" y="236"/>
                    <a:pt x="211" y="234"/>
                    <a:pt x="210" y="236"/>
                  </a:cubicBezTo>
                  <a:cubicBezTo>
                    <a:pt x="209" y="239"/>
                    <a:pt x="212" y="247"/>
                    <a:pt x="212" y="247"/>
                  </a:cubicBezTo>
                  <a:cubicBezTo>
                    <a:pt x="212" y="247"/>
                    <a:pt x="211" y="250"/>
                    <a:pt x="209" y="251"/>
                  </a:cubicBezTo>
                  <a:cubicBezTo>
                    <a:pt x="208" y="253"/>
                    <a:pt x="205" y="255"/>
                    <a:pt x="203" y="254"/>
                  </a:cubicBezTo>
                  <a:cubicBezTo>
                    <a:pt x="202" y="253"/>
                    <a:pt x="207" y="249"/>
                    <a:pt x="208" y="247"/>
                  </a:cubicBezTo>
                  <a:cubicBezTo>
                    <a:pt x="210" y="246"/>
                    <a:pt x="210" y="244"/>
                    <a:pt x="210" y="244"/>
                  </a:cubicBezTo>
                  <a:cubicBezTo>
                    <a:pt x="206" y="241"/>
                    <a:pt x="206" y="241"/>
                    <a:pt x="206" y="241"/>
                  </a:cubicBezTo>
                  <a:cubicBezTo>
                    <a:pt x="207" y="239"/>
                    <a:pt x="207" y="239"/>
                    <a:pt x="207" y="239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241"/>
                    <a:pt x="208" y="234"/>
                    <a:pt x="205" y="231"/>
                  </a:cubicBezTo>
                  <a:cubicBezTo>
                    <a:pt x="201" y="228"/>
                    <a:pt x="194" y="236"/>
                    <a:pt x="194" y="236"/>
                  </a:cubicBezTo>
                  <a:cubicBezTo>
                    <a:pt x="193" y="240"/>
                    <a:pt x="193" y="240"/>
                    <a:pt x="193" y="240"/>
                  </a:cubicBezTo>
                  <a:cubicBezTo>
                    <a:pt x="190" y="240"/>
                    <a:pt x="190" y="240"/>
                    <a:pt x="190" y="240"/>
                  </a:cubicBezTo>
                  <a:cubicBezTo>
                    <a:pt x="193" y="236"/>
                    <a:pt x="193" y="236"/>
                    <a:pt x="193" y="236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1" y="234"/>
                    <a:pt x="191" y="234"/>
                    <a:pt x="191" y="234"/>
                  </a:cubicBezTo>
                  <a:cubicBezTo>
                    <a:pt x="190" y="232"/>
                    <a:pt x="190" y="232"/>
                    <a:pt x="190" y="232"/>
                  </a:cubicBezTo>
                  <a:cubicBezTo>
                    <a:pt x="186" y="232"/>
                    <a:pt x="186" y="232"/>
                    <a:pt x="186" y="232"/>
                  </a:cubicBezTo>
                  <a:cubicBezTo>
                    <a:pt x="186" y="234"/>
                    <a:pt x="186" y="234"/>
                    <a:pt x="186" y="234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6"/>
                    <a:pt x="182" y="236"/>
                    <a:pt x="182" y="236"/>
                  </a:cubicBezTo>
                  <a:cubicBezTo>
                    <a:pt x="177" y="237"/>
                    <a:pt x="177" y="237"/>
                    <a:pt x="177" y="237"/>
                  </a:cubicBezTo>
                  <a:cubicBezTo>
                    <a:pt x="180" y="231"/>
                    <a:pt x="180" y="231"/>
                    <a:pt x="180" y="231"/>
                  </a:cubicBezTo>
                  <a:cubicBezTo>
                    <a:pt x="178" y="231"/>
                    <a:pt x="178" y="231"/>
                    <a:pt x="178" y="231"/>
                  </a:cubicBezTo>
                  <a:cubicBezTo>
                    <a:pt x="178" y="231"/>
                    <a:pt x="178" y="229"/>
                    <a:pt x="175" y="229"/>
                  </a:cubicBezTo>
                  <a:cubicBezTo>
                    <a:pt x="172" y="229"/>
                    <a:pt x="169" y="232"/>
                    <a:pt x="169" y="232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6" y="226"/>
                    <a:pt x="166" y="226"/>
                    <a:pt x="166" y="226"/>
                  </a:cubicBezTo>
                  <a:cubicBezTo>
                    <a:pt x="168" y="223"/>
                    <a:pt x="168" y="223"/>
                    <a:pt x="168" y="223"/>
                  </a:cubicBezTo>
                  <a:cubicBezTo>
                    <a:pt x="167" y="222"/>
                    <a:pt x="167" y="222"/>
                    <a:pt x="167" y="222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71" y="222"/>
                    <a:pt x="169" y="223"/>
                    <a:pt x="171" y="225"/>
                  </a:cubicBezTo>
                  <a:cubicBezTo>
                    <a:pt x="174" y="228"/>
                    <a:pt x="188" y="225"/>
                    <a:pt x="188" y="225"/>
                  </a:cubicBezTo>
                  <a:cubicBezTo>
                    <a:pt x="188" y="225"/>
                    <a:pt x="190" y="223"/>
                    <a:pt x="190" y="221"/>
                  </a:cubicBezTo>
                  <a:cubicBezTo>
                    <a:pt x="190" y="213"/>
                    <a:pt x="190" y="213"/>
                    <a:pt x="190" y="213"/>
                  </a:cubicBezTo>
                  <a:cubicBezTo>
                    <a:pt x="190" y="213"/>
                    <a:pt x="177" y="215"/>
                    <a:pt x="175" y="213"/>
                  </a:cubicBezTo>
                  <a:cubicBezTo>
                    <a:pt x="173" y="212"/>
                    <a:pt x="161" y="207"/>
                    <a:pt x="159" y="208"/>
                  </a:cubicBezTo>
                  <a:cubicBezTo>
                    <a:pt x="158" y="210"/>
                    <a:pt x="161" y="213"/>
                    <a:pt x="161" y="213"/>
                  </a:cubicBezTo>
                  <a:cubicBezTo>
                    <a:pt x="161" y="215"/>
                    <a:pt x="161" y="215"/>
                    <a:pt x="161" y="215"/>
                  </a:cubicBezTo>
                  <a:cubicBezTo>
                    <a:pt x="161" y="215"/>
                    <a:pt x="167" y="217"/>
                    <a:pt x="166" y="219"/>
                  </a:cubicBezTo>
                  <a:cubicBezTo>
                    <a:pt x="164" y="220"/>
                    <a:pt x="160" y="216"/>
                    <a:pt x="157" y="217"/>
                  </a:cubicBezTo>
                  <a:cubicBezTo>
                    <a:pt x="155" y="219"/>
                    <a:pt x="158" y="224"/>
                    <a:pt x="158" y="224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60" y="225"/>
                    <a:pt x="158" y="226"/>
                    <a:pt x="155" y="228"/>
                  </a:cubicBezTo>
                  <a:cubicBezTo>
                    <a:pt x="153" y="228"/>
                    <a:pt x="153" y="231"/>
                    <a:pt x="153" y="231"/>
                  </a:cubicBezTo>
                  <a:cubicBezTo>
                    <a:pt x="153" y="231"/>
                    <a:pt x="151" y="225"/>
                    <a:pt x="145" y="224"/>
                  </a:cubicBezTo>
                  <a:cubicBezTo>
                    <a:pt x="144" y="224"/>
                    <a:pt x="142" y="224"/>
                    <a:pt x="141" y="225"/>
                  </a:cubicBezTo>
                  <a:cubicBezTo>
                    <a:pt x="141" y="228"/>
                    <a:pt x="141" y="228"/>
                    <a:pt x="141" y="228"/>
                  </a:cubicBezTo>
                  <a:cubicBezTo>
                    <a:pt x="141" y="228"/>
                    <a:pt x="146" y="231"/>
                    <a:pt x="143" y="237"/>
                  </a:cubicBezTo>
                  <a:cubicBezTo>
                    <a:pt x="141" y="244"/>
                    <a:pt x="134" y="236"/>
                    <a:pt x="131" y="236"/>
                  </a:cubicBezTo>
                  <a:cubicBezTo>
                    <a:pt x="129" y="235"/>
                    <a:pt x="125" y="235"/>
                    <a:pt x="125" y="235"/>
                  </a:cubicBezTo>
                  <a:cubicBezTo>
                    <a:pt x="125" y="235"/>
                    <a:pt x="130" y="242"/>
                    <a:pt x="130" y="247"/>
                  </a:cubicBezTo>
                  <a:cubicBezTo>
                    <a:pt x="130" y="251"/>
                    <a:pt x="124" y="249"/>
                    <a:pt x="122" y="250"/>
                  </a:cubicBezTo>
                  <a:cubicBezTo>
                    <a:pt x="121" y="250"/>
                    <a:pt x="122" y="255"/>
                    <a:pt x="119" y="257"/>
                  </a:cubicBezTo>
                  <a:cubicBezTo>
                    <a:pt x="117" y="259"/>
                    <a:pt x="113" y="259"/>
                    <a:pt x="112" y="262"/>
                  </a:cubicBezTo>
                  <a:cubicBezTo>
                    <a:pt x="111" y="265"/>
                    <a:pt x="114" y="264"/>
                    <a:pt x="114" y="264"/>
                  </a:cubicBezTo>
                  <a:cubicBezTo>
                    <a:pt x="114" y="264"/>
                    <a:pt x="115" y="278"/>
                    <a:pt x="112" y="280"/>
                  </a:cubicBezTo>
                  <a:cubicBezTo>
                    <a:pt x="110" y="282"/>
                    <a:pt x="106" y="278"/>
                    <a:pt x="106" y="278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108" y="291"/>
                    <a:pt x="108" y="291"/>
                    <a:pt x="108" y="291"/>
                  </a:cubicBezTo>
                  <a:cubicBezTo>
                    <a:pt x="105" y="311"/>
                    <a:pt x="105" y="311"/>
                    <a:pt x="105" y="311"/>
                  </a:cubicBezTo>
                  <a:cubicBezTo>
                    <a:pt x="114" y="334"/>
                    <a:pt x="114" y="334"/>
                    <a:pt x="114" y="334"/>
                  </a:cubicBezTo>
                  <a:cubicBezTo>
                    <a:pt x="135" y="338"/>
                    <a:pt x="135" y="338"/>
                    <a:pt x="135" y="338"/>
                  </a:cubicBezTo>
                  <a:cubicBezTo>
                    <a:pt x="147" y="354"/>
                    <a:pt x="147" y="354"/>
                    <a:pt x="147" y="354"/>
                  </a:cubicBezTo>
                  <a:cubicBezTo>
                    <a:pt x="147" y="354"/>
                    <a:pt x="159" y="354"/>
                    <a:pt x="160" y="363"/>
                  </a:cubicBezTo>
                  <a:cubicBezTo>
                    <a:pt x="161" y="373"/>
                    <a:pt x="146" y="408"/>
                    <a:pt x="146" y="408"/>
                  </a:cubicBezTo>
                  <a:cubicBezTo>
                    <a:pt x="146" y="408"/>
                    <a:pt x="157" y="425"/>
                    <a:pt x="163" y="429"/>
                  </a:cubicBezTo>
                  <a:cubicBezTo>
                    <a:pt x="171" y="435"/>
                    <a:pt x="170" y="444"/>
                    <a:pt x="173" y="446"/>
                  </a:cubicBezTo>
                  <a:cubicBezTo>
                    <a:pt x="173" y="446"/>
                    <a:pt x="186" y="453"/>
                    <a:pt x="190" y="461"/>
                  </a:cubicBezTo>
                  <a:cubicBezTo>
                    <a:pt x="195" y="470"/>
                    <a:pt x="197" y="480"/>
                    <a:pt x="197" y="480"/>
                  </a:cubicBezTo>
                  <a:cubicBezTo>
                    <a:pt x="186" y="486"/>
                    <a:pt x="186" y="486"/>
                    <a:pt x="186" y="486"/>
                  </a:cubicBezTo>
                  <a:cubicBezTo>
                    <a:pt x="193" y="488"/>
                    <a:pt x="193" y="488"/>
                    <a:pt x="193" y="488"/>
                  </a:cubicBezTo>
                  <a:cubicBezTo>
                    <a:pt x="189" y="493"/>
                    <a:pt x="189" y="493"/>
                    <a:pt x="189" y="493"/>
                  </a:cubicBezTo>
                  <a:cubicBezTo>
                    <a:pt x="192" y="502"/>
                    <a:pt x="192" y="502"/>
                    <a:pt x="192" y="502"/>
                  </a:cubicBezTo>
                  <a:cubicBezTo>
                    <a:pt x="189" y="514"/>
                    <a:pt x="189" y="514"/>
                    <a:pt x="189" y="514"/>
                  </a:cubicBezTo>
                  <a:cubicBezTo>
                    <a:pt x="200" y="512"/>
                    <a:pt x="200" y="512"/>
                    <a:pt x="200" y="512"/>
                  </a:cubicBezTo>
                  <a:cubicBezTo>
                    <a:pt x="201" y="517"/>
                    <a:pt x="201" y="517"/>
                    <a:pt x="201" y="517"/>
                  </a:cubicBezTo>
                  <a:cubicBezTo>
                    <a:pt x="194" y="522"/>
                    <a:pt x="194" y="522"/>
                    <a:pt x="194" y="522"/>
                  </a:cubicBezTo>
                  <a:cubicBezTo>
                    <a:pt x="201" y="538"/>
                    <a:pt x="201" y="538"/>
                    <a:pt x="201" y="538"/>
                  </a:cubicBezTo>
                  <a:cubicBezTo>
                    <a:pt x="211" y="533"/>
                    <a:pt x="211" y="533"/>
                    <a:pt x="211" y="533"/>
                  </a:cubicBezTo>
                  <a:cubicBezTo>
                    <a:pt x="216" y="541"/>
                    <a:pt x="216" y="541"/>
                    <a:pt x="216" y="541"/>
                  </a:cubicBezTo>
                  <a:cubicBezTo>
                    <a:pt x="216" y="541"/>
                    <a:pt x="210" y="547"/>
                    <a:pt x="217" y="556"/>
                  </a:cubicBezTo>
                  <a:cubicBezTo>
                    <a:pt x="222" y="565"/>
                    <a:pt x="232" y="559"/>
                    <a:pt x="236" y="567"/>
                  </a:cubicBezTo>
                  <a:cubicBezTo>
                    <a:pt x="240" y="576"/>
                    <a:pt x="235" y="591"/>
                    <a:pt x="235" y="591"/>
                  </a:cubicBezTo>
                  <a:cubicBezTo>
                    <a:pt x="236" y="595"/>
                    <a:pt x="236" y="595"/>
                    <a:pt x="236" y="595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48" y="615"/>
                    <a:pt x="248" y="615"/>
                    <a:pt x="248" y="615"/>
                  </a:cubicBezTo>
                  <a:cubicBezTo>
                    <a:pt x="259" y="617"/>
                    <a:pt x="259" y="617"/>
                    <a:pt x="259" y="617"/>
                  </a:cubicBezTo>
                  <a:cubicBezTo>
                    <a:pt x="275" y="625"/>
                    <a:pt x="275" y="625"/>
                    <a:pt x="275" y="625"/>
                  </a:cubicBezTo>
                  <a:cubicBezTo>
                    <a:pt x="278" y="633"/>
                    <a:pt x="278" y="633"/>
                    <a:pt x="278" y="633"/>
                  </a:cubicBezTo>
                  <a:cubicBezTo>
                    <a:pt x="278" y="633"/>
                    <a:pt x="290" y="633"/>
                    <a:pt x="291" y="639"/>
                  </a:cubicBezTo>
                  <a:cubicBezTo>
                    <a:pt x="291" y="645"/>
                    <a:pt x="289" y="669"/>
                    <a:pt x="287" y="673"/>
                  </a:cubicBezTo>
                  <a:cubicBezTo>
                    <a:pt x="284" y="681"/>
                    <a:pt x="284" y="681"/>
                    <a:pt x="284" y="681"/>
                  </a:cubicBezTo>
                  <a:cubicBezTo>
                    <a:pt x="284" y="681"/>
                    <a:pt x="275" y="694"/>
                    <a:pt x="272" y="706"/>
                  </a:cubicBezTo>
                  <a:cubicBezTo>
                    <a:pt x="269" y="717"/>
                    <a:pt x="261" y="737"/>
                    <a:pt x="258" y="742"/>
                  </a:cubicBezTo>
                  <a:cubicBezTo>
                    <a:pt x="255" y="748"/>
                    <a:pt x="250" y="761"/>
                    <a:pt x="250" y="761"/>
                  </a:cubicBezTo>
                  <a:cubicBezTo>
                    <a:pt x="237" y="775"/>
                    <a:pt x="237" y="775"/>
                    <a:pt x="237" y="775"/>
                  </a:cubicBezTo>
                  <a:cubicBezTo>
                    <a:pt x="236" y="784"/>
                    <a:pt x="236" y="784"/>
                    <a:pt x="236" y="784"/>
                  </a:cubicBezTo>
                  <a:cubicBezTo>
                    <a:pt x="232" y="787"/>
                    <a:pt x="232" y="787"/>
                    <a:pt x="232" y="787"/>
                  </a:cubicBezTo>
                  <a:cubicBezTo>
                    <a:pt x="221" y="802"/>
                    <a:pt x="221" y="802"/>
                    <a:pt x="221" y="802"/>
                  </a:cubicBezTo>
                  <a:cubicBezTo>
                    <a:pt x="213" y="818"/>
                    <a:pt x="213" y="818"/>
                    <a:pt x="213" y="818"/>
                  </a:cubicBezTo>
                  <a:cubicBezTo>
                    <a:pt x="213" y="819"/>
                    <a:pt x="213" y="819"/>
                    <a:pt x="213" y="819"/>
                  </a:cubicBezTo>
                  <a:cubicBezTo>
                    <a:pt x="216" y="820"/>
                    <a:pt x="216" y="820"/>
                    <a:pt x="216" y="820"/>
                  </a:cubicBezTo>
                  <a:cubicBezTo>
                    <a:pt x="225" y="818"/>
                    <a:pt x="225" y="818"/>
                    <a:pt x="225" y="818"/>
                  </a:cubicBezTo>
                  <a:cubicBezTo>
                    <a:pt x="231" y="809"/>
                    <a:pt x="231" y="809"/>
                    <a:pt x="231" y="809"/>
                  </a:cubicBezTo>
                  <a:cubicBezTo>
                    <a:pt x="235" y="805"/>
                    <a:pt x="235" y="805"/>
                    <a:pt x="235" y="805"/>
                  </a:cubicBezTo>
                  <a:cubicBezTo>
                    <a:pt x="235" y="805"/>
                    <a:pt x="236" y="800"/>
                    <a:pt x="238" y="801"/>
                  </a:cubicBezTo>
                  <a:cubicBezTo>
                    <a:pt x="241" y="802"/>
                    <a:pt x="239" y="805"/>
                    <a:pt x="239" y="805"/>
                  </a:cubicBezTo>
                  <a:cubicBezTo>
                    <a:pt x="242" y="819"/>
                    <a:pt x="242" y="819"/>
                    <a:pt x="242" y="819"/>
                  </a:cubicBezTo>
                  <a:cubicBezTo>
                    <a:pt x="235" y="814"/>
                    <a:pt x="235" y="814"/>
                    <a:pt x="235" y="814"/>
                  </a:cubicBezTo>
                  <a:cubicBezTo>
                    <a:pt x="234" y="815"/>
                    <a:pt x="234" y="815"/>
                    <a:pt x="234" y="815"/>
                  </a:cubicBezTo>
                  <a:cubicBezTo>
                    <a:pt x="241" y="823"/>
                    <a:pt x="241" y="823"/>
                    <a:pt x="241" y="823"/>
                  </a:cubicBezTo>
                  <a:cubicBezTo>
                    <a:pt x="246" y="825"/>
                    <a:pt x="246" y="825"/>
                    <a:pt x="246" y="825"/>
                  </a:cubicBezTo>
                  <a:cubicBezTo>
                    <a:pt x="256" y="833"/>
                    <a:pt x="256" y="833"/>
                    <a:pt x="256" y="833"/>
                  </a:cubicBezTo>
                  <a:cubicBezTo>
                    <a:pt x="256" y="833"/>
                    <a:pt x="260" y="835"/>
                    <a:pt x="269" y="832"/>
                  </a:cubicBezTo>
                  <a:cubicBezTo>
                    <a:pt x="276" y="828"/>
                    <a:pt x="281" y="823"/>
                    <a:pt x="286" y="827"/>
                  </a:cubicBezTo>
                  <a:cubicBezTo>
                    <a:pt x="291" y="831"/>
                    <a:pt x="292" y="835"/>
                    <a:pt x="292" y="835"/>
                  </a:cubicBezTo>
                  <a:cubicBezTo>
                    <a:pt x="301" y="836"/>
                    <a:pt x="301" y="836"/>
                    <a:pt x="301" y="836"/>
                  </a:cubicBezTo>
                  <a:cubicBezTo>
                    <a:pt x="299" y="844"/>
                    <a:pt x="299" y="844"/>
                    <a:pt x="299" y="844"/>
                  </a:cubicBezTo>
                  <a:cubicBezTo>
                    <a:pt x="267" y="841"/>
                    <a:pt x="267" y="841"/>
                    <a:pt x="267" y="841"/>
                  </a:cubicBezTo>
                  <a:cubicBezTo>
                    <a:pt x="261" y="847"/>
                    <a:pt x="261" y="847"/>
                    <a:pt x="261" y="847"/>
                  </a:cubicBezTo>
                  <a:cubicBezTo>
                    <a:pt x="261" y="847"/>
                    <a:pt x="270" y="853"/>
                    <a:pt x="262" y="856"/>
                  </a:cubicBezTo>
                  <a:cubicBezTo>
                    <a:pt x="255" y="860"/>
                    <a:pt x="249" y="856"/>
                    <a:pt x="249" y="856"/>
                  </a:cubicBezTo>
                  <a:cubicBezTo>
                    <a:pt x="243" y="860"/>
                    <a:pt x="243" y="860"/>
                    <a:pt x="243" y="860"/>
                  </a:cubicBezTo>
                  <a:cubicBezTo>
                    <a:pt x="243" y="860"/>
                    <a:pt x="251" y="866"/>
                    <a:pt x="245" y="868"/>
                  </a:cubicBezTo>
                  <a:cubicBezTo>
                    <a:pt x="240" y="869"/>
                    <a:pt x="236" y="862"/>
                    <a:pt x="236" y="862"/>
                  </a:cubicBezTo>
                  <a:cubicBezTo>
                    <a:pt x="234" y="865"/>
                    <a:pt x="234" y="865"/>
                    <a:pt x="234" y="865"/>
                  </a:cubicBezTo>
                  <a:cubicBezTo>
                    <a:pt x="234" y="870"/>
                    <a:pt x="234" y="870"/>
                    <a:pt x="234" y="870"/>
                  </a:cubicBezTo>
                  <a:cubicBezTo>
                    <a:pt x="239" y="876"/>
                    <a:pt x="239" y="876"/>
                    <a:pt x="239" y="876"/>
                  </a:cubicBezTo>
                  <a:cubicBezTo>
                    <a:pt x="238" y="883"/>
                    <a:pt x="238" y="883"/>
                    <a:pt x="238" y="883"/>
                  </a:cubicBezTo>
                  <a:cubicBezTo>
                    <a:pt x="244" y="888"/>
                    <a:pt x="244" y="888"/>
                    <a:pt x="244" y="888"/>
                  </a:cubicBezTo>
                  <a:cubicBezTo>
                    <a:pt x="244" y="888"/>
                    <a:pt x="238" y="892"/>
                    <a:pt x="238" y="894"/>
                  </a:cubicBezTo>
                  <a:cubicBezTo>
                    <a:pt x="238" y="895"/>
                    <a:pt x="240" y="897"/>
                    <a:pt x="240" y="897"/>
                  </a:cubicBezTo>
                  <a:cubicBezTo>
                    <a:pt x="237" y="913"/>
                    <a:pt x="237" y="913"/>
                    <a:pt x="237" y="913"/>
                  </a:cubicBezTo>
                  <a:cubicBezTo>
                    <a:pt x="237" y="913"/>
                    <a:pt x="233" y="923"/>
                    <a:pt x="232" y="925"/>
                  </a:cubicBezTo>
                  <a:cubicBezTo>
                    <a:pt x="229" y="927"/>
                    <a:pt x="226" y="930"/>
                    <a:pt x="226" y="930"/>
                  </a:cubicBezTo>
                  <a:cubicBezTo>
                    <a:pt x="226" y="930"/>
                    <a:pt x="232" y="942"/>
                    <a:pt x="235" y="948"/>
                  </a:cubicBezTo>
                  <a:cubicBezTo>
                    <a:pt x="238" y="955"/>
                    <a:pt x="239" y="965"/>
                    <a:pt x="239" y="965"/>
                  </a:cubicBezTo>
                  <a:cubicBezTo>
                    <a:pt x="239" y="965"/>
                    <a:pt x="244" y="969"/>
                    <a:pt x="244" y="972"/>
                  </a:cubicBezTo>
                  <a:cubicBezTo>
                    <a:pt x="245" y="976"/>
                    <a:pt x="245" y="979"/>
                    <a:pt x="245" y="979"/>
                  </a:cubicBezTo>
                  <a:cubicBezTo>
                    <a:pt x="245" y="979"/>
                    <a:pt x="255" y="985"/>
                    <a:pt x="255" y="987"/>
                  </a:cubicBezTo>
                  <a:cubicBezTo>
                    <a:pt x="254" y="989"/>
                    <a:pt x="245" y="991"/>
                    <a:pt x="245" y="991"/>
                  </a:cubicBezTo>
                  <a:cubicBezTo>
                    <a:pt x="245" y="991"/>
                    <a:pt x="248" y="995"/>
                    <a:pt x="248" y="997"/>
                  </a:cubicBezTo>
                  <a:cubicBezTo>
                    <a:pt x="246" y="1000"/>
                    <a:pt x="243" y="1000"/>
                    <a:pt x="243" y="1000"/>
                  </a:cubicBezTo>
                  <a:cubicBezTo>
                    <a:pt x="242" y="1006"/>
                    <a:pt x="242" y="1006"/>
                    <a:pt x="242" y="1006"/>
                  </a:cubicBezTo>
                  <a:cubicBezTo>
                    <a:pt x="243" y="1010"/>
                    <a:pt x="243" y="1010"/>
                    <a:pt x="243" y="1010"/>
                  </a:cubicBezTo>
                  <a:cubicBezTo>
                    <a:pt x="246" y="1009"/>
                    <a:pt x="250" y="1009"/>
                    <a:pt x="250" y="1009"/>
                  </a:cubicBezTo>
                  <a:cubicBezTo>
                    <a:pt x="252" y="1016"/>
                    <a:pt x="252" y="1016"/>
                    <a:pt x="252" y="1016"/>
                  </a:cubicBezTo>
                  <a:cubicBezTo>
                    <a:pt x="252" y="1016"/>
                    <a:pt x="259" y="1017"/>
                    <a:pt x="261" y="1018"/>
                  </a:cubicBezTo>
                  <a:cubicBezTo>
                    <a:pt x="264" y="1019"/>
                    <a:pt x="267" y="1022"/>
                    <a:pt x="267" y="1022"/>
                  </a:cubicBezTo>
                  <a:cubicBezTo>
                    <a:pt x="267" y="1033"/>
                    <a:pt x="267" y="1033"/>
                    <a:pt x="267" y="1033"/>
                  </a:cubicBezTo>
                  <a:cubicBezTo>
                    <a:pt x="264" y="1037"/>
                    <a:pt x="264" y="1037"/>
                    <a:pt x="264" y="1037"/>
                  </a:cubicBezTo>
                  <a:cubicBezTo>
                    <a:pt x="266" y="1041"/>
                    <a:pt x="266" y="1041"/>
                    <a:pt x="266" y="1041"/>
                  </a:cubicBezTo>
                  <a:cubicBezTo>
                    <a:pt x="264" y="1052"/>
                    <a:pt x="264" y="1052"/>
                    <a:pt x="264" y="1052"/>
                  </a:cubicBezTo>
                  <a:cubicBezTo>
                    <a:pt x="264" y="1052"/>
                    <a:pt x="269" y="1049"/>
                    <a:pt x="272" y="1049"/>
                  </a:cubicBezTo>
                  <a:cubicBezTo>
                    <a:pt x="274" y="1049"/>
                    <a:pt x="276" y="1052"/>
                    <a:pt x="276" y="1052"/>
                  </a:cubicBezTo>
                  <a:cubicBezTo>
                    <a:pt x="274" y="1057"/>
                    <a:pt x="274" y="1057"/>
                    <a:pt x="274" y="1057"/>
                  </a:cubicBezTo>
                  <a:cubicBezTo>
                    <a:pt x="282" y="1059"/>
                    <a:pt x="282" y="1059"/>
                    <a:pt x="282" y="1059"/>
                  </a:cubicBezTo>
                  <a:cubicBezTo>
                    <a:pt x="283" y="1064"/>
                    <a:pt x="283" y="1064"/>
                    <a:pt x="283" y="1064"/>
                  </a:cubicBezTo>
                  <a:cubicBezTo>
                    <a:pt x="286" y="1065"/>
                    <a:pt x="286" y="1065"/>
                    <a:pt x="286" y="1065"/>
                  </a:cubicBezTo>
                  <a:cubicBezTo>
                    <a:pt x="289" y="1074"/>
                    <a:pt x="289" y="1074"/>
                    <a:pt x="289" y="1074"/>
                  </a:cubicBezTo>
                  <a:cubicBezTo>
                    <a:pt x="291" y="1080"/>
                    <a:pt x="291" y="1080"/>
                    <a:pt x="291" y="1080"/>
                  </a:cubicBezTo>
                  <a:cubicBezTo>
                    <a:pt x="293" y="1081"/>
                    <a:pt x="293" y="1081"/>
                    <a:pt x="293" y="1081"/>
                  </a:cubicBezTo>
                  <a:cubicBezTo>
                    <a:pt x="293" y="1081"/>
                    <a:pt x="294" y="1088"/>
                    <a:pt x="292" y="1092"/>
                  </a:cubicBezTo>
                  <a:cubicBezTo>
                    <a:pt x="291" y="1092"/>
                    <a:pt x="291" y="1092"/>
                    <a:pt x="291" y="1093"/>
                  </a:cubicBezTo>
                  <a:cubicBezTo>
                    <a:pt x="293" y="1093"/>
                    <a:pt x="295" y="1095"/>
                    <a:pt x="298" y="1095"/>
                  </a:cubicBezTo>
                  <a:cubicBezTo>
                    <a:pt x="301" y="1095"/>
                    <a:pt x="307" y="1090"/>
                    <a:pt x="313" y="1091"/>
                  </a:cubicBezTo>
                  <a:cubicBezTo>
                    <a:pt x="318" y="1092"/>
                    <a:pt x="310" y="1100"/>
                    <a:pt x="317" y="1101"/>
                  </a:cubicBezTo>
                  <a:cubicBezTo>
                    <a:pt x="322" y="1102"/>
                    <a:pt x="321" y="1096"/>
                    <a:pt x="323" y="1095"/>
                  </a:cubicBezTo>
                  <a:cubicBezTo>
                    <a:pt x="324" y="1092"/>
                    <a:pt x="338" y="1090"/>
                    <a:pt x="343" y="1095"/>
                  </a:cubicBezTo>
                  <a:cubicBezTo>
                    <a:pt x="349" y="1099"/>
                    <a:pt x="337" y="1108"/>
                    <a:pt x="348" y="1110"/>
                  </a:cubicBezTo>
                  <a:cubicBezTo>
                    <a:pt x="357" y="1110"/>
                    <a:pt x="351" y="1102"/>
                    <a:pt x="351" y="1102"/>
                  </a:cubicBezTo>
                  <a:cubicBezTo>
                    <a:pt x="351" y="1102"/>
                    <a:pt x="357" y="1100"/>
                    <a:pt x="365" y="1097"/>
                  </a:cubicBezTo>
                  <a:cubicBezTo>
                    <a:pt x="371" y="1093"/>
                    <a:pt x="379" y="1093"/>
                    <a:pt x="384" y="1098"/>
                  </a:cubicBezTo>
                  <a:cubicBezTo>
                    <a:pt x="390" y="1101"/>
                    <a:pt x="396" y="1098"/>
                    <a:pt x="402" y="1104"/>
                  </a:cubicBezTo>
                  <a:cubicBezTo>
                    <a:pt x="409" y="1111"/>
                    <a:pt x="401" y="1120"/>
                    <a:pt x="401" y="1120"/>
                  </a:cubicBezTo>
                  <a:cubicBezTo>
                    <a:pt x="413" y="1136"/>
                    <a:pt x="413" y="1136"/>
                    <a:pt x="413" y="1136"/>
                  </a:cubicBezTo>
                  <a:cubicBezTo>
                    <a:pt x="411" y="1154"/>
                    <a:pt x="411" y="1154"/>
                    <a:pt x="411" y="1154"/>
                  </a:cubicBezTo>
                  <a:cubicBezTo>
                    <a:pt x="411" y="1154"/>
                    <a:pt x="422" y="1156"/>
                    <a:pt x="429" y="1160"/>
                  </a:cubicBezTo>
                  <a:cubicBezTo>
                    <a:pt x="435" y="1163"/>
                    <a:pt x="426" y="1170"/>
                    <a:pt x="426" y="1170"/>
                  </a:cubicBezTo>
                  <a:cubicBezTo>
                    <a:pt x="434" y="1172"/>
                    <a:pt x="434" y="1172"/>
                    <a:pt x="434" y="1172"/>
                  </a:cubicBezTo>
                  <a:cubicBezTo>
                    <a:pt x="434" y="1172"/>
                    <a:pt x="435" y="1177"/>
                    <a:pt x="437" y="1181"/>
                  </a:cubicBezTo>
                  <a:cubicBezTo>
                    <a:pt x="438" y="1185"/>
                    <a:pt x="456" y="1186"/>
                    <a:pt x="456" y="1186"/>
                  </a:cubicBezTo>
                  <a:cubicBezTo>
                    <a:pt x="456" y="1186"/>
                    <a:pt x="462" y="1187"/>
                    <a:pt x="465" y="1191"/>
                  </a:cubicBezTo>
                  <a:cubicBezTo>
                    <a:pt x="468" y="1194"/>
                    <a:pt x="466" y="1207"/>
                    <a:pt x="466" y="1207"/>
                  </a:cubicBezTo>
                  <a:cubicBezTo>
                    <a:pt x="479" y="1203"/>
                    <a:pt x="479" y="1203"/>
                    <a:pt x="479" y="1203"/>
                  </a:cubicBezTo>
                  <a:cubicBezTo>
                    <a:pt x="495" y="1205"/>
                    <a:pt x="495" y="1205"/>
                    <a:pt x="495" y="1205"/>
                  </a:cubicBezTo>
                  <a:cubicBezTo>
                    <a:pt x="490" y="1212"/>
                    <a:pt x="490" y="1212"/>
                    <a:pt x="490" y="1212"/>
                  </a:cubicBezTo>
                  <a:cubicBezTo>
                    <a:pt x="510" y="1221"/>
                    <a:pt x="510" y="1221"/>
                    <a:pt x="510" y="1221"/>
                  </a:cubicBezTo>
                  <a:cubicBezTo>
                    <a:pt x="511" y="1226"/>
                    <a:pt x="511" y="1226"/>
                    <a:pt x="511" y="1226"/>
                  </a:cubicBezTo>
                  <a:cubicBezTo>
                    <a:pt x="500" y="1230"/>
                    <a:pt x="500" y="1230"/>
                    <a:pt x="500" y="1230"/>
                  </a:cubicBezTo>
                  <a:cubicBezTo>
                    <a:pt x="502" y="1235"/>
                    <a:pt x="502" y="1235"/>
                    <a:pt x="502" y="1235"/>
                  </a:cubicBezTo>
                  <a:cubicBezTo>
                    <a:pt x="502" y="1235"/>
                    <a:pt x="499" y="1243"/>
                    <a:pt x="490" y="1247"/>
                  </a:cubicBezTo>
                  <a:cubicBezTo>
                    <a:pt x="481" y="1253"/>
                    <a:pt x="472" y="1245"/>
                    <a:pt x="472" y="1245"/>
                  </a:cubicBezTo>
                  <a:cubicBezTo>
                    <a:pt x="461" y="1248"/>
                    <a:pt x="461" y="1248"/>
                    <a:pt x="461" y="1248"/>
                  </a:cubicBezTo>
                  <a:cubicBezTo>
                    <a:pt x="462" y="1256"/>
                    <a:pt x="462" y="1256"/>
                    <a:pt x="462" y="1256"/>
                  </a:cubicBezTo>
                  <a:cubicBezTo>
                    <a:pt x="459" y="1263"/>
                    <a:pt x="459" y="1263"/>
                    <a:pt x="459" y="1263"/>
                  </a:cubicBezTo>
                  <a:cubicBezTo>
                    <a:pt x="459" y="1263"/>
                    <a:pt x="467" y="1265"/>
                    <a:pt x="472" y="1270"/>
                  </a:cubicBezTo>
                  <a:cubicBezTo>
                    <a:pt x="479" y="1275"/>
                    <a:pt x="477" y="1281"/>
                    <a:pt x="477" y="1281"/>
                  </a:cubicBezTo>
                  <a:cubicBezTo>
                    <a:pt x="477" y="1281"/>
                    <a:pt x="479" y="1282"/>
                    <a:pt x="481" y="1286"/>
                  </a:cubicBezTo>
                  <a:cubicBezTo>
                    <a:pt x="484" y="1290"/>
                    <a:pt x="485" y="1302"/>
                    <a:pt x="485" y="1302"/>
                  </a:cubicBezTo>
                  <a:cubicBezTo>
                    <a:pt x="489" y="1305"/>
                    <a:pt x="489" y="1305"/>
                    <a:pt x="489" y="1305"/>
                  </a:cubicBezTo>
                  <a:cubicBezTo>
                    <a:pt x="493" y="1305"/>
                    <a:pt x="500" y="1306"/>
                    <a:pt x="503" y="1303"/>
                  </a:cubicBezTo>
                  <a:cubicBezTo>
                    <a:pt x="508" y="1300"/>
                    <a:pt x="507" y="1285"/>
                    <a:pt x="507" y="1285"/>
                  </a:cubicBezTo>
                  <a:cubicBezTo>
                    <a:pt x="526" y="1285"/>
                    <a:pt x="526" y="1285"/>
                    <a:pt x="526" y="1285"/>
                  </a:cubicBezTo>
                  <a:cubicBezTo>
                    <a:pt x="529" y="1285"/>
                    <a:pt x="529" y="1285"/>
                    <a:pt x="529" y="1285"/>
                  </a:cubicBezTo>
                  <a:cubicBezTo>
                    <a:pt x="533" y="1284"/>
                    <a:pt x="539" y="1272"/>
                    <a:pt x="539" y="1272"/>
                  </a:cubicBezTo>
                  <a:cubicBezTo>
                    <a:pt x="552" y="1272"/>
                    <a:pt x="552" y="1272"/>
                    <a:pt x="552" y="1272"/>
                  </a:cubicBezTo>
                  <a:cubicBezTo>
                    <a:pt x="552" y="1272"/>
                    <a:pt x="552" y="1266"/>
                    <a:pt x="560" y="1265"/>
                  </a:cubicBezTo>
                  <a:cubicBezTo>
                    <a:pt x="568" y="1265"/>
                    <a:pt x="567" y="1271"/>
                    <a:pt x="567" y="1271"/>
                  </a:cubicBezTo>
                  <a:cubicBezTo>
                    <a:pt x="576" y="1272"/>
                    <a:pt x="576" y="1272"/>
                    <a:pt x="576" y="1272"/>
                  </a:cubicBezTo>
                  <a:cubicBezTo>
                    <a:pt x="576" y="1272"/>
                    <a:pt x="576" y="1279"/>
                    <a:pt x="580" y="1285"/>
                  </a:cubicBezTo>
                  <a:cubicBezTo>
                    <a:pt x="584" y="1290"/>
                    <a:pt x="596" y="1291"/>
                    <a:pt x="599" y="1295"/>
                  </a:cubicBezTo>
                  <a:cubicBezTo>
                    <a:pt x="602" y="1301"/>
                    <a:pt x="584" y="1305"/>
                    <a:pt x="584" y="1305"/>
                  </a:cubicBezTo>
                  <a:cubicBezTo>
                    <a:pt x="584" y="1305"/>
                    <a:pt x="587" y="1306"/>
                    <a:pt x="592" y="1310"/>
                  </a:cubicBezTo>
                  <a:cubicBezTo>
                    <a:pt x="597" y="1313"/>
                    <a:pt x="595" y="1321"/>
                    <a:pt x="595" y="1321"/>
                  </a:cubicBezTo>
                  <a:cubicBezTo>
                    <a:pt x="600" y="1321"/>
                    <a:pt x="600" y="1321"/>
                    <a:pt x="600" y="1321"/>
                  </a:cubicBezTo>
                  <a:cubicBezTo>
                    <a:pt x="599" y="1328"/>
                    <a:pt x="599" y="1328"/>
                    <a:pt x="599" y="1328"/>
                  </a:cubicBezTo>
                  <a:cubicBezTo>
                    <a:pt x="613" y="1325"/>
                    <a:pt x="613" y="1325"/>
                    <a:pt x="613" y="1325"/>
                  </a:cubicBezTo>
                  <a:cubicBezTo>
                    <a:pt x="619" y="1329"/>
                    <a:pt x="619" y="1329"/>
                    <a:pt x="619" y="1329"/>
                  </a:cubicBezTo>
                  <a:cubicBezTo>
                    <a:pt x="619" y="1329"/>
                    <a:pt x="629" y="1319"/>
                    <a:pt x="634" y="1319"/>
                  </a:cubicBezTo>
                  <a:cubicBezTo>
                    <a:pt x="639" y="1319"/>
                    <a:pt x="639" y="1328"/>
                    <a:pt x="639" y="1328"/>
                  </a:cubicBezTo>
                  <a:cubicBezTo>
                    <a:pt x="645" y="1324"/>
                    <a:pt x="645" y="1324"/>
                    <a:pt x="645" y="1324"/>
                  </a:cubicBezTo>
                  <a:cubicBezTo>
                    <a:pt x="645" y="1324"/>
                    <a:pt x="649" y="1325"/>
                    <a:pt x="650" y="1325"/>
                  </a:cubicBezTo>
                  <a:cubicBezTo>
                    <a:pt x="651" y="1325"/>
                    <a:pt x="648" y="1333"/>
                    <a:pt x="648" y="1333"/>
                  </a:cubicBezTo>
                  <a:cubicBezTo>
                    <a:pt x="661" y="1349"/>
                    <a:pt x="661" y="1349"/>
                    <a:pt x="661" y="1349"/>
                  </a:cubicBezTo>
                  <a:cubicBezTo>
                    <a:pt x="659" y="1354"/>
                    <a:pt x="659" y="1354"/>
                    <a:pt x="659" y="1354"/>
                  </a:cubicBezTo>
                  <a:cubicBezTo>
                    <a:pt x="659" y="1354"/>
                    <a:pt x="675" y="1366"/>
                    <a:pt x="680" y="1361"/>
                  </a:cubicBezTo>
                  <a:cubicBezTo>
                    <a:pt x="686" y="1357"/>
                    <a:pt x="687" y="1355"/>
                    <a:pt x="693" y="1354"/>
                  </a:cubicBezTo>
                  <a:cubicBezTo>
                    <a:pt x="698" y="1353"/>
                    <a:pt x="698" y="1360"/>
                    <a:pt x="701" y="1360"/>
                  </a:cubicBezTo>
                  <a:cubicBezTo>
                    <a:pt x="704" y="1360"/>
                    <a:pt x="704" y="1356"/>
                    <a:pt x="704" y="1356"/>
                  </a:cubicBezTo>
                  <a:cubicBezTo>
                    <a:pt x="711" y="1356"/>
                    <a:pt x="711" y="1356"/>
                    <a:pt x="711" y="1356"/>
                  </a:cubicBezTo>
                  <a:cubicBezTo>
                    <a:pt x="712" y="1361"/>
                    <a:pt x="712" y="1361"/>
                    <a:pt x="712" y="1361"/>
                  </a:cubicBezTo>
                  <a:cubicBezTo>
                    <a:pt x="717" y="1363"/>
                    <a:pt x="717" y="1363"/>
                    <a:pt x="717" y="1363"/>
                  </a:cubicBezTo>
                  <a:cubicBezTo>
                    <a:pt x="717" y="1363"/>
                    <a:pt x="720" y="1356"/>
                    <a:pt x="721" y="1352"/>
                  </a:cubicBezTo>
                  <a:cubicBezTo>
                    <a:pt x="723" y="1349"/>
                    <a:pt x="734" y="1345"/>
                    <a:pt x="734" y="1345"/>
                  </a:cubicBezTo>
                  <a:cubicBezTo>
                    <a:pt x="744" y="1334"/>
                    <a:pt x="744" y="1334"/>
                    <a:pt x="744" y="1334"/>
                  </a:cubicBezTo>
                  <a:cubicBezTo>
                    <a:pt x="748" y="1339"/>
                    <a:pt x="748" y="1339"/>
                    <a:pt x="748" y="1339"/>
                  </a:cubicBezTo>
                  <a:cubicBezTo>
                    <a:pt x="753" y="1340"/>
                    <a:pt x="753" y="1340"/>
                    <a:pt x="753" y="1340"/>
                  </a:cubicBezTo>
                  <a:cubicBezTo>
                    <a:pt x="754" y="1344"/>
                    <a:pt x="754" y="1344"/>
                    <a:pt x="754" y="1344"/>
                  </a:cubicBezTo>
                  <a:cubicBezTo>
                    <a:pt x="764" y="1354"/>
                    <a:pt x="764" y="1354"/>
                    <a:pt x="764" y="1354"/>
                  </a:cubicBezTo>
                  <a:cubicBezTo>
                    <a:pt x="774" y="1354"/>
                    <a:pt x="774" y="1354"/>
                    <a:pt x="774" y="1354"/>
                  </a:cubicBezTo>
                  <a:cubicBezTo>
                    <a:pt x="779" y="1357"/>
                    <a:pt x="779" y="1357"/>
                    <a:pt x="779" y="1357"/>
                  </a:cubicBezTo>
                  <a:cubicBezTo>
                    <a:pt x="782" y="1354"/>
                    <a:pt x="782" y="1354"/>
                    <a:pt x="782" y="1354"/>
                  </a:cubicBezTo>
                  <a:cubicBezTo>
                    <a:pt x="782" y="1344"/>
                    <a:pt x="782" y="1344"/>
                    <a:pt x="782" y="1344"/>
                  </a:cubicBezTo>
                  <a:cubicBezTo>
                    <a:pt x="797" y="1349"/>
                    <a:pt x="797" y="1349"/>
                    <a:pt x="797" y="1349"/>
                  </a:cubicBezTo>
                  <a:cubicBezTo>
                    <a:pt x="801" y="1343"/>
                    <a:pt x="801" y="1343"/>
                    <a:pt x="801" y="1343"/>
                  </a:cubicBezTo>
                  <a:cubicBezTo>
                    <a:pt x="811" y="1349"/>
                    <a:pt x="811" y="1349"/>
                    <a:pt x="811" y="1349"/>
                  </a:cubicBezTo>
                  <a:cubicBezTo>
                    <a:pt x="819" y="1349"/>
                    <a:pt x="819" y="1349"/>
                    <a:pt x="819" y="1349"/>
                  </a:cubicBezTo>
                  <a:cubicBezTo>
                    <a:pt x="821" y="1341"/>
                    <a:pt x="821" y="1341"/>
                    <a:pt x="821" y="1341"/>
                  </a:cubicBezTo>
                  <a:cubicBezTo>
                    <a:pt x="826" y="1340"/>
                    <a:pt x="826" y="1340"/>
                    <a:pt x="826" y="1340"/>
                  </a:cubicBezTo>
                  <a:cubicBezTo>
                    <a:pt x="826" y="1340"/>
                    <a:pt x="829" y="1344"/>
                    <a:pt x="830" y="1347"/>
                  </a:cubicBezTo>
                  <a:cubicBezTo>
                    <a:pt x="831" y="1349"/>
                    <a:pt x="836" y="1348"/>
                    <a:pt x="836" y="1348"/>
                  </a:cubicBezTo>
                  <a:cubicBezTo>
                    <a:pt x="838" y="1344"/>
                    <a:pt x="838" y="1344"/>
                    <a:pt x="838" y="1344"/>
                  </a:cubicBezTo>
                  <a:cubicBezTo>
                    <a:pt x="845" y="1344"/>
                    <a:pt x="845" y="1344"/>
                    <a:pt x="845" y="1344"/>
                  </a:cubicBezTo>
                  <a:cubicBezTo>
                    <a:pt x="845" y="1344"/>
                    <a:pt x="847" y="1348"/>
                    <a:pt x="851" y="1350"/>
                  </a:cubicBezTo>
                  <a:cubicBezTo>
                    <a:pt x="856" y="1352"/>
                    <a:pt x="862" y="1350"/>
                    <a:pt x="862" y="1350"/>
                  </a:cubicBezTo>
                  <a:cubicBezTo>
                    <a:pt x="864" y="1343"/>
                    <a:pt x="864" y="1343"/>
                    <a:pt x="864" y="1343"/>
                  </a:cubicBezTo>
                  <a:cubicBezTo>
                    <a:pt x="870" y="1343"/>
                    <a:pt x="870" y="1343"/>
                    <a:pt x="870" y="1343"/>
                  </a:cubicBezTo>
                  <a:cubicBezTo>
                    <a:pt x="870" y="1354"/>
                    <a:pt x="870" y="1354"/>
                    <a:pt x="870" y="1354"/>
                  </a:cubicBezTo>
                  <a:cubicBezTo>
                    <a:pt x="870" y="1354"/>
                    <a:pt x="876" y="1357"/>
                    <a:pt x="879" y="1366"/>
                  </a:cubicBezTo>
                  <a:cubicBezTo>
                    <a:pt x="881" y="1374"/>
                    <a:pt x="868" y="1384"/>
                    <a:pt x="868" y="1384"/>
                  </a:cubicBezTo>
                  <a:cubicBezTo>
                    <a:pt x="868" y="1390"/>
                    <a:pt x="868" y="1390"/>
                    <a:pt x="868" y="1390"/>
                  </a:cubicBezTo>
                  <a:cubicBezTo>
                    <a:pt x="885" y="1389"/>
                    <a:pt x="885" y="1389"/>
                    <a:pt x="885" y="1389"/>
                  </a:cubicBezTo>
                  <a:cubicBezTo>
                    <a:pt x="885" y="1394"/>
                    <a:pt x="885" y="1394"/>
                    <a:pt x="885" y="1394"/>
                  </a:cubicBezTo>
                  <a:cubicBezTo>
                    <a:pt x="876" y="1397"/>
                    <a:pt x="876" y="1397"/>
                    <a:pt x="876" y="1397"/>
                  </a:cubicBezTo>
                  <a:cubicBezTo>
                    <a:pt x="876" y="1412"/>
                    <a:pt x="876" y="1412"/>
                    <a:pt x="876" y="1412"/>
                  </a:cubicBezTo>
                  <a:cubicBezTo>
                    <a:pt x="876" y="1412"/>
                    <a:pt x="882" y="1411"/>
                    <a:pt x="889" y="1415"/>
                  </a:cubicBezTo>
                  <a:cubicBezTo>
                    <a:pt x="896" y="1419"/>
                    <a:pt x="892" y="1427"/>
                    <a:pt x="892" y="1427"/>
                  </a:cubicBezTo>
                  <a:cubicBezTo>
                    <a:pt x="897" y="1428"/>
                    <a:pt x="897" y="1428"/>
                    <a:pt x="897" y="1428"/>
                  </a:cubicBezTo>
                  <a:cubicBezTo>
                    <a:pt x="898" y="1442"/>
                    <a:pt x="898" y="1442"/>
                    <a:pt x="898" y="1442"/>
                  </a:cubicBezTo>
                  <a:cubicBezTo>
                    <a:pt x="895" y="1445"/>
                    <a:pt x="895" y="1445"/>
                    <a:pt x="895" y="1445"/>
                  </a:cubicBezTo>
                  <a:cubicBezTo>
                    <a:pt x="895" y="1445"/>
                    <a:pt x="900" y="1449"/>
                    <a:pt x="900" y="1455"/>
                  </a:cubicBezTo>
                  <a:cubicBezTo>
                    <a:pt x="901" y="1462"/>
                    <a:pt x="874" y="1465"/>
                    <a:pt x="866" y="1467"/>
                  </a:cubicBezTo>
                  <a:cubicBezTo>
                    <a:pt x="859" y="1470"/>
                    <a:pt x="860" y="1475"/>
                    <a:pt x="861" y="1479"/>
                  </a:cubicBezTo>
                  <a:cubicBezTo>
                    <a:pt x="861" y="1482"/>
                    <a:pt x="856" y="1485"/>
                    <a:pt x="849" y="1489"/>
                  </a:cubicBezTo>
                  <a:cubicBezTo>
                    <a:pt x="843" y="1492"/>
                    <a:pt x="843" y="1505"/>
                    <a:pt x="847" y="1511"/>
                  </a:cubicBezTo>
                  <a:cubicBezTo>
                    <a:pt x="850" y="1516"/>
                    <a:pt x="852" y="1521"/>
                    <a:pt x="852" y="1524"/>
                  </a:cubicBezTo>
                  <a:cubicBezTo>
                    <a:pt x="870" y="1520"/>
                    <a:pt x="870" y="1520"/>
                    <a:pt x="870" y="1520"/>
                  </a:cubicBezTo>
                  <a:cubicBezTo>
                    <a:pt x="870" y="1511"/>
                    <a:pt x="870" y="1511"/>
                    <a:pt x="870" y="1511"/>
                  </a:cubicBezTo>
                  <a:cubicBezTo>
                    <a:pt x="881" y="1511"/>
                    <a:pt x="881" y="1511"/>
                    <a:pt x="881" y="1511"/>
                  </a:cubicBezTo>
                  <a:cubicBezTo>
                    <a:pt x="880" y="1506"/>
                    <a:pt x="880" y="1506"/>
                    <a:pt x="880" y="1506"/>
                  </a:cubicBezTo>
                  <a:cubicBezTo>
                    <a:pt x="884" y="1500"/>
                    <a:pt x="884" y="1500"/>
                    <a:pt x="884" y="1500"/>
                  </a:cubicBezTo>
                  <a:cubicBezTo>
                    <a:pt x="894" y="1500"/>
                    <a:pt x="894" y="1500"/>
                    <a:pt x="894" y="1500"/>
                  </a:cubicBezTo>
                  <a:cubicBezTo>
                    <a:pt x="893" y="1506"/>
                    <a:pt x="893" y="1506"/>
                    <a:pt x="893" y="1506"/>
                  </a:cubicBezTo>
                  <a:cubicBezTo>
                    <a:pt x="900" y="1515"/>
                    <a:pt x="900" y="1515"/>
                    <a:pt x="900" y="1515"/>
                  </a:cubicBezTo>
                  <a:cubicBezTo>
                    <a:pt x="891" y="1514"/>
                    <a:pt x="891" y="1514"/>
                    <a:pt x="891" y="1514"/>
                  </a:cubicBezTo>
                  <a:cubicBezTo>
                    <a:pt x="891" y="1514"/>
                    <a:pt x="887" y="1521"/>
                    <a:pt x="883" y="1530"/>
                  </a:cubicBezTo>
                  <a:cubicBezTo>
                    <a:pt x="880" y="1540"/>
                    <a:pt x="871" y="1537"/>
                    <a:pt x="871" y="1537"/>
                  </a:cubicBezTo>
                  <a:cubicBezTo>
                    <a:pt x="870" y="1544"/>
                    <a:pt x="870" y="1544"/>
                    <a:pt x="870" y="1544"/>
                  </a:cubicBezTo>
                  <a:cubicBezTo>
                    <a:pt x="878" y="1543"/>
                    <a:pt x="878" y="1543"/>
                    <a:pt x="878" y="1543"/>
                  </a:cubicBezTo>
                  <a:cubicBezTo>
                    <a:pt x="876" y="1549"/>
                    <a:pt x="876" y="1549"/>
                    <a:pt x="876" y="1549"/>
                  </a:cubicBezTo>
                  <a:cubicBezTo>
                    <a:pt x="866" y="1549"/>
                    <a:pt x="866" y="1549"/>
                    <a:pt x="866" y="1549"/>
                  </a:cubicBezTo>
                  <a:cubicBezTo>
                    <a:pt x="858" y="1558"/>
                    <a:pt x="858" y="1558"/>
                    <a:pt x="858" y="1558"/>
                  </a:cubicBezTo>
                  <a:cubicBezTo>
                    <a:pt x="843" y="1558"/>
                    <a:pt x="843" y="1558"/>
                    <a:pt x="843" y="1558"/>
                  </a:cubicBezTo>
                  <a:cubicBezTo>
                    <a:pt x="855" y="1575"/>
                    <a:pt x="855" y="1575"/>
                    <a:pt x="855" y="1575"/>
                  </a:cubicBezTo>
                  <a:cubicBezTo>
                    <a:pt x="855" y="1575"/>
                    <a:pt x="862" y="1571"/>
                    <a:pt x="867" y="1571"/>
                  </a:cubicBezTo>
                  <a:cubicBezTo>
                    <a:pt x="874" y="1571"/>
                    <a:pt x="876" y="1580"/>
                    <a:pt x="876" y="1580"/>
                  </a:cubicBezTo>
                  <a:cubicBezTo>
                    <a:pt x="876" y="1580"/>
                    <a:pt x="893" y="1578"/>
                    <a:pt x="894" y="1586"/>
                  </a:cubicBezTo>
                  <a:cubicBezTo>
                    <a:pt x="895" y="1592"/>
                    <a:pt x="880" y="1585"/>
                    <a:pt x="880" y="1585"/>
                  </a:cubicBezTo>
                  <a:cubicBezTo>
                    <a:pt x="877" y="1599"/>
                    <a:pt x="877" y="1599"/>
                    <a:pt x="877" y="1599"/>
                  </a:cubicBezTo>
                  <a:cubicBezTo>
                    <a:pt x="873" y="1591"/>
                    <a:pt x="873" y="1591"/>
                    <a:pt x="873" y="1591"/>
                  </a:cubicBezTo>
                  <a:cubicBezTo>
                    <a:pt x="867" y="1594"/>
                    <a:pt x="867" y="1594"/>
                    <a:pt x="867" y="1594"/>
                  </a:cubicBezTo>
                  <a:cubicBezTo>
                    <a:pt x="867" y="1594"/>
                    <a:pt x="871" y="1610"/>
                    <a:pt x="871" y="1615"/>
                  </a:cubicBezTo>
                  <a:cubicBezTo>
                    <a:pt x="871" y="1619"/>
                    <a:pt x="865" y="1619"/>
                    <a:pt x="862" y="1623"/>
                  </a:cubicBezTo>
                  <a:cubicBezTo>
                    <a:pt x="859" y="1626"/>
                    <a:pt x="868" y="1634"/>
                    <a:pt x="866" y="1639"/>
                  </a:cubicBezTo>
                  <a:cubicBezTo>
                    <a:pt x="864" y="1646"/>
                    <a:pt x="859" y="1657"/>
                    <a:pt x="852" y="1658"/>
                  </a:cubicBezTo>
                  <a:cubicBezTo>
                    <a:pt x="846" y="1658"/>
                    <a:pt x="844" y="1650"/>
                    <a:pt x="844" y="1650"/>
                  </a:cubicBezTo>
                  <a:cubicBezTo>
                    <a:pt x="830" y="1651"/>
                    <a:pt x="830" y="1651"/>
                    <a:pt x="830" y="1651"/>
                  </a:cubicBezTo>
                  <a:cubicBezTo>
                    <a:pt x="831" y="1656"/>
                    <a:pt x="831" y="1656"/>
                    <a:pt x="831" y="1656"/>
                  </a:cubicBezTo>
                  <a:cubicBezTo>
                    <a:pt x="831" y="1656"/>
                    <a:pt x="841" y="1657"/>
                    <a:pt x="842" y="1659"/>
                  </a:cubicBezTo>
                  <a:cubicBezTo>
                    <a:pt x="842" y="1662"/>
                    <a:pt x="830" y="1669"/>
                    <a:pt x="830" y="1669"/>
                  </a:cubicBezTo>
                  <a:cubicBezTo>
                    <a:pt x="833" y="1674"/>
                    <a:pt x="833" y="1674"/>
                    <a:pt x="833" y="1674"/>
                  </a:cubicBezTo>
                  <a:cubicBezTo>
                    <a:pt x="847" y="1669"/>
                    <a:pt x="847" y="1669"/>
                    <a:pt x="847" y="1669"/>
                  </a:cubicBezTo>
                  <a:cubicBezTo>
                    <a:pt x="847" y="1669"/>
                    <a:pt x="841" y="1664"/>
                    <a:pt x="851" y="1663"/>
                  </a:cubicBezTo>
                  <a:cubicBezTo>
                    <a:pt x="862" y="1663"/>
                    <a:pt x="852" y="1670"/>
                    <a:pt x="852" y="1670"/>
                  </a:cubicBezTo>
                  <a:cubicBezTo>
                    <a:pt x="865" y="1673"/>
                    <a:pt x="865" y="1673"/>
                    <a:pt x="865" y="1673"/>
                  </a:cubicBezTo>
                  <a:cubicBezTo>
                    <a:pt x="873" y="1686"/>
                    <a:pt x="873" y="1686"/>
                    <a:pt x="873" y="1686"/>
                  </a:cubicBezTo>
                  <a:cubicBezTo>
                    <a:pt x="894" y="1684"/>
                    <a:pt x="894" y="1684"/>
                    <a:pt x="894" y="1684"/>
                  </a:cubicBezTo>
                  <a:cubicBezTo>
                    <a:pt x="895" y="1678"/>
                    <a:pt x="895" y="1678"/>
                    <a:pt x="895" y="1678"/>
                  </a:cubicBezTo>
                  <a:cubicBezTo>
                    <a:pt x="903" y="1684"/>
                    <a:pt x="903" y="1684"/>
                    <a:pt x="903" y="1684"/>
                  </a:cubicBezTo>
                  <a:cubicBezTo>
                    <a:pt x="908" y="1684"/>
                    <a:pt x="908" y="1684"/>
                    <a:pt x="908" y="1684"/>
                  </a:cubicBezTo>
                  <a:cubicBezTo>
                    <a:pt x="911" y="1689"/>
                    <a:pt x="911" y="1689"/>
                    <a:pt x="911" y="1689"/>
                  </a:cubicBezTo>
                  <a:cubicBezTo>
                    <a:pt x="917" y="1688"/>
                    <a:pt x="917" y="1688"/>
                    <a:pt x="917" y="1688"/>
                  </a:cubicBezTo>
                  <a:cubicBezTo>
                    <a:pt x="926" y="1691"/>
                    <a:pt x="926" y="1691"/>
                    <a:pt x="926" y="1691"/>
                  </a:cubicBezTo>
                  <a:cubicBezTo>
                    <a:pt x="929" y="1688"/>
                    <a:pt x="929" y="1688"/>
                    <a:pt x="929" y="1688"/>
                  </a:cubicBezTo>
                  <a:cubicBezTo>
                    <a:pt x="943" y="1687"/>
                    <a:pt x="943" y="1687"/>
                    <a:pt x="943" y="1687"/>
                  </a:cubicBezTo>
                  <a:cubicBezTo>
                    <a:pt x="949" y="1694"/>
                    <a:pt x="949" y="1694"/>
                    <a:pt x="949" y="1694"/>
                  </a:cubicBezTo>
                  <a:cubicBezTo>
                    <a:pt x="949" y="1694"/>
                    <a:pt x="970" y="1696"/>
                    <a:pt x="976" y="1699"/>
                  </a:cubicBezTo>
                  <a:cubicBezTo>
                    <a:pt x="982" y="1702"/>
                    <a:pt x="998" y="1713"/>
                    <a:pt x="998" y="1713"/>
                  </a:cubicBezTo>
                  <a:cubicBezTo>
                    <a:pt x="1003" y="1712"/>
                    <a:pt x="1003" y="1712"/>
                    <a:pt x="1003" y="1712"/>
                  </a:cubicBezTo>
                  <a:cubicBezTo>
                    <a:pt x="1007" y="1716"/>
                    <a:pt x="1007" y="1716"/>
                    <a:pt x="1007" y="1716"/>
                  </a:cubicBezTo>
                  <a:cubicBezTo>
                    <a:pt x="1016" y="1717"/>
                    <a:pt x="1016" y="1717"/>
                    <a:pt x="1016" y="1717"/>
                  </a:cubicBezTo>
                  <a:cubicBezTo>
                    <a:pt x="1019" y="1721"/>
                    <a:pt x="1019" y="1721"/>
                    <a:pt x="1019" y="1721"/>
                  </a:cubicBezTo>
                  <a:cubicBezTo>
                    <a:pt x="1024" y="1720"/>
                    <a:pt x="1024" y="1720"/>
                    <a:pt x="1024" y="1720"/>
                  </a:cubicBezTo>
                  <a:cubicBezTo>
                    <a:pt x="1024" y="1720"/>
                    <a:pt x="1024" y="1710"/>
                    <a:pt x="1028" y="1705"/>
                  </a:cubicBezTo>
                  <a:cubicBezTo>
                    <a:pt x="1031" y="1701"/>
                    <a:pt x="1047" y="1703"/>
                    <a:pt x="1047" y="1703"/>
                  </a:cubicBezTo>
                  <a:cubicBezTo>
                    <a:pt x="1050" y="1698"/>
                    <a:pt x="1050" y="1698"/>
                    <a:pt x="1050" y="1698"/>
                  </a:cubicBezTo>
                  <a:cubicBezTo>
                    <a:pt x="1072" y="1701"/>
                    <a:pt x="1072" y="1701"/>
                    <a:pt x="1072" y="1701"/>
                  </a:cubicBezTo>
                  <a:cubicBezTo>
                    <a:pt x="1073" y="1700"/>
                    <a:pt x="1073" y="1700"/>
                    <a:pt x="1073" y="1700"/>
                  </a:cubicBezTo>
                  <a:cubicBezTo>
                    <a:pt x="1080" y="1700"/>
                    <a:pt x="1080" y="1700"/>
                    <a:pt x="1080" y="1700"/>
                  </a:cubicBezTo>
                  <a:cubicBezTo>
                    <a:pt x="1085" y="1696"/>
                    <a:pt x="1085" y="1696"/>
                    <a:pt x="1085" y="1696"/>
                  </a:cubicBezTo>
                  <a:cubicBezTo>
                    <a:pt x="1085" y="1696"/>
                    <a:pt x="1095" y="1702"/>
                    <a:pt x="1107" y="1699"/>
                  </a:cubicBezTo>
                  <a:cubicBezTo>
                    <a:pt x="1120" y="1697"/>
                    <a:pt x="1137" y="1683"/>
                    <a:pt x="1137" y="1683"/>
                  </a:cubicBezTo>
                  <a:cubicBezTo>
                    <a:pt x="1143" y="1684"/>
                    <a:pt x="1143" y="1684"/>
                    <a:pt x="1143" y="1684"/>
                  </a:cubicBezTo>
                  <a:cubicBezTo>
                    <a:pt x="1143" y="1684"/>
                    <a:pt x="1146" y="1679"/>
                    <a:pt x="1154" y="1679"/>
                  </a:cubicBezTo>
                  <a:cubicBezTo>
                    <a:pt x="1161" y="1678"/>
                    <a:pt x="1162" y="1683"/>
                    <a:pt x="1169" y="1685"/>
                  </a:cubicBezTo>
                  <a:cubicBezTo>
                    <a:pt x="1175" y="1688"/>
                    <a:pt x="1192" y="1683"/>
                    <a:pt x="1192" y="1683"/>
                  </a:cubicBezTo>
                  <a:cubicBezTo>
                    <a:pt x="1210" y="1683"/>
                    <a:pt x="1210" y="1683"/>
                    <a:pt x="1210" y="1683"/>
                  </a:cubicBezTo>
                  <a:cubicBezTo>
                    <a:pt x="1208" y="1689"/>
                    <a:pt x="1208" y="1689"/>
                    <a:pt x="1208" y="1689"/>
                  </a:cubicBezTo>
                  <a:cubicBezTo>
                    <a:pt x="1208" y="1689"/>
                    <a:pt x="1215" y="1691"/>
                    <a:pt x="1221" y="1690"/>
                  </a:cubicBezTo>
                  <a:cubicBezTo>
                    <a:pt x="1227" y="1690"/>
                    <a:pt x="1233" y="1681"/>
                    <a:pt x="1233" y="1681"/>
                  </a:cubicBezTo>
                  <a:cubicBezTo>
                    <a:pt x="1233" y="1674"/>
                    <a:pt x="1233" y="1674"/>
                    <a:pt x="1233" y="1674"/>
                  </a:cubicBezTo>
                  <a:cubicBezTo>
                    <a:pt x="1233" y="1674"/>
                    <a:pt x="1239" y="1669"/>
                    <a:pt x="1243" y="1666"/>
                  </a:cubicBezTo>
                  <a:cubicBezTo>
                    <a:pt x="1248" y="1664"/>
                    <a:pt x="1259" y="1669"/>
                    <a:pt x="1259" y="1669"/>
                  </a:cubicBezTo>
                  <a:cubicBezTo>
                    <a:pt x="1259" y="1659"/>
                    <a:pt x="1259" y="1659"/>
                    <a:pt x="1259" y="1659"/>
                  </a:cubicBezTo>
                  <a:cubicBezTo>
                    <a:pt x="1266" y="1660"/>
                    <a:pt x="1266" y="1660"/>
                    <a:pt x="1266" y="1660"/>
                  </a:cubicBezTo>
                  <a:cubicBezTo>
                    <a:pt x="1274" y="1656"/>
                    <a:pt x="1274" y="1656"/>
                    <a:pt x="1274" y="1656"/>
                  </a:cubicBezTo>
                  <a:cubicBezTo>
                    <a:pt x="1285" y="1663"/>
                    <a:pt x="1285" y="1663"/>
                    <a:pt x="1285" y="1663"/>
                  </a:cubicBezTo>
                  <a:cubicBezTo>
                    <a:pt x="1291" y="1657"/>
                    <a:pt x="1291" y="1657"/>
                    <a:pt x="1291" y="1657"/>
                  </a:cubicBezTo>
                  <a:cubicBezTo>
                    <a:pt x="1302" y="1654"/>
                    <a:pt x="1302" y="1654"/>
                    <a:pt x="1302" y="1654"/>
                  </a:cubicBezTo>
                  <a:cubicBezTo>
                    <a:pt x="1302" y="1654"/>
                    <a:pt x="1305" y="1671"/>
                    <a:pt x="1309" y="1675"/>
                  </a:cubicBezTo>
                  <a:cubicBezTo>
                    <a:pt x="1315" y="1679"/>
                    <a:pt x="1337" y="1674"/>
                    <a:pt x="1347" y="1674"/>
                  </a:cubicBezTo>
                  <a:cubicBezTo>
                    <a:pt x="1357" y="1673"/>
                    <a:pt x="1359" y="1675"/>
                    <a:pt x="1359" y="1675"/>
                  </a:cubicBezTo>
                  <a:cubicBezTo>
                    <a:pt x="1367" y="1671"/>
                    <a:pt x="1367" y="1671"/>
                    <a:pt x="1367" y="1671"/>
                  </a:cubicBezTo>
                  <a:cubicBezTo>
                    <a:pt x="1367" y="1671"/>
                    <a:pt x="1371" y="1672"/>
                    <a:pt x="1378" y="1672"/>
                  </a:cubicBezTo>
                  <a:cubicBezTo>
                    <a:pt x="1383" y="1672"/>
                    <a:pt x="1388" y="1681"/>
                    <a:pt x="1388" y="1681"/>
                  </a:cubicBezTo>
                  <a:cubicBezTo>
                    <a:pt x="1390" y="1678"/>
                    <a:pt x="1390" y="1678"/>
                    <a:pt x="1390" y="1678"/>
                  </a:cubicBezTo>
                  <a:cubicBezTo>
                    <a:pt x="1390" y="1678"/>
                    <a:pt x="1407" y="1689"/>
                    <a:pt x="1408" y="1689"/>
                  </a:cubicBezTo>
                  <a:cubicBezTo>
                    <a:pt x="1411" y="1689"/>
                    <a:pt x="1417" y="1687"/>
                    <a:pt x="1429" y="1686"/>
                  </a:cubicBezTo>
                  <a:cubicBezTo>
                    <a:pt x="1440" y="1685"/>
                    <a:pt x="1435" y="1674"/>
                    <a:pt x="1435" y="1674"/>
                  </a:cubicBezTo>
                  <a:cubicBezTo>
                    <a:pt x="1438" y="1668"/>
                    <a:pt x="1438" y="1668"/>
                    <a:pt x="1438" y="1668"/>
                  </a:cubicBezTo>
                  <a:cubicBezTo>
                    <a:pt x="1437" y="1657"/>
                    <a:pt x="1437" y="1657"/>
                    <a:pt x="1437" y="1657"/>
                  </a:cubicBezTo>
                  <a:cubicBezTo>
                    <a:pt x="1446" y="1644"/>
                    <a:pt x="1446" y="1644"/>
                    <a:pt x="1446" y="1644"/>
                  </a:cubicBezTo>
                  <a:cubicBezTo>
                    <a:pt x="1445" y="1626"/>
                    <a:pt x="1445" y="1626"/>
                    <a:pt x="1445" y="1626"/>
                  </a:cubicBezTo>
                  <a:cubicBezTo>
                    <a:pt x="1434" y="1626"/>
                    <a:pt x="1434" y="1626"/>
                    <a:pt x="1434" y="1626"/>
                  </a:cubicBezTo>
                  <a:cubicBezTo>
                    <a:pt x="1417" y="1613"/>
                    <a:pt x="1417" y="1613"/>
                    <a:pt x="1417" y="1613"/>
                  </a:cubicBezTo>
                  <a:cubicBezTo>
                    <a:pt x="1417" y="1613"/>
                    <a:pt x="1406" y="1612"/>
                    <a:pt x="1404" y="1611"/>
                  </a:cubicBezTo>
                  <a:cubicBezTo>
                    <a:pt x="1402" y="1611"/>
                    <a:pt x="1391" y="1604"/>
                    <a:pt x="1391" y="1604"/>
                  </a:cubicBezTo>
                  <a:cubicBezTo>
                    <a:pt x="1391" y="1604"/>
                    <a:pt x="1387" y="1604"/>
                    <a:pt x="1382" y="1602"/>
                  </a:cubicBezTo>
                  <a:cubicBezTo>
                    <a:pt x="1378" y="1601"/>
                    <a:pt x="1380" y="1599"/>
                    <a:pt x="1376" y="1592"/>
                  </a:cubicBezTo>
                  <a:cubicBezTo>
                    <a:pt x="1372" y="1586"/>
                    <a:pt x="1365" y="1590"/>
                    <a:pt x="1358" y="1584"/>
                  </a:cubicBezTo>
                  <a:cubicBezTo>
                    <a:pt x="1352" y="1578"/>
                    <a:pt x="1356" y="1565"/>
                    <a:pt x="1356" y="1565"/>
                  </a:cubicBezTo>
                  <a:cubicBezTo>
                    <a:pt x="1350" y="1565"/>
                    <a:pt x="1350" y="1565"/>
                    <a:pt x="1350" y="1565"/>
                  </a:cubicBezTo>
                  <a:cubicBezTo>
                    <a:pt x="1341" y="1543"/>
                    <a:pt x="1341" y="1543"/>
                    <a:pt x="1341" y="1543"/>
                  </a:cubicBezTo>
                  <a:cubicBezTo>
                    <a:pt x="1341" y="1530"/>
                    <a:pt x="1341" y="1530"/>
                    <a:pt x="1341" y="1530"/>
                  </a:cubicBezTo>
                  <a:cubicBezTo>
                    <a:pt x="1343" y="1527"/>
                    <a:pt x="1343" y="1527"/>
                    <a:pt x="1343" y="1527"/>
                  </a:cubicBezTo>
                  <a:cubicBezTo>
                    <a:pt x="1343" y="1527"/>
                    <a:pt x="1342" y="1525"/>
                    <a:pt x="1339" y="1525"/>
                  </a:cubicBezTo>
                  <a:cubicBezTo>
                    <a:pt x="1335" y="1526"/>
                    <a:pt x="1338" y="1538"/>
                    <a:pt x="1338" y="1538"/>
                  </a:cubicBezTo>
                  <a:cubicBezTo>
                    <a:pt x="1342" y="1559"/>
                    <a:pt x="1342" y="1559"/>
                    <a:pt x="1342" y="1559"/>
                  </a:cubicBezTo>
                  <a:cubicBezTo>
                    <a:pt x="1339" y="1558"/>
                    <a:pt x="1339" y="1558"/>
                    <a:pt x="1339" y="1558"/>
                  </a:cubicBezTo>
                  <a:cubicBezTo>
                    <a:pt x="1337" y="1540"/>
                    <a:pt x="1337" y="1540"/>
                    <a:pt x="1337" y="1540"/>
                  </a:cubicBezTo>
                  <a:cubicBezTo>
                    <a:pt x="1333" y="1539"/>
                    <a:pt x="1333" y="1539"/>
                    <a:pt x="1333" y="1539"/>
                  </a:cubicBezTo>
                  <a:cubicBezTo>
                    <a:pt x="1313" y="1523"/>
                    <a:pt x="1313" y="1523"/>
                    <a:pt x="1313" y="1523"/>
                  </a:cubicBezTo>
                  <a:cubicBezTo>
                    <a:pt x="1313" y="1523"/>
                    <a:pt x="1310" y="1526"/>
                    <a:pt x="1308" y="1526"/>
                  </a:cubicBezTo>
                  <a:cubicBezTo>
                    <a:pt x="1306" y="1526"/>
                    <a:pt x="1304" y="1521"/>
                    <a:pt x="1301" y="1518"/>
                  </a:cubicBezTo>
                  <a:cubicBezTo>
                    <a:pt x="1297" y="1516"/>
                    <a:pt x="1286" y="1522"/>
                    <a:pt x="1286" y="1522"/>
                  </a:cubicBezTo>
                  <a:cubicBezTo>
                    <a:pt x="1286" y="1522"/>
                    <a:pt x="1277" y="1512"/>
                    <a:pt x="1275" y="1508"/>
                  </a:cubicBezTo>
                  <a:cubicBezTo>
                    <a:pt x="1273" y="1502"/>
                    <a:pt x="1281" y="1496"/>
                    <a:pt x="1285" y="1490"/>
                  </a:cubicBezTo>
                  <a:cubicBezTo>
                    <a:pt x="1290" y="1483"/>
                    <a:pt x="1287" y="1468"/>
                    <a:pt x="1287" y="1468"/>
                  </a:cubicBezTo>
                  <a:cubicBezTo>
                    <a:pt x="1283" y="1465"/>
                    <a:pt x="1283" y="1465"/>
                    <a:pt x="1283" y="1465"/>
                  </a:cubicBezTo>
                  <a:cubicBezTo>
                    <a:pt x="1287" y="1460"/>
                    <a:pt x="1287" y="1460"/>
                    <a:pt x="1287" y="1460"/>
                  </a:cubicBezTo>
                  <a:cubicBezTo>
                    <a:pt x="1284" y="1459"/>
                    <a:pt x="1284" y="1459"/>
                    <a:pt x="1284" y="1459"/>
                  </a:cubicBezTo>
                  <a:cubicBezTo>
                    <a:pt x="1283" y="1443"/>
                    <a:pt x="1283" y="1443"/>
                    <a:pt x="1283" y="1443"/>
                  </a:cubicBezTo>
                  <a:cubicBezTo>
                    <a:pt x="1286" y="1436"/>
                    <a:pt x="1286" y="1436"/>
                    <a:pt x="1286" y="1436"/>
                  </a:cubicBezTo>
                  <a:cubicBezTo>
                    <a:pt x="1286" y="1436"/>
                    <a:pt x="1280" y="1431"/>
                    <a:pt x="1281" y="1428"/>
                  </a:cubicBezTo>
                  <a:cubicBezTo>
                    <a:pt x="1282" y="1424"/>
                    <a:pt x="1291" y="1430"/>
                    <a:pt x="1296" y="1431"/>
                  </a:cubicBezTo>
                  <a:cubicBezTo>
                    <a:pt x="1300" y="1431"/>
                    <a:pt x="1299" y="1428"/>
                    <a:pt x="1299" y="1428"/>
                  </a:cubicBezTo>
                  <a:cubicBezTo>
                    <a:pt x="1299" y="1428"/>
                    <a:pt x="1291" y="1422"/>
                    <a:pt x="1293" y="1419"/>
                  </a:cubicBezTo>
                  <a:cubicBezTo>
                    <a:pt x="1296" y="1416"/>
                    <a:pt x="1306" y="1410"/>
                    <a:pt x="1306" y="1410"/>
                  </a:cubicBezTo>
                  <a:cubicBezTo>
                    <a:pt x="1313" y="1412"/>
                    <a:pt x="1313" y="1412"/>
                    <a:pt x="1313" y="1412"/>
                  </a:cubicBezTo>
                  <a:cubicBezTo>
                    <a:pt x="1317" y="1411"/>
                    <a:pt x="1317" y="1411"/>
                    <a:pt x="1317" y="1411"/>
                  </a:cubicBezTo>
                  <a:cubicBezTo>
                    <a:pt x="1305" y="1402"/>
                    <a:pt x="1305" y="1402"/>
                    <a:pt x="1305" y="1402"/>
                  </a:cubicBezTo>
                  <a:cubicBezTo>
                    <a:pt x="1308" y="1397"/>
                    <a:pt x="1308" y="1397"/>
                    <a:pt x="1308" y="1397"/>
                  </a:cubicBezTo>
                  <a:cubicBezTo>
                    <a:pt x="1322" y="1404"/>
                    <a:pt x="1322" y="1404"/>
                    <a:pt x="1322" y="1404"/>
                  </a:cubicBezTo>
                  <a:cubicBezTo>
                    <a:pt x="1327" y="1402"/>
                    <a:pt x="1327" y="1402"/>
                    <a:pt x="1327" y="1402"/>
                  </a:cubicBezTo>
                  <a:cubicBezTo>
                    <a:pt x="1320" y="1398"/>
                    <a:pt x="1320" y="1398"/>
                    <a:pt x="1320" y="1398"/>
                  </a:cubicBezTo>
                  <a:cubicBezTo>
                    <a:pt x="1323" y="1391"/>
                    <a:pt x="1323" y="1391"/>
                    <a:pt x="1323" y="1391"/>
                  </a:cubicBezTo>
                  <a:cubicBezTo>
                    <a:pt x="1313" y="1386"/>
                    <a:pt x="1313" y="1386"/>
                    <a:pt x="1313" y="1386"/>
                  </a:cubicBezTo>
                  <a:cubicBezTo>
                    <a:pt x="1314" y="1381"/>
                    <a:pt x="1314" y="1381"/>
                    <a:pt x="1314" y="1381"/>
                  </a:cubicBezTo>
                  <a:cubicBezTo>
                    <a:pt x="1322" y="1383"/>
                    <a:pt x="1322" y="1383"/>
                    <a:pt x="1322" y="1383"/>
                  </a:cubicBezTo>
                  <a:cubicBezTo>
                    <a:pt x="1325" y="1383"/>
                    <a:pt x="1325" y="1383"/>
                    <a:pt x="1325" y="1383"/>
                  </a:cubicBezTo>
                  <a:cubicBezTo>
                    <a:pt x="1318" y="1378"/>
                    <a:pt x="1318" y="1378"/>
                    <a:pt x="1318" y="1378"/>
                  </a:cubicBezTo>
                  <a:cubicBezTo>
                    <a:pt x="1323" y="1375"/>
                    <a:pt x="1323" y="1375"/>
                    <a:pt x="1323" y="1375"/>
                  </a:cubicBezTo>
                  <a:cubicBezTo>
                    <a:pt x="1331" y="1379"/>
                    <a:pt x="1331" y="1379"/>
                    <a:pt x="1331" y="1379"/>
                  </a:cubicBezTo>
                  <a:cubicBezTo>
                    <a:pt x="1331" y="1379"/>
                    <a:pt x="1331" y="1372"/>
                    <a:pt x="1329" y="1369"/>
                  </a:cubicBezTo>
                  <a:cubicBezTo>
                    <a:pt x="1326" y="1366"/>
                    <a:pt x="1319" y="1367"/>
                    <a:pt x="1320" y="1363"/>
                  </a:cubicBezTo>
                  <a:cubicBezTo>
                    <a:pt x="1321" y="1357"/>
                    <a:pt x="1332" y="1358"/>
                    <a:pt x="1332" y="1358"/>
                  </a:cubicBezTo>
                  <a:cubicBezTo>
                    <a:pt x="1324" y="1354"/>
                    <a:pt x="1324" y="1354"/>
                    <a:pt x="1324" y="1354"/>
                  </a:cubicBezTo>
                  <a:cubicBezTo>
                    <a:pt x="1324" y="1354"/>
                    <a:pt x="1301" y="1358"/>
                    <a:pt x="1290" y="1357"/>
                  </a:cubicBezTo>
                  <a:cubicBezTo>
                    <a:pt x="1281" y="1356"/>
                    <a:pt x="1280" y="1350"/>
                    <a:pt x="1284" y="1343"/>
                  </a:cubicBezTo>
                  <a:cubicBezTo>
                    <a:pt x="1288" y="1338"/>
                    <a:pt x="1298" y="1344"/>
                    <a:pt x="1302" y="1340"/>
                  </a:cubicBezTo>
                  <a:cubicBezTo>
                    <a:pt x="1307" y="1335"/>
                    <a:pt x="1288" y="1328"/>
                    <a:pt x="1281" y="1326"/>
                  </a:cubicBezTo>
                  <a:cubicBezTo>
                    <a:pt x="1273" y="1324"/>
                    <a:pt x="1268" y="1313"/>
                    <a:pt x="1263" y="1310"/>
                  </a:cubicBezTo>
                  <a:cubicBezTo>
                    <a:pt x="1257" y="1308"/>
                    <a:pt x="1256" y="1312"/>
                    <a:pt x="1249" y="1312"/>
                  </a:cubicBezTo>
                  <a:cubicBezTo>
                    <a:pt x="1242" y="1312"/>
                    <a:pt x="1241" y="1301"/>
                    <a:pt x="1232" y="1298"/>
                  </a:cubicBezTo>
                  <a:cubicBezTo>
                    <a:pt x="1222" y="1295"/>
                    <a:pt x="1225" y="1307"/>
                    <a:pt x="1218" y="1309"/>
                  </a:cubicBezTo>
                  <a:cubicBezTo>
                    <a:pt x="1211" y="1311"/>
                    <a:pt x="1206" y="1310"/>
                    <a:pt x="1206" y="1310"/>
                  </a:cubicBezTo>
                  <a:cubicBezTo>
                    <a:pt x="1210" y="1318"/>
                    <a:pt x="1210" y="1318"/>
                    <a:pt x="1210" y="1318"/>
                  </a:cubicBezTo>
                  <a:cubicBezTo>
                    <a:pt x="1210" y="1318"/>
                    <a:pt x="1198" y="1318"/>
                    <a:pt x="1192" y="1316"/>
                  </a:cubicBezTo>
                  <a:cubicBezTo>
                    <a:pt x="1187" y="1315"/>
                    <a:pt x="1188" y="1308"/>
                    <a:pt x="1189" y="1306"/>
                  </a:cubicBezTo>
                  <a:cubicBezTo>
                    <a:pt x="1191" y="1303"/>
                    <a:pt x="1186" y="1301"/>
                    <a:pt x="1184" y="1298"/>
                  </a:cubicBezTo>
                  <a:cubicBezTo>
                    <a:pt x="1181" y="1296"/>
                    <a:pt x="1181" y="1292"/>
                    <a:pt x="1181" y="1292"/>
                  </a:cubicBezTo>
                  <a:cubicBezTo>
                    <a:pt x="1152" y="1298"/>
                    <a:pt x="1152" y="1298"/>
                    <a:pt x="1152" y="1298"/>
                  </a:cubicBezTo>
                  <a:cubicBezTo>
                    <a:pt x="1146" y="1259"/>
                    <a:pt x="1146" y="1259"/>
                    <a:pt x="1146" y="1259"/>
                  </a:cubicBezTo>
                  <a:cubicBezTo>
                    <a:pt x="1146" y="1259"/>
                    <a:pt x="1152" y="1249"/>
                    <a:pt x="1149" y="1241"/>
                  </a:cubicBezTo>
                  <a:cubicBezTo>
                    <a:pt x="1146" y="1232"/>
                    <a:pt x="1136" y="1234"/>
                    <a:pt x="1136" y="1234"/>
                  </a:cubicBezTo>
                  <a:cubicBezTo>
                    <a:pt x="1124" y="1199"/>
                    <a:pt x="1124" y="1199"/>
                    <a:pt x="1124" y="1199"/>
                  </a:cubicBezTo>
                  <a:cubicBezTo>
                    <a:pt x="1133" y="1184"/>
                    <a:pt x="1133" y="1184"/>
                    <a:pt x="1133" y="1184"/>
                  </a:cubicBezTo>
                  <a:cubicBezTo>
                    <a:pt x="1134" y="1179"/>
                    <a:pt x="1125" y="1178"/>
                    <a:pt x="1125" y="1170"/>
                  </a:cubicBezTo>
                  <a:cubicBezTo>
                    <a:pt x="1124" y="1163"/>
                    <a:pt x="1128" y="1156"/>
                    <a:pt x="1138" y="1156"/>
                  </a:cubicBezTo>
                  <a:cubicBezTo>
                    <a:pt x="1146" y="1156"/>
                    <a:pt x="1158" y="1165"/>
                    <a:pt x="1161" y="1170"/>
                  </a:cubicBezTo>
                  <a:cubicBezTo>
                    <a:pt x="1165" y="1177"/>
                    <a:pt x="1172" y="1176"/>
                    <a:pt x="1178" y="1176"/>
                  </a:cubicBezTo>
                  <a:cubicBezTo>
                    <a:pt x="1184" y="1176"/>
                    <a:pt x="1190" y="1162"/>
                    <a:pt x="1191" y="1152"/>
                  </a:cubicBezTo>
                  <a:cubicBezTo>
                    <a:pt x="1192" y="1143"/>
                    <a:pt x="1185" y="1151"/>
                    <a:pt x="1185" y="1151"/>
                  </a:cubicBezTo>
                  <a:cubicBezTo>
                    <a:pt x="1185" y="1151"/>
                    <a:pt x="1182" y="1146"/>
                    <a:pt x="1177" y="1144"/>
                  </a:cubicBezTo>
                  <a:cubicBezTo>
                    <a:pt x="1173" y="1140"/>
                    <a:pt x="1163" y="1128"/>
                    <a:pt x="1163" y="1128"/>
                  </a:cubicBezTo>
                  <a:cubicBezTo>
                    <a:pt x="1159" y="1128"/>
                    <a:pt x="1159" y="1128"/>
                    <a:pt x="1159" y="1128"/>
                  </a:cubicBezTo>
                  <a:cubicBezTo>
                    <a:pt x="1160" y="1124"/>
                    <a:pt x="1160" y="1124"/>
                    <a:pt x="1160" y="1124"/>
                  </a:cubicBezTo>
                  <a:cubicBezTo>
                    <a:pt x="1160" y="1124"/>
                    <a:pt x="1165" y="1122"/>
                    <a:pt x="1171" y="1121"/>
                  </a:cubicBezTo>
                  <a:cubicBezTo>
                    <a:pt x="1177" y="1120"/>
                    <a:pt x="1175" y="1104"/>
                    <a:pt x="1175" y="1104"/>
                  </a:cubicBezTo>
                  <a:cubicBezTo>
                    <a:pt x="1175" y="1104"/>
                    <a:pt x="1182" y="1099"/>
                    <a:pt x="1183" y="1093"/>
                  </a:cubicBezTo>
                  <a:cubicBezTo>
                    <a:pt x="1185" y="1089"/>
                    <a:pt x="1175" y="1090"/>
                    <a:pt x="1175" y="1090"/>
                  </a:cubicBezTo>
                  <a:cubicBezTo>
                    <a:pt x="1173" y="1080"/>
                    <a:pt x="1173" y="1080"/>
                    <a:pt x="1173" y="1080"/>
                  </a:cubicBezTo>
                  <a:cubicBezTo>
                    <a:pt x="1183" y="1074"/>
                    <a:pt x="1183" y="1074"/>
                    <a:pt x="1183" y="1074"/>
                  </a:cubicBezTo>
                  <a:cubicBezTo>
                    <a:pt x="1189" y="1063"/>
                    <a:pt x="1189" y="1063"/>
                    <a:pt x="1189" y="1063"/>
                  </a:cubicBezTo>
                  <a:cubicBezTo>
                    <a:pt x="1189" y="1063"/>
                    <a:pt x="1202" y="1055"/>
                    <a:pt x="1202" y="1052"/>
                  </a:cubicBezTo>
                  <a:cubicBezTo>
                    <a:pt x="1203" y="1048"/>
                    <a:pt x="1196" y="1049"/>
                    <a:pt x="1195" y="1045"/>
                  </a:cubicBezTo>
                  <a:cubicBezTo>
                    <a:pt x="1194" y="1043"/>
                    <a:pt x="1204" y="1041"/>
                    <a:pt x="1204" y="1038"/>
                  </a:cubicBezTo>
                  <a:cubicBezTo>
                    <a:pt x="1204" y="1036"/>
                    <a:pt x="1199" y="1029"/>
                    <a:pt x="1201" y="1027"/>
                  </a:cubicBezTo>
                  <a:cubicBezTo>
                    <a:pt x="1203" y="1025"/>
                    <a:pt x="1208" y="1022"/>
                    <a:pt x="1208" y="1022"/>
                  </a:cubicBezTo>
                  <a:cubicBezTo>
                    <a:pt x="1201" y="1016"/>
                    <a:pt x="1201" y="1016"/>
                    <a:pt x="1201" y="1016"/>
                  </a:cubicBezTo>
                  <a:cubicBezTo>
                    <a:pt x="1212" y="1016"/>
                    <a:pt x="1212" y="1016"/>
                    <a:pt x="1212" y="1016"/>
                  </a:cubicBezTo>
                  <a:cubicBezTo>
                    <a:pt x="1212" y="1016"/>
                    <a:pt x="1223" y="1009"/>
                    <a:pt x="1226" y="1010"/>
                  </a:cubicBezTo>
                  <a:cubicBezTo>
                    <a:pt x="1229" y="1011"/>
                    <a:pt x="1223" y="1021"/>
                    <a:pt x="1228" y="1022"/>
                  </a:cubicBezTo>
                  <a:cubicBezTo>
                    <a:pt x="1234" y="1024"/>
                    <a:pt x="1235" y="1011"/>
                    <a:pt x="1235" y="1011"/>
                  </a:cubicBezTo>
                  <a:cubicBezTo>
                    <a:pt x="1235" y="1011"/>
                    <a:pt x="1240" y="1012"/>
                    <a:pt x="1243" y="1010"/>
                  </a:cubicBezTo>
                  <a:cubicBezTo>
                    <a:pt x="1247" y="1008"/>
                    <a:pt x="1238" y="1002"/>
                    <a:pt x="1240" y="997"/>
                  </a:cubicBezTo>
                  <a:cubicBezTo>
                    <a:pt x="1242" y="993"/>
                    <a:pt x="1251" y="993"/>
                    <a:pt x="1251" y="993"/>
                  </a:cubicBezTo>
                  <a:cubicBezTo>
                    <a:pt x="1249" y="986"/>
                    <a:pt x="1249" y="986"/>
                    <a:pt x="1249" y="986"/>
                  </a:cubicBezTo>
                  <a:cubicBezTo>
                    <a:pt x="1253" y="984"/>
                    <a:pt x="1253" y="984"/>
                    <a:pt x="1253" y="984"/>
                  </a:cubicBezTo>
                  <a:cubicBezTo>
                    <a:pt x="1253" y="984"/>
                    <a:pt x="1269" y="994"/>
                    <a:pt x="1275" y="993"/>
                  </a:cubicBezTo>
                  <a:cubicBezTo>
                    <a:pt x="1281" y="993"/>
                    <a:pt x="1277" y="987"/>
                    <a:pt x="1277" y="987"/>
                  </a:cubicBezTo>
                  <a:cubicBezTo>
                    <a:pt x="1285" y="987"/>
                    <a:pt x="1285" y="987"/>
                    <a:pt x="1285" y="987"/>
                  </a:cubicBezTo>
                  <a:cubicBezTo>
                    <a:pt x="1285" y="987"/>
                    <a:pt x="1298" y="975"/>
                    <a:pt x="1306" y="974"/>
                  </a:cubicBezTo>
                  <a:cubicBezTo>
                    <a:pt x="1315" y="973"/>
                    <a:pt x="1313" y="981"/>
                    <a:pt x="1318" y="982"/>
                  </a:cubicBezTo>
                  <a:cubicBezTo>
                    <a:pt x="1322" y="984"/>
                    <a:pt x="1323" y="982"/>
                    <a:pt x="1326" y="978"/>
                  </a:cubicBezTo>
                  <a:cubicBezTo>
                    <a:pt x="1329" y="975"/>
                    <a:pt x="1334" y="976"/>
                    <a:pt x="1339" y="980"/>
                  </a:cubicBezTo>
                  <a:cubicBezTo>
                    <a:pt x="1345" y="985"/>
                    <a:pt x="1351" y="984"/>
                    <a:pt x="1356" y="984"/>
                  </a:cubicBezTo>
                  <a:cubicBezTo>
                    <a:pt x="1362" y="984"/>
                    <a:pt x="1363" y="985"/>
                    <a:pt x="1363" y="989"/>
                  </a:cubicBezTo>
                  <a:cubicBezTo>
                    <a:pt x="1363" y="992"/>
                    <a:pt x="1366" y="998"/>
                    <a:pt x="1370" y="1001"/>
                  </a:cubicBezTo>
                  <a:cubicBezTo>
                    <a:pt x="1375" y="1004"/>
                    <a:pt x="1376" y="996"/>
                    <a:pt x="1378" y="992"/>
                  </a:cubicBezTo>
                  <a:cubicBezTo>
                    <a:pt x="1379" y="988"/>
                    <a:pt x="1371" y="988"/>
                    <a:pt x="1369" y="984"/>
                  </a:cubicBezTo>
                  <a:cubicBezTo>
                    <a:pt x="1367" y="978"/>
                    <a:pt x="1362" y="979"/>
                    <a:pt x="1358" y="979"/>
                  </a:cubicBezTo>
                  <a:cubicBezTo>
                    <a:pt x="1356" y="978"/>
                    <a:pt x="1356" y="975"/>
                    <a:pt x="1358" y="971"/>
                  </a:cubicBezTo>
                  <a:cubicBezTo>
                    <a:pt x="1360" y="966"/>
                    <a:pt x="1372" y="971"/>
                    <a:pt x="1372" y="971"/>
                  </a:cubicBezTo>
                  <a:cubicBezTo>
                    <a:pt x="1372" y="971"/>
                    <a:pt x="1375" y="969"/>
                    <a:pt x="1379" y="969"/>
                  </a:cubicBezTo>
                  <a:cubicBezTo>
                    <a:pt x="1382" y="970"/>
                    <a:pt x="1382" y="973"/>
                    <a:pt x="1382" y="973"/>
                  </a:cubicBezTo>
                  <a:cubicBezTo>
                    <a:pt x="1414" y="970"/>
                    <a:pt x="1414" y="970"/>
                    <a:pt x="1414" y="970"/>
                  </a:cubicBezTo>
                  <a:cubicBezTo>
                    <a:pt x="1414" y="970"/>
                    <a:pt x="1418" y="958"/>
                    <a:pt x="1420" y="953"/>
                  </a:cubicBezTo>
                  <a:cubicBezTo>
                    <a:pt x="1422" y="946"/>
                    <a:pt x="1416" y="940"/>
                    <a:pt x="1416" y="940"/>
                  </a:cubicBezTo>
                  <a:cubicBezTo>
                    <a:pt x="1421" y="938"/>
                    <a:pt x="1421" y="938"/>
                    <a:pt x="1421" y="938"/>
                  </a:cubicBezTo>
                  <a:cubicBezTo>
                    <a:pt x="1420" y="923"/>
                    <a:pt x="1420" y="923"/>
                    <a:pt x="1420" y="923"/>
                  </a:cubicBezTo>
                  <a:cubicBezTo>
                    <a:pt x="1420" y="923"/>
                    <a:pt x="1427" y="927"/>
                    <a:pt x="1431" y="927"/>
                  </a:cubicBezTo>
                  <a:cubicBezTo>
                    <a:pt x="1435" y="926"/>
                    <a:pt x="1430" y="918"/>
                    <a:pt x="1430" y="918"/>
                  </a:cubicBezTo>
                  <a:cubicBezTo>
                    <a:pt x="1442" y="909"/>
                    <a:pt x="1442" y="909"/>
                    <a:pt x="1442" y="909"/>
                  </a:cubicBezTo>
                  <a:cubicBezTo>
                    <a:pt x="1442" y="909"/>
                    <a:pt x="1456" y="914"/>
                    <a:pt x="1461" y="912"/>
                  </a:cubicBezTo>
                  <a:cubicBezTo>
                    <a:pt x="1464" y="910"/>
                    <a:pt x="1460" y="906"/>
                    <a:pt x="1461" y="903"/>
                  </a:cubicBezTo>
                  <a:cubicBezTo>
                    <a:pt x="1462" y="902"/>
                    <a:pt x="1469" y="902"/>
                    <a:pt x="1469" y="902"/>
                  </a:cubicBezTo>
                  <a:cubicBezTo>
                    <a:pt x="1460" y="893"/>
                    <a:pt x="1460" y="893"/>
                    <a:pt x="1460" y="893"/>
                  </a:cubicBezTo>
                  <a:cubicBezTo>
                    <a:pt x="1460" y="893"/>
                    <a:pt x="1477" y="886"/>
                    <a:pt x="1479" y="884"/>
                  </a:cubicBezTo>
                  <a:cubicBezTo>
                    <a:pt x="1482" y="882"/>
                    <a:pt x="1478" y="875"/>
                    <a:pt x="1478" y="875"/>
                  </a:cubicBezTo>
                  <a:cubicBezTo>
                    <a:pt x="1478" y="875"/>
                    <a:pt x="1483" y="874"/>
                    <a:pt x="1488" y="872"/>
                  </a:cubicBezTo>
                  <a:cubicBezTo>
                    <a:pt x="1494" y="872"/>
                    <a:pt x="1494" y="878"/>
                    <a:pt x="1503" y="883"/>
                  </a:cubicBezTo>
                  <a:cubicBezTo>
                    <a:pt x="1511" y="887"/>
                    <a:pt x="1523" y="880"/>
                    <a:pt x="1532" y="876"/>
                  </a:cubicBezTo>
                  <a:cubicBezTo>
                    <a:pt x="1532" y="795"/>
                    <a:pt x="1532" y="795"/>
                    <a:pt x="1532" y="795"/>
                  </a:cubicBezTo>
                  <a:cubicBezTo>
                    <a:pt x="1522" y="796"/>
                    <a:pt x="1522" y="796"/>
                    <a:pt x="1522" y="796"/>
                  </a:cubicBezTo>
                  <a:cubicBezTo>
                    <a:pt x="1522" y="796"/>
                    <a:pt x="1526" y="792"/>
                    <a:pt x="1522" y="788"/>
                  </a:cubicBezTo>
                  <a:cubicBezTo>
                    <a:pt x="1520" y="785"/>
                    <a:pt x="1504" y="795"/>
                    <a:pt x="1504" y="795"/>
                  </a:cubicBezTo>
                  <a:cubicBezTo>
                    <a:pt x="1501" y="790"/>
                    <a:pt x="1501" y="790"/>
                    <a:pt x="1501" y="790"/>
                  </a:cubicBezTo>
                  <a:cubicBezTo>
                    <a:pt x="1509" y="767"/>
                    <a:pt x="1509" y="767"/>
                    <a:pt x="1509" y="767"/>
                  </a:cubicBezTo>
                  <a:cubicBezTo>
                    <a:pt x="1515" y="765"/>
                    <a:pt x="1515" y="765"/>
                    <a:pt x="1515" y="765"/>
                  </a:cubicBezTo>
                  <a:cubicBezTo>
                    <a:pt x="1517" y="743"/>
                    <a:pt x="1517" y="743"/>
                    <a:pt x="1517" y="743"/>
                  </a:cubicBezTo>
                  <a:cubicBezTo>
                    <a:pt x="1507" y="740"/>
                    <a:pt x="1507" y="740"/>
                    <a:pt x="1507" y="740"/>
                  </a:cubicBezTo>
                  <a:cubicBezTo>
                    <a:pt x="1502" y="742"/>
                    <a:pt x="1502" y="742"/>
                    <a:pt x="1502" y="742"/>
                  </a:cubicBezTo>
                  <a:cubicBezTo>
                    <a:pt x="1488" y="737"/>
                    <a:pt x="1488" y="737"/>
                    <a:pt x="1488" y="737"/>
                  </a:cubicBezTo>
                  <a:cubicBezTo>
                    <a:pt x="1488" y="737"/>
                    <a:pt x="1491" y="720"/>
                    <a:pt x="1491" y="718"/>
                  </a:cubicBezTo>
                  <a:cubicBezTo>
                    <a:pt x="1491" y="717"/>
                    <a:pt x="1485" y="715"/>
                    <a:pt x="1485" y="715"/>
                  </a:cubicBezTo>
                  <a:cubicBezTo>
                    <a:pt x="1496" y="707"/>
                    <a:pt x="1496" y="707"/>
                    <a:pt x="1496" y="707"/>
                  </a:cubicBezTo>
                  <a:cubicBezTo>
                    <a:pt x="1501" y="702"/>
                    <a:pt x="1501" y="702"/>
                    <a:pt x="1501" y="702"/>
                  </a:cubicBezTo>
                  <a:cubicBezTo>
                    <a:pt x="1510" y="701"/>
                    <a:pt x="1510" y="701"/>
                    <a:pt x="1510" y="701"/>
                  </a:cubicBezTo>
                  <a:cubicBezTo>
                    <a:pt x="1510" y="701"/>
                    <a:pt x="1516" y="692"/>
                    <a:pt x="1520" y="690"/>
                  </a:cubicBezTo>
                  <a:cubicBezTo>
                    <a:pt x="1524" y="688"/>
                    <a:pt x="1522" y="685"/>
                    <a:pt x="1517" y="681"/>
                  </a:cubicBezTo>
                  <a:cubicBezTo>
                    <a:pt x="1513" y="677"/>
                    <a:pt x="1511" y="683"/>
                    <a:pt x="1506" y="685"/>
                  </a:cubicBezTo>
                  <a:cubicBezTo>
                    <a:pt x="1503" y="686"/>
                    <a:pt x="1497" y="686"/>
                    <a:pt x="1497" y="686"/>
                  </a:cubicBezTo>
                  <a:cubicBezTo>
                    <a:pt x="1498" y="690"/>
                    <a:pt x="1498" y="690"/>
                    <a:pt x="1498" y="690"/>
                  </a:cubicBezTo>
                  <a:cubicBezTo>
                    <a:pt x="1482" y="695"/>
                    <a:pt x="1482" y="695"/>
                    <a:pt x="1482" y="695"/>
                  </a:cubicBezTo>
                  <a:cubicBezTo>
                    <a:pt x="1478" y="682"/>
                    <a:pt x="1478" y="682"/>
                    <a:pt x="1478" y="682"/>
                  </a:cubicBezTo>
                  <a:cubicBezTo>
                    <a:pt x="1478" y="682"/>
                    <a:pt x="1488" y="677"/>
                    <a:pt x="1483" y="674"/>
                  </a:cubicBezTo>
                  <a:cubicBezTo>
                    <a:pt x="1478" y="670"/>
                    <a:pt x="1472" y="682"/>
                    <a:pt x="1472" y="682"/>
                  </a:cubicBezTo>
                  <a:cubicBezTo>
                    <a:pt x="1466" y="681"/>
                    <a:pt x="1466" y="681"/>
                    <a:pt x="1466" y="681"/>
                  </a:cubicBezTo>
                  <a:cubicBezTo>
                    <a:pt x="1457" y="685"/>
                    <a:pt x="1457" y="685"/>
                    <a:pt x="1457" y="685"/>
                  </a:cubicBezTo>
                  <a:cubicBezTo>
                    <a:pt x="1460" y="679"/>
                    <a:pt x="1460" y="679"/>
                    <a:pt x="1460" y="679"/>
                  </a:cubicBezTo>
                  <a:cubicBezTo>
                    <a:pt x="1458" y="667"/>
                    <a:pt x="1458" y="667"/>
                    <a:pt x="1458" y="667"/>
                  </a:cubicBezTo>
                  <a:cubicBezTo>
                    <a:pt x="1446" y="669"/>
                    <a:pt x="1446" y="669"/>
                    <a:pt x="1446" y="669"/>
                  </a:cubicBezTo>
                  <a:cubicBezTo>
                    <a:pt x="1455" y="660"/>
                    <a:pt x="1455" y="660"/>
                    <a:pt x="1455" y="660"/>
                  </a:cubicBezTo>
                  <a:cubicBezTo>
                    <a:pt x="1451" y="658"/>
                    <a:pt x="1451" y="658"/>
                    <a:pt x="1451" y="658"/>
                  </a:cubicBezTo>
                  <a:cubicBezTo>
                    <a:pt x="1452" y="650"/>
                    <a:pt x="1452" y="650"/>
                    <a:pt x="1452" y="650"/>
                  </a:cubicBezTo>
                  <a:cubicBezTo>
                    <a:pt x="1465" y="650"/>
                    <a:pt x="1465" y="650"/>
                    <a:pt x="1465" y="650"/>
                  </a:cubicBezTo>
                  <a:cubicBezTo>
                    <a:pt x="1467" y="644"/>
                    <a:pt x="1467" y="644"/>
                    <a:pt x="1467" y="644"/>
                  </a:cubicBezTo>
                  <a:cubicBezTo>
                    <a:pt x="1476" y="646"/>
                    <a:pt x="1476" y="646"/>
                    <a:pt x="1476" y="646"/>
                  </a:cubicBezTo>
                  <a:cubicBezTo>
                    <a:pt x="1478" y="639"/>
                    <a:pt x="1478" y="639"/>
                    <a:pt x="1478" y="639"/>
                  </a:cubicBezTo>
                  <a:cubicBezTo>
                    <a:pt x="1486" y="627"/>
                    <a:pt x="1486" y="627"/>
                    <a:pt x="1486" y="627"/>
                  </a:cubicBezTo>
                  <a:cubicBezTo>
                    <a:pt x="1486" y="627"/>
                    <a:pt x="1489" y="636"/>
                    <a:pt x="1495" y="633"/>
                  </a:cubicBezTo>
                  <a:cubicBezTo>
                    <a:pt x="1500" y="631"/>
                    <a:pt x="1490" y="619"/>
                    <a:pt x="1490" y="619"/>
                  </a:cubicBezTo>
                  <a:cubicBezTo>
                    <a:pt x="1505" y="606"/>
                    <a:pt x="1505" y="606"/>
                    <a:pt x="1505" y="606"/>
                  </a:cubicBezTo>
                  <a:cubicBezTo>
                    <a:pt x="1501" y="599"/>
                    <a:pt x="1501" y="599"/>
                    <a:pt x="1501" y="599"/>
                  </a:cubicBezTo>
                  <a:cubicBezTo>
                    <a:pt x="1509" y="596"/>
                    <a:pt x="1509" y="596"/>
                    <a:pt x="1509" y="596"/>
                  </a:cubicBezTo>
                  <a:cubicBezTo>
                    <a:pt x="1515" y="584"/>
                    <a:pt x="1515" y="584"/>
                    <a:pt x="1515" y="584"/>
                  </a:cubicBezTo>
                  <a:cubicBezTo>
                    <a:pt x="1515" y="584"/>
                    <a:pt x="1521" y="584"/>
                    <a:pt x="1522" y="581"/>
                  </a:cubicBezTo>
                  <a:cubicBezTo>
                    <a:pt x="1524" y="578"/>
                    <a:pt x="1519" y="575"/>
                    <a:pt x="1519" y="575"/>
                  </a:cubicBezTo>
                  <a:cubicBezTo>
                    <a:pt x="1532" y="556"/>
                    <a:pt x="1532" y="556"/>
                    <a:pt x="1532" y="556"/>
                  </a:cubicBezTo>
                  <a:lnTo>
                    <a:pt x="1532" y="0"/>
                  </a:lnTo>
                  <a:close/>
                  <a:moveTo>
                    <a:pt x="375" y="778"/>
                  </a:moveTo>
                  <a:cubicBezTo>
                    <a:pt x="373" y="786"/>
                    <a:pt x="367" y="785"/>
                    <a:pt x="367" y="785"/>
                  </a:cubicBezTo>
                  <a:cubicBezTo>
                    <a:pt x="367" y="785"/>
                    <a:pt x="377" y="803"/>
                    <a:pt x="372" y="806"/>
                  </a:cubicBezTo>
                  <a:cubicBezTo>
                    <a:pt x="366" y="809"/>
                    <a:pt x="357" y="806"/>
                    <a:pt x="357" y="806"/>
                  </a:cubicBezTo>
                  <a:cubicBezTo>
                    <a:pt x="346" y="807"/>
                    <a:pt x="346" y="807"/>
                    <a:pt x="346" y="807"/>
                  </a:cubicBezTo>
                  <a:cubicBezTo>
                    <a:pt x="340" y="816"/>
                    <a:pt x="340" y="816"/>
                    <a:pt x="340" y="816"/>
                  </a:cubicBezTo>
                  <a:cubicBezTo>
                    <a:pt x="340" y="816"/>
                    <a:pt x="350" y="830"/>
                    <a:pt x="341" y="830"/>
                  </a:cubicBezTo>
                  <a:cubicBezTo>
                    <a:pt x="334" y="831"/>
                    <a:pt x="324" y="830"/>
                    <a:pt x="324" y="830"/>
                  </a:cubicBezTo>
                  <a:cubicBezTo>
                    <a:pt x="324" y="818"/>
                    <a:pt x="324" y="818"/>
                    <a:pt x="324" y="818"/>
                  </a:cubicBezTo>
                  <a:cubicBezTo>
                    <a:pt x="316" y="814"/>
                    <a:pt x="316" y="814"/>
                    <a:pt x="316" y="814"/>
                  </a:cubicBezTo>
                  <a:cubicBezTo>
                    <a:pt x="316" y="814"/>
                    <a:pt x="319" y="808"/>
                    <a:pt x="313" y="803"/>
                  </a:cubicBezTo>
                  <a:cubicBezTo>
                    <a:pt x="307" y="798"/>
                    <a:pt x="299" y="792"/>
                    <a:pt x="299" y="792"/>
                  </a:cubicBezTo>
                  <a:cubicBezTo>
                    <a:pt x="299" y="792"/>
                    <a:pt x="299" y="786"/>
                    <a:pt x="295" y="781"/>
                  </a:cubicBezTo>
                  <a:cubicBezTo>
                    <a:pt x="291" y="775"/>
                    <a:pt x="266" y="769"/>
                    <a:pt x="266" y="764"/>
                  </a:cubicBezTo>
                  <a:cubicBezTo>
                    <a:pt x="267" y="758"/>
                    <a:pt x="277" y="754"/>
                    <a:pt x="277" y="754"/>
                  </a:cubicBezTo>
                  <a:cubicBezTo>
                    <a:pt x="275" y="744"/>
                    <a:pt x="275" y="744"/>
                    <a:pt x="275" y="744"/>
                  </a:cubicBezTo>
                  <a:cubicBezTo>
                    <a:pt x="275" y="744"/>
                    <a:pt x="285" y="740"/>
                    <a:pt x="285" y="736"/>
                  </a:cubicBezTo>
                  <a:cubicBezTo>
                    <a:pt x="285" y="730"/>
                    <a:pt x="286" y="722"/>
                    <a:pt x="286" y="722"/>
                  </a:cubicBezTo>
                  <a:cubicBezTo>
                    <a:pt x="291" y="723"/>
                    <a:pt x="297" y="724"/>
                    <a:pt x="297" y="724"/>
                  </a:cubicBezTo>
                  <a:cubicBezTo>
                    <a:pt x="301" y="729"/>
                    <a:pt x="301" y="729"/>
                    <a:pt x="301" y="729"/>
                  </a:cubicBezTo>
                  <a:cubicBezTo>
                    <a:pt x="302" y="726"/>
                    <a:pt x="302" y="726"/>
                    <a:pt x="302" y="726"/>
                  </a:cubicBezTo>
                  <a:cubicBezTo>
                    <a:pt x="310" y="726"/>
                    <a:pt x="310" y="726"/>
                    <a:pt x="310" y="726"/>
                  </a:cubicBezTo>
                  <a:cubicBezTo>
                    <a:pt x="316" y="735"/>
                    <a:pt x="316" y="735"/>
                    <a:pt x="316" y="735"/>
                  </a:cubicBezTo>
                  <a:cubicBezTo>
                    <a:pt x="319" y="732"/>
                    <a:pt x="319" y="732"/>
                    <a:pt x="319" y="732"/>
                  </a:cubicBezTo>
                  <a:cubicBezTo>
                    <a:pt x="325" y="739"/>
                    <a:pt x="325" y="739"/>
                    <a:pt x="325" y="739"/>
                  </a:cubicBezTo>
                  <a:cubicBezTo>
                    <a:pt x="315" y="739"/>
                    <a:pt x="315" y="739"/>
                    <a:pt x="315" y="739"/>
                  </a:cubicBezTo>
                  <a:cubicBezTo>
                    <a:pt x="315" y="739"/>
                    <a:pt x="313" y="742"/>
                    <a:pt x="316" y="743"/>
                  </a:cubicBezTo>
                  <a:cubicBezTo>
                    <a:pt x="319" y="744"/>
                    <a:pt x="321" y="741"/>
                    <a:pt x="321" y="741"/>
                  </a:cubicBezTo>
                  <a:cubicBezTo>
                    <a:pt x="321" y="741"/>
                    <a:pt x="341" y="739"/>
                    <a:pt x="349" y="744"/>
                  </a:cubicBezTo>
                  <a:cubicBezTo>
                    <a:pt x="355" y="751"/>
                    <a:pt x="356" y="755"/>
                    <a:pt x="356" y="755"/>
                  </a:cubicBezTo>
                  <a:cubicBezTo>
                    <a:pt x="366" y="760"/>
                    <a:pt x="366" y="760"/>
                    <a:pt x="366" y="760"/>
                  </a:cubicBezTo>
                  <a:cubicBezTo>
                    <a:pt x="369" y="770"/>
                    <a:pt x="369" y="770"/>
                    <a:pt x="369" y="770"/>
                  </a:cubicBezTo>
                  <a:cubicBezTo>
                    <a:pt x="369" y="770"/>
                    <a:pt x="376" y="771"/>
                    <a:pt x="375" y="778"/>
                  </a:cubicBezTo>
                  <a:close/>
                  <a:moveTo>
                    <a:pt x="464" y="712"/>
                  </a:moveTo>
                  <a:cubicBezTo>
                    <a:pt x="462" y="717"/>
                    <a:pt x="462" y="724"/>
                    <a:pt x="462" y="724"/>
                  </a:cubicBezTo>
                  <a:cubicBezTo>
                    <a:pt x="449" y="726"/>
                    <a:pt x="449" y="726"/>
                    <a:pt x="449" y="726"/>
                  </a:cubicBezTo>
                  <a:cubicBezTo>
                    <a:pt x="449" y="726"/>
                    <a:pt x="454" y="717"/>
                    <a:pt x="446" y="708"/>
                  </a:cubicBezTo>
                  <a:cubicBezTo>
                    <a:pt x="437" y="698"/>
                    <a:pt x="425" y="697"/>
                    <a:pt x="425" y="697"/>
                  </a:cubicBezTo>
                  <a:cubicBezTo>
                    <a:pt x="408" y="694"/>
                    <a:pt x="408" y="694"/>
                    <a:pt x="408" y="694"/>
                  </a:cubicBezTo>
                  <a:cubicBezTo>
                    <a:pt x="388" y="677"/>
                    <a:pt x="388" y="677"/>
                    <a:pt x="388" y="677"/>
                  </a:cubicBezTo>
                  <a:cubicBezTo>
                    <a:pt x="398" y="683"/>
                    <a:pt x="398" y="683"/>
                    <a:pt x="398" y="683"/>
                  </a:cubicBezTo>
                  <a:cubicBezTo>
                    <a:pt x="401" y="683"/>
                    <a:pt x="401" y="683"/>
                    <a:pt x="401" y="683"/>
                  </a:cubicBezTo>
                  <a:cubicBezTo>
                    <a:pt x="401" y="674"/>
                    <a:pt x="401" y="674"/>
                    <a:pt x="401" y="674"/>
                  </a:cubicBezTo>
                  <a:cubicBezTo>
                    <a:pt x="392" y="669"/>
                    <a:pt x="392" y="669"/>
                    <a:pt x="392" y="669"/>
                  </a:cubicBezTo>
                  <a:cubicBezTo>
                    <a:pt x="389" y="667"/>
                    <a:pt x="389" y="667"/>
                    <a:pt x="389" y="667"/>
                  </a:cubicBezTo>
                  <a:cubicBezTo>
                    <a:pt x="381" y="658"/>
                    <a:pt x="381" y="658"/>
                    <a:pt x="381" y="658"/>
                  </a:cubicBezTo>
                  <a:cubicBezTo>
                    <a:pt x="373" y="650"/>
                    <a:pt x="373" y="650"/>
                    <a:pt x="373" y="650"/>
                  </a:cubicBezTo>
                  <a:cubicBezTo>
                    <a:pt x="375" y="650"/>
                    <a:pt x="375" y="650"/>
                    <a:pt x="375" y="650"/>
                  </a:cubicBezTo>
                  <a:cubicBezTo>
                    <a:pt x="384" y="656"/>
                    <a:pt x="384" y="656"/>
                    <a:pt x="384" y="656"/>
                  </a:cubicBezTo>
                  <a:cubicBezTo>
                    <a:pt x="386" y="661"/>
                    <a:pt x="386" y="661"/>
                    <a:pt x="386" y="661"/>
                  </a:cubicBezTo>
                  <a:cubicBezTo>
                    <a:pt x="401" y="669"/>
                    <a:pt x="401" y="669"/>
                    <a:pt x="401" y="669"/>
                  </a:cubicBezTo>
                  <a:cubicBezTo>
                    <a:pt x="401" y="666"/>
                    <a:pt x="401" y="666"/>
                    <a:pt x="401" y="666"/>
                  </a:cubicBezTo>
                  <a:cubicBezTo>
                    <a:pt x="395" y="658"/>
                    <a:pt x="395" y="658"/>
                    <a:pt x="395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85" y="646"/>
                    <a:pt x="385" y="646"/>
                    <a:pt x="385" y="646"/>
                  </a:cubicBezTo>
                  <a:cubicBezTo>
                    <a:pt x="398" y="653"/>
                    <a:pt x="398" y="653"/>
                    <a:pt x="398" y="653"/>
                  </a:cubicBezTo>
                  <a:cubicBezTo>
                    <a:pt x="385" y="638"/>
                    <a:pt x="385" y="638"/>
                    <a:pt x="385" y="638"/>
                  </a:cubicBezTo>
                  <a:cubicBezTo>
                    <a:pt x="385" y="638"/>
                    <a:pt x="401" y="649"/>
                    <a:pt x="402" y="653"/>
                  </a:cubicBezTo>
                  <a:cubicBezTo>
                    <a:pt x="404" y="656"/>
                    <a:pt x="411" y="662"/>
                    <a:pt x="413" y="663"/>
                  </a:cubicBezTo>
                  <a:cubicBezTo>
                    <a:pt x="414" y="663"/>
                    <a:pt x="414" y="660"/>
                    <a:pt x="414" y="660"/>
                  </a:cubicBezTo>
                  <a:cubicBezTo>
                    <a:pt x="414" y="660"/>
                    <a:pt x="407" y="656"/>
                    <a:pt x="408" y="654"/>
                  </a:cubicBezTo>
                  <a:cubicBezTo>
                    <a:pt x="409" y="651"/>
                    <a:pt x="422" y="660"/>
                    <a:pt x="422" y="650"/>
                  </a:cubicBezTo>
                  <a:cubicBezTo>
                    <a:pt x="423" y="641"/>
                    <a:pt x="411" y="632"/>
                    <a:pt x="411" y="632"/>
                  </a:cubicBezTo>
                  <a:cubicBezTo>
                    <a:pt x="405" y="632"/>
                    <a:pt x="405" y="632"/>
                    <a:pt x="405" y="632"/>
                  </a:cubicBezTo>
                  <a:cubicBezTo>
                    <a:pt x="397" y="629"/>
                    <a:pt x="397" y="629"/>
                    <a:pt x="397" y="629"/>
                  </a:cubicBezTo>
                  <a:cubicBezTo>
                    <a:pt x="393" y="629"/>
                    <a:pt x="393" y="629"/>
                    <a:pt x="393" y="629"/>
                  </a:cubicBezTo>
                  <a:cubicBezTo>
                    <a:pt x="404" y="643"/>
                    <a:pt x="404" y="643"/>
                    <a:pt x="404" y="643"/>
                  </a:cubicBezTo>
                  <a:cubicBezTo>
                    <a:pt x="404" y="643"/>
                    <a:pt x="374" y="620"/>
                    <a:pt x="376" y="618"/>
                  </a:cubicBezTo>
                  <a:cubicBezTo>
                    <a:pt x="379" y="615"/>
                    <a:pt x="385" y="620"/>
                    <a:pt x="385" y="620"/>
                  </a:cubicBezTo>
                  <a:cubicBezTo>
                    <a:pt x="385" y="620"/>
                    <a:pt x="390" y="618"/>
                    <a:pt x="393" y="619"/>
                  </a:cubicBezTo>
                  <a:cubicBezTo>
                    <a:pt x="397" y="619"/>
                    <a:pt x="407" y="625"/>
                    <a:pt x="407" y="625"/>
                  </a:cubicBezTo>
                  <a:cubicBezTo>
                    <a:pt x="407" y="625"/>
                    <a:pt x="421" y="622"/>
                    <a:pt x="426" y="632"/>
                  </a:cubicBezTo>
                  <a:cubicBezTo>
                    <a:pt x="433" y="642"/>
                    <a:pt x="424" y="654"/>
                    <a:pt x="429" y="657"/>
                  </a:cubicBezTo>
                  <a:cubicBezTo>
                    <a:pt x="433" y="660"/>
                    <a:pt x="440" y="670"/>
                    <a:pt x="440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8" y="677"/>
                    <a:pt x="448" y="677"/>
                    <a:pt x="448" y="677"/>
                  </a:cubicBezTo>
                  <a:cubicBezTo>
                    <a:pt x="448" y="677"/>
                    <a:pt x="466" y="682"/>
                    <a:pt x="468" y="692"/>
                  </a:cubicBezTo>
                  <a:cubicBezTo>
                    <a:pt x="470" y="702"/>
                    <a:pt x="467" y="707"/>
                    <a:pt x="464" y="71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3" name="Litauen" descr="© INSCALE GmbH, 05.05.2010&#10;http://www.presentationload.com/">
              <a:extLst>
                <a:ext uri="{FF2B5EF4-FFF2-40B4-BE49-F238E27FC236}">
                  <a16:creationId xmlns:a16="http://schemas.microsoft.com/office/drawing/2014/main" id="{41FA55F6-8DB9-EE46-8377-E9170A569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1314" y="3509648"/>
              <a:ext cx="529729" cy="401010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" name="Sp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EFFD3AF0-CFA3-1843-8C92-5D8CC952D9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28478" y="5334821"/>
              <a:ext cx="1506677" cy="1242637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" name="Italien" descr="© INSCALE GmbH, 05.05.2010&#10;http://www.presentationload.com/">
              <a:extLst>
                <a:ext uri="{FF2B5EF4-FFF2-40B4-BE49-F238E27FC236}">
                  <a16:creationId xmlns:a16="http://schemas.microsoft.com/office/drawing/2014/main" id="{43940C29-EB74-654C-AC81-0E5F42E5BE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63553" y="5059231"/>
              <a:ext cx="1407662" cy="1617242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FCE53FAD-B49D-114A-8F48-8D3BBB21AB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529858" y="5691275"/>
              <a:ext cx="47858" cy="41257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" name="Deutsch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8080B04-E69A-C643-A257-81203151C1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50351" y="3808344"/>
              <a:ext cx="909287" cy="1227784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" name="Saudi-Arabien" descr="© INSCALE GmbH, 05.05.2010&#10;http://www.presentationload.com/">
              <a:extLst>
                <a:ext uri="{FF2B5EF4-FFF2-40B4-BE49-F238E27FC236}">
                  <a16:creationId xmlns:a16="http://schemas.microsoft.com/office/drawing/2014/main" id="{40EA2FBF-960D-B249-B720-F96918CB742E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8580" y="6668221"/>
              <a:ext cx="795420" cy="189779"/>
            </a:xfrm>
            <a:custGeom>
              <a:avLst/>
              <a:gdLst/>
              <a:ahLst/>
              <a:cxnLst>
                <a:cxn ang="0">
                  <a:pos x="333" y="80"/>
                </a:cxn>
                <a:cxn ang="0">
                  <a:pos x="333" y="30"/>
                </a:cxn>
                <a:cxn ang="0">
                  <a:pos x="319" y="13"/>
                </a:cxn>
                <a:cxn ang="0">
                  <a:pos x="224" y="11"/>
                </a:cxn>
                <a:cxn ang="0">
                  <a:pos x="122" y="0"/>
                </a:cxn>
                <a:cxn ang="0">
                  <a:pos x="78" y="7"/>
                </a:cxn>
                <a:cxn ang="0">
                  <a:pos x="66" y="29"/>
                </a:cxn>
                <a:cxn ang="0">
                  <a:pos x="15" y="68"/>
                </a:cxn>
                <a:cxn ang="0">
                  <a:pos x="0" y="80"/>
                </a:cxn>
                <a:cxn ang="0">
                  <a:pos x="333" y="80"/>
                </a:cxn>
              </a:cxnLst>
              <a:rect l="0" t="0" r="r" b="b"/>
              <a:pathLst>
                <a:path w="333" h="80">
                  <a:moveTo>
                    <a:pt x="333" y="80"/>
                  </a:moveTo>
                  <a:cubicBezTo>
                    <a:pt x="333" y="30"/>
                    <a:pt x="333" y="30"/>
                    <a:pt x="333" y="30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9" y="13"/>
                    <a:pt x="251" y="13"/>
                    <a:pt x="224" y="11"/>
                  </a:cubicBezTo>
                  <a:cubicBezTo>
                    <a:pt x="197" y="11"/>
                    <a:pt x="135" y="0"/>
                    <a:pt x="122" y="0"/>
                  </a:cubicBezTo>
                  <a:cubicBezTo>
                    <a:pt x="108" y="0"/>
                    <a:pt x="78" y="7"/>
                    <a:pt x="78" y="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25" y="61"/>
                    <a:pt x="15" y="68"/>
                  </a:cubicBezTo>
                  <a:cubicBezTo>
                    <a:pt x="11" y="70"/>
                    <a:pt x="6" y="74"/>
                    <a:pt x="0" y="80"/>
                  </a:cubicBezTo>
                  <a:lnTo>
                    <a:pt x="333" y="8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9" name="Jord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2556CF34-5F6F-8A40-A05E-6560E9DF22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21832" y="6537852"/>
              <a:ext cx="513227" cy="320148"/>
            </a:xfrm>
            <a:custGeom>
              <a:avLst/>
              <a:gdLst/>
              <a:ahLst/>
              <a:cxnLst>
                <a:cxn ang="0">
                  <a:pos x="5" y="128"/>
                </a:cxn>
                <a:cxn ang="0">
                  <a:pos x="7" y="134"/>
                </a:cxn>
                <a:cxn ang="0">
                  <a:pos x="137" y="134"/>
                </a:cxn>
                <a:cxn ang="0">
                  <a:pos x="152" y="122"/>
                </a:cxn>
                <a:cxn ang="0">
                  <a:pos x="203" y="83"/>
                </a:cxn>
                <a:cxn ang="0">
                  <a:pos x="215" y="61"/>
                </a:cxn>
                <a:cxn ang="0">
                  <a:pos x="158" y="0"/>
                </a:cxn>
                <a:cxn ang="0">
                  <a:pos x="76" y="109"/>
                </a:cxn>
                <a:cxn ang="0">
                  <a:pos x="49" y="110"/>
                </a:cxn>
                <a:cxn ang="0">
                  <a:pos x="42" y="105"/>
                </a:cxn>
                <a:cxn ang="0">
                  <a:pos x="34" y="109"/>
                </a:cxn>
                <a:cxn ang="0">
                  <a:pos x="30" y="109"/>
                </a:cxn>
                <a:cxn ang="0">
                  <a:pos x="18" y="99"/>
                </a:cxn>
                <a:cxn ang="0">
                  <a:pos x="5" y="107"/>
                </a:cxn>
                <a:cxn ang="0">
                  <a:pos x="0" y="110"/>
                </a:cxn>
                <a:cxn ang="0">
                  <a:pos x="3" y="120"/>
                </a:cxn>
                <a:cxn ang="0">
                  <a:pos x="5" y="128"/>
                </a:cxn>
              </a:cxnLst>
              <a:rect l="0" t="0" r="r" b="b"/>
              <a:pathLst>
                <a:path w="215" h="134">
                  <a:moveTo>
                    <a:pt x="5" y="128"/>
                  </a:moveTo>
                  <a:cubicBezTo>
                    <a:pt x="7" y="134"/>
                    <a:pt x="7" y="134"/>
                    <a:pt x="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43" y="128"/>
                    <a:pt x="148" y="124"/>
                    <a:pt x="152" y="122"/>
                  </a:cubicBezTo>
                  <a:cubicBezTo>
                    <a:pt x="162" y="115"/>
                    <a:pt x="203" y="83"/>
                    <a:pt x="203" y="83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0"/>
                    <a:pt x="48" y="106"/>
                    <a:pt x="42" y="105"/>
                  </a:cubicBezTo>
                  <a:cubicBezTo>
                    <a:pt x="35" y="105"/>
                    <a:pt x="34" y="109"/>
                    <a:pt x="34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26" y="100"/>
                    <a:pt x="18" y="99"/>
                  </a:cubicBezTo>
                  <a:cubicBezTo>
                    <a:pt x="10" y="99"/>
                    <a:pt x="5" y="107"/>
                    <a:pt x="5" y="10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8"/>
                    <a:pt x="3" y="120"/>
                  </a:cubicBezTo>
                  <a:cubicBezTo>
                    <a:pt x="7" y="123"/>
                    <a:pt x="5" y="128"/>
                    <a:pt x="5" y="12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0" name="Freeform 9" descr="© INSCALE GmbH, 05.05.2010&#10;http://www.presentationload.com/">
              <a:extLst>
                <a:ext uri="{FF2B5EF4-FFF2-40B4-BE49-F238E27FC236}">
                  <a16:creationId xmlns:a16="http://schemas.microsoft.com/office/drawing/2014/main" id="{AF809ACA-1D57-7D48-86F1-A4CAC2CE4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1017" y="5077384"/>
              <a:ext cx="344901" cy="242586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1" name="Freeform 79" descr="© INSCALE GmbH, 05.05.2010&#10;http://www.presentationload.com/">
              <a:extLst>
                <a:ext uri="{FF2B5EF4-FFF2-40B4-BE49-F238E27FC236}">
                  <a16:creationId xmlns:a16="http://schemas.microsoft.com/office/drawing/2014/main" id="{F93E05D2-73D9-D84A-94A9-519D5AB92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3260" y="5561736"/>
              <a:ext cx="207930" cy="26074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9" y="9"/>
                </a:cxn>
                <a:cxn ang="0">
                  <a:pos x="44" y="9"/>
                </a:cxn>
                <a:cxn ang="0">
                  <a:pos x="34" y="2"/>
                </a:cxn>
                <a:cxn ang="0">
                  <a:pos x="32" y="13"/>
                </a:cxn>
                <a:cxn ang="0">
                  <a:pos x="49" y="36"/>
                </a:cxn>
                <a:cxn ang="0">
                  <a:pos x="30" y="32"/>
                </a:cxn>
                <a:cxn ang="0">
                  <a:pos x="13" y="43"/>
                </a:cxn>
                <a:cxn ang="0">
                  <a:pos x="15" y="70"/>
                </a:cxn>
                <a:cxn ang="0">
                  <a:pos x="2" y="78"/>
                </a:cxn>
                <a:cxn ang="0">
                  <a:pos x="3" y="108"/>
                </a:cxn>
                <a:cxn ang="0">
                  <a:pos x="9" y="108"/>
                </a:cxn>
                <a:cxn ang="0">
                  <a:pos x="9" y="127"/>
                </a:cxn>
                <a:cxn ang="0">
                  <a:pos x="0" y="133"/>
                </a:cxn>
                <a:cxn ang="0">
                  <a:pos x="0" y="144"/>
                </a:cxn>
                <a:cxn ang="0">
                  <a:pos x="7" y="148"/>
                </a:cxn>
                <a:cxn ang="0">
                  <a:pos x="19" y="136"/>
                </a:cxn>
                <a:cxn ang="0">
                  <a:pos x="28" y="138"/>
                </a:cxn>
                <a:cxn ang="0">
                  <a:pos x="25" y="159"/>
                </a:cxn>
                <a:cxn ang="0">
                  <a:pos x="34" y="165"/>
                </a:cxn>
                <a:cxn ang="0">
                  <a:pos x="47" y="163"/>
                </a:cxn>
                <a:cxn ang="0">
                  <a:pos x="49" y="170"/>
                </a:cxn>
                <a:cxn ang="0">
                  <a:pos x="72" y="189"/>
                </a:cxn>
                <a:cxn ang="0">
                  <a:pos x="72" y="199"/>
                </a:cxn>
                <a:cxn ang="0">
                  <a:pos x="82" y="205"/>
                </a:cxn>
                <a:cxn ang="0">
                  <a:pos x="93" y="208"/>
                </a:cxn>
                <a:cxn ang="0">
                  <a:pos x="91" y="193"/>
                </a:cxn>
                <a:cxn ang="0">
                  <a:pos x="87" y="174"/>
                </a:cxn>
                <a:cxn ang="0">
                  <a:pos x="82" y="172"/>
                </a:cxn>
                <a:cxn ang="0">
                  <a:pos x="116" y="106"/>
                </a:cxn>
                <a:cxn ang="0">
                  <a:pos x="121" y="108"/>
                </a:cxn>
                <a:cxn ang="0">
                  <a:pos x="121" y="121"/>
                </a:cxn>
                <a:cxn ang="0">
                  <a:pos x="135" y="129"/>
                </a:cxn>
                <a:cxn ang="0">
                  <a:pos x="145" y="122"/>
                </a:cxn>
                <a:cxn ang="0">
                  <a:pos x="140" y="116"/>
                </a:cxn>
                <a:cxn ang="0">
                  <a:pos x="130" y="96"/>
                </a:cxn>
                <a:cxn ang="0">
                  <a:pos x="138" y="90"/>
                </a:cxn>
                <a:cxn ang="0">
                  <a:pos x="146" y="90"/>
                </a:cxn>
                <a:cxn ang="0">
                  <a:pos x="153" y="92"/>
                </a:cxn>
                <a:cxn ang="0">
                  <a:pos x="158" y="83"/>
                </a:cxn>
                <a:cxn ang="0">
                  <a:pos x="164" y="78"/>
                </a:cxn>
                <a:cxn ang="0">
                  <a:pos x="166" y="66"/>
                </a:cxn>
                <a:cxn ang="0">
                  <a:pos x="153" y="63"/>
                </a:cxn>
                <a:cxn ang="0">
                  <a:pos x="120" y="47"/>
                </a:cxn>
                <a:cxn ang="0">
                  <a:pos x="109" y="43"/>
                </a:cxn>
                <a:cxn ang="0">
                  <a:pos x="94" y="30"/>
                </a:cxn>
                <a:cxn ang="0">
                  <a:pos x="78" y="19"/>
                </a:cxn>
                <a:cxn ang="0">
                  <a:pos x="66" y="10"/>
                </a:cxn>
                <a:cxn ang="0">
                  <a:pos x="60" y="0"/>
                </a:cxn>
              </a:cxnLst>
              <a:rect l="0" t="0" r="r" b="b"/>
              <a:pathLst>
                <a:path w="166" h="208">
                  <a:moveTo>
                    <a:pt x="60" y="0"/>
                  </a:moveTo>
                  <a:cubicBezTo>
                    <a:pt x="59" y="9"/>
                    <a:pt x="59" y="9"/>
                    <a:pt x="5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53" y="30"/>
                    <a:pt x="49" y="36"/>
                  </a:cubicBezTo>
                  <a:cubicBezTo>
                    <a:pt x="44" y="42"/>
                    <a:pt x="36" y="32"/>
                    <a:pt x="30" y="32"/>
                  </a:cubicBezTo>
                  <a:cubicBezTo>
                    <a:pt x="21" y="32"/>
                    <a:pt x="15" y="40"/>
                    <a:pt x="13" y="43"/>
                  </a:cubicBezTo>
                  <a:cubicBezTo>
                    <a:pt x="9" y="49"/>
                    <a:pt x="19" y="66"/>
                    <a:pt x="15" y="70"/>
                  </a:cubicBezTo>
                  <a:cubicBezTo>
                    <a:pt x="11" y="72"/>
                    <a:pt x="6" y="72"/>
                    <a:pt x="2" y="78"/>
                  </a:cubicBezTo>
                  <a:cubicBezTo>
                    <a:pt x="0" y="83"/>
                    <a:pt x="3" y="108"/>
                    <a:pt x="3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2" y="199"/>
                    <a:pt x="72" y="199"/>
                    <a:pt x="72" y="199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82" y="172"/>
                    <a:pt x="82" y="172"/>
                    <a:pt x="82" y="172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21" y="108"/>
                    <a:pt x="121" y="108"/>
                    <a:pt x="121" y="108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53" y="63"/>
                    <a:pt x="153" y="63"/>
                    <a:pt x="153" y="63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2" name="Freeform 141" descr="© INSCALE GmbH, 05.05.2010&#10;http://www.presentationload.com/">
              <a:extLst>
                <a:ext uri="{FF2B5EF4-FFF2-40B4-BE49-F238E27FC236}">
                  <a16:creationId xmlns:a16="http://schemas.microsoft.com/office/drawing/2014/main" id="{29987B60-09DE-B649-90F9-CD11C7246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6659" y="5147524"/>
              <a:ext cx="519827" cy="585114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3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F3F863CD-0F50-7045-83C7-04713D0C0D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4838" y="5592658"/>
              <a:ext cx="223776" cy="228166"/>
            </a:xfrm>
            <a:custGeom>
              <a:avLst/>
              <a:gdLst/>
              <a:ahLst/>
              <a:cxnLst>
                <a:cxn ang="0">
                  <a:pos x="63" y="40"/>
                </a:cxn>
                <a:cxn ang="0">
                  <a:pos x="65" y="36"/>
                </a:cxn>
                <a:cxn ang="0">
                  <a:pos x="68" y="29"/>
                </a:cxn>
                <a:cxn ang="0">
                  <a:pos x="66" y="24"/>
                </a:cxn>
                <a:cxn ang="0">
                  <a:pos x="61" y="22"/>
                </a:cxn>
                <a:cxn ang="0">
                  <a:pos x="59" y="21"/>
                </a:cxn>
                <a:cxn ang="0">
                  <a:pos x="54" y="19"/>
                </a:cxn>
                <a:cxn ang="0">
                  <a:pos x="51" y="16"/>
                </a:cxn>
                <a:cxn ang="0">
                  <a:pos x="47" y="15"/>
                </a:cxn>
                <a:cxn ang="0">
                  <a:pos x="44" y="11"/>
                </a:cxn>
                <a:cxn ang="0">
                  <a:pos x="39" y="9"/>
                </a:cxn>
                <a:cxn ang="0">
                  <a:pos x="37" y="8"/>
                </a:cxn>
                <a:cxn ang="0">
                  <a:pos x="34" y="7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1" y="1"/>
                </a:cxn>
                <a:cxn ang="0">
                  <a:pos x="27" y="4"/>
                </a:cxn>
                <a:cxn ang="0">
                  <a:pos x="24" y="9"/>
                </a:cxn>
                <a:cxn ang="0">
                  <a:pos x="25" y="15"/>
                </a:cxn>
                <a:cxn ang="0">
                  <a:pos x="22" y="20"/>
                </a:cxn>
                <a:cxn ang="0">
                  <a:pos x="18" y="24"/>
                </a:cxn>
                <a:cxn ang="0">
                  <a:pos x="10" y="24"/>
                </a:cxn>
                <a:cxn ang="0">
                  <a:pos x="6" y="25"/>
                </a:cxn>
                <a:cxn ang="0">
                  <a:pos x="0" y="27"/>
                </a:cxn>
                <a:cxn ang="0">
                  <a:pos x="5" y="37"/>
                </a:cxn>
                <a:cxn ang="0">
                  <a:pos x="12" y="38"/>
                </a:cxn>
                <a:cxn ang="0">
                  <a:pos x="26" y="48"/>
                </a:cxn>
                <a:cxn ang="0">
                  <a:pos x="29" y="69"/>
                </a:cxn>
                <a:cxn ang="0">
                  <a:pos x="35" y="55"/>
                </a:cxn>
                <a:cxn ang="0">
                  <a:pos x="46" y="47"/>
                </a:cxn>
                <a:cxn ang="0">
                  <a:pos x="58" y="43"/>
                </a:cxn>
                <a:cxn ang="0">
                  <a:pos x="63" y="42"/>
                </a:cxn>
              </a:cxnLst>
              <a:rect l="0" t="0" r="r" b="b"/>
              <a:pathLst>
                <a:path w="68" h="69">
                  <a:moveTo>
                    <a:pt x="63" y="42"/>
                  </a:moveTo>
                  <a:cubicBezTo>
                    <a:pt x="63" y="41"/>
                    <a:pt x="63" y="40"/>
                    <a:pt x="63" y="40"/>
                  </a:cubicBezTo>
                  <a:cubicBezTo>
                    <a:pt x="63" y="40"/>
                    <a:pt x="64" y="39"/>
                    <a:pt x="64" y="38"/>
                  </a:cubicBezTo>
                  <a:cubicBezTo>
                    <a:pt x="64" y="38"/>
                    <a:pt x="65" y="36"/>
                    <a:pt x="65" y="3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8" y="30"/>
                    <a:pt x="68" y="29"/>
                  </a:cubicBezTo>
                  <a:cubicBezTo>
                    <a:pt x="68" y="29"/>
                    <a:pt x="67" y="27"/>
                    <a:pt x="67" y="27"/>
                  </a:cubicBezTo>
                  <a:cubicBezTo>
                    <a:pt x="67" y="27"/>
                    <a:pt x="66" y="24"/>
                    <a:pt x="66" y="24"/>
                  </a:cubicBezTo>
                  <a:cubicBezTo>
                    <a:pt x="65" y="23"/>
                    <a:pt x="63" y="23"/>
                    <a:pt x="63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8" y="16"/>
                    <a:pt x="47" y="15"/>
                    <a:pt x="47" y="15"/>
                  </a:cubicBezTo>
                  <a:cubicBezTo>
                    <a:pt x="47" y="15"/>
                    <a:pt x="47" y="12"/>
                    <a:pt x="47" y="12"/>
                  </a:cubicBezTo>
                  <a:cubicBezTo>
                    <a:pt x="46" y="11"/>
                    <a:pt x="44" y="11"/>
                    <a:pt x="44" y="11"/>
                  </a:cubicBezTo>
                  <a:cubicBezTo>
                    <a:pt x="44" y="11"/>
                    <a:pt x="44" y="9"/>
                    <a:pt x="43" y="9"/>
                  </a:cubicBezTo>
                  <a:cubicBezTo>
                    <a:pt x="42" y="9"/>
                    <a:pt x="40" y="10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8" y="8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2" y="6"/>
                    <a:pt x="33" y="5"/>
                    <a:pt x="34" y="4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1" y="1"/>
                  </a:cubicBezTo>
                  <a:cubicBezTo>
                    <a:pt x="31" y="1"/>
                    <a:pt x="30" y="4"/>
                    <a:pt x="30" y="4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8"/>
                    <a:pt x="24" y="9"/>
                  </a:cubicBezTo>
                  <a:cubicBezTo>
                    <a:pt x="25" y="9"/>
                    <a:pt x="25" y="10"/>
                    <a:pt x="26" y="11"/>
                  </a:cubicBezTo>
                  <a:cubicBezTo>
                    <a:pt x="26" y="11"/>
                    <a:pt x="25" y="15"/>
                    <a:pt x="25" y="15"/>
                  </a:cubicBezTo>
                  <a:cubicBezTo>
                    <a:pt x="25" y="15"/>
                    <a:pt x="23" y="17"/>
                    <a:pt x="22" y="18"/>
                  </a:cubicBezTo>
                  <a:cubicBezTo>
                    <a:pt x="21" y="19"/>
                    <a:pt x="22" y="20"/>
                    <a:pt x="22" y="20"/>
                  </a:cubicBezTo>
                  <a:cubicBezTo>
                    <a:pt x="21" y="21"/>
                    <a:pt x="21" y="22"/>
                    <a:pt x="20" y="23"/>
                  </a:cubicBezTo>
                  <a:cubicBezTo>
                    <a:pt x="20" y="23"/>
                    <a:pt x="18" y="24"/>
                    <a:pt x="1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1" y="36"/>
                    <a:pt x="12" y="38"/>
                  </a:cubicBezTo>
                  <a:cubicBezTo>
                    <a:pt x="14" y="40"/>
                    <a:pt x="15" y="45"/>
                    <a:pt x="15" y="45"/>
                  </a:cubicBezTo>
                  <a:cubicBezTo>
                    <a:pt x="15" y="45"/>
                    <a:pt x="23" y="46"/>
                    <a:pt x="26" y="48"/>
                  </a:cubicBezTo>
                  <a:cubicBezTo>
                    <a:pt x="28" y="52"/>
                    <a:pt x="31" y="59"/>
                    <a:pt x="31" y="5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3" y="58"/>
                    <a:pt x="35" y="55"/>
                  </a:cubicBezTo>
                  <a:cubicBezTo>
                    <a:pt x="37" y="51"/>
                    <a:pt x="42" y="51"/>
                    <a:pt x="42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60" y="43"/>
                    <a:pt x="61" y="43"/>
                  </a:cubicBezTo>
                  <a:cubicBezTo>
                    <a:pt x="62" y="42"/>
                    <a:pt x="63" y="42"/>
                    <a:pt x="63" y="4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4" name="Freeform 7" descr="© INSCALE GmbH, 05.05.2010&#10;http://www.presentationload.com/">
              <a:extLst>
                <a:ext uri="{FF2B5EF4-FFF2-40B4-BE49-F238E27FC236}">
                  <a16:creationId xmlns:a16="http://schemas.microsoft.com/office/drawing/2014/main" id="{0F12AA26-9A8C-D243-8FAD-8ACD6B875E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9195" y="4433787"/>
              <a:ext cx="704656" cy="397709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5" name="Freeform 20" descr="© INSCALE GmbH, 05.05.2010&#10;http://www.presentationload.com/">
              <a:extLst>
                <a:ext uri="{FF2B5EF4-FFF2-40B4-BE49-F238E27FC236}">
                  <a16:creationId xmlns:a16="http://schemas.microsoft.com/office/drawing/2014/main" id="{3D2CD66F-2E2B-FD4B-AABE-3E54572497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30918" y="5130191"/>
              <a:ext cx="668349" cy="613892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6" name="Freeform 26" descr="© INSCALE GmbH, 05.05.2010&#10;http://www.presentationload.com/">
              <a:extLst>
                <a:ext uri="{FF2B5EF4-FFF2-40B4-BE49-F238E27FC236}">
                  <a16:creationId xmlns:a16="http://schemas.microsoft.com/office/drawing/2014/main" id="{1F4AD5A9-1CB7-AE4B-A406-F5C0281171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820" y="4623566"/>
              <a:ext cx="587488" cy="310247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7" name="Freeform 27" descr="© INSCALE GmbH, 05.05.2010&#10;http://www.presentationload.com/">
              <a:extLst>
                <a:ext uri="{FF2B5EF4-FFF2-40B4-BE49-F238E27FC236}">
                  <a16:creationId xmlns:a16="http://schemas.microsoft.com/office/drawing/2014/main" id="{46302BA9-37CC-C045-9471-C3C5ECBCD18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410" y="4762187"/>
              <a:ext cx="716207" cy="478571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8" name="Freeform 32" descr="© INSCALE GmbH, 05.05.2010&#10;http://www.presentationload.com/">
              <a:extLst>
                <a:ext uri="{FF2B5EF4-FFF2-40B4-BE49-F238E27FC236}">
                  <a16:creationId xmlns:a16="http://schemas.microsoft.com/office/drawing/2014/main" id="{FDE6B26E-0DA2-C349-99AB-CE70EEC855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5180" y="4712680"/>
              <a:ext cx="1071010" cy="760763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9" name="Freeform 52" descr="© INSCALE GmbH, 05.05.2010&#10;http://www.presentationload.com/">
              <a:extLst>
                <a:ext uri="{FF2B5EF4-FFF2-40B4-BE49-F238E27FC236}">
                  <a16:creationId xmlns:a16="http://schemas.microsoft.com/office/drawing/2014/main" id="{2D7945EE-E5D4-0C4D-BE10-BFAAC73CAF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4022" y="3836397"/>
              <a:ext cx="1029753" cy="849878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0" name="Frank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4F4FCEBA-5739-0943-B838-DE52D460DB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478" y="4395832"/>
              <a:ext cx="1496774" cy="1554533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1" name="Sch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6D2684C6-DB94-E042-8D36-6E707F59D0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88331" y="1638269"/>
              <a:ext cx="872981" cy="2145322"/>
            </a:xfrm>
            <a:custGeom>
              <a:avLst/>
              <a:gdLst/>
              <a:ahLst/>
              <a:cxnLst>
                <a:cxn ang="0">
                  <a:pos x="336" y="111"/>
                </a:cxn>
                <a:cxn ang="0">
                  <a:pos x="305" y="38"/>
                </a:cxn>
                <a:cxn ang="0">
                  <a:pos x="247" y="2"/>
                </a:cxn>
                <a:cxn ang="0">
                  <a:pos x="194" y="36"/>
                </a:cxn>
                <a:cxn ang="0">
                  <a:pos x="136" y="151"/>
                </a:cxn>
                <a:cxn ang="0">
                  <a:pos x="98" y="268"/>
                </a:cxn>
                <a:cxn ang="0">
                  <a:pos x="33" y="410"/>
                </a:cxn>
                <a:cxn ang="0">
                  <a:pos x="41" y="538"/>
                </a:cxn>
                <a:cxn ang="0">
                  <a:pos x="12" y="671"/>
                </a:cxn>
                <a:cxn ang="0">
                  <a:pos x="9" y="707"/>
                </a:cxn>
                <a:cxn ang="0">
                  <a:pos x="18" y="737"/>
                </a:cxn>
                <a:cxn ang="0">
                  <a:pos x="37" y="779"/>
                </a:cxn>
                <a:cxn ang="0">
                  <a:pos x="52" y="826"/>
                </a:cxn>
                <a:cxn ang="0">
                  <a:pos x="64" y="871"/>
                </a:cxn>
                <a:cxn ang="0">
                  <a:pos x="106" y="895"/>
                </a:cxn>
                <a:cxn ang="0">
                  <a:pos x="172" y="847"/>
                </a:cxn>
                <a:cxn ang="0">
                  <a:pos x="197" y="756"/>
                </a:cxn>
                <a:cxn ang="0">
                  <a:pos x="196" y="719"/>
                </a:cxn>
                <a:cxn ang="0">
                  <a:pos x="192" y="677"/>
                </a:cxn>
                <a:cxn ang="0">
                  <a:pos x="226" y="648"/>
                </a:cxn>
                <a:cxn ang="0">
                  <a:pos x="237" y="628"/>
                </a:cxn>
                <a:cxn ang="0">
                  <a:pos x="267" y="592"/>
                </a:cxn>
                <a:cxn ang="0">
                  <a:pos x="216" y="557"/>
                </a:cxn>
                <a:cxn ang="0">
                  <a:pos x="193" y="502"/>
                </a:cxn>
                <a:cxn ang="0">
                  <a:pos x="201" y="450"/>
                </a:cxn>
                <a:cxn ang="0">
                  <a:pos x="207" y="432"/>
                </a:cxn>
                <a:cxn ang="0">
                  <a:pos x="225" y="405"/>
                </a:cxn>
                <a:cxn ang="0">
                  <a:pos x="233" y="375"/>
                </a:cxn>
                <a:cxn ang="0">
                  <a:pos x="262" y="357"/>
                </a:cxn>
                <a:cxn ang="0">
                  <a:pos x="290" y="333"/>
                </a:cxn>
                <a:cxn ang="0">
                  <a:pos x="309" y="283"/>
                </a:cxn>
                <a:cxn ang="0">
                  <a:pos x="307" y="221"/>
                </a:cxn>
                <a:cxn ang="0">
                  <a:pos x="329" y="199"/>
                </a:cxn>
                <a:cxn ang="0">
                  <a:pos x="365" y="195"/>
                </a:cxn>
                <a:cxn ang="0">
                  <a:pos x="14" y="718"/>
                </a:cxn>
                <a:cxn ang="0">
                  <a:pos x="207" y="765"/>
                </a:cxn>
                <a:cxn ang="0">
                  <a:pos x="190" y="816"/>
                </a:cxn>
                <a:cxn ang="0">
                  <a:pos x="208" y="788"/>
                </a:cxn>
                <a:cxn ang="0">
                  <a:pos x="277" y="731"/>
                </a:cxn>
                <a:cxn ang="0">
                  <a:pos x="248" y="746"/>
                </a:cxn>
                <a:cxn ang="0">
                  <a:pos x="253" y="787"/>
                </a:cxn>
                <a:cxn ang="0">
                  <a:pos x="277" y="750"/>
                </a:cxn>
                <a:cxn ang="0">
                  <a:pos x="281" y="712"/>
                </a:cxn>
                <a:cxn ang="0">
                  <a:pos x="281" y="689"/>
                </a:cxn>
                <a:cxn ang="0">
                  <a:pos x="243" y="630"/>
                </a:cxn>
                <a:cxn ang="0">
                  <a:pos x="258" y="630"/>
                </a:cxn>
                <a:cxn ang="0">
                  <a:pos x="247" y="656"/>
                </a:cxn>
                <a:cxn ang="0">
                  <a:pos x="251" y="636"/>
                </a:cxn>
                <a:cxn ang="0">
                  <a:pos x="241" y="554"/>
                </a:cxn>
                <a:cxn ang="0">
                  <a:pos x="256" y="573"/>
                </a:cxn>
                <a:cxn ang="0">
                  <a:pos x="195" y="740"/>
                </a:cxn>
                <a:cxn ang="0">
                  <a:pos x="205" y="485"/>
                </a:cxn>
                <a:cxn ang="0">
                  <a:pos x="214" y="425"/>
                </a:cxn>
                <a:cxn ang="0">
                  <a:pos x="294" y="343"/>
                </a:cxn>
                <a:cxn ang="0">
                  <a:pos x="307" y="241"/>
                </a:cxn>
                <a:cxn ang="0">
                  <a:pos x="312" y="222"/>
                </a:cxn>
                <a:cxn ang="0">
                  <a:pos x="325" y="217"/>
                </a:cxn>
                <a:cxn ang="0">
                  <a:pos x="356" y="200"/>
                </a:cxn>
              </a:cxnLst>
              <a:rect l="0" t="0" r="r" b="b"/>
              <a:pathLst>
                <a:path w="365" h="899">
                  <a:moveTo>
                    <a:pt x="364" y="188"/>
                  </a:moveTo>
                  <a:cubicBezTo>
                    <a:pt x="364" y="188"/>
                    <a:pt x="359" y="186"/>
                    <a:pt x="358" y="182"/>
                  </a:cubicBezTo>
                  <a:cubicBezTo>
                    <a:pt x="357" y="178"/>
                    <a:pt x="358" y="175"/>
                    <a:pt x="356" y="173"/>
                  </a:cubicBezTo>
                  <a:cubicBezTo>
                    <a:pt x="354" y="172"/>
                    <a:pt x="347" y="171"/>
                    <a:pt x="347" y="167"/>
                  </a:cubicBezTo>
                  <a:cubicBezTo>
                    <a:pt x="348" y="161"/>
                    <a:pt x="348" y="160"/>
                    <a:pt x="348" y="160"/>
                  </a:cubicBezTo>
                  <a:cubicBezTo>
                    <a:pt x="348" y="160"/>
                    <a:pt x="343" y="159"/>
                    <a:pt x="345" y="155"/>
                  </a:cubicBezTo>
                  <a:cubicBezTo>
                    <a:pt x="348" y="150"/>
                    <a:pt x="353" y="147"/>
                    <a:pt x="352" y="144"/>
                  </a:cubicBezTo>
                  <a:cubicBezTo>
                    <a:pt x="350" y="140"/>
                    <a:pt x="348" y="136"/>
                    <a:pt x="348" y="136"/>
                  </a:cubicBezTo>
                  <a:cubicBezTo>
                    <a:pt x="348" y="136"/>
                    <a:pt x="349" y="129"/>
                    <a:pt x="347" y="125"/>
                  </a:cubicBezTo>
                  <a:cubicBezTo>
                    <a:pt x="345" y="122"/>
                    <a:pt x="336" y="117"/>
                    <a:pt x="336" y="111"/>
                  </a:cubicBezTo>
                  <a:cubicBezTo>
                    <a:pt x="336" y="106"/>
                    <a:pt x="337" y="104"/>
                    <a:pt x="337" y="104"/>
                  </a:cubicBezTo>
                  <a:cubicBezTo>
                    <a:pt x="340" y="101"/>
                    <a:pt x="340" y="101"/>
                    <a:pt x="340" y="101"/>
                  </a:cubicBezTo>
                  <a:cubicBezTo>
                    <a:pt x="339" y="95"/>
                    <a:pt x="339" y="95"/>
                    <a:pt x="339" y="95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93"/>
                    <a:pt x="330" y="87"/>
                    <a:pt x="328" y="81"/>
                  </a:cubicBezTo>
                  <a:cubicBezTo>
                    <a:pt x="327" y="77"/>
                    <a:pt x="325" y="74"/>
                    <a:pt x="326" y="69"/>
                  </a:cubicBezTo>
                  <a:cubicBezTo>
                    <a:pt x="327" y="65"/>
                    <a:pt x="332" y="65"/>
                    <a:pt x="330" y="62"/>
                  </a:cubicBezTo>
                  <a:cubicBezTo>
                    <a:pt x="328" y="59"/>
                    <a:pt x="319" y="50"/>
                    <a:pt x="319" y="50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53"/>
                    <a:pt x="314" y="43"/>
                    <a:pt x="305" y="38"/>
                  </a:cubicBezTo>
                  <a:cubicBezTo>
                    <a:pt x="295" y="33"/>
                    <a:pt x="282" y="31"/>
                    <a:pt x="282" y="31"/>
                  </a:cubicBezTo>
                  <a:cubicBezTo>
                    <a:pt x="278" y="27"/>
                    <a:pt x="278" y="27"/>
                    <a:pt x="278" y="27"/>
                  </a:cubicBezTo>
                  <a:cubicBezTo>
                    <a:pt x="274" y="27"/>
                    <a:pt x="274" y="27"/>
                    <a:pt x="274" y="27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0" y="5"/>
                    <a:pt x="250" y="5"/>
                    <a:pt x="250" y="5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30" y="2"/>
                    <a:pt x="237" y="11"/>
                    <a:pt x="238" y="17"/>
                  </a:cubicBezTo>
                  <a:cubicBezTo>
                    <a:pt x="239" y="25"/>
                    <a:pt x="231" y="34"/>
                    <a:pt x="231" y="34"/>
                  </a:cubicBezTo>
                  <a:cubicBezTo>
                    <a:pt x="239" y="38"/>
                    <a:pt x="239" y="38"/>
                    <a:pt x="239" y="38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198" y="41"/>
                    <a:pt x="198" y="41"/>
                    <a:pt x="198" y="41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9" y="56"/>
                    <a:pt x="188" y="61"/>
                  </a:cubicBezTo>
                  <a:cubicBezTo>
                    <a:pt x="186" y="66"/>
                    <a:pt x="183" y="77"/>
                    <a:pt x="183" y="77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4"/>
                    <a:pt x="149" y="101"/>
                    <a:pt x="149" y="106"/>
                  </a:cubicBezTo>
                  <a:cubicBezTo>
                    <a:pt x="148" y="111"/>
                    <a:pt x="140" y="109"/>
                    <a:pt x="140" y="109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7" y="127"/>
                    <a:pt x="148" y="135"/>
                  </a:cubicBezTo>
                  <a:cubicBezTo>
                    <a:pt x="150" y="141"/>
                    <a:pt x="144" y="143"/>
                    <a:pt x="136" y="151"/>
                  </a:cubicBezTo>
                  <a:cubicBezTo>
                    <a:pt x="130" y="157"/>
                    <a:pt x="132" y="162"/>
                    <a:pt x="130" y="169"/>
                  </a:cubicBezTo>
                  <a:cubicBezTo>
                    <a:pt x="128" y="175"/>
                    <a:pt x="123" y="176"/>
                    <a:pt x="123" y="176"/>
                  </a:cubicBezTo>
                  <a:cubicBezTo>
                    <a:pt x="126" y="189"/>
                    <a:pt x="126" y="189"/>
                    <a:pt x="126" y="18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00" y="201"/>
                    <a:pt x="100" y="201"/>
                    <a:pt x="100" y="201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03" y="253"/>
                    <a:pt x="103" y="253"/>
                    <a:pt x="103" y="253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79" y="300"/>
                    <a:pt x="79" y="300"/>
                    <a:pt x="79" y="300"/>
                  </a:cubicBezTo>
                  <a:cubicBezTo>
                    <a:pt x="93" y="310"/>
                    <a:pt x="93" y="310"/>
                    <a:pt x="93" y="310"/>
                  </a:cubicBezTo>
                  <a:cubicBezTo>
                    <a:pt x="94" y="325"/>
                    <a:pt x="94" y="325"/>
                    <a:pt x="94" y="325"/>
                  </a:cubicBezTo>
                  <a:cubicBezTo>
                    <a:pt x="89" y="337"/>
                    <a:pt x="89" y="337"/>
                    <a:pt x="89" y="337"/>
                  </a:cubicBezTo>
                  <a:cubicBezTo>
                    <a:pt x="89" y="337"/>
                    <a:pt x="69" y="331"/>
                    <a:pt x="59" y="334"/>
                  </a:cubicBezTo>
                  <a:cubicBezTo>
                    <a:pt x="47" y="337"/>
                    <a:pt x="35" y="365"/>
                    <a:pt x="35" y="365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30" y="385"/>
                    <a:pt x="30" y="385"/>
                    <a:pt x="30" y="385"/>
                  </a:cubicBezTo>
                  <a:cubicBezTo>
                    <a:pt x="37" y="404"/>
                    <a:pt x="37" y="404"/>
                    <a:pt x="37" y="404"/>
                  </a:cubicBezTo>
                  <a:cubicBezTo>
                    <a:pt x="33" y="410"/>
                    <a:pt x="33" y="410"/>
                    <a:pt x="33" y="410"/>
                  </a:cubicBezTo>
                  <a:cubicBezTo>
                    <a:pt x="36" y="421"/>
                    <a:pt x="36" y="421"/>
                    <a:pt x="36" y="421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41" y="452"/>
                    <a:pt x="41" y="452"/>
                    <a:pt x="41" y="452"/>
                  </a:cubicBezTo>
                  <a:cubicBezTo>
                    <a:pt x="35" y="487"/>
                    <a:pt x="35" y="487"/>
                    <a:pt x="35" y="487"/>
                  </a:cubicBezTo>
                  <a:cubicBezTo>
                    <a:pt x="45" y="497"/>
                    <a:pt x="45" y="497"/>
                    <a:pt x="45" y="497"/>
                  </a:cubicBezTo>
                  <a:cubicBezTo>
                    <a:pt x="45" y="497"/>
                    <a:pt x="50" y="500"/>
                    <a:pt x="54" y="503"/>
                  </a:cubicBezTo>
                  <a:cubicBezTo>
                    <a:pt x="58" y="507"/>
                    <a:pt x="59" y="511"/>
                    <a:pt x="55" y="523"/>
                  </a:cubicBezTo>
                  <a:cubicBezTo>
                    <a:pt x="53" y="535"/>
                    <a:pt x="45" y="529"/>
                    <a:pt x="45" y="529"/>
                  </a:cubicBezTo>
                  <a:cubicBezTo>
                    <a:pt x="36" y="532"/>
                    <a:pt x="36" y="532"/>
                    <a:pt x="36" y="532"/>
                  </a:cubicBezTo>
                  <a:cubicBezTo>
                    <a:pt x="41" y="538"/>
                    <a:pt x="41" y="538"/>
                    <a:pt x="41" y="538"/>
                  </a:cubicBezTo>
                  <a:cubicBezTo>
                    <a:pt x="43" y="547"/>
                    <a:pt x="43" y="547"/>
                    <a:pt x="43" y="547"/>
                  </a:cubicBezTo>
                  <a:cubicBezTo>
                    <a:pt x="43" y="547"/>
                    <a:pt x="49" y="561"/>
                    <a:pt x="51" y="568"/>
                  </a:cubicBezTo>
                  <a:cubicBezTo>
                    <a:pt x="54" y="576"/>
                    <a:pt x="46" y="572"/>
                    <a:pt x="45" y="577"/>
                  </a:cubicBezTo>
                  <a:cubicBezTo>
                    <a:pt x="44" y="581"/>
                    <a:pt x="48" y="584"/>
                    <a:pt x="45" y="597"/>
                  </a:cubicBezTo>
                  <a:cubicBezTo>
                    <a:pt x="41" y="609"/>
                    <a:pt x="30" y="603"/>
                    <a:pt x="26" y="607"/>
                  </a:cubicBezTo>
                  <a:cubicBezTo>
                    <a:pt x="21" y="610"/>
                    <a:pt x="28" y="611"/>
                    <a:pt x="27" y="616"/>
                  </a:cubicBezTo>
                  <a:cubicBezTo>
                    <a:pt x="27" y="620"/>
                    <a:pt x="21" y="619"/>
                    <a:pt x="19" y="623"/>
                  </a:cubicBezTo>
                  <a:cubicBezTo>
                    <a:pt x="16" y="625"/>
                    <a:pt x="25" y="643"/>
                    <a:pt x="25" y="643"/>
                  </a:cubicBezTo>
                  <a:cubicBezTo>
                    <a:pt x="25" y="643"/>
                    <a:pt x="21" y="651"/>
                    <a:pt x="19" y="658"/>
                  </a:cubicBezTo>
                  <a:cubicBezTo>
                    <a:pt x="17" y="665"/>
                    <a:pt x="16" y="671"/>
                    <a:pt x="12" y="671"/>
                  </a:cubicBezTo>
                  <a:cubicBezTo>
                    <a:pt x="8" y="671"/>
                    <a:pt x="11" y="662"/>
                    <a:pt x="10" y="657"/>
                  </a:cubicBezTo>
                  <a:cubicBezTo>
                    <a:pt x="9" y="652"/>
                    <a:pt x="1" y="657"/>
                    <a:pt x="1" y="657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0" y="664"/>
                    <a:pt x="3" y="668"/>
                    <a:pt x="3" y="673"/>
                  </a:cubicBezTo>
                  <a:cubicBezTo>
                    <a:pt x="3" y="676"/>
                    <a:pt x="0" y="679"/>
                    <a:pt x="0" y="679"/>
                  </a:cubicBezTo>
                  <a:cubicBezTo>
                    <a:pt x="0" y="679"/>
                    <a:pt x="5" y="693"/>
                    <a:pt x="5" y="696"/>
                  </a:cubicBezTo>
                  <a:cubicBezTo>
                    <a:pt x="5" y="699"/>
                    <a:pt x="1" y="699"/>
                    <a:pt x="1" y="699"/>
                  </a:cubicBezTo>
                  <a:cubicBezTo>
                    <a:pt x="2" y="703"/>
                    <a:pt x="2" y="703"/>
                    <a:pt x="2" y="703"/>
                  </a:cubicBezTo>
                  <a:cubicBezTo>
                    <a:pt x="2" y="703"/>
                    <a:pt x="6" y="700"/>
                    <a:pt x="9" y="702"/>
                  </a:cubicBezTo>
                  <a:cubicBezTo>
                    <a:pt x="10" y="703"/>
                    <a:pt x="9" y="707"/>
                    <a:pt x="9" y="707"/>
                  </a:cubicBezTo>
                  <a:cubicBezTo>
                    <a:pt x="11" y="707"/>
                    <a:pt x="11" y="707"/>
                    <a:pt x="11" y="707"/>
                  </a:cubicBezTo>
                  <a:cubicBezTo>
                    <a:pt x="14" y="697"/>
                    <a:pt x="14" y="697"/>
                    <a:pt x="14" y="697"/>
                  </a:cubicBezTo>
                  <a:cubicBezTo>
                    <a:pt x="17" y="700"/>
                    <a:pt x="17" y="700"/>
                    <a:pt x="17" y="700"/>
                  </a:cubicBezTo>
                  <a:cubicBezTo>
                    <a:pt x="10" y="710"/>
                    <a:pt x="10" y="710"/>
                    <a:pt x="10" y="710"/>
                  </a:cubicBezTo>
                  <a:cubicBezTo>
                    <a:pt x="10" y="712"/>
                    <a:pt x="10" y="712"/>
                    <a:pt x="10" y="712"/>
                  </a:cubicBezTo>
                  <a:cubicBezTo>
                    <a:pt x="25" y="704"/>
                    <a:pt x="25" y="704"/>
                    <a:pt x="25" y="704"/>
                  </a:cubicBezTo>
                  <a:cubicBezTo>
                    <a:pt x="22" y="709"/>
                    <a:pt x="22" y="709"/>
                    <a:pt x="22" y="709"/>
                  </a:cubicBezTo>
                  <a:cubicBezTo>
                    <a:pt x="25" y="713"/>
                    <a:pt x="25" y="713"/>
                    <a:pt x="25" y="713"/>
                  </a:cubicBezTo>
                  <a:cubicBezTo>
                    <a:pt x="21" y="730"/>
                    <a:pt x="21" y="730"/>
                    <a:pt x="21" y="730"/>
                  </a:cubicBezTo>
                  <a:cubicBezTo>
                    <a:pt x="18" y="737"/>
                    <a:pt x="18" y="737"/>
                    <a:pt x="18" y="737"/>
                  </a:cubicBezTo>
                  <a:cubicBezTo>
                    <a:pt x="22" y="741"/>
                    <a:pt x="22" y="741"/>
                    <a:pt x="22" y="741"/>
                  </a:cubicBezTo>
                  <a:cubicBezTo>
                    <a:pt x="17" y="746"/>
                    <a:pt x="17" y="746"/>
                    <a:pt x="17" y="746"/>
                  </a:cubicBezTo>
                  <a:cubicBezTo>
                    <a:pt x="22" y="746"/>
                    <a:pt x="22" y="746"/>
                    <a:pt x="22" y="746"/>
                  </a:cubicBezTo>
                  <a:cubicBezTo>
                    <a:pt x="24" y="746"/>
                    <a:pt x="26" y="754"/>
                    <a:pt x="26" y="757"/>
                  </a:cubicBezTo>
                  <a:cubicBezTo>
                    <a:pt x="26" y="761"/>
                    <a:pt x="27" y="768"/>
                    <a:pt x="29" y="768"/>
                  </a:cubicBezTo>
                  <a:cubicBezTo>
                    <a:pt x="31" y="768"/>
                    <a:pt x="32" y="761"/>
                    <a:pt x="32" y="761"/>
                  </a:cubicBezTo>
                  <a:cubicBezTo>
                    <a:pt x="32" y="770"/>
                    <a:pt x="32" y="770"/>
                    <a:pt x="32" y="770"/>
                  </a:cubicBezTo>
                  <a:cubicBezTo>
                    <a:pt x="34" y="771"/>
                    <a:pt x="34" y="771"/>
                    <a:pt x="34" y="771"/>
                  </a:cubicBezTo>
                  <a:cubicBezTo>
                    <a:pt x="32" y="777"/>
                    <a:pt x="32" y="777"/>
                    <a:pt x="32" y="777"/>
                  </a:cubicBezTo>
                  <a:cubicBezTo>
                    <a:pt x="37" y="779"/>
                    <a:pt x="37" y="779"/>
                    <a:pt x="37" y="779"/>
                  </a:cubicBezTo>
                  <a:cubicBezTo>
                    <a:pt x="37" y="786"/>
                    <a:pt x="37" y="786"/>
                    <a:pt x="37" y="786"/>
                  </a:cubicBezTo>
                  <a:cubicBezTo>
                    <a:pt x="42" y="791"/>
                    <a:pt x="42" y="791"/>
                    <a:pt x="42" y="791"/>
                  </a:cubicBezTo>
                  <a:cubicBezTo>
                    <a:pt x="42" y="796"/>
                    <a:pt x="42" y="796"/>
                    <a:pt x="42" y="796"/>
                  </a:cubicBezTo>
                  <a:cubicBezTo>
                    <a:pt x="48" y="804"/>
                    <a:pt x="48" y="804"/>
                    <a:pt x="48" y="804"/>
                  </a:cubicBezTo>
                  <a:cubicBezTo>
                    <a:pt x="50" y="803"/>
                    <a:pt x="50" y="803"/>
                    <a:pt x="50" y="803"/>
                  </a:cubicBezTo>
                  <a:cubicBezTo>
                    <a:pt x="50" y="803"/>
                    <a:pt x="52" y="815"/>
                    <a:pt x="55" y="816"/>
                  </a:cubicBezTo>
                  <a:cubicBezTo>
                    <a:pt x="60" y="818"/>
                    <a:pt x="61" y="814"/>
                    <a:pt x="61" y="814"/>
                  </a:cubicBezTo>
                  <a:cubicBezTo>
                    <a:pt x="61" y="814"/>
                    <a:pt x="64" y="822"/>
                    <a:pt x="64" y="825"/>
                  </a:cubicBezTo>
                  <a:cubicBezTo>
                    <a:pt x="64" y="829"/>
                    <a:pt x="58" y="828"/>
                    <a:pt x="58" y="828"/>
                  </a:cubicBezTo>
                  <a:cubicBezTo>
                    <a:pt x="58" y="828"/>
                    <a:pt x="57" y="823"/>
                    <a:pt x="52" y="826"/>
                  </a:cubicBezTo>
                  <a:cubicBezTo>
                    <a:pt x="48" y="830"/>
                    <a:pt x="58" y="834"/>
                    <a:pt x="58" y="834"/>
                  </a:cubicBezTo>
                  <a:cubicBezTo>
                    <a:pt x="58" y="834"/>
                    <a:pt x="61" y="839"/>
                    <a:pt x="59" y="841"/>
                  </a:cubicBezTo>
                  <a:cubicBezTo>
                    <a:pt x="55" y="844"/>
                    <a:pt x="51" y="838"/>
                    <a:pt x="49" y="837"/>
                  </a:cubicBezTo>
                  <a:cubicBezTo>
                    <a:pt x="47" y="835"/>
                    <a:pt x="44" y="835"/>
                    <a:pt x="43" y="836"/>
                  </a:cubicBezTo>
                  <a:cubicBezTo>
                    <a:pt x="42" y="837"/>
                    <a:pt x="47" y="839"/>
                    <a:pt x="47" y="839"/>
                  </a:cubicBezTo>
                  <a:cubicBezTo>
                    <a:pt x="48" y="844"/>
                    <a:pt x="48" y="844"/>
                    <a:pt x="48" y="844"/>
                  </a:cubicBezTo>
                  <a:cubicBezTo>
                    <a:pt x="48" y="844"/>
                    <a:pt x="54" y="852"/>
                    <a:pt x="58" y="856"/>
                  </a:cubicBezTo>
                  <a:cubicBezTo>
                    <a:pt x="61" y="861"/>
                    <a:pt x="61" y="865"/>
                    <a:pt x="61" y="865"/>
                  </a:cubicBezTo>
                  <a:cubicBezTo>
                    <a:pt x="65" y="866"/>
                    <a:pt x="65" y="866"/>
                    <a:pt x="65" y="866"/>
                  </a:cubicBezTo>
                  <a:cubicBezTo>
                    <a:pt x="64" y="871"/>
                    <a:pt x="64" y="871"/>
                    <a:pt x="64" y="871"/>
                  </a:cubicBezTo>
                  <a:cubicBezTo>
                    <a:pt x="64" y="871"/>
                    <a:pt x="67" y="871"/>
                    <a:pt x="69" y="877"/>
                  </a:cubicBezTo>
                  <a:cubicBezTo>
                    <a:pt x="71" y="881"/>
                    <a:pt x="64" y="882"/>
                    <a:pt x="64" y="882"/>
                  </a:cubicBezTo>
                  <a:cubicBezTo>
                    <a:pt x="64" y="888"/>
                    <a:pt x="64" y="888"/>
                    <a:pt x="64" y="888"/>
                  </a:cubicBezTo>
                  <a:cubicBezTo>
                    <a:pt x="64" y="888"/>
                    <a:pt x="67" y="891"/>
                    <a:pt x="66" y="894"/>
                  </a:cubicBezTo>
                  <a:cubicBezTo>
                    <a:pt x="65" y="896"/>
                    <a:pt x="62" y="893"/>
                    <a:pt x="62" y="893"/>
                  </a:cubicBezTo>
                  <a:cubicBezTo>
                    <a:pt x="61" y="897"/>
                    <a:pt x="61" y="897"/>
                    <a:pt x="61" y="897"/>
                  </a:cubicBezTo>
                  <a:cubicBezTo>
                    <a:pt x="65" y="896"/>
                    <a:pt x="65" y="896"/>
                    <a:pt x="65" y="896"/>
                  </a:cubicBezTo>
                  <a:cubicBezTo>
                    <a:pt x="65" y="896"/>
                    <a:pt x="78" y="899"/>
                    <a:pt x="82" y="899"/>
                  </a:cubicBezTo>
                  <a:cubicBezTo>
                    <a:pt x="85" y="899"/>
                    <a:pt x="91" y="895"/>
                    <a:pt x="97" y="893"/>
                  </a:cubicBezTo>
                  <a:cubicBezTo>
                    <a:pt x="103" y="891"/>
                    <a:pt x="106" y="895"/>
                    <a:pt x="106" y="895"/>
                  </a:cubicBezTo>
                  <a:cubicBezTo>
                    <a:pt x="112" y="894"/>
                    <a:pt x="112" y="894"/>
                    <a:pt x="112" y="894"/>
                  </a:cubicBezTo>
                  <a:cubicBezTo>
                    <a:pt x="112" y="894"/>
                    <a:pt x="117" y="885"/>
                    <a:pt x="118" y="880"/>
                  </a:cubicBezTo>
                  <a:cubicBezTo>
                    <a:pt x="119" y="876"/>
                    <a:pt x="111" y="875"/>
                    <a:pt x="111" y="869"/>
                  </a:cubicBezTo>
                  <a:cubicBezTo>
                    <a:pt x="111" y="865"/>
                    <a:pt x="118" y="854"/>
                    <a:pt x="120" y="852"/>
                  </a:cubicBezTo>
                  <a:cubicBezTo>
                    <a:pt x="123" y="851"/>
                    <a:pt x="129" y="855"/>
                    <a:pt x="131" y="854"/>
                  </a:cubicBezTo>
                  <a:cubicBezTo>
                    <a:pt x="133" y="852"/>
                    <a:pt x="129" y="844"/>
                    <a:pt x="129" y="844"/>
                  </a:cubicBezTo>
                  <a:cubicBezTo>
                    <a:pt x="147" y="842"/>
                    <a:pt x="147" y="842"/>
                    <a:pt x="147" y="842"/>
                  </a:cubicBezTo>
                  <a:cubicBezTo>
                    <a:pt x="155" y="844"/>
                    <a:pt x="155" y="844"/>
                    <a:pt x="155" y="844"/>
                  </a:cubicBezTo>
                  <a:cubicBezTo>
                    <a:pt x="161" y="839"/>
                    <a:pt x="161" y="839"/>
                    <a:pt x="161" y="839"/>
                  </a:cubicBezTo>
                  <a:cubicBezTo>
                    <a:pt x="172" y="847"/>
                    <a:pt x="172" y="847"/>
                    <a:pt x="172" y="847"/>
                  </a:cubicBezTo>
                  <a:cubicBezTo>
                    <a:pt x="172" y="847"/>
                    <a:pt x="176" y="838"/>
                    <a:pt x="178" y="837"/>
                  </a:cubicBezTo>
                  <a:cubicBezTo>
                    <a:pt x="179" y="835"/>
                    <a:pt x="181" y="820"/>
                    <a:pt x="181" y="820"/>
                  </a:cubicBezTo>
                  <a:cubicBezTo>
                    <a:pt x="184" y="810"/>
                    <a:pt x="184" y="810"/>
                    <a:pt x="184" y="810"/>
                  </a:cubicBezTo>
                  <a:cubicBezTo>
                    <a:pt x="188" y="807"/>
                    <a:pt x="188" y="807"/>
                    <a:pt x="188" y="807"/>
                  </a:cubicBezTo>
                  <a:cubicBezTo>
                    <a:pt x="192" y="791"/>
                    <a:pt x="192" y="791"/>
                    <a:pt x="192" y="791"/>
                  </a:cubicBezTo>
                  <a:cubicBezTo>
                    <a:pt x="190" y="785"/>
                    <a:pt x="190" y="785"/>
                    <a:pt x="190" y="785"/>
                  </a:cubicBezTo>
                  <a:cubicBezTo>
                    <a:pt x="190" y="785"/>
                    <a:pt x="193" y="784"/>
                    <a:pt x="194" y="781"/>
                  </a:cubicBezTo>
                  <a:cubicBezTo>
                    <a:pt x="195" y="777"/>
                    <a:pt x="191" y="775"/>
                    <a:pt x="191" y="775"/>
                  </a:cubicBezTo>
                  <a:cubicBezTo>
                    <a:pt x="192" y="761"/>
                    <a:pt x="192" y="761"/>
                    <a:pt x="192" y="761"/>
                  </a:cubicBezTo>
                  <a:cubicBezTo>
                    <a:pt x="192" y="761"/>
                    <a:pt x="195" y="762"/>
                    <a:pt x="197" y="756"/>
                  </a:cubicBezTo>
                  <a:cubicBezTo>
                    <a:pt x="200" y="751"/>
                    <a:pt x="191" y="746"/>
                    <a:pt x="191" y="746"/>
                  </a:cubicBezTo>
                  <a:cubicBezTo>
                    <a:pt x="193" y="744"/>
                    <a:pt x="193" y="744"/>
                    <a:pt x="193" y="744"/>
                  </a:cubicBezTo>
                  <a:cubicBezTo>
                    <a:pt x="194" y="735"/>
                    <a:pt x="194" y="735"/>
                    <a:pt x="194" y="735"/>
                  </a:cubicBezTo>
                  <a:cubicBezTo>
                    <a:pt x="192" y="728"/>
                    <a:pt x="192" y="728"/>
                    <a:pt x="192" y="728"/>
                  </a:cubicBezTo>
                  <a:cubicBezTo>
                    <a:pt x="188" y="728"/>
                    <a:pt x="188" y="728"/>
                    <a:pt x="188" y="728"/>
                  </a:cubicBezTo>
                  <a:cubicBezTo>
                    <a:pt x="188" y="728"/>
                    <a:pt x="188" y="726"/>
                    <a:pt x="191" y="725"/>
                  </a:cubicBezTo>
                  <a:cubicBezTo>
                    <a:pt x="195" y="725"/>
                    <a:pt x="198" y="728"/>
                    <a:pt x="198" y="728"/>
                  </a:cubicBezTo>
                  <a:cubicBezTo>
                    <a:pt x="197" y="722"/>
                    <a:pt x="197" y="722"/>
                    <a:pt x="197" y="722"/>
                  </a:cubicBezTo>
                  <a:cubicBezTo>
                    <a:pt x="193" y="720"/>
                    <a:pt x="193" y="720"/>
                    <a:pt x="193" y="720"/>
                  </a:cubicBezTo>
                  <a:cubicBezTo>
                    <a:pt x="196" y="719"/>
                    <a:pt x="196" y="719"/>
                    <a:pt x="196" y="719"/>
                  </a:cubicBezTo>
                  <a:cubicBezTo>
                    <a:pt x="196" y="719"/>
                    <a:pt x="196" y="711"/>
                    <a:pt x="198" y="707"/>
                  </a:cubicBezTo>
                  <a:cubicBezTo>
                    <a:pt x="201" y="703"/>
                    <a:pt x="192" y="698"/>
                    <a:pt x="192" y="698"/>
                  </a:cubicBezTo>
                  <a:cubicBezTo>
                    <a:pt x="195" y="697"/>
                    <a:pt x="195" y="697"/>
                    <a:pt x="195" y="697"/>
                  </a:cubicBezTo>
                  <a:cubicBezTo>
                    <a:pt x="192" y="692"/>
                    <a:pt x="192" y="692"/>
                    <a:pt x="192" y="692"/>
                  </a:cubicBezTo>
                  <a:cubicBezTo>
                    <a:pt x="192" y="692"/>
                    <a:pt x="198" y="694"/>
                    <a:pt x="201" y="687"/>
                  </a:cubicBezTo>
                  <a:cubicBezTo>
                    <a:pt x="204" y="679"/>
                    <a:pt x="183" y="679"/>
                    <a:pt x="183" y="679"/>
                  </a:cubicBezTo>
                  <a:cubicBezTo>
                    <a:pt x="182" y="682"/>
                    <a:pt x="182" y="682"/>
                    <a:pt x="182" y="682"/>
                  </a:cubicBezTo>
                  <a:cubicBezTo>
                    <a:pt x="176" y="681"/>
                    <a:pt x="176" y="681"/>
                    <a:pt x="176" y="681"/>
                  </a:cubicBezTo>
                  <a:cubicBezTo>
                    <a:pt x="176" y="677"/>
                    <a:pt x="176" y="677"/>
                    <a:pt x="176" y="677"/>
                  </a:cubicBezTo>
                  <a:cubicBezTo>
                    <a:pt x="192" y="677"/>
                    <a:pt x="192" y="677"/>
                    <a:pt x="192" y="677"/>
                  </a:cubicBezTo>
                  <a:cubicBezTo>
                    <a:pt x="195" y="677"/>
                    <a:pt x="201" y="680"/>
                    <a:pt x="201" y="680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2" y="668"/>
                    <a:pt x="202" y="668"/>
                    <a:pt x="202" y="668"/>
                  </a:cubicBezTo>
                  <a:cubicBezTo>
                    <a:pt x="208" y="672"/>
                    <a:pt x="208" y="672"/>
                    <a:pt x="208" y="672"/>
                  </a:cubicBezTo>
                  <a:cubicBezTo>
                    <a:pt x="208" y="672"/>
                    <a:pt x="212" y="671"/>
                    <a:pt x="213" y="671"/>
                  </a:cubicBezTo>
                  <a:cubicBezTo>
                    <a:pt x="214" y="671"/>
                    <a:pt x="218" y="666"/>
                    <a:pt x="218" y="666"/>
                  </a:cubicBezTo>
                  <a:cubicBezTo>
                    <a:pt x="218" y="661"/>
                    <a:pt x="218" y="661"/>
                    <a:pt x="218" y="661"/>
                  </a:cubicBezTo>
                  <a:cubicBezTo>
                    <a:pt x="222" y="662"/>
                    <a:pt x="222" y="662"/>
                    <a:pt x="222" y="662"/>
                  </a:cubicBezTo>
                  <a:cubicBezTo>
                    <a:pt x="223" y="647"/>
                    <a:pt x="223" y="647"/>
                    <a:pt x="223" y="647"/>
                  </a:cubicBezTo>
                  <a:cubicBezTo>
                    <a:pt x="226" y="648"/>
                    <a:pt x="226" y="648"/>
                    <a:pt x="226" y="648"/>
                  </a:cubicBezTo>
                  <a:cubicBezTo>
                    <a:pt x="228" y="658"/>
                    <a:pt x="228" y="658"/>
                    <a:pt x="228" y="658"/>
                  </a:cubicBezTo>
                  <a:cubicBezTo>
                    <a:pt x="235" y="659"/>
                    <a:pt x="235" y="659"/>
                    <a:pt x="235" y="659"/>
                  </a:cubicBezTo>
                  <a:cubicBezTo>
                    <a:pt x="237" y="649"/>
                    <a:pt x="237" y="649"/>
                    <a:pt x="237" y="649"/>
                  </a:cubicBezTo>
                  <a:cubicBezTo>
                    <a:pt x="237" y="649"/>
                    <a:pt x="239" y="649"/>
                    <a:pt x="241" y="648"/>
                  </a:cubicBezTo>
                  <a:cubicBezTo>
                    <a:pt x="242" y="647"/>
                    <a:pt x="242" y="643"/>
                    <a:pt x="242" y="643"/>
                  </a:cubicBezTo>
                  <a:cubicBezTo>
                    <a:pt x="246" y="642"/>
                    <a:pt x="246" y="642"/>
                    <a:pt x="246" y="642"/>
                  </a:cubicBezTo>
                  <a:cubicBezTo>
                    <a:pt x="248" y="640"/>
                    <a:pt x="248" y="640"/>
                    <a:pt x="248" y="640"/>
                  </a:cubicBezTo>
                  <a:cubicBezTo>
                    <a:pt x="245" y="639"/>
                    <a:pt x="245" y="639"/>
                    <a:pt x="245" y="639"/>
                  </a:cubicBezTo>
                  <a:cubicBezTo>
                    <a:pt x="243" y="633"/>
                    <a:pt x="243" y="633"/>
                    <a:pt x="243" y="633"/>
                  </a:cubicBezTo>
                  <a:cubicBezTo>
                    <a:pt x="237" y="628"/>
                    <a:pt x="237" y="628"/>
                    <a:pt x="237" y="628"/>
                  </a:cubicBezTo>
                  <a:cubicBezTo>
                    <a:pt x="239" y="625"/>
                    <a:pt x="239" y="625"/>
                    <a:pt x="239" y="625"/>
                  </a:cubicBezTo>
                  <a:cubicBezTo>
                    <a:pt x="244" y="625"/>
                    <a:pt x="244" y="625"/>
                    <a:pt x="244" y="625"/>
                  </a:cubicBezTo>
                  <a:cubicBezTo>
                    <a:pt x="258" y="610"/>
                    <a:pt x="258" y="610"/>
                    <a:pt x="258" y="610"/>
                  </a:cubicBezTo>
                  <a:cubicBezTo>
                    <a:pt x="258" y="607"/>
                    <a:pt x="258" y="607"/>
                    <a:pt x="258" y="607"/>
                  </a:cubicBezTo>
                  <a:cubicBezTo>
                    <a:pt x="266" y="601"/>
                    <a:pt x="266" y="601"/>
                    <a:pt x="266" y="601"/>
                  </a:cubicBezTo>
                  <a:cubicBezTo>
                    <a:pt x="267" y="600"/>
                    <a:pt x="267" y="600"/>
                    <a:pt x="267" y="600"/>
                  </a:cubicBezTo>
                  <a:cubicBezTo>
                    <a:pt x="259" y="600"/>
                    <a:pt x="259" y="600"/>
                    <a:pt x="259" y="600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67" y="592"/>
                    <a:pt x="267" y="592"/>
                    <a:pt x="267" y="592"/>
                  </a:cubicBezTo>
                  <a:cubicBezTo>
                    <a:pt x="261" y="588"/>
                    <a:pt x="261" y="588"/>
                    <a:pt x="261" y="588"/>
                  </a:cubicBezTo>
                  <a:cubicBezTo>
                    <a:pt x="256" y="578"/>
                    <a:pt x="256" y="578"/>
                    <a:pt x="256" y="578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5" y="578"/>
                    <a:pt x="242" y="570"/>
                    <a:pt x="242" y="570"/>
                  </a:cubicBezTo>
                  <a:cubicBezTo>
                    <a:pt x="242" y="566"/>
                    <a:pt x="242" y="566"/>
                    <a:pt x="242" y="566"/>
                  </a:cubicBezTo>
                  <a:cubicBezTo>
                    <a:pt x="241" y="564"/>
                    <a:pt x="241" y="564"/>
                    <a:pt x="241" y="564"/>
                  </a:cubicBezTo>
                  <a:cubicBezTo>
                    <a:pt x="237" y="565"/>
                    <a:pt x="237" y="565"/>
                    <a:pt x="237" y="565"/>
                  </a:cubicBezTo>
                  <a:cubicBezTo>
                    <a:pt x="227" y="554"/>
                    <a:pt x="227" y="554"/>
                    <a:pt x="227" y="554"/>
                  </a:cubicBezTo>
                  <a:cubicBezTo>
                    <a:pt x="227" y="554"/>
                    <a:pt x="228" y="550"/>
                    <a:pt x="225" y="549"/>
                  </a:cubicBezTo>
                  <a:cubicBezTo>
                    <a:pt x="221" y="548"/>
                    <a:pt x="216" y="557"/>
                    <a:pt x="216" y="557"/>
                  </a:cubicBezTo>
                  <a:cubicBezTo>
                    <a:pt x="213" y="552"/>
                    <a:pt x="213" y="552"/>
                    <a:pt x="213" y="552"/>
                  </a:cubicBezTo>
                  <a:cubicBezTo>
                    <a:pt x="213" y="552"/>
                    <a:pt x="215" y="550"/>
                    <a:pt x="213" y="548"/>
                  </a:cubicBezTo>
                  <a:cubicBezTo>
                    <a:pt x="210" y="546"/>
                    <a:pt x="198" y="548"/>
                    <a:pt x="198" y="548"/>
                  </a:cubicBezTo>
                  <a:cubicBezTo>
                    <a:pt x="205" y="541"/>
                    <a:pt x="205" y="541"/>
                    <a:pt x="205" y="541"/>
                  </a:cubicBezTo>
                  <a:cubicBezTo>
                    <a:pt x="200" y="534"/>
                    <a:pt x="200" y="534"/>
                    <a:pt x="200" y="534"/>
                  </a:cubicBezTo>
                  <a:cubicBezTo>
                    <a:pt x="196" y="533"/>
                    <a:pt x="196" y="533"/>
                    <a:pt x="196" y="533"/>
                  </a:cubicBezTo>
                  <a:cubicBezTo>
                    <a:pt x="198" y="525"/>
                    <a:pt x="198" y="525"/>
                    <a:pt x="198" y="525"/>
                  </a:cubicBezTo>
                  <a:cubicBezTo>
                    <a:pt x="196" y="515"/>
                    <a:pt x="196" y="515"/>
                    <a:pt x="196" y="515"/>
                  </a:cubicBezTo>
                  <a:cubicBezTo>
                    <a:pt x="196" y="515"/>
                    <a:pt x="198" y="509"/>
                    <a:pt x="198" y="506"/>
                  </a:cubicBezTo>
                  <a:cubicBezTo>
                    <a:pt x="198" y="504"/>
                    <a:pt x="193" y="502"/>
                    <a:pt x="193" y="502"/>
                  </a:cubicBezTo>
                  <a:cubicBezTo>
                    <a:pt x="195" y="491"/>
                    <a:pt x="195" y="491"/>
                    <a:pt x="195" y="491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6" y="488"/>
                    <a:pt x="196" y="488"/>
                    <a:pt x="196" y="488"/>
                  </a:cubicBezTo>
                  <a:cubicBezTo>
                    <a:pt x="192" y="479"/>
                    <a:pt x="192" y="479"/>
                    <a:pt x="192" y="479"/>
                  </a:cubicBezTo>
                  <a:cubicBezTo>
                    <a:pt x="198" y="483"/>
                    <a:pt x="198" y="483"/>
                    <a:pt x="198" y="483"/>
                  </a:cubicBezTo>
                  <a:cubicBezTo>
                    <a:pt x="201" y="479"/>
                    <a:pt x="201" y="479"/>
                    <a:pt x="201" y="479"/>
                  </a:cubicBezTo>
                  <a:cubicBezTo>
                    <a:pt x="201" y="479"/>
                    <a:pt x="200" y="475"/>
                    <a:pt x="198" y="473"/>
                  </a:cubicBezTo>
                  <a:cubicBezTo>
                    <a:pt x="195" y="472"/>
                    <a:pt x="197" y="464"/>
                    <a:pt x="197" y="464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201" y="450"/>
                    <a:pt x="201" y="450"/>
                    <a:pt x="201" y="450"/>
                  </a:cubicBezTo>
                  <a:cubicBezTo>
                    <a:pt x="206" y="448"/>
                    <a:pt x="206" y="448"/>
                    <a:pt x="206" y="448"/>
                  </a:cubicBezTo>
                  <a:cubicBezTo>
                    <a:pt x="206" y="445"/>
                    <a:pt x="206" y="445"/>
                    <a:pt x="206" y="445"/>
                  </a:cubicBezTo>
                  <a:cubicBezTo>
                    <a:pt x="200" y="445"/>
                    <a:pt x="200" y="445"/>
                    <a:pt x="200" y="445"/>
                  </a:cubicBezTo>
                  <a:cubicBezTo>
                    <a:pt x="199" y="441"/>
                    <a:pt x="199" y="441"/>
                    <a:pt x="199" y="441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196" y="432"/>
                    <a:pt x="196" y="432"/>
                    <a:pt x="196" y="432"/>
                  </a:cubicBezTo>
                  <a:cubicBezTo>
                    <a:pt x="194" y="430"/>
                    <a:pt x="194" y="430"/>
                    <a:pt x="194" y="430"/>
                  </a:cubicBezTo>
                  <a:cubicBezTo>
                    <a:pt x="199" y="428"/>
                    <a:pt x="199" y="428"/>
                    <a:pt x="199" y="428"/>
                  </a:cubicBezTo>
                  <a:cubicBezTo>
                    <a:pt x="202" y="434"/>
                    <a:pt x="202" y="434"/>
                    <a:pt x="202" y="434"/>
                  </a:cubicBezTo>
                  <a:cubicBezTo>
                    <a:pt x="207" y="432"/>
                    <a:pt x="207" y="432"/>
                    <a:pt x="207" y="432"/>
                  </a:cubicBezTo>
                  <a:cubicBezTo>
                    <a:pt x="205" y="430"/>
                    <a:pt x="205" y="430"/>
                    <a:pt x="205" y="430"/>
                  </a:cubicBezTo>
                  <a:cubicBezTo>
                    <a:pt x="207" y="427"/>
                    <a:pt x="207" y="427"/>
                    <a:pt x="207" y="427"/>
                  </a:cubicBezTo>
                  <a:cubicBezTo>
                    <a:pt x="207" y="427"/>
                    <a:pt x="212" y="427"/>
                    <a:pt x="212" y="425"/>
                  </a:cubicBezTo>
                  <a:cubicBezTo>
                    <a:pt x="212" y="418"/>
                    <a:pt x="212" y="418"/>
                    <a:pt x="212" y="418"/>
                  </a:cubicBezTo>
                  <a:cubicBezTo>
                    <a:pt x="213" y="414"/>
                    <a:pt x="213" y="414"/>
                    <a:pt x="213" y="414"/>
                  </a:cubicBezTo>
                  <a:cubicBezTo>
                    <a:pt x="213" y="414"/>
                    <a:pt x="211" y="408"/>
                    <a:pt x="213" y="408"/>
                  </a:cubicBezTo>
                  <a:cubicBezTo>
                    <a:pt x="215" y="407"/>
                    <a:pt x="216" y="410"/>
                    <a:pt x="216" y="410"/>
                  </a:cubicBezTo>
                  <a:cubicBezTo>
                    <a:pt x="221" y="407"/>
                    <a:pt x="221" y="407"/>
                    <a:pt x="221" y="407"/>
                  </a:cubicBezTo>
                  <a:cubicBezTo>
                    <a:pt x="221" y="407"/>
                    <a:pt x="218" y="403"/>
                    <a:pt x="221" y="401"/>
                  </a:cubicBezTo>
                  <a:cubicBezTo>
                    <a:pt x="222" y="400"/>
                    <a:pt x="225" y="405"/>
                    <a:pt x="225" y="405"/>
                  </a:cubicBezTo>
                  <a:cubicBezTo>
                    <a:pt x="229" y="399"/>
                    <a:pt x="229" y="399"/>
                    <a:pt x="229" y="399"/>
                  </a:cubicBezTo>
                  <a:cubicBezTo>
                    <a:pt x="225" y="397"/>
                    <a:pt x="225" y="397"/>
                    <a:pt x="225" y="397"/>
                  </a:cubicBezTo>
                  <a:cubicBezTo>
                    <a:pt x="228" y="396"/>
                    <a:pt x="228" y="396"/>
                    <a:pt x="228" y="396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22" y="395"/>
                    <a:pt x="222" y="395"/>
                    <a:pt x="222" y="395"/>
                  </a:cubicBezTo>
                  <a:cubicBezTo>
                    <a:pt x="226" y="392"/>
                    <a:pt x="226" y="392"/>
                    <a:pt x="226" y="392"/>
                  </a:cubicBezTo>
                  <a:cubicBezTo>
                    <a:pt x="231" y="380"/>
                    <a:pt x="231" y="380"/>
                    <a:pt x="231" y="380"/>
                  </a:cubicBezTo>
                  <a:cubicBezTo>
                    <a:pt x="234" y="380"/>
                    <a:pt x="234" y="380"/>
                    <a:pt x="234" y="380"/>
                  </a:cubicBezTo>
                  <a:cubicBezTo>
                    <a:pt x="239" y="377"/>
                    <a:pt x="239" y="377"/>
                    <a:pt x="239" y="377"/>
                  </a:cubicBezTo>
                  <a:cubicBezTo>
                    <a:pt x="233" y="375"/>
                    <a:pt x="233" y="375"/>
                    <a:pt x="233" y="375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43" y="378"/>
                    <a:pt x="243" y="378"/>
                    <a:pt x="243" y="378"/>
                  </a:cubicBezTo>
                  <a:cubicBezTo>
                    <a:pt x="243" y="378"/>
                    <a:pt x="244" y="374"/>
                    <a:pt x="246" y="371"/>
                  </a:cubicBezTo>
                  <a:cubicBezTo>
                    <a:pt x="248" y="368"/>
                    <a:pt x="249" y="361"/>
                    <a:pt x="249" y="361"/>
                  </a:cubicBezTo>
                  <a:cubicBezTo>
                    <a:pt x="249" y="361"/>
                    <a:pt x="251" y="362"/>
                    <a:pt x="254" y="360"/>
                  </a:cubicBezTo>
                  <a:cubicBezTo>
                    <a:pt x="256" y="359"/>
                    <a:pt x="255" y="353"/>
                    <a:pt x="255" y="35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61" y="363"/>
                    <a:pt x="261" y="363"/>
                    <a:pt x="261" y="363"/>
                  </a:cubicBezTo>
                  <a:cubicBezTo>
                    <a:pt x="263" y="361"/>
                    <a:pt x="263" y="361"/>
                    <a:pt x="263" y="361"/>
                  </a:cubicBezTo>
                  <a:cubicBezTo>
                    <a:pt x="262" y="357"/>
                    <a:pt x="262" y="357"/>
                    <a:pt x="262" y="357"/>
                  </a:cubicBezTo>
                  <a:cubicBezTo>
                    <a:pt x="270" y="348"/>
                    <a:pt x="270" y="348"/>
                    <a:pt x="270" y="34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8" y="344"/>
                    <a:pt x="278" y="344"/>
                    <a:pt x="278" y="344"/>
                  </a:cubicBezTo>
                  <a:cubicBezTo>
                    <a:pt x="278" y="340"/>
                    <a:pt x="278" y="340"/>
                    <a:pt x="278" y="340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1" y="334"/>
                    <a:pt x="281" y="334"/>
                    <a:pt x="281" y="334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0" y="333"/>
                    <a:pt x="290" y="333"/>
                    <a:pt x="290" y="333"/>
                  </a:cubicBezTo>
                  <a:cubicBezTo>
                    <a:pt x="290" y="333"/>
                    <a:pt x="293" y="325"/>
                    <a:pt x="294" y="321"/>
                  </a:cubicBezTo>
                  <a:cubicBezTo>
                    <a:pt x="295" y="318"/>
                    <a:pt x="293" y="313"/>
                    <a:pt x="293" y="313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9" y="302"/>
                    <a:pt x="299" y="302"/>
                    <a:pt x="299" y="3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06" y="288"/>
                    <a:pt x="306" y="288"/>
                    <a:pt x="306" y="288"/>
                  </a:cubicBezTo>
                  <a:cubicBezTo>
                    <a:pt x="304" y="286"/>
                    <a:pt x="304" y="286"/>
                    <a:pt x="304" y="286"/>
                  </a:cubicBezTo>
                  <a:cubicBezTo>
                    <a:pt x="308" y="285"/>
                    <a:pt x="308" y="285"/>
                    <a:pt x="308" y="285"/>
                  </a:cubicBezTo>
                  <a:cubicBezTo>
                    <a:pt x="309" y="283"/>
                    <a:pt x="309" y="283"/>
                    <a:pt x="309" y="283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295" y="277"/>
                    <a:pt x="295" y="277"/>
                    <a:pt x="295" y="277"/>
                  </a:cubicBezTo>
                  <a:cubicBezTo>
                    <a:pt x="298" y="269"/>
                    <a:pt x="298" y="269"/>
                    <a:pt x="298" y="269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98" y="259"/>
                    <a:pt x="298" y="259"/>
                    <a:pt x="298" y="259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3" y="246"/>
                    <a:pt x="293" y="238"/>
                    <a:pt x="295" y="234"/>
                  </a:cubicBezTo>
                  <a:cubicBezTo>
                    <a:pt x="296" y="230"/>
                    <a:pt x="304" y="231"/>
                    <a:pt x="309" y="229"/>
                  </a:cubicBezTo>
                  <a:cubicBezTo>
                    <a:pt x="315" y="226"/>
                    <a:pt x="307" y="221"/>
                    <a:pt x="307" y="221"/>
                  </a:cubicBezTo>
                  <a:cubicBezTo>
                    <a:pt x="313" y="219"/>
                    <a:pt x="313" y="219"/>
                    <a:pt x="313" y="219"/>
                  </a:cubicBezTo>
                  <a:cubicBezTo>
                    <a:pt x="313" y="216"/>
                    <a:pt x="313" y="216"/>
                    <a:pt x="313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5" y="196"/>
                    <a:pt x="315" y="196"/>
                    <a:pt x="315" y="196"/>
                  </a:cubicBezTo>
                  <a:cubicBezTo>
                    <a:pt x="319" y="196"/>
                    <a:pt x="319" y="196"/>
                    <a:pt x="319" y="196"/>
                  </a:cubicBezTo>
                  <a:cubicBezTo>
                    <a:pt x="322" y="201"/>
                    <a:pt x="322" y="201"/>
                    <a:pt x="322" y="201"/>
                  </a:cubicBezTo>
                  <a:cubicBezTo>
                    <a:pt x="326" y="201"/>
                    <a:pt x="326" y="201"/>
                    <a:pt x="326" y="201"/>
                  </a:cubicBezTo>
                  <a:cubicBezTo>
                    <a:pt x="324" y="193"/>
                    <a:pt x="324" y="193"/>
                    <a:pt x="324" y="193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6" y="201"/>
                    <a:pt x="336" y="201"/>
                    <a:pt x="336" y="201"/>
                  </a:cubicBezTo>
                  <a:cubicBezTo>
                    <a:pt x="337" y="205"/>
                    <a:pt x="337" y="205"/>
                    <a:pt x="337" y="205"/>
                  </a:cubicBezTo>
                  <a:cubicBezTo>
                    <a:pt x="340" y="200"/>
                    <a:pt x="340" y="200"/>
                    <a:pt x="340" y="200"/>
                  </a:cubicBezTo>
                  <a:cubicBezTo>
                    <a:pt x="339" y="196"/>
                    <a:pt x="339" y="196"/>
                    <a:pt x="339" y="196"/>
                  </a:cubicBezTo>
                  <a:cubicBezTo>
                    <a:pt x="350" y="196"/>
                    <a:pt x="350" y="196"/>
                    <a:pt x="350" y="196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4" y="188"/>
                  </a:lnTo>
                  <a:close/>
                  <a:moveTo>
                    <a:pt x="14" y="718"/>
                  </a:moveTo>
                  <a:cubicBezTo>
                    <a:pt x="21" y="719"/>
                    <a:pt x="21" y="719"/>
                    <a:pt x="21" y="719"/>
                  </a:cubicBezTo>
                  <a:cubicBezTo>
                    <a:pt x="22" y="712"/>
                    <a:pt x="22" y="712"/>
                    <a:pt x="22" y="712"/>
                  </a:cubicBezTo>
                  <a:cubicBezTo>
                    <a:pt x="19" y="709"/>
                    <a:pt x="19" y="709"/>
                    <a:pt x="19" y="709"/>
                  </a:cubicBezTo>
                  <a:cubicBezTo>
                    <a:pt x="17" y="712"/>
                    <a:pt x="17" y="712"/>
                    <a:pt x="17" y="712"/>
                  </a:cubicBezTo>
                  <a:cubicBezTo>
                    <a:pt x="16" y="712"/>
                    <a:pt x="16" y="712"/>
                    <a:pt x="16" y="712"/>
                  </a:cubicBezTo>
                  <a:cubicBezTo>
                    <a:pt x="8" y="720"/>
                    <a:pt x="8" y="720"/>
                    <a:pt x="8" y="720"/>
                  </a:cubicBezTo>
                  <a:cubicBezTo>
                    <a:pt x="14" y="721"/>
                    <a:pt x="14" y="721"/>
                    <a:pt x="14" y="721"/>
                  </a:cubicBezTo>
                  <a:lnTo>
                    <a:pt x="14" y="718"/>
                  </a:lnTo>
                  <a:close/>
                  <a:moveTo>
                    <a:pt x="20" y="727"/>
                  </a:moveTo>
                  <a:cubicBezTo>
                    <a:pt x="19" y="723"/>
                    <a:pt x="19" y="723"/>
                    <a:pt x="19" y="723"/>
                  </a:cubicBezTo>
                  <a:cubicBezTo>
                    <a:pt x="11" y="725"/>
                    <a:pt x="11" y="725"/>
                    <a:pt x="11" y="725"/>
                  </a:cubicBezTo>
                  <a:cubicBezTo>
                    <a:pt x="13" y="728"/>
                    <a:pt x="13" y="728"/>
                    <a:pt x="13" y="728"/>
                  </a:cubicBezTo>
                  <a:cubicBezTo>
                    <a:pt x="13" y="730"/>
                    <a:pt x="13" y="730"/>
                    <a:pt x="13" y="730"/>
                  </a:cubicBezTo>
                  <a:cubicBezTo>
                    <a:pt x="16" y="730"/>
                    <a:pt x="16" y="730"/>
                    <a:pt x="16" y="730"/>
                  </a:cubicBezTo>
                  <a:cubicBezTo>
                    <a:pt x="17" y="727"/>
                    <a:pt x="17" y="727"/>
                    <a:pt x="17" y="727"/>
                  </a:cubicBezTo>
                  <a:lnTo>
                    <a:pt x="20" y="727"/>
                  </a:lnTo>
                  <a:close/>
                  <a:moveTo>
                    <a:pt x="211" y="760"/>
                  </a:moveTo>
                  <a:cubicBezTo>
                    <a:pt x="207" y="765"/>
                    <a:pt x="207" y="765"/>
                    <a:pt x="207" y="765"/>
                  </a:cubicBezTo>
                  <a:cubicBezTo>
                    <a:pt x="208" y="771"/>
                    <a:pt x="208" y="771"/>
                    <a:pt x="208" y="771"/>
                  </a:cubicBezTo>
                  <a:cubicBezTo>
                    <a:pt x="207" y="771"/>
                    <a:pt x="207" y="771"/>
                    <a:pt x="207" y="771"/>
                  </a:cubicBezTo>
                  <a:cubicBezTo>
                    <a:pt x="207" y="773"/>
                    <a:pt x="207" y="773"/>
                    <a:pt x="207" y="773"/>
                  </a:cubicBezTo>
                  <a:cubicBezTo>
                    <a:pt x="205" y="783"/>
                    <a:pt x="205" y="783"/>
                    <a:pt x="205" y="783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0" y="792"/>
                    <a:pt x="200" y="792"/>
                    <a:pt x="200" y="792"/>
                  </a:cubicBezTo>
                  <a:cubicBezTo>
                    <a:pt x="198" y="792"/>
                    <a:pt x="198" y="792"/>
                    <a:pt x="198" y="792"/>
                  </a:cubicBezTo>
                  <a:cubicBezTo>
                    <a:pt x="198" y="792"/>
                    <a:pt x="195" y="797"/>
                    <a:pt x="194" y="801"/>
                  </a:cubicBezTo>
                  <a:cubicBezTo>
                    <a:pt x="193" y="804"/>
                    <a:pt x="194" y="807"/>
                    <a:pt x="193" y="808"/>
                  </a:cubicBezTo>
                  <a:cubicBezTo>
                    <a:pt x="193" y="810"/>
                    <a:pt x="190" y="812"/>
                    <a:pt x="190" y="816"/>
                  </a:cubicBezTo>
                  <a:cubicBezTo>
                    <a:pt x="190" y="821"/>
                    <a:pt x="190" y="821"/>
                    <a:pt x="190" y="821"/>
                  </a:cubicBezTo>
                  <a:cubicBezTo>
                    <a:pt x="193" y="823"/>
                    <a:pt x="193" y="823"/>
                    <a:pt x="193" y="823"/>
                  </a:cubicBezTo>
                  <a:cubicBezTo>
                    <a:pt x="192" y="836"/>
                    <a:pt x="192" y="836"/>
                    <a:pt x="192" y="836"/>
                  </a:cubicBezTo>
                  <a:cubicBezTo>
                    <a:pt x="192" y="836"/>
                    <a:pt x="196" y="833"/>
                    <a:pt x="197" y="830"/>
                  </a:cubicBezTo>
                  <a:cubicBezTo>
                    <a:pt x="198" y="825"/>
                    <a:pt x="197" y="824"/>
                    <a:pt x="197" y="822"/>
                  </a:cubicBezTo>
                  <a:cubicBezTo>
                    <a:pt x="197" y="820"/>
                    <a:pt x="199" y="817"/>
                    <a:pt x="200" y="815"/>
                  </a:cubicBezTo>
                  <a:cubicBezTo>
                    <a:pt x="201" y="813"/>
                    <a:pt x="200" y="807"/>
                    <a:pt x="200" y="807"/>
                  </a:cubicBezTo>
                  <a:cubicBezTo>
                    <a:pt x="204" y="796"/>
                    <a:pt x="204" y="796"/>
                    <a:pt x="204" y="796"/>
                  </a:cubicBezTo>
                  <a:cubicBezTo>
                    <a:pt x="206" y="796"/>
                    <a:pt x="206" y="796"/>
                    <a:pt x="206" y="796"/>
                  </a:cubicBezTo>
                  <a:cubicBezTo>
                    <a:pt x="208" y="788"/>
                    <a:pt x="208" y="788"/>
                    <a:pt x="208" y="788"/>
                  </a:cubicBezTo>
                  <a:cubicBezTo>
                    <a:pt x="207" y="785"/>
                    <a:pt x="207" y="785"/>
                    <a:pt x="207" y="785"/>
                  </a:cubicBezTo>
                  <a:cubicBezTo>
                    <a:pt x="209" y="783"/>
                    <a:pt x="209" y="783"/>
                    <a:pt x="209" y="783"/>
                  </a:cubicBezTo>
                  <a:cubicBezTo>
                    <a:pt x="208" y="782"/>
                    <a:pt x="208" y="782"/>
                    <a:pt x="208" y="782"/>
                  </a:cubicBezTo>
                  <a:cubicBezTo>
                    <a:pt x="210" y="779"/>
                    <a:pt x="210" y="779"/>
                    <a:pt x="210" y="779"/>
                  </a:cubicBezTo>
                  <a:cubicBezTo>
                    <a:pt x="209" y="777"/>
                    <a:pt x="209" y="777"/>
                    <a:pt x="209" y="777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4" y="763"/>
                    <a:pt x="214" y="763"/>
                    <a:pt x="214" y="763"/>
                  </a:cubicBezTo>
                  <a:lnTo>
                    <a:pt x="211" y="760"/>
                  </a:lnTo>
                  <a:close/>
                  <a:moveTo>
                    <a:pt x="277" y="731"/>
                  </a:moveTo>
                  <a:cubicBezTo>
                    <a:pt x="281" y="724"/>
                    <a:pt x="281" y="724"/>
                    <a:pt x="281" y="724"/>
                  </a:cubicBezTo>
                  <a:cubicBezTo>
                    <a:pt x="278" y="718"/>
                    <a:pt x="278" y="718"/>
                    <a:pt x="278" y="718"/>
                  </a:cubicBezTo>
                  <a:cubicBezTo>
                    <a:pt x="272" y="719"/>
                    <a:pt x="272" y="719"/>
                    <a:pt x="272" y="719"/>
                  </a:cubicBezTo>
                  <a:cubicBezTo>
                    <a:pt x="270" y="724"/>
                    <a:pt x="270" y="724"/>
                    <a:pt x="270" y="724"/>
                  </a:cubicBezTo>
                  <a:cubicBezTo>
                    <a:pt x="270" y="719"/>
                    <a:pt x="270" y="719"/>
                    <a:pt x="270" y="719"/>
                  </a:cubicBezTo>
                  <a:cubicBezTo>
                    <a:pt x="270" y="719"/>
                    <a:pt x="267" y="719"/>
                    <a:pt x="266" y="720"/>
                  </a:cubicBezTo>
                  <a:cubicBezTo>
                    <a:pt x="264" y="721"/>
                    <a:pt x="263" y="724"/>
                    <a:pt x="263" y="724"/>
                  </a:cubicBezTo>
                  <a:cubicBezTo>
                    <a:pt x="263" y="724"/>
                    <a:pt x="262" y="723"/>
                    <a:pt x="259" y="726"/>
                  </a:cubicBezTo>
                  <a:cubicBezTo>
                    <a:pt x="257" y="729"/>
                    <a:pt x="253" y="739"/>
                    <a:pt x="253" y="739"/>
                  </a:cubicBezTo>
                  <a:cubicBezTo>
                    <a:pt x="253" y="739"/>
                    <a:pt x="248" y="741"/>
                    <a:pt x="248" y="746"/>
                  </a:cubicBezTo>
                  <a:cubicBezTo>
                    <a:pt x="247" y="753"/>
                    <a:pt x="253" y="753"/>
                    <a:pt x="253" y="757"/>
                  </a:cubicBezTo>
                  <a:cubicBezTo>
                    <a:pt x="251" y="762"/>
                    <a:pt x="249" y="763"/>
                    <a:pt x="249" y="763"/>
                  </a:cubicBezTo>
                  <a:cubicBezTo>
                    <a:pt x="251" y="765"/>
                    <a:pt x="251" y="765"/>
                    <a:pt x="251" y="765"/>
                  </a:cubicBezTo>
                  <a:cubicBezTo>
                    <a:pt x="251" y="772"/>
                    <a:pt x="251" y="772"/>
                    <a:pt x="251" y="772"/>
                  </a:cubicBezTo>
                  <a:cubicBezTo>
                    <a:pt x="254" y="773"/>
                    <a:pt x="254" y="773"/>
                    <a:pt x="254" y="773"/>
                  </a:cubicBezTo>
                  <a:cubicBezTo>
                    <a:pt x="254" y="776"/>
                    <a:pt x="254" y="776"/>
                    <a:pt x="254" y="776"/>
                  </a:cubicBezTo>
                  <a:cubicBezTo>
                    <a:pt x="254" y="776"/>
                    <a:pt x="257" y="775"/>
                    <a:pt x="257" y="776"/>
                  </a:cubicBezTo>
                  <a:cubicBezTo>
                    <a:pt x="257" y="777"/>
                    <a:pt x="255" y="778"/>
                    <a:pt x="255" y="778"/>
                  </a:cubicBezTo>
                  <a:cubicBezTo>
                    <a:pt x="255" y="782"/>
                    <a:pt x="255" y="782"/>
                    <a:pt x="255" y="782"/>
                  </a:cubicBezTo>
                  <a:cubicBezTo>
                    <a:pt x="255" y="783"/>
                    <a:pt x="253" y="787"/>
                    <a:pt x="253" y="787"/>
                  </a:cubicBezTo>
                  <a:cubicBezTo>
                    <a:pt x="258" y="785"/>
                    <a:pt x="258" y="785"/>
                    <a:pt x="258" y="785"/>
                  </a:cubicBezTo>
                  <a:cubicBezTo>
                    <a:pt x="261" y="779"/>
                    <a:pt x="261" y="779"/>
                    <a:pt x="261" y="779"/>
                  </a:cubicBezTo>
                  <a:cubicBezTo>
                    <a:pt x="260" y="779"/>
                    <a:pt x="260" y="779"/>
                    <a:pt x="260" y="779"/>
                  </a:cubicBezTo>
                  <a:cubicBezTo>
                    <a:pt x="261" y="774"/>
                    <a:pt x="261" y="774"/>
                    <a:pt x="261" y="774"/>
                  </a:cubicBezTo>
                  <a:cubicBezTo>
                    <a:pt x="262" y="772"/>
                    <a:pt x="262" y="772"/>
                    <a:pt x="262" y="772"/>
                  </a:cubicBezTo>
                  <a:cubicBezTo>
                    <a:pt x="261" y="772"/>
                    <a:pt x="261" y="772"/>
                    <a:pt x="261" y="772"/>
                  </a:cubicBezTo>
                  <a:cubicBezTo>
                    <a:pt x="266" y="766"/>
                    <a:pt x="266" y="766"/>
                    <a:pt x="266" y="766"/>
                  </a:cubicBezTo>
                  <a:cubicBezTo>
                    <a:pt x="271" y="763"/>
                    <a:pt x="271" y="763"/>
                    <a:pt x="271" y="763"/>
                  </a:cubicBezTo>
                  <a:cubicBezTo>
                    <a:pt x="271" y="758"/>
                    <a:pt x="271" y="758"/>
                    <a:pt x="271" y="758"/>
                  </a:cubicBezTo>
                  <a:cubicBezTo>
                    <a:pt x="277" y="750"/>
                    <a:pt x="277" y="750"/>
                    <a:pt x="277" y="750"/>
                  </a:cubicBezTo>
                  <a:cubicBezTo>
                    <a:pt x="274" y="750"/>
                    <a:pt x="274" y="750"/>
                    <a:pt x="274" y="750"/>
                  </a:cubicBezTo>
                  <a:cubicBezTo>
                    <a:pt x="271" y="746"/>
                    <a:pt x="271" y="746"/>
                    <a:pt x="271" y="746"/>
                  </a:cubicBezTo>
                  <a:cubicBezTo>
                    <a:pt x="271" y="746"/>
                    <a:pt x="273" y="743"/>
                    <a:pt x="274" y="740"/>
                  </a:cubicBezTo>
                  <a:cubicBezTo>
                    <a:pt x="274" y="738"/>
                    <a:pt x="271" y="735"/>
                    <a:pt x="271" y="735"/>
                  </a:cubicBezTo>
                  <a:cubicBezTo>
                    <a:pt x="272" y="730"/>
                    <a:pt x="272" y="730"/>
                    <a:pt x="272" y="730"/>
                  </a:cubicBezTo>
                  <a:lnTo>
                    <a:pt x="277" y="731"/>
                  </a:lnTo>
                  <a:close/>
                  <a:moveTo>
                    <a:pt x="280" y="719"/>
                  </a:moveTo>
                  <a:cubicBezTo>
                    <a:pt x="282" y="721"/>
                    <a:pt x="282" y="721"/>
                    <a:pt x="282" y="721"/>
                  </a:cubicBezTo>
                  <a:cubicBezTo>
                    <a:pt x="286" y="711"/>
                    <a:pt x="286" y="711"/>
                    <a:pt x="286" y="711"/>
                  </a:cubicBezTo>
                  <a:cubicBezTo>
                    <a:pt x="281" y="712"/>
                    <a:pt x="281" y="712"/>
                    <a:pt x="281" y="712"/>
                  </a:cubicBezTo>
                  <a:lnTo>
                    <a:pt x="280" y="719"/>
                  </a:lnTo>
                  <a:close/>
                  <a:moveTo>
                    <a:pt x="286" y="715"/>
                  </a:moveTo>
                  <a:cubicBezTo>
                    <a:pt x="290" y="715"/>
                    <a:pt x="290" y="715"/>
                    <a:pt x="290" y="715"/>
                  </a:cubicBezTo>
                  <a:cubicBezTo>
                    <a:pt x="291" y="712"/>
                    <a:pt x="291" y="712"/>
                    <a:pt x="291" y="712"/>
                  </a:cubicBezTo>
                  <a:cubicBezTo>
                    <a:pt x="288" y="712"/>
                    <a:pt x="288" y="712"/>
                    <a:pt x="288" y="712"/>
                  </a:cubicBezTo>
                  <a:lnTo>
                    <a:pt x="286" y="715"/>
                  </a:lnTo>
                  <a:close/>
                  <a:moveTo>
                    <a:pt x="282" y="691"/>
                  </a:moveTo>
                  <a:cubicBezTo>
                    <a:pt x="287" y="688"/>
                    <a:pt x="287" y="688"/>
                    <a:pt x="287" y="688"/>
                  </a:cubicBezTo>
                  <a:cubicBezTo>
                    <a:pt x="280" y="684"/>
                    <a:pt x="280" y="684"/>
                    <a:pt x="280" y="684"/>
                  </a:cubicBezTo>
                  <a:cubicBezTo>
                    <a:pt x="281" y="689"/>
                    <a:pt x="281" y="689"/>
                    <a:pt x="281" y="689"/>
                  </a:cubicBezTo>
                  <a:lnTo>
                    <a:pt x="282" y="691"/>
                  </a:lnTo>
                  <a:close/>
                  <a:moveTo>
                    <a:pt x="243" y="630"/>
                  </a:moveTo>
                  <a:cubicBezTo>
                    <a:pt x="255" y="631"/>
                    <a:pt x="255" y="631"/>
                    <a:pt x="255" y="631"/>
                  </a:cubicBezTo>
                  <a:cubicBezTo>
                    <a:pt x="256" y="630"/>
                    <a:pt x="256" y="630"/>
                    <a:pt x="256" y="630"/>
                  </a:cubicBezTo>
                  <a:cubicBezTo>
                    <a:pt x="254" y="626"/>
                    <a:pt x="254" y="626"/>
                    <a:pt x="254" y="626"/>
                  </a:cubicBezTo>
                  <a:cubicBezTo>
                    <a:pt x="251" y="625"/>
                    <a:pt x="251" y="625"/>
                    <a:pt x="251" y="625"/>
                  </a:cubicBezTo>
                  <a:cubicBezTo>
                    <a:pt x="248" y="626"/>
                    <a:pt x="248" y="626"/>
                    <a:pt x="248" y="626"/>
                  </a:cubicBezTo>
                  <a:cubicBezTo>
                    <a:pt x="249" y="628"/>
                    <a:pt x="249" y="628"/>
                    <a:pt x="249" y="628"/>
                  </a:cubicBezTo>
                  <a:cubicBezTo>
                    <a:pt x="243" y="628"/>
                    <a:pt x="243" y="628"/>
                    <a:pt x="243" y="628"/>
                  </a:cubicBezTo>
                  <a:lnTo>
                    <a:pt x="243" y="630"/>
                  </a:lnTo>
                  <a:close/>
                  <a:moveTo>
                    <a:pt x="254" y="615"/>
                  </a:moveTo>
                  <a:cubicBezTo>
                    <a:pt x="253" y="620"/>
                    <a:pt x="253" y="620"/>
                    <a:pt x="253" y="620"/>
                  </a:cubicBezTo>
                  <a:cubicBezTo>
                    <a:pt x="258" y="617"/>
                    <a:pt x="258" y="617"/>
                    <a:pt x="258" y="617"/>
                  </a:cubicBezTo>
                  <a:lnTo>
                    <a:pt x="254" y="615"/>
                  </a:lnTo>
                  <a:close/>
                  <a:moveTo>
                    <a:pt x="266" y="610"/>
                  </a:moveTo>
                  <a:cubicBezTo>
                    <a:pt x="265" y="607"/>
                    <a:pt x="265" y="607"/>
                    <a:pt x="265" y="607"/>
                  </a:cubicBezTo>
                  <a:cubicBezTo>
                    <a:pt x="259" y="610"/>
                    <a:pt x="259" y="610"/>
                    <a:pt x="259" y="610"/>
                  </a:cubicBezTo>
                  <a:cubicBezTo>
                    <a:pt x="262" y="612"/>
                    <a:pt x="262" y="612"/>
                    <a:pt x="262" y="612"/>
                  </a:cubicBezTo>
                  <a:lnTo>
                    <a:pt x="266" y="610"/>
                  </a:lnTo>
                  <a:close/>
                  <a:moveTo>
                    <a:pt x="258" y="630"/>
                  </a:moveTo>
                  <a:cubicBezTo>
                    <a:pt x="261" y="629"/>
                    <a:pt x="261" y="629"/>
                    <a:pt x="261" y="629"/>
                  </a:cubicBezTo>
                  <a:cubicBezTo>
                    <a:pt x="258" y="626"/>
                    <a:pt x="258" y="626"/>
                    <a:pt x="258" y="626"/>
                  </a:cubicBezTo>
                  <a:lnTo>
                    <a:pt x="258" y="630"/>
                  </a:lnTo>
                  <a:close/>
                  <a:moveTo>
                    <a:pt x="249" y="651"/>
                  </a:moveTo>
                  <a:cubicBezTo>
                    <a:pt x="253" y="644"/>
                    <a:pt x="253" y="644"/>
                    <a:pt x="253" y="644"/>
                  </a:cubicBezTo>
                  <a:cubicBezTo>
                    <a:pt x="250" y="643"/>
                    <a:pt x="250" y="643"/>
                    <a:pt x="250" y="643"/>
                  </a:cubicBezTo>
                  <a:cubicBezTo>
                    <a:pt x="246" y="649"/>
                    <a:pt x="246" y="649"/>
                    <a:pt x="246" y="649"/>
                  </a:cubicBezTo>
                  <a:lnTo>
                    <a:pt x="249" y="651"/>
                  </a:lnTo>
                  <a:close/>
                  <a:moveTo>
                    <a:pt x="245" y="653"/>
                  </a:moveTo>
                  <a:cubicBezTo>
                    <a:pt x="244" y="656"/>
                    <a:pt x="245" y="658"/>
                    <a:pt x="247" y="656"/>
                  </a:cubicBezTo>
                  <a:cubicBezTo>
                    <a:pt x="249" y="653"/>
                    <a:pt x="246" y="651"/>
                    <a:pt x="245" y="653"/>
                  </a:cubicBezTo>
                  <a:close/>
                  <a:moveTo>
                    <a:pt x="238" y="652"/>
                  </a:moveTo>
                  <a:cubicBezTo>
                    <a:pt x="241" y="653"/>
                    <a:pt x="241" y="653"/>
                    <a:pt x="241" y="653"/>
                  </a:cubicBezTo>
                  <a:cubicBezTo>
                    <a:pt x="243" y="649"/>
                    <a:pt x="243" y="649"/>
                    <a:pt x="243" y="649"/>
                  </a:cubicBezTo>
                  <a:cubicBezTo>
                    <a:pt x="242" y="649"/>
                    <a:pt x="242" y="649"/>
                    <a:pt x="242" y="649"/>
                  </a:cubicBezTo>
                  <a:lnTo>
                    <a:pt x="238" y="652"/>
                  </a:lnTo>
                  <a:close/>
                  <a:moveTo>
                    <a:pt x="251" y="632"/>
                  </a:moveTo>
                  <a:cubicBezTo>
                    <a:pt x="249" y="633"/>
                    <a:pt x="249" y="633"/>
                    <a:pt x="249" y="633"/>
                  </a:cubicBezTo>
                  <a:cubicBezTo>
                    <a:pt x="246" y="635"/>
                    <a:pt x="246" y="635"/>
                    <a:pt x="246" y="635"/>
                  </a:cubicBezTo>
                  <a:cubicBezTo>
                    <a:pt x="251" y="636"/>
                    <a:pt x="251" y="636"/>
                    <a:pt x="251" y="636"/>
                  </a:cubicBezTo>
                  <a:lnTo>
                    <a:pt x="251" y="632"/>
                  </a:lnTo>
                  <a:close/>
                  <a:moveTo>
                    <a:pt x="229" y="662"/>
                  </a:moveTo>
                  <a:cubicBezTo>
                    <a:pt x="229" y="664"/>
                    <a:pt x="229" y="664"/>
                    <a:pt x="229" y="664"/>
                  </a:cubicBezTo>
                  <a:cubicBezTo>
                    <a:pt x="232" y="666"/>
                    <a:pt x="232" y="666"/>
                    <a:pt x="232" y="666"/>
                  </a:cubicBezTo>
                  <a:cubicBezTo>
                    <a:pt x="231" y="661"/>
                    <a:pt x="231" y="661"/>
                    <a:pt x="231" y="661"/>
                  </a:cubicBezTo>
                  <a:lnTo>
                    <a:pt x="229" y="662"/>
                  </a:lnTo>
                  <a:close/>
                  <a:moveTo>
                    <a:pt x="246" y="562"/>
                  </a:moveTo>
                  <a:cubicBezTo>
                    <a:pt x="244" y="562"/>
                    <a:pt x="244" y="562"/>
                    <a:pt x="244" y="562"/>
                  </a:cubicBezTo>
                  <a:cubicBezTo>
                    <a:pt x="243" y="558"/>
                    <a:pt x="243" y="558"/>
                    <a:pt x="243" y="558"/>
                  </a:cubicBezTo>
                  <a:cubicBezTo>
                    <a:pt x="241" y="554"/>
                    <a:pt x="241" y="554"/>
                    <a:pt x="241" y="554"/>
                  </a:cubicBezTo>
                  <a:cubicBezTo>
                    <a:pt x="240" y="554"/>
                    <a:pt x="240" y="554"/>
                    <a:pt x="240" y="554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6" y="567"/>
                    <a:pt x="246" y="567"/>
                    <a:pt x="246" y="567"/>
                  </a:cubicBezTo>
                  <a:lnTo>
                    <a:pt x="246" y="562"/>
                  </a:lnTo>
                  <a:close/>
                  <a:moveTo>
                    <a:pt x="245" y="571"/>
                  </a:moveTo>
                  <a:cubicBezTo>
                    <a:pt x="248" y="572"/>
                    <a:pt x="249" y="569"/>
                    <a:pt x="246" y="569"/>
                  </a:cubicBezTo>
                  <a:cubicBezTo>
                    <a:pt x="243" y="569"/>
                    <a:pt x="243" y="571"/>
                    <a:pt x="245" y="571"/>
                  </a:cubicBezTo>
                  <a:close/>
                  <a:moveTo>
                    <a:pt x="253" y="571"/>
                  </a:moveTo>
                  <a:cubicBezTo>
                    <a:pt x="250" y="571"/>
                    <a:pt x="250" y="574"/>
                    <a:pt x="253" y="576"/>
                  </a:cubicBezTo>
                  <a:cubicBezTo>
                    <a:pt x="255" y="577"/>
                    <a:pt x="256" y="576"/>
                    <a:pt x="256" y="573"/>
                  </a:cubicBezTo>
                  <a:cubicBezTo>
                    <a:pt x="255" y="571"/>
                    <a:pt x="254" y="571"/>
                    <a:pt x="253" y="571"/>
                  </a:cubicBezTo>
                  <a:close/>
                  <a:moveTo>
                    <a:pt x="200" y="696"/>
                  </a:moveTo>
                  <a:cubicBezTo>
                    <a:pt x="199" y="693"/>
                    <a:pt x="199" y="693"/>
                    <a:pt x="199" y="693"/>
                  </a:cubicBezTo>
                  <a:cubicBezTo>
                    <a:pt x="198" y="693"/>
                    <a:pt x="198" y="693"/>
                    <a:pt x="198" y="69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202" y="698"/>
                    <a:pt x="202" y="698"/>
                    <a:pt x="202" y="698"/>
                  </a:cubicBezTo>
                  <a:lnTo>
                    <a:pt x="200" y="696"/>
                  </a:lnTo>
                  <a:close/>
                  <a:moveTo>
                    <a:pt x="198" y="739"/>
                  </a:moveTo>
                  <a:cubicBezTo>
                    <a:pt x="195" y="736"/>
                    <a:pt x="195" y="736"/>
                    <a:pt x="195" y="736"/>
                  </a:cubicBezTo>
                  <a:cubicBezTo>
                    <a:pt x="195" y="740"/>
                    <a:pt x="195" y="740"/>
                    <a:pt x="195" y="740"/>
                  </a:cubicBezTo>
                  <a:lnTo>
                    <a:pt x="198" y="739"/>
                  </a:lnTo>
                  <a:close/>
                  <a:moveTo>
                    <a:pt x="266" y="598"/>
                  </a:moveTo>
                  <a:cubicBezTo>
                    <a:pt x="263" y="596"/>
                    <a:pt x="263" y="596"/>
                    <a:pt x="263" y="596"/>
                  </a:cubicBezTo>
                  <a:cubicBezTo>
                    <a:pt x="261" y="598"/>
                    <a:pt x="261" y="598"/>
                    <a:pt x="261" y="598"/>
                  </a:cubicBezTo>
                  <a:lnTo>
                    <a:pt x="266" y="598"/>
                  </a:lnTo>
                  <a:close/>
                  <a:moveTo>
                    <a:pt x="205" y="485"/>
                  </a:moveTo>
                  <a:cubicBezTo>
                    <a:pt x="206" y="482"/>
                    <a:pt x="206" y="482"/>
                    <a:pt x="206" y="482"/>
                  </a:cubicBezTo>
                  <a:cubicBezTo>
                    <a:pt x="202" y="479"/>
                    <a:pt x="202" y="479"/>
                    <a:pt x="202" y="479"/>
                  </a:cubicBezTo>
                  <a:cubicBezTo>
                    <a:pt x="200" y="482"/>
                    <a:pt x="200" y="482"/>
                    <a:pt x="200" y="482"/>
                  </a:cubicBezTo>
                  <a:lnTo>
                    <a:pt x="205" y="485"/>
                  </a:lnTo>
                  <a:close/>
                  <a:moveTo>
                    <a:pt x="199" y="439"/>
                  </a:moveTo>
                  <a:cubicBezTo>
                    <a:pt x="201" y="439"/>
                    <a:pt x="201" y="439"/>
                    <a:pt x="201" y="439"/>
                  </a:cubicBezTo>
                  <a:cubicBezTo>
                    <a:pt x="200" y="432"/>
                    <a:pt x="200" y="432"/>
                    <a:pt x="200" y="432"/>
                  </a:cubicBezTo>
                  <a:cubicBezTo>
                    <a:pt x="198" y="431"/>
                    <a:pt x="198" y="431"/>
                    <a:pt x="198" y="431"/>
                  </a:cubicBezTo>
                  <a:lnTo>
                    <a:pt x="199" y="439"/>
                  </a:lnTo>
                  <a:close/>
                  <a:moveTo>
                    <a:pt x="217" y="421"/>
                  </a:moveTo>
                  <a:cubicBezTo>
                    <a:pt x="216" y="419"/>
                    <a:pt x="216" y="419"/>
                    <a:pt x="216" y="419"/>
                  </a:cubicBezTo>
                  <a:cubicBezTo>
                    <a:pt x="214" y="419"/>
                    <a:pt x="214" y="419"/>
                    <a:pt x="214" y="419"/>
                  </a:cubicBezTo>
                  <a:cubicBezTo>
                    <a:pt x="214" y="421"/>
                    <a:pt x="214" y="421"/>
                    <a:pt x="214" y="421"/>
                  </a:cubicBezTo>
                  <a:cubicBezTo>
                    <a:pt x="214" y="425"/>
                    <a:pt x="214" y="425"/>
                    <a:pt x="214" y="425"/>
                  </a:cubicBezTo>
                  <a:lnTo>
                    <a:pt x="217" y="421"/>
                  </a:lnTo>
                  <a:close/>
                  <a:moveTo>
                    <a:pt x="220" y="411"/>
                  </a:moveTo>
                  <a:cubicBezTo>
                    <a:pt x="215" y="412"/>
                    <a:pt x="214" y="415"/>
                    <a:pt x="216" y="416"/>
                  </a:cubicBezTo>
                  <a:cubicBezTo>
                    <a:pt x="220" y="418"/>
                    <a:pt x="223" y="411"/>
                    <a:pt x="220" y="411"/>
                  </a:cubicBezTo>
                  <a:close/>
                  <a:moveTo>
                    <a:pt x="234" y="392"/>
                  </a:moveTo>
                  <a:cubicBezTo>
                    <a:pt x="232" y="384"/>
                    <a:pt x="232" y="384"/>
                    <a:pt x="232" y="384"/>
                  </a:cubicBezTo>
                  <a:cubicBezTo>
                    <a:pt x="231" y="393"/>
                    <a:pt x="231" y="393"/>
                    <a:pt x="231" y="393"/>
                  </a:cubicBezTo>
                  <a:lnTo>
                    <a:pt x="234" y="392"/>
                  </a:lnTo>
                  <a:close/>
                  <a:moveTo>
                    <a:pt x="294" y="340"/>
                  </a:moveTo>
                  <a:cubicBezTo>
                    <a:pt x="294" y="343"/>
                    <a:pt x="294" y="343"/>
                    <a:pt x="294" y="343"/>
                  </a:cubicBezTo>
                  <a:cubicBezTo>
                    <a:pt x="297" y="342"/>
                    <a:pt x="297" y="342"/>
                    <a:pt x="297" y="342"/>
                  </a:cubicBezTo>
                  <a:cubicBezTo>
                    <a:pt x="296" y="336"/>
                    <a:pt x="296" y="336"/>
                    <a:pt x="296" y="336"/>
                  </a:cubicBezTo>
                  <a:lnTo>
                    <a:pt x="294" y="340"/>
                  </a:lnTo>
                  <a:close/>
                  <a:moveTo>
                    <a:pt x="293" y="335"/>
                  </a:moveTo>
                  <a:cubicBezTo>
                    <a:pt x="290" y="340"/>
                    <a:pt x="294" y="336"/>
                    <a:pt x="294" y="336"/>
                  </a:cubicBezTo>
                  <a:cubicBezTo>
                    <a:pt x="296" y="333"/>
                    <a:pt x="295" y="331"/>
                    <a:pt x="293" y="335"/>
                  </a:cubicBezTo>
                  <a:close/>
                  <a:moveTo>
                    <a:pt x="298" y="236"/>
                  </a:moveTo>
                  <a:cubicBezTo>
                    <a:pt x="300" y="240"/>
                    <a:pt x="300" y="240"/>
                    <a:pt x="300" y="240"/>
                  </a:cubicBezTo>
                  <a:cubicBezTo>
                    <a:pt x="306" y="242"/>
                    <a:pt x="306" y="242"/>
                    <a:pt x="306" y="242"/>
                  </a:cubicBezTo>
                  <a:cubicBezTo>
                    <a:pt x="307" y="241"/>
                    <a:pt x="307" y="241"/>
                    <a:pt x="307" y="241"/>
                  </a:cubicBezTo>
                  <a:cubicBezTo>
                    <a:pt x="304" y="239"/>
                    <a:pt x="304" y="239"/>
                    <a:pt x="304" y="239"/>
                  </a:cubicBezTo>
                  <a:cubicBezTo>
                    <a:pt x="305" y="236"/>
                    <a:pt x="305" y="236"/>
                    <a:pt x="305" y="236"/>
                  </a:cubicBezTo>
                  <a:cubicBezTo>
                    <a:pt x="303" y="235"/>
                    <a:pt x="303" y="235"/>
                    <a:pt x="303" y="235"/>
                  </a:cubicBezTo>
                  <a:cubicBezTo>
                    <a:pt x="302" y="237"/>
                    <a:pt x="302" y="237"/>
                    <a:pt x="302" y="237"/>
                  </a:cubicBezTo>
                  <a:cubicBezTo>
                    <a:pt x="302" y="235"/>
                    <a:pt x="302" y="235"/>
                    <a:pt x="302" y="235"/>
                  </a:cubicBezTo>
                  <a:lnTo>
                    <a:pt x="298" y="236"/>
                  </a:lnTo>
                  <a:close/>
                  <a:moveTo>
                    <a:pt x="312" y="222"/>
                  </a:moveTo>
                  <a:cubicBezTo>
                    <a:pt x="315" y="226"/>
                    <a:pt x="315" y="226"/>
                    <a:pt x="315" y="226"/>
                  </a:cubicBezTo>
                  <a:cubicBezTo>
                    <a:pt x="314" y="221"/>
                    <a:pt x="314" y="221"/>
                    <a:pt x="314" y="221"/>
                  </a:cubicBezTo>
                  <a:lnTo>
                    <a:pt x="312" y="222"/>
                  </a:lnTo>
                  <a:close/>
                  <a:moveTo>
                    <a:pt x="320" y="227"/>
                  </a:moveTo>
                  <a:cubicBezTo>
                    <a:pt x="322" y="224"/>
                    <a:pt x="322" y="224"/>
                    <a:pt x="322" y="224"/>
                  </a:cubicBezTo>
                  <a:cubicBezTo>
                    <a:pt x="317" y="225"/>
                    <a:pt x="317" y="225"/>
                    <a:pt x="317" y="225"/>
                  </a:cubicBezTo>
                  <a:lnTo>
                    <a:pt x="320" y="227"/>
                  </a:lnTo>
                  <a:close/>
                  <a:moveTo>
                    <a:pt x="322" y="222"/>
                  </a:moveTo>
                  <a:cubicBezTo>
                    <a:pt x="326" y="222"/>
                    <a:pt x="326" y="222"/>
                    <a:pt x="326" y="222"/>
                  </a:cubicBezTo>
                  <a:cubicBezTo>
                    <a:pt x="326" y="221"/>
                    <a:pt x="326" y="221"/>
                    <a:pt x="326" y="221"/>
                  </a:cubicBezTo>
                  <a:cubicBezTo>
                    <a:pt x="322" y="220"/>
                    <a:pt x="322" y="220"/>
                    <a:pt x="322" y="220"/>
                  </a:cubicBezTo>
                  <a:lnTo>
                    <a:pt x="322" y="222"/>
                  </a:lnTo>
                  <a:close/>
                  <a:moveTo>
                    <a:pt x="325" y="217"/>
                  </a:moveTo>
                  <a:cubicBezTo>
                    <a:pt x="326" y="213"/>
                    <a:pt x="326" y="213"/>
                    <a:pt x="326" y="213"/>
                  </a:cubicBezTo>
                  <a:cubicBezTo>
                    <a:pt x="322" y="215"/>
                    <a:pt x="322" y="215"/>
                    <a:pt x="322" y="215"/>
                  </a:cubicBezTo>
                  <a:lnTo>
                    <a:pt x="325" y="217"/>
                  </a:lnTo>
                  <a:close/>
                  <a:moveTo>
                    <a:pt x="319" y="219"/>
                  </a:moveTo>
                  <a:cubicBezTo>
                    <a:pt x="317" y="218"/>
                    <a:pt x="315" y="219"/>
                    <a:pt x="315" y="219"/>
                  </a:cubicBezTo>
                  <a:cubicBezTo>
                    <a:pt x="315" y="219"/>
                    <a:pt x="314" y="220"/>
                    <a:pt x="316" y="221"/>
                  </a:cubicBezTo>
                  <a:cubicBezTo>
                    <a:pt x="319" y="221"/>
                    <a:pt x="320" y="220"/>
                    <a:pt x="319" y="219"/>
                  </a:cubicBezTo>
                  <a:close/>
                  <a:moveTo>
                    <a:pt x="354" y="202"/>
                  </a:moveTo>
                  <a:cubicBezTo>
                    <a:pt x="356" y="202"/>
                    <a:pt x="356" y="202"/>
                    <a:pt x="356" y="202"/>
                  </a:cubicBezTo>
                  <a:cubicBezTo>
                    <a:pt x="356" y="200"/>
                    <a:pt x="356" y="200"/>
                    <a:pt x="356" y="200"/>
                  </a:cubicBezTo>
                  <a:cubicBezTo>
                    <a:pt x="354" y="200"/>
                    <a:pt x="354" y="200"/>
                    <a:pt x="354" y="200"/>
                  </a:cubicBezTo>
                  <a:lnTo>
                    <a:pt x="354" y="20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F7636D6-9045-8046-846A-18BC3CC14DDE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2286325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Rectangle 185">
            <a:extLst>
              <a:ext uri="{FF2B5EF4-FFF2-40B4-BE49-F238E27FC236}">
                <a16:creationId xmlns:a16="http://schemas.microsoft.com/office/drawing/2014/main" id="{1B24D510-5F04-0D4B-B09A-D6FCD87783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Title 1">
            <a:extLst>
              <a:ext uri="{FF2B5EF4-FFF2-40B4-BE49-F238E27FC236}">
                <a16:creationId xmlns:a16="http://schemas.microsoft.com/office/drawing/2014/main" id="{B4E0AB8A-C16B-0643-9066-4140FF474C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Australia</a:t>
            </a:r>
            <a:endParaRPr lang="en-US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8D485D-A667-DC44-81C7-6C226C580FE2}"/>
              </a:ext>
            </a:extLst>
          </p:cNvPr>
          <p:cNvGrpSpPr/>
          <p:nvPr userDrawn="1"/>
        </p:nvGrpSpPr>
        <p:grpSpPr>
          <a:xfrm>
            <a:off x="5431819" y="436846"/>
            <a:ext cx="6482275" cy="6091887"/>
            <a:chOff x="4450184" y="1201437"/>
            <a:chExt cx="4115592" cy="3867735"/>
          </a:xfrm>
        </p:grpSpPr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53826" y="2119391"/>
              <a:ext cx="298048" cy="319287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40660" y="1760190"/>
              <a:ext cx="875119" cy="667601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44805" y="4165732"/>
              <a:ext cx="1020971" cy="903440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0184" y="1201437"/>
              <a:ext cx="2625353" cy="119732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83103" y="2231865"/>
              <a:ext cx="199754" cy="108847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33351" y="2409652"/>
              <a:ext cx="2282917" cy="244908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70960D-A87D-FC4E-BA86-5B8E0C3BBE6B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3501020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3850"/>
            <a:ext cx="10934497" cy="55722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592263"/>
            <a:ext cx="3554209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Category Title here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5" y="2121145"/>
            <a:ext cx="3554205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white as the </a:t>
            </a:r>
            <a:r>
              <a:rPr lang="en-US" dirty="0" err="1"/>
              <a:t>colour</a:t>
            </a:r>
            <a:r>
              <a:rPr lang="en-US" dirty="0"/>
              <a:t> and place inside the blue circle.</a:t>
            </a:r>
          </a:p>
          <a:p>
            <a:r>
              <a:rPr lang="en-US" dirty="0"/>
              <a:t>Any unwanted Icons can be masked with a simple white box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4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5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4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FDD0A0D-4813-0442-B7A9-81BFB4829B0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697802F-0840-EE48-B35C-9CB300CE1D8F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Subtitle 2">
            <a:extLst>
              <a:ext uri="{FF2B5EF4-FFF2-40B4-BE49-F238E27FC236}">
                <a16:creationId xmlns:a16="http://schemas.microsoft.com/office/drawing/2014/main" id="{26402C3C-F59C-3A42-B015-2EA68FBF825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333861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CFCF589-AF37-934C-9D77-389344C39EC6}"/>
              </a:ext>
            </a:extLst>
          </p:cNvPr>
          <p:cNvSpPr/>
          <p:nvPr userDrawn="1"/>
        </p:nvSpPr>
        <p:spPr>
          <a:xfrm>
            <a:off x="4187824" y="0"/>
            <a:ext cx="8004175" cy="685800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9148"/>
            <a:ext cx="3322921" cy="8213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7" y="1592262"/>
            <a:ext cx="3321608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Copy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6" y="2121144"/>
            <a:ext cx="3321608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Kingspan Blue as the </a:t>
            </a:r>
            <a:r>
              <a:rPr lang="en-US" dirty="0" err="1"/>
              <a:t>colour</a:t>
            </a:r>
            <a:r>
              <a:rPr lang="en-US" dirty="0"/>
              <a:t> and place inside the white circle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2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3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3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BC67C90-EE5C-624B-803D-A24E2B956D1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9B69D5E-ED9C-544E-A604-69F54D7871C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Subtitle 2">
            <a:extLst>
              <a:ext uri="{FF2B5EF4-FFF2-40B4-BE49-F238E27FC236}">
                <a16:creationId xmlns:a16="http://schemas.microsoft.com/office/drawing/2014/main" id="{9C1708ED-C33A-E546-BF47-ADC82014D16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D0268A4-3A87-5D4C-AF1D-0FE814E58E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760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A0AD9CA-DD4F-6849-9EBD-847328BAD8DE}"/>
              </a:ext>
            </a:extLst>
          </p:cNvPr>
          <p:cNvSpPr/>
          <p:nvPr userDrawn="1"/>
        </p:nvSpPr>
        <p:spPr>
          <a:xfrm>
            <a:off x="890524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DBA820-B79F-8940-93B5-9A3B88CEEBE6}"/>
              </a:ext>
            </a:extLst>
          </p:cNvPr>
          <p:cNvSpPr/>
          <p:nvPr userDrawn="1"/>
        </p:nvSpPr>
        <p:spPr>
          <a:xfrm>
            <a:off x="27608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12DD1A3-2ECA-2941-93A2-23BA1BB974D6}"/>
              </a:ext>
            </a:extLst>
          </p:cNvPr>
          <p:cNvSpPr/>
          <p:nvPr userDrawn="1"/>
        </p:nvSpPr>
        <p:spPr>
          <a:xfrm>
            <a:off x="45896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4DA6F6B-A360-834A-B6A1-672292E771E1}"/>
              </a:ext>
            </a:extLst>
          </p:cNvPr>
          <p:cNvSpPr/>
          <p:nvPr userDrawn="1"/>
        </p:nvSpPr>
        <p:spPr>
          <a:xfrm>
            <a:off x="6489841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1162878-B24C-CB4E-82D5-450D8A9335EA}"/>
              </a:ext>
            </a:extLst>
          </p:cNvPr>
          <p:cNvSpPr/>
          <p:nvPr userDrawn="1"/>
        </p:nvSpPr>
        <p:spPr>
          <a:xfrm>
            <a:off x="8313789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4B2BB32-0183-9442-AD45-3D1F3A7510B4}"/>
              </a:ext>
            </a:extLst>
          </p:cNvPr>
          <p:cNvSpPr/>
          <p:nvPr userDrawn="1"/>
        </p:nvSpPr>
        <p:spPr>
          <a:xfrm>
            <a:off x="1016752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1566"/>
            <a:ext cx="10934496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8A2391B-7CB4-D048-93B2-01298DBE852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4797425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B9895C84-2A29-B648-9FCB-581D7A666A5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5265738"/>
            <a:ext cx="1725410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C4372F70-3F92-984D-A1D6-64A68A41CC4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491189" y="4797425"/>
            <a:ext cx="169663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11357760-943B-E346-879B-5120DFBB54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91189" y="5265738"/>
            <a:ext cx="169663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AB36158F-1BCC-9142-AC83-0549E61597E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29614" y="4797425"/>
            <a:ext cx="1694949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A6B674D9-7291-2045-937A-0C8BE04CBCD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29614" y="5265738"/>
            <a:ext cx="1694949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D345FC74-CE8E-024B-9255-A89BBBAAAF2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06540" y="4797425"/>
            <a:ext cx="1658034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77946A5A-2264-094F-849A-D29C2FE0346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06540" y="5265738"/>
            <a:ext cx="1658034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2B8AE223-BAE7-584D-B3CF-E89FCAF2D75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006465" y="4797425"/>
            <a:ext cx="171747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6FD89598-B46E-E149-80A9-FFF06C86794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006465" y="5265738"/>
            <a:ext cx="1717472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E9C16BF4-14AA-904F-8536-6397929D2C9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9873766" y="4797425"/>
            <a:ext cx="169434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D10C066C-33CD-ED43-90D0-B8F060FE81F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9873766" y="5265738"/>
            <a:ext cx="169434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8F9FF5E-F6CE-BD44-8EE0-5F95979213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C5920A3-68C0-0748-B9EC-F7A9A8E276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Subtitle 2">
            <a:extLst>
              <a:ext uri="{FF2B5EF4-FFF2-40B4-BE49-F238E27FC236}">
                <a16:creationId xmlns:a16="http://schemas.microsoft.com/office/drawing/2014/main" id="{496FCA75-A150-5D4F-9612-55D226FB00C1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345847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09600" y="1510584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9C2F46-1389-2049-AB66-BA0E4767FF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365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05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E0753F-4CF5-0249-99E2-78D9368551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248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A191C85-8222-C049-9D1C-4D066189C0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499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2375" t="27833" r="42531" b="51236"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80083D-ED1D-A14E-AB59-11EE03FDC6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705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14E8BA2-96AA-D443-B26D-17071E739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689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1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lace on a slide of your choosing.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B07D24-D394-6B43-9672-1B4A838AFF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5975" y="6259606"/>
            <a:ext cx="1875066" cy="513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478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Planet Passionat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9DDE4E-439C-584A-9367-471280FC2F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281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2D56AAE-6755-884D-9729-A3748131BB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904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A39A48A-1B62-F642-8CA6-53864C1F171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EB265DC-753B-A04E-AEED-322969FA79D3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Subtitle 2">
            <a:extLst>
              <a:ext uri="{FF2B5EF4-FFF2-40B4-BE49-F238E27FC236}">
                <a16:creationId xmlns:a16="http://schemas.microsoft.com/office/drawing/2014/main" id="{FBA345E0-EE21-5C40-9A9E-7CBADF7B171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95459B0-3CE0-F742-A537-8BB9245B20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5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683EF78-36EB-B347-8002-51E747491FD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89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9615A174-4F8A-2F4B-9A8E-80A3491D38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574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7CF87F0-7E8F-904C-8D99-7DBEEF328B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727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6E69647-C502-C441-87EF-3977815DA1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86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B8647F-9952-F446-B6D5-8D7125A485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63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589FAB-72DB-3C47-8A59-E513229C35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420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8B147F-3449-9841-98AE-A51B6A4FB3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315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D3A9F48F-DEB8-D54B-9A3F-D74D7B3BDB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E83591B-96D8-4D47-B22F-66A56E777A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971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719F52-3F4D-094F-A7E3-CAB8AD389D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938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F9FCBF-D3C7-5348-A691-5634596B9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846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C036A99-9230-1D44-BD35-B76E66776C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201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F004747-33C9-704E-A2E6-F4C6141C8D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051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0E04F-D46A-C744-A629-DAA67A0816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575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35017B9-77BC-284B-A42C-A296E825A7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934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260227-57F8-2644-B85D-64F25A1789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673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8FD18CE-A7CC-0342-99A8-D08B8CBC5F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425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BB4072D-3150-684F-96E4-3E2B94E27921}"/>
              </a:ext>
            </a:extLst>
          </p:cNvPr>
          <p:cNvGrpSpPr/>
          <p:nvPr userDrawn="1"/>
        </p:nvGrpSpPr>
        <p:grpSpPr>
          <a:xfrm>
            <a:off x="374053" y="-12529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0D6FCC16-AC36-7B41-9B9B-3B1A96FD6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4262DF0-E744-6041-AAE9-9D127B7A9AC3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lerts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D6B311C-FDD8-7A4A-9E1B-4E8579537454}"/>
              </a:ext>
            </a:extLst>
          </p:cNvPr>
          <p:cNvGrpSpPr/>
          <p:nvPr userDrawn="1"/>
        </p:nvGrpSpPr>
        <p:grpSpPr>
          <a:xfrm>
            <a:off x="8541224" y="3305151"/>
            <a:ext cx="1580322" cy="1608757"/>
            <a:chOff x="5750970" y="2169250"/>
            <a:chExt cx="1580322" cy="1608757"/>
          </a:xfrm>
        </p:grpSpPr>
        <p:pic>
          <p:nvPicPr>
            <p:cNvPr id="174" name="Picture 173" descr="A close up of a logo&#10;&#10;Description automatically generated">
              <a:extLst>
                <a:ext uri="{FF2B5EF4-FFF2-40B4-BE49-F238E27FC236}">
                  <a16:creationId xmlns:a16="http://schemas.microsoft.com/office/drawing/2014/main" id="{545988BF-965C-AA47-9425-0D6D6D39B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535BD7F4-24A1-0747-87AF-EF4D15762673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se Study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5088489E-7174-F243-A7AA-497CA2725050}"/>
              </a:ext>
            </a:extLst>
          </p:cNvPr>
          <p:cNvGrpSpPr/>
          <p:nvPr userDrawn="1"/>
        </p:nvGrpSpPr>
        <p:grpSpPr>
          <a:xfrm>
            <a:off x="5767441" y="1746216"/>
            <a:ext cx="1580322" cy="1715119"/>
            <a:chOff x="367748" y="405538"/>
            <a:chExt cx="1580322" cy="1715119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9684B06A-814D-4241-89C0-3A6DA490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93807C27-7A76-734F-9F6C-D956CCFA4A62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</a:t>
              </a:r>
            </a:p>
            <a:p>
              <a:pPr algn="ctr"/>
              <a:r>
                <a:rPr lang="en-US" sz="1200" dirty="0"/>
                <a:t>Service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064A34D-C51B-FA46-AAF8-C7D071096ECE}"/>
              </a:ext>
            </a:extLst>
          </p:cNvPr>
          <p:cNvGrpSpPr/>
          <p:nvPr userDrawn="1"/>
        </p:nvGrpSpPr>
        <p:grpSpPr>
          <a:xfrm>
            <a:off x="5773190" y="-28593"/>
            <a:ext cx="1580322" cy="1566045"/>
            <a:chOff x="367748" y="2169250"/>
            <a:chExt cx="1580322" cy="1566045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95E333A6-653E-F645-8071-A8B53C73A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E3DF9503-1188-EF42-874E-90566CC4A8DD}"/>
                </a:ext>
              </a:extLst>
            </p:cNvPr>
            <p:cNvSpPr txBox="1"/>
            <p:nvPr/>
          </p:nvSpPr>
          <p:spPr>
            <a:xfrm>
              <a:off x="367748" y="345829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rand DNA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89866316-E303-0344-BE71-8D9017A98606}"/>
              </a:ext>
            </a:extLst>
          </p:cNvPr>
          <p:cNvGrpSpPr/>
          <p:nvPr userDrawn="1"/>
        </p:nvGrpSpPr>
        <p:grpSpPr>
          <a:xfrm>
            <a:off x="7138849" y="1746216"/>
            <a:ext cx="1580322" cy="1553763"/>
            <a:chOff x="5750970" y="2169250"/>
            <a:chExt cx="1580322" cy="155376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E241773-9743-8D49-ACAA-E64CE7684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46513CAC-B56C-2E49-BFC1-44A1F6A2B074}"/>
                </a:ext>
              </a:extLst>
            </p:cNvPr>
            <p:cNvSpPr txBox="1"/>
            <p:nvPr/>
          </p:nvSpPr>
          <p:spPr>
            <a:xfrm>
              <a:off x="5750970" y="344601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llaboration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7AD6A17-ED90-6547-A570-1EAE684B017F}"/>
              </a:ext>
            </a:extLst>
          </p:cNvPr>
          <p:cNvGrpSpPr/>
          <p:nvPr userDrawn="1"/>
        </p:nvGrpSpPr>
        <p:grpSpPr>
          <a:xfrm>
            <a:off x="390557" y="3313364"/>
            <a:ext cx="1580322" cy="1537449"/>
            <a:chOff x="9480376" y="3968750"/>
            <a:chExt cx="1580322" cy="1537449"/>
          </a:xfrm>
        </p:grpSpPr>
        <p:pic>
          <p:nvPicPr>
            <p:cNvPr id="186" name="Picture 18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B6D36BF-1E77-B047-A477-9B1A19440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5CDFDBC-E158-B549-BB68-75DB5E0F1ED6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act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8D4F745E-0219-0346-8DD9-592D94CD0F1A}"/>
              </a:ext>
            </a:extLst>
          </p:cNvPr>
          <p:cNvGrpSpPr/>
          <p:nvPr userDrawn="1"/>
        </p:nvGrpSpPr>
        <p:grpSpPr>
          <a:xfrm>
            <a:off x="7155839" y="-23657"/>
            <a:ext cx="1580322" cy="1537586"/>
            <a:chOff x="5750970" y="3968613"/>
            <a:chExt cx="1580322" cy="1537586"/>
          </a:xfrm>
        </p:grpSpPr>
        <p:pic>
          <p:nvPicPr>
            <p:cNvPr id="189" name="Picture 188" descr="A close up of a logo&#10;&#10;Description automatically generated">
              <a:extLst>
                <a:ext uri="{FF2B5EF4-FFF2-40B4-BE49-F238E27FC236}">
                  <a16:creationId xmlns:a16="http://schemas.microsoft.com/office/drawing/2014/main" id="{5BEC7397-EA5B-8047-8142-35A4E2846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E0E91293-FA98-274D-A2CA-30660D44AC83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acteria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FF8C05F-938E-3540-AE08-1D6175D46C00}"/>
              </a:ext>
            </a:extLst>
          </p:cNvPr>
          <p:cNvGrpSpPr/>
          <p:nvPr userDrawn="1"/>
        </p:nvGrpSpPr>
        <p:grpSpPr>
          <a:xfrm>
            <a:off x="1627715" y="3302734"/>
            <a:ext cx="1580322" cy="1740157"/>
            <a:chOff x="7667309" y="2169250"/>
            <a:chExt cx="1580322" cy="1740157"/>
          </a:xfrm>
        </p:grpSpPr>
        <p:pic>
          <p:nvPicPr>
            <p:cNvPr id="192" name="Picture 191" descr="A close up of a sign&#10;&#10;Description automatically generated">
              <a:extLst>
                <a:ext uri="{FF2B5EF4-FFF2-40B4-BE49-F238E27FC236}">
                  <a16:creationId xmlns:a16="http://schemas.microsoft.com/office/drawing/2014/main" id="{2BE03BB0-45C2-824D-9534-7FAB7C4E66C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D4D9A9BA-AAC4-B544-A6DC-868CB55D999B}"/>
                </a:ext>
              </a:extLst>
            </p:cNvPr>
            <p:cNvSpPr txBox="1"/>
            <p:nvPr/>
          </p:nvSpPr>
          <p:spPr>
            <a:xfrm>
              <a:off x="7667309" y="344774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liant Solution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56138BC7-748A-D049-82ED-CAE61EC15437}"/>
              </a:ext>
            </a:extLst>
          </p:cNvPr>
          <p:cNvGrpSpPr/>
          <p:nvPr userDrawn="1"/>
        </p:nvGrpSpPr>
        <p:grpSpPr>
          <a:xfrm>
            <a:off x="374053" y="1763790"/>
            <a:ext cx="1580322" cy="1530453"/>
            <a:chOff x="367748" y="405538"/>
            <a:chExt cx="1580322" cy="1530453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64632124-D98E-4C47-B909-97AA1F99C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561DC6A-9438-874F-AA4C-5AEC225CF95B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lendar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588EF020-AE7A-2B48-9265-38C1075295F9}"/>
              </a:ext>
            </a:extLst>
          </p:cNvPr>
          <p:cNvGrpSpPr/>
          <p:nvPr userDrawn="1"/>
        </p:nvGrpSpPr>
        <p:grpSpPr>
          <a:xfrm>
            <a:off x="1637039" y="1750338"/>
            <a:ext cx="1580322" cy="1530453"/>
            <a:chOff x="2063552" y="405538"/>
            <a:chExt cx="1580322" cy="1530453"/>
          </a:xfrm>
        </p:grpSpPr>
        <p:pic>
          <p:nvPicPr>
            <p:cNvPr id="198" name="Picture 197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16375AE-E24C-3744-9A70-E2C84CEEB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35A4F2E9-4BE7-1E4B-B530-BC1CD4ADCE1C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art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910D802-A6C8-274C-9C65-47AFAC4CFE8B}"/>
              </a:ext>
            </a:extLst>
          </p:cNvPr>
          <p:cNvGrpSpPr/>
          <p:nvPr userDrawn="1"/>
        </p:nvGrpSpPr>
        <p:grpSpPr>
          <a:xfrm>
            <a:off x="1643847" y="-28593"/>
            <a:ext cx="1580322" cy="1722252"/>
            <a:chOff x="367748" y="3968613"/>
            <a:chExt cx="1580322" cy="1722252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2B8E77AE-2D9B-4A47-8684-1C0D40558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37909" y="3968613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7C81AE6-3996-7647-A9B4-8438B7CFC46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ccredited Installer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08690EF9-DDDF-1F40-818B-75754B172961}"/>
              </a:ext>
            </a:extLst>
          </p:cNvPr>
          <p:cNvGrpSpPr/>
          <p:nvPr userDrawn="1"/>
        </p:nvGrpSpPr>
        <p:grpSpPr>
          <a:xfrm>
            <a:off x="3000586" y="1746216"/>
            <a:ext cx="1580322" cy="1537449"/>
            <a:chOff x="5750970" y="3968750"/>
            <a:chExt cx="1580322" cy="1537449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6594CE0C-26AF-A047-A3D6-A9C611F7E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1164C9F6-C764-5E40-B736-75839445A2D1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unication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FCA607D7-2C8C-3D4B-B351-BBA093EE00BE}"/>
              </a:ext>
            </a:extLst>
          </p:cNvPr>
          <p:cNvGrpSpPr/>
          <p:nvPr userDrawn="1"/>
        </p:nvGrpSpPr>
        <p:grpSpPr>
          <a:xfrm>
            <a:off x="4369981" y="1746216"/>
            <a:ext cx="1580322" cy="1537586"/>
            <a:chOff x="7667309" y="3968613"/>
            <a:chExt cx="1580322" cy="1537586"/>
          </a:xfrm>
        </p:grpSpPr>
        <p:pic>
          <p:nvPicPr>
            <p:cNvPr id="207" name="Picture 206" descr="A close up of a sign&#10;&#10;Description automatically generated">
              <a:extLst>
                <a:ext uri="{FF2B5EF4-FFF2-40B4-BE49-F238E27FC236}">
                  <a16:creationId xmlns:a16="http://schemas.microsoft.com/office/drawing/2014/main" id="{A290880F-F450-4B44-9E67-E63D21ABC8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4CE1E15B-D5EC-FB44-95DA-0FE4DCD2172E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ed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DA3EF250-8F71-4F44-B1B0-3FFF284AD16D}"/>
              </a:ext>
            </a:extLst>
          </p:cNvPr>
          <p:cNvGrpSpPr/>
          <p:nvPr userDrawn="1"/>
        </p:nvGrpSpPr>
        <p:grpSpPr>
          <a:xfrm>
            <a:off x="4378756" y="3320360"/>
            <a:ext cx="1580322" cy="1530453"/>
            <a:chOff x="5750970" y="405538"/>
            <a:chExt cx="1580322" cy="1530453"/>
          </a:xfrm>
        </p:grpSpPr>
        <p:pic>
          <p:nvPicPr>
            <p:cNvPr id="210" name="Picture 209" descr="A close up of a sign&#10;&#10;Description automatically generated">
              <a:extLst>
                <a:ext uri="{FF2B5EF4-FFF2-40B4-BE49-F238E27FC236}">
                  <a16:creationId xmlns:a16="http://schemas.microsoft.com/office/drawing/2014/main" id="{BBF960DB-5E07-EB4D-BC48-1A5EF2910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A6D742A9-6A61-054A-9CDC-5E9FA42210F8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cate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DFAEBC59-2894-9C47-8523-D8693974B992}"/>
              </a:ext>
            </a:extLst>
          </p:cNvPr>
          <p:cNvGrpSpPr/>
          <p:nvPr userDrawn="1"/>
        </p:nvGrpSpPr>
        <p:grpSpPr>
          <a:xfrm>
            <a:off x="8534296" y="1742769"/>
            <a:ext cx="1580322" cy="1564192"/>
            <a:chOff x="2063552" y="2169250"/>
            <a:chExt cx="1580322" cy="1564192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F922517B-CA2F-6346-B1BA-B6F47E903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5FE21AD-85C6-D345-9A10-7B46BEA32814}"/>
                </a:ext>
              </a:extLst>
            </p:cNvPr>
            <p:cNvSpPr txBox="1"/>
            <p:nvPr/>
          </p:nvSpPr>
          <p:spPr>
            <a:xfrm>
              <a:off x="2063552" y="345644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B8F8ED8-D362-9043-A3D6-7462ACC1CE05}"/>
              </a:ext>
            </a:extLst>
          </p:cNvPr>
          <p:cNvGrpSpPr/>
          <p:nvPr userDrawn="1"/>
        </p:nvGrpSpPr>
        <p:grpSpPr>
          <a:xfrm>
            <a:off x="3004181" y="-22880"/>
            <a:ext cx="1580322" cy="1544397"/>
            <a:chOff x="9480376" y="2169250"/>
            <a:chExt cx="1580322" cy="1544397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F1BAC1CF-C9BB-2D4F-9500-7BB40CF84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D6299A57-6EF6-664C-BE40-A9AACB5631BD}"/>
                </a:ext>
              </a:extLst>
            </p:cNvPr>
            <p:cNvSpPr txBox="1"/>
            <p:nvPr/>
          </p:nvSpPr>
          <p:spPr>
            <a:xfrm>
              <a:off x="9480376" y="343664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d Blu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A917B2A9-4483-0C4E-B212-56D00A07DDEC}"/>
              </a:ext>
            </a:extLst>
          </p:cNvPr>
          <p:cNvGrpSpPr/>
          <p:nvPr userDrawn="1"/>
        </p:nvGrpSpPr>
        <p:grpSpPr>
          <a:xfrm>
            <a:off x="3001276" y="3313364"/>
            <a:ext cx="1580322" cy="1537449"/>
            <a:chOff x="5750970" y="3968750"/>
            <a:chExt cx="1580322" cy="1537449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CBA9383E-7B9F-B647-A0C8-4D320BE8F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AC9539E8-2107-DC4D-9FEA-ED7CB940FDF8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ivils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57A30889-B007-AD40-85E4-F6F17A1F1D52}"/>
              </a:ext>
            </a:extLst>
          </p:cNvPr>
          <p:cNvGrpSpPr/>
          <p:nvPr userDrawn="1"/>
        </p:nvGrpSpPr>
        <p:grpSpPr>
          <a:xfrm>
            <a:off x="5767441" y="3302734"/>
            <a:ext cx="1580322" cy="1722252"/>
            <a:chOff x="7667309" y="3968613"/>
            <a:chExt cx="1580322" cy="1722252"/>
          </a:xfrm>
        </p:grpSpPr>
        <p:pic>
          <p:nvPicPr>
            <p:cNvPr id="222" name="Picture 221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8D68CAAC-0F8A-3248-B6FC-B6C507489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73A02D73-85E4-D54E-B75C-5B46FFAF3D1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 </a:t>
              </a:r>
              <a:br>
                <a:rPr lang="en-US" sz="1200" dirty="0"/>
              </a:br>
              <a:r>
                <a:rPr lang="en-US" sz="1200" dirty="0"/>
                <a:t>Focu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C6939DA3-B198-C44D-A756-96A1E60EB82A}"/>
              </a:ext>
            </a:extLst>
          </p:cNvPr>
          <p:cNvGrpSpPr/>
          <p:nvPr userDrawn="1"/>
        </p:nvGrpSpPr>
        <p:grpSpPr>
          <a:xfrm>
            <a:off x="7141403" y="3313364"/>
            <a:ext cx="1580322" cy="1746998"/>
            <a:chOff x="5750970" y="2169250"/>
            <a:chExt cx="1580322" cy="1746998"/>
          </a:xfrm>
        </p:grpSpPr>
        <p:pic>
          <p:nvPicPr>
            <p:cNvPr id="225" name="Picture 224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4708964-CE3F-9D48-8BBA-2CFD73C8D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B23F0FC8-6B3E-0944-9F32-860C86EFC6FA}"/>
                </a:ext>
              </a:extLst>
            </p:cNvPr>
            <p:cNvSpPr txBox="1"/>
            <p:nvPr/>
          </p:nvSpPr>
          <p:spPr>
            <a:xfrm>
              <a:off x="5750970" y="345458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Containerised</a:t>
              </a:r>
              <a:r>
                <a:rPr lang="en-US" sz="1200" dirty="0"/>
                <a:t> Design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D8D3B16F-07A5-B944-A6E5-5DC37CA04E3C}"/>
              </a:ext>
            </a:extLst>
          </p:cNvPr>
          <p:cNvGrpSpPr/>
          <p:nvPr userDrawn="1"/>
        </p:nvGrpSpPr>
        <p:grpSpPr>
          <a:xfrm>
            <a:off x="4369981" y="-14955"/>
            <a:ext cx="1580322" cy="1537586"/>
            <a:chOff x="2063552" y="3968613"/>
            <a:chExt cx="1580322" cy="1537586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2788A875-5726-6B42-B1D9-4DAF20BCC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28B723FF-C4D0-5245-B84D-8D72732425F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gricultur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5EFF25D9-F93F-7148-9B95-038D2822567D}"/>
              </a:ext>
            </a:extLst>
          </p:cNvPr>
          <p:cNvGrpSpPr/>
          <p:nvPr userDrawn="1"/>
        </p:nvGrpSpPr>
        <p:grpSpPr>
          <a:xfrm>
            <a:off x="8541224" y="-26646"/>
            <a:ext cx="1580322" cy="1565539"/>
            <a:chOff x="7667309" y="405538"/>
            <a:chExt cx="1580322" cy="1565539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E4A0CF04-4EC5-814B-9421-725F8B1E1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2E0C3064-CD98-1B45-A64E-168C14E6084B}"/>
                </a:ext>
              </a:extLst>
            </p:cNvPr>
            <p:cNvSpPr txBox="1"/>
            <p:nvPr/>
          </p:nvSpPr>
          <p:spPr>
            <a:xfrm>
              <a:off x="7667309" y="169407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us Stop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A640E644-110F-8C49-9371-6D9238ABE916}"/>
              </a:ext>
            </a:extLst>
          </p:cNvPr>
          <p:cNvGrpSpPr/>
          <p:nvPr userDrawn="1"/>
        </p:nvGrpSpPr>
        <p:grpSpPr>
          <a:xfrm>
            <a:off x="9960528" y="3320360"/>
            <a:ext cx="1580322" cy="1740001"/>
            <a:chOff x="2063552" y="2169250"/>
            <a:chExt cx="1580322" cy="174000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838E1618-59F8-FD4E-A284-7D0B04246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3EB45999-6401-CD4F-A88E-21C4FB74114C}"/>
                </a:ext>
              </a:extLst>
            </p:cNvPr>
            <p:cNvSpPr txBox="1"/>
            <p:nvPr/>
          </p:nvSpPr>
          <p:spPr>
            <a:xfrm>
              <a:off x="2063552" y="344758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centration Less Than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211471AA-4E2C-6045-8300-C5AAE621AEE5}"/>
              </a:ext>
            </a:extLst>
          </p:cNvPr>
          <p:cNvGrpSpPr/>
          <p:nvPr userDrawn="1"/>
        </p:nvGrpSpPr>
        <p:grpSpPr>
          <a:xfrm>
            <a:off x="9954108" y="1742769"/>
            <a:ext cx="1580322" cy="1537449"/>
            <a:chOff x="367748" y="3968750"/>
            <a:chExt cx="1580322" cy="1537449"/>
          </a:xfrm>
        </p:grpSpPr>
        <p:pic>
          <p:nvPicPr>
            <p:cNvPr id="237" name="Picture 236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22C9C45-18CD-7A42-922D-4ED8DAE8A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5500F41A-2337-484C-8F87-3EFC5157C48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rols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5E2A23B-F9F0-2249-A919-88854DE225BB}"/>
              </a:ext>
            </a:extLst>
          </p:cNvPr>
          <p:cNvGrpSpPr/>
          <p:nvPr userDrawn="1"/>
        </p:nvGrpSpPr>
        <p:grpSpPr>
          <a:xfrm>
            <a:off x="9954108" y="-24119"/>
            <a:ext cx="1580322" cy="1566138"/>
            <a:chOff x="367748" y="2169250"/>
            <a:chExt cx="1580322" cy="1566138"/>
          </a:xfrm>
        </p:grpSpPr>
        <p:pic>
          <p:nvPicPr>
            <p:cNvPr id="240" name="Picture 23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7790CCC-4BC9-994E-B5EC-2E60C341C7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C9E76F3C-BBAC-5845-B4C8-74EA95D89503}"/>
                </a:ext>
              </a:extLst>
            </p:cNvPr>
            <p:cNvSpPr txBox="1"/>
            <p:nvPr/>
          </p:nvSpPr>
          <p:spPr>
            <a:xfrm>
              <a:off x="367748" y="345838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A93816-B89C-4948-9307-37A1BA81EE01}"/>
              </a:ext>
            </a:extLst>
          </p:cNvPr>
          <p:cNvGrpSpPr/>
          <p:nvPr userDrawn="1"/>
        </p:nvGrpSpPr>
        <p:grpSpPr>
          <a:xfrm>
            <a:off x="7143380" y="5092727"/>
            <a:ext cx="1580322" cy="1806074"/>
            <a:chOff x="3896140" y="3968613"/>
            <a:chExt cx="1580322" cy="1806074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AAF03E1D-6D2B-CC42-810D-332EBE69A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966301" y="3968613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B280E7F6-3DD1-DB4C-A9D3-245B50D94576}"/>
                </a:ext>
              </a:extLst>
            </p:cNvPr>
            <p:cNvSpPr txBox="1"/>
            <p:nvPr/>
          </p:nvSpPr>
          <p:spPr>
            <a:xfrm>
              <a:off x="3896140" y="531302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uble </a:t>
              </a:r>
              <a:br>
                <a:rPr lang="en-US" sz="1200" dirty="0"/>
              </a:br>
              <a:r>
                <a:rPr lang="en-US" sz="1200" dirty="0"/>
                <a:t>Bunded Tank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1160E0BC-312B-5749-8E2C-788C647D52D7}"/>
              </a:ext>
            </a:extLst>
          </p:cNvPr>
          <p:cNvGrpSpPr/>
          <p:nvPr userDrawn="1"/>
        </p:nvGrpSpPr>
        <p:grpSpPr>
          <a:xfrm>
            <a:off x="8535621" y="5084886"/>
            <a:ext cx="1580322" cy="1608757"/>
            <a:chOff x="7667309" y="2169250"/>
            <a:chExt cx="1580322" cy="1608757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4BEA655A-CE87-DB47-A33B-39D7B43F0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0189D3BC-84F9-1C43-AF9C-F6C71B68E32C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sign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6C2E3B41-B23F-1140-B5DE-19AE0335E465}"/>
              </a:ext>
            </a:extLst>
          </p:cNvPr>
          <p:cNvGrpSpPr/>
          <p:nvPr userDrawn="1"/>
        </p:nvGrpSpPr>
        <p:grpSpPr>
          <a:xfrm>
            <a:off x="367748" y="5076640"/>
            <a:ext cx="1580322" cy="1608757"/>
            <a:chOff x="367748" y="2169250"/>
            <a:chExt cx="1580322" cy="1608757"/>
          </a:xfrm>
        </p:grpSpPr>
        <p:pic>
          <p:nvPicPr>
            <p:cNvPr id="249" name="Picture 24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9CD3CFDD-9B01-1944-90CC-690882E16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B77E6B8C-3EEE-4A4C-B119-88D10C831E79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3080C162-9ACA-9649-AAA4-E3919FA0CE94}"/>
              </a:ext>
            </a:extLst>
          </p:cNvPr>
          <p:cNvGrpSpPr/>
          <p:nvPr userDrawn="1"/>
        </p:nvGrpSpPr>
        <p:grpSpPr>
          <a:xfrm>
            <a:off x="2989227" y="5076640"/>
            <a:ext cx="1580322" cy="1608757"/>
            <a:chOff x="3896140" y="2169250"/>
            <a:chExt cx="1580322" cy="1608757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BA99FADF-C9C2-744B-ABD7-2E0E24957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D9DEAC2-E13E-DB45-A6EF-B3096BAF7954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mpsit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4E0500C9-7689-B441-9E80-8B1C10481232}"/>
              </a:ext>
            </a:extLst>
          </p:cNvPr>
          <p:cNvGrpSpPr/>
          <p:nvPr userDrawn="1"/>
        </p:nvGrpSpPr>
        <p:grpSpPr>
          <a:xfrm>
            <a:off x="1625854" y="5080465"/>
            <a:ext cx="1580322" cy="1587504"/>
            <a:chOff x="3896140" y="3968750"/>
            <a:chExt cx="1580322" cy="1587504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A390A808-7B12-DD4F-A3E1-6CDEFC9DF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14D3C6B5-5606-3A4D-A141-6F4FD65FCFB9}"/>
                </a:ext>
              </a:extLst>
            </p:cNvPr>
            <p:cNvSpPr txBox="1"/>
            <p:nvPr/>
          </p:nvSpPr>
          <p:spPr>
            <a:xfrm>
              <a:off x="3896140" y="527925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truction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340B1088-F5C2-A94E-B775-3FF347DFDE02}"/>
              </a:ext>
            </a:extLst>
          </p:cNvPr>
          <p:cNvGrpSpPr/>
          <p:nvPr userDrawn="1"/>
        </p:nvGrpSpPr>
        <p:grpSpPr>
          <a:xfrm>
            <a:off x="5771791" y="5084886"/>
            <a:ext cx="1580322" cy="1608757"/>
            <a:chOff x="367748" y="2169250"/>
            <a:chExt cx="1580322" cy="1608757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F3160-7693-B647-AAD3-A5F94A711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0B8FD068-3704-A245-A241-3C8A27766E0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 Service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739299A-FCC2-C040-95C6-C2EC211988EB}"/>
              </a:ext>
            </a:extLst>
          </p:cNvPr>
          <p:cNvGrpSpPr/>
          <p:nvPr userDrawn="1"/>
        </p:nvGrpSpPr>
        <p:grpSpPr>
          <a:xfrm>
            <a:off x="4380509" y="5076640"/>
            <a:ext cx="1580322" cy="1608757"/>
            <a:chOff x="367748" y="2169250"/>
            <a:chExt cx="1580322" cy="1608757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8A7E159B-B9AF-4149-A50F-9D2CE9CF7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C576CB03-2114-7D4E-B4F0-4283DF40847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acts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CEBABC10-0D3B-3E4B-9843-901E63CE1B78}"/>
              </a:ext>
            </a:extLst>
          </p:cNvPr>
          <p:cNvGrpSpPr/>
          <p:nvPr userDrawn="1"/>
        </p:nvGrpSpPr>
        <p:grpSpPr>
          <a:xfrm>
            <a:off x="9976412" y="5084886"/>
            <a:ext cx="1580322" cy="1793423"/>
            <a:chOff x="3896140" y="405538"/>
            <a:chExt cx="1580322" cy="179342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1038D68E-F995-FD46-BFDA-8976A03C1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D1593DD-E3EB-7144-8247-78BA446326BD}"/>
                </a:ext>
              </a:extLst>
            </p:cNvPr>
            <p:cNvSpPr txBox="1"/>
            <p:nvPr/>
          </p:nvSpPr>
          <p:spPr>
            <a:xfrm>
              <a:off x="3896140" y="173729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Water 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77214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50221498-D76C-9D46-8117-7D1CD9CCFD9D}"/>
              </a:ext>
            </a:extLst>
          </p:cNvPr>
          <p:cNvGrpSpPr/>
          <p:nvPr userDrawn="1"/>
        </p:nvGrpSpPr>
        <p:grpSpPr>
          <a:xfrm>
            <a:off x="4380509" y="0"/>
            <a:ext cx="1580322" cy="1530453"/>
            <a:chOff x="3896140" y="405538"/>
            <a:chExt cx="1580322" cy="1530453"/>
          </a:xfrm>
        </p:grpSpPr>
        <p:pic>
          <p:nvPicPr>
            <p:cNvPr id="171" name="Picture 17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B4151B7-F01F-374F-8B4D-364EFD86D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D03FE6D7-884E-4346-A059-29EF66582267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rop Alert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2A0DFDF4-CB46-E44C-8524-19425DC1D40E}"/>
              </a:ext>
            </a:extLst>
          </p:cNvPr>
          <p:cNvGrpSpPr/>
          <p:nvPr userDrawn="1"/>
        </p:nvGrpSpPr>
        <p:grpSpPr>
          <a:xfrm>
            <a:off x="3002939" y="17780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8151A87E-6F08-4549-8747-60C02D058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3814486B-6A38-C94F-9F28-F6AD94B777BD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wnload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6327C041-6C19-0D40-8131-83A9E8761B0D}"/>
              </a:ext>
            </a:extLst>
          </p:cNvPr>
          <p:cNvGrpSpPr/>
          <p:nvPr userDrawn="1"/>
        </p:nvGrpSpPr>
        <p:grpSpPr>
          <a:xfrm>
            <a:off x="5765810" y="4526"/>
            <a:ext cx="1580322" cy="1521875"/>
            <a:chOff x="3896140" y="2169250"/>
            <a:chExt cx="1580322" cy="152187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5B6E4E08-78D2-5047-A763-15DD8BA7F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67DAD732-6E72-6F49-AEEA-EB1DCA3ABA02}"/>
                </a:ext>
              </a:extLst>
            </p:cNvPr>
            <p:cNvSpPr txBox="1"/>
            <p:nvPr/>
          </p:nvSpPr>
          <p:spPr>
            <a:xfrm>
              <a:off x="3896140" y="341412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livery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7BAF2BF-FC4F-7A47-931E-C102C8E4ED68}"/>
              </a:ext>
            </a:extLst>
          </p:cNvPr>
          <p:cNvGrpSpPr/>
          <p:nvPr userDrawn="1"/>
        </p:nvGrpSpPr>
        <p:grpSpPr>
          <a:xfrm>
            <a:off x="1657712" y="17780"/>
            <a:ext cx="1580322" cy="1715119"/>
            <a:chOff x="5750970" y="405538"/>
            <a:chExt cx="1580322" cy="1715119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BEA6BFED-D760-7B4B-BB1C-1C0C638F3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F2AC0507-B105-9346-AF0E-F30AB2E9F994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</a:t>
              </a:r>
              <a:br>
                <a:rPr lang="en-US" sz="1200" dirty="0"/>
              </a:br>
              <a:r>
                <a:rPr lang="en-US" sz="1200" dirty="0"/>
                <a:t>Laundry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21BE7CE9-4172-684F-98D5-AC6A445EBE72}"/>
              </a:ext>
            </a:extLst>
          </p:cNvPr>
          <p:cNvGrpSpPr/>
          <p:nvPr userDrawn="1"/>
        </p:nvGrpSpPr>
        <p:grpSpPr>
          <a:xfrm>
            <a:off x="343232" y="17780"/>
            <a:ext cx="1580322" cy="1530453"/>
            <a:chOff x="9480376" y="405538"/>
            <a:chExt cx="1580322" cy="153045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1BD92CC-9411-5A4D-92A5-09ADB3048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FF1C0D68-D998-F544-9F55-84604A8B60C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D83F1AA7-2B9D-7349-9035-2A35C1360550}"/>
              </a:ext>
            </a:extLst>
          </p:cNvPr>
          <p:cNvGrpSpPr/>
          <p:nvPr userDrawn="1"/>
        </p:nvGrpSpPr>
        <p:grpSpPr>
          <a:xfrm>
            <a:off x="343232" y="1755612"/>
            <a:ext cx="1580322" cy="1530453"/>
            <a:chOff x="367748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2D8BFC2-1175-094B-9C79-38ED104B5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812A1409-5044-5948-BB0A-4B1B269DCA2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ail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79E740CC-3137-2A40-BAD8-D000A1C1C02E}"/>
              </a:ext>
            </a:extLst>
          </p:cNvPr>
          <p:cNvGrpSpPr/>
          <p:nvPr userDrawn="1"/>
        </p:nvGrpSpPr>
        <p:grpSpPr>
          <a:xfrm>
            <a:off x="1657712" y="1746390"/>
            <a:ext cx="1580322" cy="1537449"/>
            <a:chOff x="367748" y="3968750"/>
            <a:chExt cx="1580322" cy="1537449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4924E03-F555-EA49-B9A5-BB5FF5DFD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3FEC2C78-5095-1E45-BFA8-4B8EC71AC8B4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AF990BDE-4D1C-244D-BB84-60F0668432E4}"/>
              </a:ext>
            </a:extLst>
          </p:cNvPr>
          <p:cNvGrpSpPr/>
          <p:nvPr userDrawn="1"/>
        </p:nvGrpSpPr>
        <p:grpSpPr>
          <a:xfrm>
            <a:off x="3026228" y="1755395"/>
            <a:ext cx="1580322" cy="1536771"/>
            <a:chOff x="3896140" y="2169250"/>
            <a:chExt cx="1580322" cy="1536771"/>
          </a:xfrm>
        </p:grpSpPr>
        <p:pic>
          <p:nvPicPr>
            <p:cNvPr id="192" name="Picture 191" descr="A close up of a logo&#10;&#10;Description automatically generated">
              <a:extLst>
                <a:ext uri="{FF2B5EF4-FFF2-40B4-BE49-F238E27FC236}">
                  <a16:creationId xmlns:a16="http://schemas.microsoft.com/office/drawing/2014/main" id="{920A2D21-906C-B04B-93CD-4B613B1E2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81834B9E-B48D-E74C-8D3A-2F00C0BE87EF}"/>
                </a:ext>
              </a:extLst>
            </p:cNvPr>
            <p:cNvSpPr txBox="1"/>
            <p:nvPr/>
          </p:nvSpPr>
          <p:spPr>
            <a:xfrm>
              <a:off x="3896140" y="342902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powerment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07B9FEBE-2129-1F44-B28B-B4B2A4149EFA}"/>
              </a:ext>
            </a:extLst>
          </p:cNvPr>
          <p:cNvGrpSpPr/>
          <p:nvPr userDrawn="1"/>
        </p:nvGrpSpPr>
        <p:grpSpPr>
          <a:xfrm>
            <a:off x="4361877" y="1755395"/>
            <a:ext cx="1580322" cy="1537449"/>
            <a:chOff x="367748" y="3968750"/>
            <a:chExt cx="1580322" cy="1537449"/>
          </a:xfrm>
        </p:grpSpPr>
        <p:pic>
          <p:nvPicPr>
            <p:cNvPr id="195" name="Picture 194" descr="A close up of a logo&#10;&#10;Description automatically generated">
              <a:extLst>
                <a:ext uri="{FF2B5EF4-FFF2-40B4-BE49-F238E27FC236}">
                  <a16:creationId xmlns:a16="http://schemas.microsoft.com/office/drawing/2014/main" id="{B6122C6F-CA89-B542-B16B-F39E290940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EB889A1-4936-B646-B959-B5261EEE7D5F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 Solutions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D656741-A054-4B42-B0DC-9D8462D4B712}"/>
              </a:ext>
            </a:extLst>
          </p:cNvPr>
          <p:cNvGrpSpPr/>
          <p:nvPr userDrawn="1"/>
        </p:nvGrpSpPr>
        <p:grpSpPr>
          <a:xfrm>
            <a:off x="5778373" y="1757471"/>
            <a:ext cx="1580322" cy="1534695"/>
            <a:chOff x="367748" y="2169250"/>
            <a:chExt cx="1580322" cy="1534695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9667614-6800-AA4C-B0ED-C7234C9FB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39DE722-46F4-EB4F-BEC1-C3AB835B01B6}"/>
                </a:ext>
              </a:extLst>
            </p:cNvPr>
            <p:cNvSpPr txBox="1"/>
            <p:nvPr/>
          </p:nvSpPr>
          <p:spPr>
            <a:xfrm>
              <a:off x="367748" y="342694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-Commerce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9C7A2839-6BC5-FF4D-8FD2-2A6F2D07C943}"/>
              </a:ext>
            </a:extLst>
          </p:cNvPr>
          <p:cNvGrpSpPr/>
          <p:nvPr userDrawn="1"/>
        </p:nvGrpSpPr>
        <p:grpSpPr>
          <a:xfrm>
            <a:off x="9951671" y="12953"/>
            <a:ext cx="1580322" cy="1705069"/>
            <a:chOff x="2063552" y="2169250"/>
            <a:chExt cx="1580322" cy="1705069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131737B1-A25C-8C45-B911-402571C5B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8F8B36C-5349-A340-BAD2-D47ADF48D2BC}"/>
                </a:ext>
              </a:extLst>
            </p:cNvPr>
            <p:cNvSpPr txBox="1"/>
            <p:nvPr/>
          </p:nvSpPr>
          <p:spPr>
            <a:xfrm>
              <a:off x="2063552" y="3412654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vironmentally</a:t>
              </a:r>
              <a:br>
                <a:rPr lang="en-US" sz="1200" dirty="0"/>
              </a:br>
              <a:r>
                <a:rPr lang="en-US" sz="1200" dirty="0"/>
                <a:t>Friendly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C46B788A-1DD8-B24A-863E-49E117037287}"/>
              </a:ext>
            </a:extLst>
          </p:cNvPr>
          <p:cNvGrpSpPr/>
          <p:nvPr userDrawn="1"/>
        </p:nvGrpSpPr>
        <p:grpSpPr>
          <a:xfrm>
            <a:off x="8546269" y="12953"/>
            <a:ext cx="1580322" cy="1537586"/>
            <a:chOff x="5750970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176440D8-6923-B244-9019-D0B47FFA1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0FC9591F-D7A3-3446-AC27-887E2468013B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fficiency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6F226A5-4C34-DA48-B111-62BD12AB6AC6}"/>
              </a:ext>
            </a:extLst>
          </p:cNvPr>
          <p:cNvGrpSpPr/>
          <p:nvPr userDrawn="1"/>
        </p:nvGrpSpPr>
        <p:grpSpPr>
          <a:xfrm>
            <a:off x="7143380" y="5144"/>
            <a:ext cx="1580322" cy="1537449"/>
            <a:chOff x="3896140" y="3968750"/>
            <a:chExt cx="1580322" cy="1537449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E03209AE-D236-2A44-80BB-8E73D7E36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5BEEF663-F7FC-654B-B091-81F93758B4C6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asy to Install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830B4AA5-EB34-D54D-9427-80C0D93EC6C0}"/>
              </a:ext>
            </a:extLst>
          </p:cNvPr>
          <p:cNvGrpSpPr/>
          <p:nvPr userDrawn="1"/>
        </p:nvGrpSpPr>
        <p:grpSpPr>
          <a:xfrm>
            <a:off x="9951671" y="1737034"/>
            <a:ext cx="1580322" cy="1537449"/>
            <a:chOff x="5750970" y="3968750"/>
            <a:chExt cx="1580322" cy="1537449"/>
          </a:xfrm>
        </p:grpSpPr>
        <p:pic>
          <p:nvPicPr>
            <p:cNvPr id="210" name="Picture 209" descr="A close up of a logo&#10;&#10;Description automatically generated">
              <a:extLst>
                <a:ext uri="{FF2B5EF4-FFF2-40B4-BE49-F238E27FC236}">
                  <a16:creationId xmlns:a16="http://schemas.microsoft.com/office/drawing/2014/main" id="{5BF55BCB-C1B5-CF41-A2BA-CCF7951A1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0C2898CF-EA1E-3C4B-96DD-AC28D7AE2C95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lexi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6206C2B-32F1-A14F-92C4-3E56CDBC5A4D}"/>
              </a:ext>
            </a:extLst>
          </p:cNvPr>
          <p:cNvGrpSpPr/>
          <p:nvPr userDrawn="1"/>
        </p:nvGrpSpPr>
        <p:grpSpPr>
          <a:xfrm>
            <a:off x="343232" y="3311573"/>
            <a:ext cx="1580322" cy="1530453"/>
            <a:chOff x="9480376" y="405538"/>
            <a:chExt cx="1580322" cy="1530453"/>
          </a:xfrm>
        </p:grpSpPr>
        <p:pic>
          <p:nvPicPr>
            <p:cNvPr id="213" name="Picture 212" descr="A close up of a logo&#10;&#10;Description automatically generated">
              <a:extLst>
                <a:ext uri="{FF2B5EF4-FFF2-40B4-BE49-F238E27FC236}">
                  <a16:creationId xmlns:a16="http://schemas.microsoft.com/office/drawing/2014/main" id="{628B300F-A10E-164D-BCAC-63D99147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7EB8851-1CAF-6D4C-83BE-B5C6CBB5E2F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ll Volume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B649E25E-258F-8840-887B-C1B937A38644}"/>
              </a:ext>
            </a:extLst>
          </p:cNvPr>
          <p:cNvGrpSpPr/>
          <p:nvPr userDrawn="1"/>
        </p:nvGrpSpPr>
        <p:grpSpPr>
          <a:xfrm>
            <a:off x="1657712" y="3316021"/>
            <a:ext cx="1580322" cy="1537449"/>
            <a:chOff x="7667309" y="3968750"/>
            <a:chExt cx="1580322" cy="1537449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C6D27AE4-4053-B446-910A-CD22888D7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39687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65616293-1E72-D444-BDF1-821275DEE285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utur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0A61EC18-1016-5148-BE26-965D6AC37F63}"/>
              </a:ext>
            </a:extLst>
          </p:cNvPr>
          <p:cNvGrpSpPr/>
          <p:nvPr userDrawn="1"/>
        </p:nvGrpSpPr>
        <p:grpSpPr>
          <a:xfrm>
            <a:off x="3094381" y="3300493"/>
            <a:ext cx="1440000" cy="1720296"/>
            <a:chOff x="4433924" y="448331"/>
            <a:chExt cx="1440000" cy="1720296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DEF2D25F-F0BB-0F42-AEF8-E84570108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433924" y="448331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CF5EAB-07DF-884D-B55B-4B57C3C05E79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 </a:t>
              </a:r>
              <a:br>
                <a:rPr lang="en-US" sz="1200" dirty="0"/>
              </a:br>
              <a:r>
                <a:rPr lang="en-US" sz="1200" dirty="0"/>
                <a:t>Perform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458D89A9-681A-F34A-A299-1532CC14C896}"/>
              </a:ext>
            </a:extLst>
          </p:cNvPr>
          <p:cNvGrpSpPr/>
          <p:nvPr userDrawn="1"/>
        </p:nvGrpSpPr>
        <p:grpSpPr>
          <a:xfrm>
            <a:off x="4455882" y="3300491"/>
            <a:ext cx="1440000" cy="1554196"/>
            <a:chOff x="5837032" y="429765"/>
            <a:chExt cx="1440000" cy="1554196"/>
          </a:xfrm>
        </p:grpSpPr>
        <p:pic>
          <p:nvPicPr>
            <p:cNvPr id="222" name="Picture 221" descr="A close up of a logo&#10;&#10;Description automatically generated">
              <a:extLst>
                <a:ext uri="{FF2B5EF4-FFF2-40B4-BE49-F238E27FC236}">
                  <a16:creationId xmlns:a16="http://schemas.microsoft.com/office/drawing/2014/main" id="{916335E0-EA23-1144-9FE8-32AB12966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A5F7A08E-84F4-3243-A2D4-EFF9E66F59C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safe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5D3D33E9-A3BD-4A4E-B4FD-73D621549651}"/>
              </a:ext>
            </a:extLst>
          </p:cNvPr>
          <p:cNvGrpSpPr/>
          <p:nvPr userDrawn="1"/>
        </p:nvGrpSpPr>
        <p:grpSpPr>
          <a:xfrm>
            <a:off x="9951671" y="3300491"/>
            <a:ext cx="1580322" cy="1537586"/>
            <a:chOff x="2063552" y="3968613"/>
            <a:chExt cx="1580322" cy="1537586"/>
          </a:xfrm>
        </p:grpSpPr>
        <p:pic>
          <p:nvPicPr>
            <p:cNvPr id="225" name="Picture 224" descr="A close up of a logo&#10;&#10;Description automatically generated">
              <a:extLst>
                <a:ext uri="{FF2B5EF4-FFF2-40B4-BE49-F238E27FC236}">
                  <a16:creationId xmlns:a16="http://schemas.microsoft.com/office/drawing/2014/main" id="{114BC0DF-DC48-014D-9BC3-25BB74871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0B99956C-D3BA-404C-9CD6-DAA3CA16EEE7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 Leaks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B36408F-664E-5648-92B3-179713A1FD42}"/>
              </a:ext>
            </a:extLst>
          </p:cNvPr>
          <p:cNvGrpSpPr/>
          <p:nvPr userDrawn="1"/>
        </p:nvGrpSpPr>
        <p:grpSpPr>
          <a:xfrm>
            <a:off x="343232" y="4961419"/>
            <a:ext cx="1580322" cy="1524154"/>
            <a:chOff x="2063552" y="2169250"/>
            <a:chExt cx="1580322" cy="1524154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BB727CEE-5917-4A45-971A-11DEC8154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1146F023-6429-7745-A118-B157919F0521}"/>
                </a:ext>
              </a:extLst>
            </p:cNvPr>
            <p:cNvSpPr txBox="1"/>
            <p:nvPr/>
          </p:nvSpPr>
          <p:spPr>
            <a:xfrm>
              <a:off x="2063552" y="34164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ursing Hom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A815FBA7-AA68-6B46-B8CC-9DEBE411081F}"/>
              </a:ext>
            </a:extLst>
          </p:cNvPr>
          <p:cNvGrpSpPr/>
          <p:nvPr userDrawn="1"/>
        </p:nvGrpSpPr>
        <p:grpSpPr>
          <a:xfrm>
            <a:off x="8540353" y="3286257"/>
            <a:ext cx="1580322" cy="1552865"/>
            <a:chOff x="5750970" y="2148717"/>
            <a:chExt cx="1580322" cy="1552865"/>
          </a:xfrm>
        </p:grpSpPr>
        <p:pic>
          <p:nvPicPr>
            <p:cNvPr id="231" name="Picture 230" descr="A close up of a sign&#10;&#10;Description automatically generated">
              <a:extLst>
                <a:ext uri="{FF2B5EF4-FFF2-40B4-BE49-F238E27FC236}">
                  <a16:creationId xmlns:a16="http://schemas.microsoft.com/office/drawing/2014/main" id="{79000ED5-2632-6644-AFCE-3B042D75B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821131" y="2148717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E2AAB9CC-EF37-4B4E-9FD4-5E54F541EF64}"/>
                </a:ext>
              </a:extLst>
            </p:cNvPr>
            <p:cNvSpPr txBox="1"/>
            <p:nvPr/>
          </p:nvSpPr>
          <p:spPr>
            <a:xfrm>
              <a:off x="5750970" y="342458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odular System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95496837-8DB8-F34A-9A21-0C5DECD346B2}"/>
              </a:ext>
            </a:extLst>
          </p:cNvPr>
          <p:cNvGrpSpPr/>
          <p:nvPr userDrawn="1"/>
        </p:nvGrpSpPr>
        <p:grpSpPr>
          <a:xfrm>
            <a:off x="1657712" y="4955120"/>
            <a:ext cx="1580322" cy="1537586"/>
            <a:chOff x="2063552" y="3968613"/>
            <a:chExt cx="1580322" cy="1537586"/>
          </a:xfrm>
        </p:grpSpPr>
        <p:pic>
          <p:nvPicPr>
            <p:cNvPr id="234" name="Picture 23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038BA89-A93D-2D45-AC2F-F062A0380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72C0688E-FFAE-5445-B3CA-C9DC4A423080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ise Free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6C482F69-F0EE-9B4B-A3AA-8ED0E10855C9}"/>
              </a:ext>
            </a:extLst>
          </p:cNvPr>
          <p:cNvGrpSpPr/>
          <p:nvPr userDrawn="1"/>
        </p:nvGrpSpPr>
        <p:grpSpPr>
          <a:xfrm>
            <a:off x="7147415" y="3307624"/>
            <a:ext cx="1580322" cy="1530453"/>
            <a:chOff x="5750970" y="405538"/>
            <a:chExt cx="1580322" cy="1530453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05961423-9164-E44F-89AA-4703489EB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057027C5-2881-6D41-B37A-6EB5F95F9D6B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ulti-Company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1EDC3AD-C4DF-7C4D-8D19-AD54564BF376}"/>
              </a:ext>
            </a:extLst>
          </p:cNvPr>
          <p:cNvGrpSpPr/>
          <p:nvPr userDrawn="1"/>
        </p:nvGrpSpPr>
        <p:grpSpPr>
          <a:xfrm>
            <a:off x="5752381" y="3322404"/>
            <a:ext cx="1580322" cy="1719741"/>
            <a:chOff x="2980152" y="3322404"/>
            <a:chExt cx="1580322" cy="1719741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53CAC480-8A14-E942-AF0D-3479B89C3169}"/>
                </a:ext>
              </a:extLst>
            </p:cNvPr>
            <p:cNvSpPr txBox="1"/>
            <p:nvPr/>
          </p:nvSpPr>
          <p:spPr>
            <a:xfrm>
              <a:off x="2980152" y="458048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Low Thermal Conductivity</a:t>
              </a:r>
            </a:p>
          </p:txBody>
        </p:sp>
        <p:pic>
          <p:nvPicPr>
            <p:cNvPr id="241" name="Picture 240" descr="A close up of a logo&#10;&#10;Description automatically generated">
              <a:extLst>
                <a:ext uri="{FF2B5EF4-FFF2-40B4-BE49-F238E27FC236}">
                  <a16:creationId xmlns:a16="http://schemas.microsoft.com/office/drawing/2014/main" id="{BDCA369E-9F57-9843-A26C-551A65D49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3066" y="3322404"/>
              <a:ext cx="1440000" cy="1440000"/>
            </a:xfrm>
            <a:prstGeom prst="rect">
              <a:avLst/>
            </a:prstGeom>
          </p:spPr>
        </p:pic>
      </p:grpSp>
      <p:pic>
        <p:nvPicPr>
          <p:cNvPr id="242" name="Picture 241" descr="A close up of a logo&#10;&#10;Description automatically generated">
            <a:extLst>
              <a:ext uri="{FF2B5EF4-FFF2-40B4-BE49-F238E27FC236}">
                <a16:creationId xmlns:a16="http://schemas.microsoft.com/office/drawing/2014/main" id="{4C306442-58F5-5A47-AFC2-5A4559620D11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7224823" y="1761923"/>
            <a:ext cx="1440000" cy="1440000"/>
          </a:xfrm>
          <a:prstGeom prst="rect">
            <a:avLst/>
          </a:prstGeom>
        </p:spPr>
      </p:pic>
      <p:pic>
        <p:nvPicPr>
          <p:cNvPr id="243" name="Picture 242" descr="A close up of a logo&#10;&#10;Description automatically generated">
            <a:extLst>
              <a:ext uri="{FF2B5EF4-FFF2-40B4-BE49-F238E27FC236}">
                <a16:creationId xmlns:a16="http://schemas.microsoft.com/office/drawing/2014/main" id="{37C829E3-2E24-A14D-ABCA-3B0A5AA92299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8612763" y="1767617"/>
            <a:ext cx="1440000" cy="1440000"/>
          </a:xfrm>
          <a:prstGeom prst="rect">
            <a:avLst/>
          </a:prstGeom>
        </p:spPr>
      </p:pic>
      <p:sp>
        <p:nvSpPr>
          <p:cNvPr id="244" name="TextBox 243">
            <a:extLst>
              <a:ext uri="{FF2B5EF4-FFF2-40B4-BE49-F238E27FC236}">
                <a16:creationId xmlns:a16="http://schemas.microsoft.com/office/drawing/2014/main" id="{4CFF9556-6CB0-E748-8A9C-BCB871C1A852}"/>
              </a:ext>
            </a:extLst>
          </p:cNvPr>
          <p:cNvSpPr txBox="1"/>
          <p:nvPr userDrawn="1"/>
        </p:nvSpPr>
        <p:spPr>
          <a:xfrm>
            <a:off x="715466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07805582-7E54-DD4A-9271-9561F3DA171B}"/>
              </a:ext>
            </a:extLst>
          </p:cNvPr>
          <p:cNvSpPr txBox="1"/>
          <p:nvPr userDrawn="1"/>
        </p:nvSpPr>
        <p:spPr>
          <a:xfrm>
            <a:off x="854260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</p:spTree>
    <p:extLst>
      <p:ext uri="{BB962C8B-B14F-4D97-AF65-F5344CB8AC3E}">
        <p14:creationId xmlns:p14="http://schemas.microsoft.com/office/powerpoint/2010/main" val="2417282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CB6B763-9BD5-DD42-876D-86BF240D60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C0519C4-C654-324F-A1C1-D78DB6CBA7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123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D5FF9B05-B734-3C45-83E4-FDCEFC88B1C7}"/>
              </a:ext>
            </a:extLst>
          </p:cNvPr>
          <p:cNvGrpSpPr/>
          <p:nvPr userDrawn="1"/>
        </p:nvGrpSpPr>
        <p:grpSpPr>
          <a:xfrm>
            <a:off x="2992453" y="1617206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C4E3C020-A2BA-FB48-BB4C-F1C06698B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AAFEBB2E-BF9F-EA4E-9E9F-8FC47713F20C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cesses &amp; Data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B251DC2-41E1-3B4F-BC53-EF5605D64E9E}"/>
              </a:ext>
            </a:extLst>
          </p:cNvPr>
          <p:cNvGrpSpPr/>
          <p:nvPr userDrawn="1"/>
        </p:nvGrpSpPr>
        <p:grpSpPr>
          <a:xfrm>
            <a:off x="1621801" y="1622141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79B6A91C-1C58-324E-A8D3-8C58CF090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DC0F5970-5AE7-1A4B-BCBA-2320E932293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ject Tracking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320A5C4F-2848-8F4C-94DB-9D8E9FFE1133}"/>
              </a:ext>
            </a:extLst>
          </p:cNvPr>
          <p:cNvGrpSpPr/>
          <p:nvPr userDrawn="1"/>
        </p:nvGrpSpPr>
        <p:grpSpPr>
          <a:xfrm>
            <a:off x="4406194" y="1610210"/>
            <a:ext cx="1580322" cy="1722115"/>
            <a:chOff x="5750970" y="3968750"/>
            <a:chExt cx="1580322" cy="172211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1189C764-F6DB-FE45-9AB2-63E7DBC1C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74960FCF-5DDF-7B4D-BE10-E4DC4F857604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umping </a:t>
              </a:r>
              <a:br>
                <a:rPr lang="en-US" sz="1200" dirty="0"/>
              </a:br>
              <a:r>
                <a:rPr lang="en-US" sz="1200" dirty="0"/>
                <a:t>Stations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187FBFA-B3A4-254E-A187-F4E2EFCA49D6}"/>
              </a:ext>
            </a:extLst>
          </p:cNvPr>
          <p:cNvGrpSpPr/>
          <p:nvPr userDrawn="1"/>
        </p:nvGrpSpPr>
        <p:grpSpPr>
          <a:xfrm>
            <a:off x="5748340" y="1619297"/>
            <a:ext cx="1580322" cy="1530453"/>
            <a:chOff x="3896140" y="405538"/>
            <a:chExt cx="1580322" cy="1530453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0FD9866B-EC00-C043-8824-E82A94C72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9027EFED-85E1-D549-BAB5-9A2B9FE20D31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 Control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E19EF0FC-78B3-1B4E-B9B3-FA249C9CC8A8}"/>
              </a:ext>
            </a:extLst>
          </p:cNvPr>
          <p:cNvGrpSpPr/>
          <p:nvPr userDrawn="1"/>
        </p:nvGrpSpPr>
        <p:grpSpPr>
          <a:xfrm>
            <a:off x="7158370" y="1607240"/>
            <a:ext cx="1580322" cy="1532435"/>
            <a:chOff x="7667309" y="2169250"/>
            <a:chExt cx="1580322" cy="1532435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0364D460-89CF-2047-A881-C6B0203A3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3A7B073D-7A15-BF4A-936D-0AA7A7118E5A}"/>
                </a:ext>
              </a:extLst>
            </p:cNvPr>
            <p:cNvSpPr txBox="1"/>
            <p:nvPr/>
          </p:nvSpPr>
          <p:spPr>
            <a:xfrm>
              <a:off x="7667309" y="342468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1DE3D6AA-67AD-164A-803F-586500EDB5A2}"/>
              </a:ext>
            </a:extLst>
          </p:cNvPr>
          <p:cNvGrpSpPr/>
          <p:nvPr userDrawn="1"/>
        </p:nvGrpSpPr>
        <p:grpSpPr>
          <a:xfrm>
            <a:off x="365149" y="1625181"/>
            <a:ext cx="1580322" cy="1530453"/>
            <a:chOff x="9480376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8727F5C-3D5B-124D-8161-B468684C9B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26C3FF5-ABAD-4949-BA71-EB4D618BE55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ortable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760EC1A-EBE2-6F4D-B23F-9258112B15BA}"/>
              </a:ext>
            </a:extLst>
          </p:cNvPr>
          <p:cNvGrpSpPr/>
          <p:nvPr userDrawn="1"/>
        </p:nvGrpSpPr>
        <p:grpSpPr>
          <a:xfrm>
            <a:off x="8531671" y="1607240"/>
            <a:ext cx="1580322" cy="1519720"/>
            <a:chOff x="7667309" y="2169250"/>
            <a:chExt cx="1580322" cy="1519720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4686F63-1BCA-FC4E-9E27-3CB984408C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5462DC1F-8C40-DB48-991F-49E5A02E8052}"/>
                </a:ext>
              </a:extLst>
            </p:cNvPr>
            <p:cNvSpPr txBox="1"/>
            <p:nvPr/>
          </p:nvSpPr>
          <p:spPr>
            <a:xfrm>
              <a:off x="7667309" y="341197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cycling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2FE3-1BA6-1340-8FA3-F3FF7C50AE60}"/>
              </a:ext>
            </a:extLst>
          </p:cNvPr>
          <p:cNvGrpSpPr/>
          <p:nvPr userDrawn="1"/>
        </p:nvGrpSpPr>
        <p:grpSpPr>
          <a:xfrm>
            <a:off x="9943929" y="1613389"/>
            <a:ext cx="1580322" cy="1534270"/>
            <a:chOff x="3896140" y="2169250"/>
            <a:chExt cx="1580322" cy="1534270"/>
          </a:xfrm>
        </p:grpSpPr>
        <p:pic>
          <p:nvPicPr>
            <p:cNvPr id="192" name="Picture 19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FCBBFB0-F7D6-304F-AE1A-F29DE2973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CF9AA23D-4538-4344-9C30-AB3CE2029482}"/>
                </a:ext>
              </a:extLst>
            </p:cNvPr>
            <p:cNvSpPr txBox="1"/>
            <p:nvPr/>
          </p:nvSpPr>
          <p:spPr>
            <a:xfrm>
              <a:off x="3896140" y="342652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ainwater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626DB841-8413-B249-A985-397E6F8C5918}"/>
              </a:ext>
            </a:extLst>
          </p:cNvPr>
          <p:cNvGrpSpPr/>
          <p:nvPr userDrawn="1"/>
        </p:nvGrpSpPr>
        <p:grpSpPr>
          <a:xfrm>
            <a:off x="364907" y="3334873"/>
            <a:ext cx="1580322" cy="1702577"/>
            <a:chOff x="9480376" y="2169250"/>
            <a:chExt cx="1580322" cy="1702577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B90CF042-2A6F-0A42-BD3F-CEAE17D81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27D6A808-E45D-154E-8799-26F7374C48C8}"/>
                </a:ext>
              </a:extLst>
            </p:cNvPr>
            <p:cNvSpPr txBox="1"/>
            <p:nvPr/>
          </p:nvSpPr>
          <p:spPr>
            <a:xfrm>
              <a:off x="9480376" y="34101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gulations Compliant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0723FB96-6C9E-AD4E-9E0B-0C9080331A47}"/>
              </a:ext>
            </a:extLst>
          </p:cNvPr>
          <p:cNvGrpSpPr/>
          <p:nvPr userDrawn="1"/>
        </p:nvGrpSpPr>
        <p:grpSpPr>
          <a:xfrm>
            <a:off x="1694588" y="3335589"/>
            <a:ext cx="1580322" cy="1537586"/>
            <a:chOff x="7667309" y="3968613"/>
            <a:chExt cx="1580322" cy="1537586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B2590BB-C06E-0247-B2BF-98D76BA90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1D1B94C6-3AA0-414C-BE2C-D42D7D0E737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aves Money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822D493-F8E1-F347-8D07-88EA0FA4A027}"/>
              </a:ext>
            </a:extLst>
          </p:cNvPr>
          <p:cNvGrpSpPr/>
          <p:nvPr userDrawn="1"/>
        </p:nvGrpSpPr>
        <p:grpSpPr>
          <a:xfrm>
            <a:off x="9940811" y="3331694"/>
            <a:ext cx="1580322" cy="1537449"/>
            <a:chOff x="9480376" y="3968750"/>
            <a:chExt cx="1580322" cy="1537449"/>
          </a:xfrm>
        </p:grpSpPr>
        <p:pic>
          <p:nvPicPr>
            <p:cNvPr id="201" name="Picture 200" descr="A close up of a sign&#10;&#10;Description automatically generated">
              <a:extLst>
                <a:ext uri="{FF2B5EF4-FFF2-40B4-BE49-F238E27FC236}">
                  <a16:creationId xmlns:a16="http://schemas.microsoft.com/office/drawing/2014/main" id="{D8D500D4-2091-D141-82C4-58D2928E9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E61E58B-2A00-5A4D-821E-7A7F9A895651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utions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43B416DE-BA12-4B44-8994-2A96850E7344}"/>
              </a:ext>
            </a:extLst>
          </p:cNvPr>
          <p:cNvGrpSpPr/>
          <p:nvPr userDrawn="1"/>
        </p:nvGrpSpPr>
        <p:grpSpPr>
          <a:xfrm>
            <a:off x="348263" y="5007655"/>
            <a:ext cx="1580322" cy="1537586"/>
            <a:chOff x="2063552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DDCA9CEF-8587-B841-896C-91455A6CE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2774260C-04D7-EF4E-BCE3-C29A5358D0B2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mall Footprint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B9B2FDF0-C1D7-6442-B9CC-BF01348A9D2A}"/>
              </a:ext>
            </a:extLst>
          </p:cNvPr>
          <p:cNvGrpSpPr/>
          <p:nvPr userDrawn="1"/>
        </p:nvGrpSpPr>
        <p:grpSpPr>
          <a:xfrm>
            <a:off x="8538251" y="3338690"/>
            <a:ext cx="1580322" cy="1530453"/>
            <a:chOff x="3896140" y="405538"/>
            <a:chExt cx="1580322" cy="1530453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C028BE95-2B6D-714B-8F76-039F58A76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AA82EC1F-5879-054A-9B10-84D405848878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hallow Dig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17D212F4-38F1-904F-9465-CFE2BA9A864E}"/>
              </a:ext>
            </a:extLst>
          </p:cNvPr>
          <p:cNvGrpSpPr/>
          <p:nvPr userDrawn="1"/>
        </p:nvGrpSpPr>
        <p:grpSpPr>
          <a:xfrm>
            <a:off x="4381418" y="3331694"/>
            <a:ext cx="1580322" cy="1537449"/>
            <a:chOff x="2063552" y="3968750"/>
            <a:chExt cx="1580322" cy="1537449"/>
          </a:xfrm>
        </p:grpSpPr>
        <p:pic>
          <p:nvPicPr>
            <p:cNvPr id="210" name="Picture 20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5C86CA9-BD63-F041-90F5-2B9F44622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133713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40DE84B5-0AD6-3C4E-9262-045C36511B3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9B01FA4-39B4-F14E-B2AF-41D44DD00344}"/>
              </a:ext>
            </a:extLst>
          </p:cNvPr>
          <p:cNvGrpSpPr/>
          <p:nvPr userDrawn="1"/>
        </p:nvGrpSpPr>
        <p:grpSpPr>
          <a:xfrm>
            <a:off x="5780961" y="3331694"/>
            <a:ext cx="1580322" cy="1530453"/>
            <a:chOff x="2063552" y="405538"/>
            <a:chExt cx="1580322" cy="1530453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05123355-5585-C44D-8DD2-355D8A788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F5C72FF9-43EC-C645-9BCB-796FCA96B54B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0CDC5290-D307-224D-B1BD-859A0685A92B}"/>
              </a:ext>
            </a:extLst>
          </p:cNvPr>
          <p:cNvGrpSpPr/>
          <p:nvPr userDrawn="1"/>
        </p:nvGrpSpPr>
        <p:grpSpPr>
          <a:xfrm>
            <a:off x="7139575" y="3331694"/>
            <a:ext cx="1580322" cy="1533162"/>
            <a:chOff x="7667309" y="2169250"/>
            <a:chExt cx="1580322" cy="1533162"/>
          </a:xfrm>
        </p:grpSpPr>
        <p:pic>
          <p:nvPicPr>
            <p:cNvPr id="216" name="Picture 21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8007F9AE-54C8-6046-8B24-86DB14EED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A8C2A97D-4925-6F4D-B883-11C673198F20}"/>
                </a:ext>
              </a:extLst>
            </p:cNvPr>
            <p:cNvSpPr txBox="1"/>
            <p:nvPr/>
          </p:nvSpPr>
          <p:spPr>
            <a:xfrm>
              <a:off x="7667309" y="342541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cure Login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38E2671E-0AC0-F64A-916E-7168528EB017}"/>
              </a:ext>
            </a:extLst>
          </p:cNvPr>
          <p:cNvGrpSpPr/>
          <p:nvPr userDrawn="1"/>
        </p:nvGrpSpPr>
        <p:grpSpPr>
          <a:xfrm>
            <a:off x="3011106" y="3338345"/>
            <a:ext cx="1580322" cy="1722115"/>
            <a:chOff x="367748" y="3968750"/>
            <a:chExt cx="1580322" cy="1722115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2DAC62A9-89E8-9D42-8FEA-1A0D5E2C4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52932A-4C25-FF40-A317-8F0F82775CE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rvice &amp; Mainten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283C09C6-E58E-1B4B-AE0E-250F7BA6013E}"/>
              </a:ext>
            </a:extLst>
          </p:cNvPr>
          <p:cNvGrpSpPr/>
          <p:nvPr userDrawn="1"/>
        </p:nvGrpSpPr>
        <p:grpSpPr>
          <a:xfrm>
            <a:off x="1636940" y="5011222"/>
            <a:ext cx="1580322" cy="1530453"/>
            <a:chOff x="5750970" y="405538"/>
            <a:chExt cx="1580322" cy="1530453"/>
          </a:xfrm>
        </p:grpSpPr>
        <p:pic>
          <p:nvPicPr>
            <p:cNvPr id="222" name="Picture 221" descr="A picture containing clock, drawing&#10;&#10;Description automatically generated">
              <a:extLst>
                <a:ext uri="{FF2B5EF4-FFF2-40B4-BE49-F238E27FC236}">
                  <a16:creationId xmlns:a16="http://schemas.microsoft.com/office/drawing/2014/main" id="{092E7878-B49C-E442-AC66-75B1B2A83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C2B30F84-6783-254E-BA7B-4F65CC1A13EE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cial Offer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AA8DBC51-2D8C-F041-98FE-A6C3C2CAD5A2}"/>
              </a:ext>
            </a:extLst>
          </p:cNvPr>
          <p:cNvGrpSpPr/>
          <p:nvPr userDrawn="1"/>
        </p:nvGrpSpPr>
        <p:grpSpPr>
          <a:xfrm>
            <a:off x="5768685" y="5007655"/>
            <a:ext cx="1580322" cy="1537586"/>
            <a:chOff x="9480376" y="3968613"/>
            <a:chExt cx="1580322" cy="1537586"/>
          </a:xfrm>
        </p:grpSpPr>
        <p:pic>
          <p:nvPicPr>
            <p:cNvPr id="225" name="Picture 224" descr="A close up of a sign&#10;&#10;Description automatically generated">
              <a:extLst>
                <a:ext uri="{FF2B5EF4-FFF2-40B4-BE49-F238E27FC236}">
                  <a16:creationId xmlns:a16="http://schemas.microsoft.com/office/drawing/2014/main" id="{ED0835FD-FFC1-764A-9945-99103A8F9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550537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C7DBCD7C-2EA8-DF4B-9FF4-034C4D4CE8BD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te Visit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F8677F9F-1009-1C47-BFDC-4A288375C333}"/>
              </a:ext>
            </a:extLst>
          </p:cNvPr>
          <p:cNvGrpSpPr/>
          <p:nvPr userDrawn="1"/>
        </p:nvGrpSpPr>
        <p:grpSpPr>
          <a:xfrm>
            <a:off x="8543219" y="5011222"/>
            <a:ext cx="1580322" cy="1530453"/>
            <a:chOff x="9480376" y="405538"/>
            <a:chExt cx="1580322" cy="1530453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6BC42775-981F-E244-A04C-7F84D3509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C70A05B1-78E9-6E4A-BDFC-728EF7BDE40F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trength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E5501891-2A00-2748-9864-8C1FDE7676CE}"/>
              </a:ext>
            </a:extLst>
          </p:cNvPr>
          <p:cNvGrpSpPr/>
          <p:nvPr userDrawn="1"/>
        </p:nvGrpSpPr>
        <p:grpSpPr>
          <a:xfrm>
            <a:off x="4367367" y="5008814"/>
            <a:ext cx="1580322" cy="1535268"/>
            <a:chOff x="3896140" y="2169250"/>
            <a:chExt cx="1580322" cy="1535268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B9A467E9-44FF-8B47-BFEF-C83E4B84E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7F018EDF-9D26-DB4E-92AE-DB0377544BF3}"/>
                </a:ext>
              </a:extLst>
            </p:cNvPr>
            <p:cNvSpPr txBox="1"/>
            <p:nvPr/>
          </p:nvSpPr>
          <p:spPr>
            <a:xfrm>
              <a:off x="3896140" y="342751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ar Powered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8AC17010-A3BD-784A-AAFE-2DB0F00957E5}"/>
              </a:ext>
            </a:extLst>
          </p:cNvPr>
          <p:cNvGrpSpPr/>
          <p:nvPr userDrawn="1"/>
        </p:nvGrpSpPr>
        <p:grpSpPr>
          <a:xfrm>
            <a:off x="7125524" y="5028537"/>
            <a:ext cx="1580322" cy="1704771"/>
            <a:chOff x="7667309" y="2169250"/>
            <a:chExt cx="1580322" cy="170477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5B873053-38F6-474E-930F-327E70A53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FF696787-2BE6-974F-836C-75EE5D892D89}"/>
                </a:ext>
              </a:extLst>
            </p:cNvPr>
            <p:cNvSpPr txBox="1"/>
            <p:nvPr/>
          </p:nvSpPr>
          <p:spPr>
            <a:xfrm>
              <a:off x="7667309" y="341235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ngle Piece System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1DCDABB0-46F8-0C4E-9E5B-987D611089FD}"/>
              </a:ext>
            </a:extLst>
          </p:cNvPr>
          <p:cNvGrpSpPr/>
          <p:nvPr userDrawn="1"/>
        </p:nvGrpSpPr>
        <p:grpSpPr>
          <a:xfrm>
            <a:off x="3081267" y="5002145"/>
            <a:ext cx="1440000" cy="1548606"/>
            <a:chOff x="447469" y="435355"/>
            <a:chExt cx="1440000" cy="1548606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120CE43A-E423-CD4D-A369-014543A1F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47469" y="435355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31917F9E-AF1F-6143-B212-E2D90BC72999}"/>
                </a:ext>
              </a:extLst>
            </p:cNvPr>
            <p:cNvSpPr txBox="1"/>
            <p:nvPr/>
          </p:nvSpPr>
          <p:spPr>
            <a:xfrm>
              <a:off x="623888" y="1706962"/>
              <a:ext cx="10933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ed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E428DF4-B435-C54D-A86C-981018C62D88}"/>
              </a:ext>
            </a:extLst>
          </p:cNvPr>
          <p:cNvGrpSpPr/>
          <p:nvPr userDrawn="1"/>
        </p:nvGrpSpPr>
        <p:grpSpPr>
          <a:xfrm>
            <a:off x="9935378" y="4912057"/>
            <a:ext cx="1580322" cy="1728783"/>
            <a:chOff x="2980152" y="439844"/>
            <a:chExt cx="1580322" cy="1728783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DBBD4DFA-1A7C-C04D-8851-983348BB9835}"/>
                </a:ext>
              </a:extLst>
            </p:cNvPr>
            <p:cNvSpPr txBox="1"/>
            <p:nvPr/>
          </p:nvSpPr>
          <p:spPr>
            <a:xfrm>
              <a:off x="2980152" y="17069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241" name="Picture 24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36CB3935-6F60-AA44-B73D-49F280D85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1607" y="439844"/>
              <a:ext cx="1440001" cy="1440001"/>
            </a:xfrm>
            <a:prstGeom prst="rect">
              <a:avLst/>
            </a:prstGeom>
          </p:spPr>
        </p:pic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4E0594-3FC5-284C-8CA8-142703B2E5C8}"/>
              </a:ext>
            </a:extLst>
          </p:cNvPr>
          <p:cNvGrpSpPr/>
          <p:nvPr userDrawn="1"/>
        </p:nvGrpSpPr>
        <p:grpSpPr>
          <a:xfrm>
            <a:off x="2988608" y="32068"/>
            <a:ext cx="1580322" cy="1530453"/>
            <a:chOff x="9480376" y="405538"/>
            <a:chExt cx="1580322" cy="1530453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71AE286F-954F-4A43-AE0F-7D522CDF4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07592D84-2A7D-5A41-B872-17BC093CFDFB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ur Values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9D662942-B567-8D4C-982A-9B579FA1D5C2}"/>
              </a:ext>
            </a:extLst>
          </p:cNvPr>
          <p:cNvGrpSpPr/>
          <p:nvPr userDrawn="1"/>
        </p:nvGrpSpPr>
        <p:grpSpPr>
          <a:xfrm>
            <a:off x="367748" y="32068"/>
            <a:ext cx="1580322" cy="1530453"/>
            <a:chOff x="7667309" y="405538"/>
            <a:chExt cx="1580322" cy="1530453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28C6A8B0-0869-5D4B-88AB-B1C66AD22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396C7199-7469-024C-8A76-CDCB271DBA0D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Odour</a:t>
              </a:r>
              <a:r>
                <a:rPr lang="en-US" sz="1200" dirty="0"/>
                <a:t> Free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0E488593-FAD3-8F44-8F34-07D25BED6DBB}"/>
              </a:ext>
            </a:extLst>
          </p:cNvPr>
          <p:cNvGrpSpPr/>
          <p:nvPr userDrawn="1"/>
        </p:nvGrpSpPr>
        <p:grpSpPr>
          <a:xfrm>
            <a:off x="1622444" y="33832"/>
            <a:ext cx="1580322" cy="1531754"/>
            <a:chOff x="7667309" y="2169250"/>
            <a:chExt cx="1580322" cy="1531754"/>
          </a:xfrm>
        </p:grpSpPr>
        <p:pic>
          <p:nvPicPr>
            <p:cNvPr id="249" name="Picture 248" descr="A close up of a logo&#10;&#10;Description automatically generated">
              <a:extLst>
                <a:ext uri="{FF2B5EF4-FFF2-40B4-BE49-F238E27FC236}">
                  <a16:creationId xmlns:a16="http://schemas.microsoft.com/office/drawing/2014/main" id="{4C160267-0103-8843-AECF-D6336149C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CA58BF1D-0A20-2A4F-8307-1F2613CB743B}"/>
                </a:ext>
              </a:extLst>
            </p:cNvPr>
            <p:cNvSpPr txBox="1"/>
            <p:nvPr/>
          </p:nvSpPr>
          <p:spPr>
            <a:xfrm>
              <a:off x="7667309" y="34240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ffic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C2A1B2BB-A4DA-6048-81B4-ADF88CCE01F5}"/>
              </a:ext>
            </a:extLst>
          </p:cNvPr>
          <p:cNvGrpSpPr/>
          <p:nvPr userDrawn="1"/>
        </p:nvGrpSpPr>
        <p:grpSpPr>
          <a:xfrm>
            <a:off x="8533073" y="32068"/>
            <a:ext cx="1580322" cy="1530453"/>
            <a:chOff x="2063552" y="405538"/>
            <a:chExt cx="1580322" cy="1530453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F3C3B792-8EB9-0141-9595-2247AE002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0681653-5B27-2743-9DCD-810057A26B41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hon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E226A9B4-8892-DE46-86E7-4A69C0FE21EF}"/>
              </a:ext>
            </a:extLst>
          </p:cNvPr>
          <p:cNvGrpSpPr/>
          <p:nvPr userDrawn="1"/>
        </p:nvGrpSpPr>
        <p:grpSpPr>
          <a:xfrm>
            <a:off x="9976412" y="33982"/>
            <a:ext cx="1580322" cy="1522052"/>
            <a:chOff x="9480376" y="2169250"/>
            <a:chExt cx="1580322" cy="1522052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B207A063-F812-314B-9FDF-09F49A4E3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9A94FDB4-6307-E441-8D4A-86777CB963BF}"/>
                </a:ext>
              </a:extLst>
            </p:cNvPr>
            <p:cNvSpPr txBox="1"/>
            <p:nvPr/>
          </p:nvSpPr>
          <p:spPr>
            <a:xfrm>
              <a:off x="9480376" y="341430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lastic Bottle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C63AFDD5-CE96-3D48-A605-D5B370572B40}"/>
              </a:ext>
            </a:extLst>
          </p:cNvPr>
          <p:cNvGrpSpPr/>
          <p:nvPr userDrawn="1"/>
        </p:nvGrpSpPr>
        <p:grpSpPr>
          <a:xfrm>
            <a:off x="4368417" y="32068"/>
            <a:ext cx="1580322" cy="1522478"/>
            <a:chOff x="2063552" y="2169250"/>
            <a:chExt cx="1580322" cy="1522478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8A5A345F-615C-7F48-BFF3-A4B0C04977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A0E364DB-97AF-BB45-AA03-22E802AC1877}"/>
                </a:ext>
              </a:extLst>
            </p:cNvPr>
            <p:cNvSpPr txBox="1"/>
            <p:nvPr/>
          </p:nvSpPr>
          <p:spPr>
            <a:xfrm>
              <a:off x="2063552" y="341472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artnerships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E289086-3E8C-764E-AB0A-BC7D77A51BE2}"/>
              </a:ext>
            </a:extLst>
          </p:cNvPr>
          <p:cNvGrpSpPr/>
          <p:nvPr userDrawn="1"/>
        </p:nvGrpSpPr>
        <p:grpSpPr>
          <a:xfrm>
            <a:off x="7156962" y="29028"/>
            <a:ext cx="1580322" cy="1537449"/>
            <a:chOff x="9480376" y="3968750"/>
            <a:chExt cx="1580322" cy="1537449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092241A2-D0FC-5544-8D04-B17D89817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E8ADB606-7C54-8C42-BE14-8B1EC8A3AC95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ace of Mind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02530772-90EE-7C4B-9564-3CD7B6036C55}"/>
              </a:ext>
            </a:extLst>
          </p:cNvPr>
          <p:cNvGrpSpPr/>
          <p:nvPr userDrawn="1"/>
        </p:nvGrpSpPr>
        <p:grpSpPr>
          <a:xfrm>
            <a:off x="5733766" y="32068"/>
            <a:ext cx="1580322" cy="1530453"/>
            <a:chOff x="3896140" y="405538"/>
            <a:chExt cx="1580322" cy="153045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7C029809-6AC7-F347-A4BC-A64858600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789C6533-C103-6F46-9A12-42288513CF2B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destri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7068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4570AEBB-C30B-E44D-9111-0AE6C330D3A1}"/>
              </a:ext>
            </a:extLst>
          </p:cNvPr>
          <p:cNvGrpSpPr/>
          <p:nvPr userDrawn="1"/>
        </p:nvGrpSpPr>
        <p:grpSpPr>
          <a:xfrm>
            <a:off x="9944851" y="1769165"/>
            <a:ext cx="1580322" cy="1515700"/>
            <a:chOff x="3896140" y="2169250"/>
            <a:chExt cx="1580322" cy="1515700"/>
          </a:xfrm>
        </p:grpSpPr>
        <p:pic>
          <p:nvPicPr>
            <p:cNvPr id="36" name="Picture 35" descr="A picture containing drawing, clock&#10;&#10;Description automatically generated">
              <a:extLst>
                <a:ext uri="{FF2B5EF4-FFF2-40B4-BE49-F238E27FC236}">
                  <a16:creationId xmlns:a16="http://schemas.microsoft.com/office/drawing/2014/main" id="{9B4BEC6F-AA4F-A545-8C87-99FC179FE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2EA73C-C1ED-5045-B0FB-E4EC61EF34B3}"/>
                </a:ext>
              </a:extLst>
            </p:cNvPr>
            <p:cNvSpPr txBox="1"/>
            <p:nvPr/>
          </p:nvSpPr>
          <p:spPr>
            <a:xfrm>
              <a:off x="3896140" y="340795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ndow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79E4E6E-41B0-9446-BB0C-E30038A9309E}"/>
              </a:ext>
            </a:extLst>
          </p:cNvPr>
          <p:cNvGrpSpPr/>
          <p:nvPr userDrawn="1"/>
        </p:nvGrpSpPr>
        <p:grpSpPr>
          <a:xfrm>
            <a:off x="8598934" y="1775549"/>
            <a:ext cx="1580322" cy="1533056"/>
            <a:chOff x="9480376" y="2169250"/>
            <a:chExt cx="1580322" cy="1533056"/>
          </a:xfrm>
        </p:grpSpPr>
        <p:pic>
          <p:nvPicPr>
            <p:cNvPr id="39" name="Picture 38" descr="A close up of a logo&#10;&#10;Description automatically generated">
              <a:extLst>
                <a:ext uri="{FF2B5EF4-FFF2-40B4-BE49-F238E27FC236}">
                  <a16:creationId xmlns:a16="http://schemas.microsoft.com/office/drawing/2014/main" id="{03BB665C-F40D-8243-9AB6-4B3C48B35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3309480-8DC9-B248-B035-23DB4C3CC6C1}"/>
                </a:ext>
              </a:extLst>
            </p:cNvPr>
            <p:cNvSpPr txBox="1"/>
            <p:nvPr/>
          </p:nvSpPr>
          <p:spPr>
            <a:xfrm>
              <a:off x="9480376" y="3425307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eather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84A8CE6-D7F9-0C41-825A-3122941CC914}"/>
              </a:ext>
            </a:extLst>
          </p:cNvPr>
          <p:cNvGrpSpPr/>
          <p:nvPr userDrawn="1"/>
        </p:nvGrpSpPr>
        <p:grpSpPr>
          <a:xfrm>
            <a:off x="5819456" y="1775053"/>
            <a:ext cx="1580322" cy="1530453"/>
            <a:chOff x="7667309" y="405538"/>
            <a:chExt cx="1580322" cy="1530453"/>
          </a:xfrm>
        </p:grpSpPr>
        <p:pic>
          <p:nvPicPr>
            <p:cNvPr id="42" name="Picture 4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1D98900-CCDA-0446-B28C-EEB537139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C9FAB1A-EDF7-414E-BF78-85CCF32BBEB0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rning/Alert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F5734D8-F6F6-3F4B-85FA-5E4D75B1CA78}"/>
              </a:ext>
            </a:extLst>
          </p:cNvPr>
          <p:cNvGrpSpPr/>
          <p:nvPr userDrawn="1"/>
        </p:nvGrpSpPr>
        <p:grpSpPr>
          <a:xfrm>
            <a:off x="4438655" y="1775549"/>
            <a:ext cx="1580322" cy="1533019"/>
            <a:chOff x="2063552" y="2169250"/>
            <a:chExt cx="1580322" cy="1533019"/>
          </a:xfrm>
        </p:grpSpPr>
        <p:pic>
          <p:nvPicPr>
            <p:cNvPr id="45" name="Picture 44" descr="A close up of a logo&#10;&#10;Description automatically generated">
              <a:extLst>
                <a:ext uri="{FF2B5EF4-FFF2-40B4-BE49-F238E27FC236}">
                  <a16:creationId xmlns:a16="http://schemas.microsoft.com/office/drawing/2014/main" id="{3979F712-4AE5-E949-8186-E7C0E850A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82D9F6E-808A-7246-8A5A-53E0CE58A2A2}"/>
                </a:ext>
              </a:extLst>
            </p:cNvPr>
            <p:cNvSpPr txBox="1"/>
            <p:nvPr/>
          </p:nvSpPr>
          <p:spPr>
            <a:xfrm>
              <a:off x="2063552" y="342527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&amp; Energy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B4F476E-2BA4-1E42-B910-5C33EE507D8D}"/>
              </a:ext>
            </a:extLst>
          </p:cNvPr>
          <p:cNvGrpSpPr/>
          <p:nvPr userDrawn="1"/>
        </p:nvGrpSpPr>
        <p:grpSpPr>
          <a:xfrm>
            <a:off x="7204917" y="1775053"/>
            <a:ext cx="1580322" cy="1906781"/>
            <a:chOff x="367748" y="3968750"/>
            <a:chExt cx="1580322" cy="1906781"/>
          </a:xfrm>
        </p:grpSpPr>
        <p:pic>
          <p:nvPicPr>
            <p:cNvPr id="48" name="Picture 4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13E6C-A104-D643-98BD-2DD1F33BC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9CC41FE-F107-FF4F-A8E7-3565BC178BD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Management Solutions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6B109DB-4D5A-C34E-A718-8FCB29DE4150}"/>
              </a:ext>
            </a:extLst>
          </p:cNvPr>
          <p:cNvGrpSpPr/>
          <p:nvPr userDrawn="1"/>
        </p:nvGrpSpPr>
        <p:grpSpPr>
          <a:xfrm>
            <a:off x="312763" y="3548264"/>
            <a:ext cx="1580322" cy="1518425"/>
            <a:chOff x="367748" y="2169250"/>
            <a:chExt cx="1580322" cy="1518425"/>
          </a:xfrm>
        </p:grpSpPr>
        <p:pic>
          <p:nvPicPr>
            <p:cNvPr id="51" name="Picture 50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412C461-D680-D741-AE16-55D5F4E81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717BF53-325B-2944-A211-D3A206BB23FB}"/>
                </a:ext>
              </a:extLst>
            </p:cNvPr>
            <p:cNvSpPr txBox="1"/>
            <p:nvPr/>
          </p:nvSpPr>
          <p:spPr>
            <a:xfrm>
              <a:off x="367748" y="34106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reles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1D43B28-E605-0544-A061-94103551D3D1}"/>
              </a:ext>
            </a:extLst>
          </p:cNvPr>
          <p:cNvGrpSpPr/>
          <p:nvPr userDrawn="1"/>
        </p:nvGrpSpPr>
        <p:grpSpPr>
          <a:xfrm>
            <a:off x="1679887" y="3544218"/>
            <a:ext cx="1580322" cy="1530453"/>
            <a:chOff x="7667309" y="405538"/>
            <a:chExt cx="1580322" cy="1530453"/>
          </a:xfrm>
        </p:grpSpPr>
        <p:pic>
          <p:nvPicPr>
            <p:cNvPr id="54" name="Picture 5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AECA182-8441-FC4F-B691-A4C74ABFE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5B7E7D3-FF4E-BA4D-A5CD-308BCDC14E8A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C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FEDC0B3-04D1-BF44-B969-DA25682FD9F3}"/>
              </a:ext>
            </a:extLst>
          </p:cNvPr>
          <p:cNvGrpSpPr/>
          <p:nvPr userDrawn="1"/>
        </p:nvGrpSpPr>
        <p:grpSpPr>
          <a:xfrm>
            <a:off x="5855089" y="3524350"/>
            <a:ext cx="1580322" cy="1715118"/>
            <a:chOff x="9480376" y="2169250"/>
            <a:chExt cx="1580322" cy="1715118"/>
          </a:xfrm>
        </p:grpSpPr>
        <p:pic>
          <p:nvPicPr>
            <p:cNvPr id="57" name="Picture 56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2AF0BEC-24E7-DB41-B840-6DFD23E22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8A03034-D395-EF45-89D8-8D2B795E39D0}"/>
                </a:ext>
              </a:extLst>
            </p:cNvPr>
            <p:cNvSpPr txBox="1"/>
            <p:nvPr/>
          </p:nvSpPr>
          <p:spPr>
            <a:xfrm>
              <a:off x="9480376" y="342270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10 Year Guarantee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C0E630D-6D57-2E47-A620-08F55FBA8DDE}"/>
              </a:ext>
            </a:extLst>
          </p:cNvPr>
          <p:cNvGrpSpPr/>
          <p:nvPr userDrawn="1"/>
        </p:nvGrpSpPr>
        <p:grpSpPr>
          <a:xfrm>
            <a:off x="3088827" y="3524350"/>
            <a:ext cx="1580322" cy="1715119"/>
            <a:chOff x="367748" y="405538"/>
            <a:chExt cx="1580322" cy="1715119"/>
          </a:xfrm>
        </p:grpSpPr>
        <p:pic>
          <p:nvPicPr>
            <p:cNvPr id="60" name="Picture 59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31C3E95A-31BC-7842-9595-6F21301F3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F8DD463-B058-E44A-A31A-97584612D06D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60 Years Experience</a:t>
              </a:r>
              <a:endParaRPr lang="en-US" sz="1200" dirty="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534A86F-6563-3E4F-95F3-C2B67DD91F4F}"/>
              </a:ext>
            </a:extLst>
          </p:cNvPr>
          <p:cNvGrpSpPr/>
          <p:nvPr userDrawn="1"/>
        </p:nvGrpSpPr>
        <p:grpSpPr>
          <a:xfrm>
            <a:off x="4469628" y="3514411"/>
            <a:ext cx="1580322" cy="1715119"/>
            <a:chOff x="367748" y="405538"/>
            <a:chExt cx="1580322" cy="1715119"/>
          </a:xfrm>
        </p:grpSpPr>
        <p:pic>
          <p:nvPicPr>
            <p:cNvPr id="63" name="Picture 62" descr="A close up of a logo&#10;&#10;Description automatically generated">
              <a:extLst>
                <a:ext uri="{FF2B5EF4-FFF2-40B4-BE49-F238E27FC236}">
                  <a16:creationId xmlns:a16="http://schemas.microsoft.com/office/drawing/2014/main" id="{781CD0E7-DCB1-C743-8C05-526044B2E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523E7290-B2D2-5E49-874A-9E3DB1AE76A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5 Year</a:t>
              </a:r>
              <a:br>
                <a:rPr lang="en-US" sz="1200" dirty="0"/>
              </a:br>
              <a:r>
                <a:rPr lang="en-US" sz="1200" dirty="0"/>
                <a:t>Guarantee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C21E6CA-E0FC-AC4F-9C44-985FF310F44D}"/>
              </a:ext>
            </a:extLst>
          </p:cNvPr>
          <p:cNvGrpSpPr/>
          <p:nvPr userDrawn="1"/>
        </p:nvGrpSpPr>
        <p:grpSpPr>
          <a:xfrm>
            <a:off x="425327" y="1785108"/>
            <a:ext cx="1439941" cy="1698626"/>
            <a:chOff x="425327" y="14365"/>
            <a:chExt cx="1439941" cy="1698626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17BE41B-859D-1F4E-BAE0-77DC661C0ED1}"/>
                </a:ext>
              </a:extLst>
            </p:cNvPr>
            <p:cNvSpPr txBox="1"/>
            <p:nvPr/>
          </p:nvSpPr>
          <p:spPr>
            <a:xfrm>
              <a:off x="617127" y="1251326"/>
              <a:ext cx="10933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Value of Space</a:t>
              </a:r>
            </a:p>
          </p:txBody>
        </p:sp>
        <p:pic>
          <p:nvPicPr>
            <p:cNvPr id="67" name="Picture 66" descr="A close up of a logo&#10;&#10;Description automatically generated">
              <a:extLst>
                <a:ext uri="{FF2B5EF4-FFF2-40B4-BE49-F238E27FC236}">
                  <a16:creationId xmlns:a16="http://schemas.microsoft.com/office/drawing/2014/main" id="{A7B9F8DA-DE54-5244-88F4-F73738E7E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25327" y="14365"/>
              <a:ext cx="1439941" cy="1439941"/>
            </a:xfrm>
            <a:prstGeom prst="rect">
              <a:avLst/>
            </a:prstGeom>
          </p:spPr>
        </p:pic>
      </p:grpSp>
      <p:pic>
        <p:nvPicPr>
          <p:cNvPr id="68" name="Picture 67" descr="A close up of a logo&#10;&#10;Description automatically generated">
            <a:extLst>
              <a:ext uri="{FF2B5EF4-FFF2-40B4-BE49-F238E27FC236}">
                <a16:creationId xmlns:a16="http://schemas.microsoft.com/office/drawing/2014/main" id="{1C1C2472-D34D-D743-83E9-472FDDE9ACD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093720" y="1770743"/>
            <a:ext cx="1440000" cy="1440000"/>
          </a:xfrm>
          <a:prstGeom prst="rect">
            <a:avLst/>
          </a:prstGeom>
        </p:spPr>
      </p:pic>
      <p:pic>
        <p:nvPicPr>
          <p:cNvPr id="69" name="Picture 68" descr="A close up of a logo&#10;&#10;Description automatically generated">
            <a:extLst>
              <a:ext uri="{FF2B5EF4-FFF2-40B4-BE49-F238E27FC236}">
                <a16:creationId xmlns:a16="http://schemas.microsoft.com/office/drawing/2014/main" id="{1A8D4D40-5926-7E4E-9409-346D94F9A48B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767840" y="1770743"/>
            <a:ext cx="1440000" cy="14400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501BCBFB-16E0-674E-8BFA-C2B8B84A3463}"/>
              </a:ext>
            </a:extLst>
          </p:cNvPr>
          <p:cNvSpPr txBox="1"/>
          <p:nvPr userDrawn="1"/>
        </p:nvSpPr>
        <p:spPr>
          <a:xfrm>
            <a:off x="194118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DCBDD38-CEDC-4C45-9F16-63397D74B2D5}"/>
              </a:ext>
            </a:extLst>
          </p:cNvPr>
          <p:cNvSpPr txBox="1"/>
          <p:nvPr userDrawn="1"/>
        </p:nvSpPr>
        <p:spPr>
          <a:xfrm>
            <a:off x="326706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A73E3EA-1058-0945-B47B-B01E5F27DF8C}"/>
              </a:ext>
            </a:extLst>
          </p:cNvPr>
          <p:cNvGrpSpPr/>
          <p:nvPr userDrawn="1"/>
        </p:nvGrpSpPr>
        <p:grpSpPr>
          <a:xfrm>
            <a:off x="418424" y="9898"/>
            <a:ext cx="1440001" cy="1717254"/>
            <a:chOff x="4441292" y="451373"/>
            <a:chExt cx="1440001" cy="1717254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9029692-0A8B-9946-AE15-00C1B5C63887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107" name="Picture 106" descr="A picture containing object, clock&#10;&#10;Description automatically generated">
              <a:extLst>
                <a:ext uri="{FF2B5EF4-FFF2-40B4-BE49-F238E27FC236}">
                  <a16:creationId xmlns:a16="http://schemas.microsoft.com/office/drawing/2014/main" id="{7A1BE080-7C5A-CD46-A875-A8840BBA2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441292" y="451373"/>
              <a:ext cx="1440001" cy="1440001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CD871D3-5D9B-C445-B58A-3F400D10C036}"/>
              </a:ext>
            </a:extLst>
          </p:cNvPr>
          <p:cNvGrpSpPr/>
          <p:nvPr userDrawn="1"/>
        </p:nvGrpSpPr>
        <p:grpSpPr>
          <a:xfrm>
            <a:off x="3015807" y="0"/>
            <a:ext cx="1580322" cy="1530453"/>
            <a:chOff x="2063552" y="405538"/>
            <a:chExt cx="1580322" cy="1530453"/>
          </a:xfrm>
        </p:grpSpPr>
        <p:pic>
          <p:nvPicPr>
            <p:cNvPr id="109" name="Picture 10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5E5B0A6-749C-B448-A592-2864D8A39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E521F28-9561-AD44-B722-533CBBE7DDCF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chnology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BB9F985-9B0F-E047-B510-1BB9EF36F33E}"/>
              </a:ext>
            </a:extLst>
          </p:cNvPr>
          <p:cNvGrpSpPr/>
          <p:nvPr userDrawn="1"/>
        </p:nvGrpSpPr>
        <p:grpSpPr>
          <a:xfrm>
            <a:off x="8563826" y="20904"/>
            <a:ext cx="1580322" cy="1501025"/>
            <a:chOff x="5750970" y="2169250"/>
            <a:chExt cx="1580322" cy="1501025"/>
          </a:xfrm>
        </p:grpSpPr>
        <p:pic>
          <p:nvPicPr>
            <p:cNvPr id="112" name="Picture 111" descr="A close up of a logo&#10;&#10;Description automatically generated">
              <a:extLst>
                <a:ext uri="{FF2B5EF4-FFF2-40B4-BE49-F238E27FC236}">
                  <a16:creationId xmlns:a16="http://schemas.microsoft.com/office/drawing/2014/main" id="{83428831-0B07-C443-A5D9-527124647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FB0C301-92BC-E541-B57F-525F1CEE2CEA}"/>
                </a:ext>
              </a:extLst>
            </p:cNvPr>
            <p:cNvSpPr txBox="1"/>
            <p:nvPr/>
          </p:nvSpPr>
          <p:spPr>
            <a:xfrm>
              <a:off x="5750970" y="33932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rusted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A064281-FE15-D047-AB93-75FFD984539C}"/>
              </a:ext>
            </a:extLst>
          </p:cNvPr>
          <p:cNvGrpSpPr/>
          <p:nvPr userDrawn="1"/>
        </p:nvGrpSpPr>
        <p:grpSpPr>
          <a:xfrm>
            <a:off x="4381418" y="1961"/>
            <a:ext cx="1580322" cy="1537449"/>
            <a:chOff x="3896140" y="3968750"/>
            <a:chExt cx="1580322" cy="1537449"/>
          </a:xfrm>
        </p:grpSpPr>
        <p:pic>
          <p:nvPicPr>
            <p:cNvPr id="115" name="Picture 114" descr="A close up of a logo&#10;&#10;Description automatically generated">
              <a:extLst>
                <a:ext uri="{FF2B5EF4-FFF2-40B4-BE49-F238E27FC236}">
                  <a16:creationId xmlns:a16="http://schemas.microsoft.com/office/drawing/2014/main" id="{7A4E366A-C689-9F45-9BE2-7565B861A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3E2AF2E-D974-BC44-82F4-AAA15C760FD0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lemetry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F05FAF8-30CF-B54D-A9D8-9AD47435166B}"/>
              </a:ext>
            </a:extLst>
          </p:cNvPr>
          <p:cNvGrpSpPr/>
          <p:nvPr userDrawn="1"/>
        </p:nvGrpSpPr>
        <p:grpSpPr>
          <a:xfrm>
            <a:off x="5774501" y="0"/>
            <a:ext cx="1580322" cy="1555646"/>
            <a:chOff x="1638370" y="428315"/>
            <a:chExt cx="1580322" cy="1555646"/>
          </a:xfrm>
        </p:grpSpPr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60DA4B5-6EAA-E84C-AD7B-B149EBD9CD91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in</a:t>
              </a:r>
            </a:p>
          </p:txBody>
        </p:sp>
        <p:pic>
          <p:nvPicPr>
            <p:cNvPr id="119" name="Picture 11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A2C1789-8CA5-0B48-A125-F634DA7011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701611" y="428315"/>
              <a:ext cx="1441450" cy="1441450"/>
            </a:xfrm>
            <a:prstGeom prst="rect">
              <a:avLst/>
            </a:prstGeom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52128973-2794-CD4A-967B-7EA3F6DA1F82}"/>
              </a:ext>
            </a:extLst>
          </p:cNvPr>
          <p:cNvGrpSpPr/>
          <p:nvPr userDrawn="1"/>
        </p:nvGrpSpPr>
        <p:grpSpPr>
          <a:xfrm>
            <a:off x="1699390" y="0"/>
            <a:ext cx="1440000" cy="1738862"/>
            <a:chOff x="5837032" y="429765"/>
            <a:chExt cx="1440000" cy="1738862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1E22EBBD-946D-EE4B-A99A-9BC7B6497A4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Saving</a:t>
              </a:r>
            </a:p>
          </p:txBody>
        </p:sp>
        <p:pic>
          <p:nvPicPr>
            <p:cNvPr id="122" name="Picture 121" descr="A close up of a sign&#10;&#10;Description automatically generated">
              <a:extLst>
                <a:ext uri="{FF2B5EF4-FFF2-40B4-BE49-F238E27FC236}">
                  <a16:creationId xmlns:a16="http://schemas.microsoft.com/office/drawing/2014/main" id="{8C332DCE-70D7-B94D-A86F-41FCCE60F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0E466CF5-77E6-2849-825F-BCE63DDCA0FC}"/>
              </a:ext>
            </a:extLst>
          </p:cNvPr>
          <p:cNvGrpSpPr/>
          <p:nvPr userDrawn="1"/>
        </p:nvGrpSpPr>
        <p:grpSpPr>
          <a:xfrm>
            <a:off x="7139575" y="9709"/>
            <a:ext cx="1580322" cy="1548606"/>
            <a:chOff x="1638370" y="435355"/>
            <a:chExt cx="1580322" cy="1548606"/>
          </a:xfrm>
        </p:grpSpPr>
        <p:pic>
          <p:nvPicPr>
            <p:cNvPr id="124" name="Picture 123" descr="A close up of a logo&#10;&#10;Description automatically generated">
              <a:extLst>
                <a:ext uri="{FF2B5EF4-FFF2-40B4-BE49-F238E27FC236}">
                  <a16:creationId xmlns:a16="http://schemas.microsoft.com/office/drawing/2014/main" id="{29C8F395-99FF-CB41-9A35-870DA67F2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753119" y="435355"/>
              <a:ext cx="1440000" cy="1440000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11004237-79D8-FF41-BB20-F72958AB83CA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ermal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132D0852-F109-4840-8B7D-22633932F88B}"/>
              </a:ext>
            </a:extLst>
          </p:cNvPr>
          <p:cNvGrpSpPr/>
          <p:nvPr userDrawn="1"/>
        </p:nvGrpSpPr>
        <p:grpSpPr>
          <a:xfrm>
            <a:off x="9951586" y="0"/>
            <a:ext cx="1580322" cy="1530453"/>
            <a:chOff x="3896140" y="405538"/>
            <a:chExt cx="1580322" cy="1530453"/>
          </a:xfrm>
        </p:grpSpPr>
        <p:pic>
          <p:nvPicPr>
            <p:cNvPr id="127" name="Picture 126" descr="A close up of a sign&#10;&#10;Description automatically generated">
              <a:extLst>
                <a:ext uri="{FF2B5EF4-FFF2-40B4-BE49-F238E27FC236}">
                  <a16:creationId xmlns:a16="http://schemas.microsoft.com/office/drawing/2014/main" id="{F253349E-D85B-1A40-A086-F689B655B8B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8875A09-5C32-D144-B13C-55E5EB13EEC9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User interfa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8183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7E0ADF6-E402-3146-B6DE-495BAF74F338}"/>
              </a:ext>
            </a:extLst>
          </p:cNvPr>
          <p:cNvGrpSpPr/>
          <p:nvPr userDrawn="1"/>
        </p:nvGrpSpPr>
        <p:grpSpPr>
          <a:xfrm>
            <a:off x="2060687" y="1219765"/>
            <a:ext cx="1580322" cy="1823574"/>
            <a:chOff x="2060687" y="335183"/>
            <a:chExt cx="1580322" cy="182357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7080020-DBD7-7D4A-A601-0D373779B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70415" y="335183"/>
              <a:ext cx="1560866" cy="1560866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4B66BA5-5251-7D4A-ADB0-F06CA12C04E2}"/>
                </a:ext>
              </a:extLst>
            </p:cNvPr>
            <p:cNvSpPr txBox="1"/>
            <p:nvPr/>
          </p:nvSpPr>
          <p:spPr>
            <a:xfrm>
              <a:off x="2060687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 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311CBF-35F9-7B42-AFD0-7388FA15E194}"/>
              </a:ext>
            </a:extLst>
          </p:cNvPr>
          <p:cNvGrpSpPr/>
          <p:nvPr userDrawn="1"/>
        </p:nvGrpSpPr>
        <p:grpSpPr>
          <a:xfrm>
            <a:off x="3896140" y="1219765"/>
            <a:ext cx="1580322" cy="1823574"/>
            <a:chOff x="3896140" y="335183"/>
            <a:chExt cx="1580322" cy="1823574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3C9B6E8E-D382-C54D-B03F-EC03B231D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05868" y="335183"/>
              <a:ext cx="1560866" cy="1560866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7E95FD9-B3BE-3946-88C9-18D9AF591AE3}"/>
                </a:ext>
              </a:extLst>
            </p:cNvPr>
            <p:cNvSpPr txBox="1"/>
            <p:nvPr/>
          </p:nvSpPr>
          <p:spPr>
            <a:xfrm>
              <a:off x="389614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Harvested Rainwater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7A2DF56-7F4E-B74F-9EF8-22EB940B3D8F}"/>
              </a:ext>
            </a:extLst>
          </p:cNvPr>
          <p:cNvGrpSpPr/>
          <p:nvPr userDrawn="1"/>
        </p:nvGrpSpPr>
        <p:grpSpPr>
          <a:xfrm>
            <a:off x="5750970" y="1219765"/>
            <a:ext cx="1580322" cy="1823574"/>
            <a:chOff x="5750970" y="335183"/>
            <a:chExt cx="1580322" cy="182357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397EC76-47B1-5F40-8B0A-CCCC7E2D7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60698" y="335183"/>
              <a:ext cx="1560866" cy="1560866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AC4E3AF-BD61-5C4F-A121-07463167A4A2}"/>
                </a:ext>
              </a:extLst>
            </p:cNvPr>
            <p:cNvSpPr txBox="1"/>
            <p:nvPr/>
          </p:nvSpPr>
          <p:spPr>
            <a:xfrm>
              <a:off x="575097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 (PETS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A3D937-5DA9-6540-A3B4-35AB5AD80573}"/>
              </a:ext>
            </a:extLst>
          </p:cNvPr>
          <p:cNvGrpSpPr/>
          <p:nvPr userDrawn="1"/>
        </p:nvGrpSpPr>
        <p:grpSpPr>
          <a:xfrm>
            <a:off x="7667309" y="1219765"/>
            <a:ext cx="1580322" cy="1823574"/>
            <a:chOff x="7667309" y="335183"/>
            <a:chExt cx="1580322" cy="1823574"/>
          </a:xfrm>
        </p:grpSpPr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4199837F-648B-3E49-8C70-6CCBA8CB9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677037" y="335183"/>
              <a:ext cx="1560866" cy="1560866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3DD6A3E-810A-E149-B8DC-16C65669000C}"/>
                </a:ext>
              </a:extLst>
            </p:cNvPr>
            <p:cNvSpPr txBox="1"/>
            <p:nvPr/>
          </p:nvSpPr>
          <p:spPr>
            <a:xfrm>
              <a:off x="7667309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ustainable Disposabl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A435C9-18ED-7C47-B379-E289CBD0D831}"/>
              </a:ext>
            </a:extLst>
          </p:cNvPr>
          <p:cNvGrpSpPr/>
          <p:nvPr userDrawn="1"/>
        </p:nvGrpSpPr>
        <p:grpSpPr>
          <a:xfrm>
            <a:off x="9480376" y="1219765"/>
            <a:ext cx="1580322" cy="1823574"/>
            <a:chOff x="9480376" y="335183"/>
            <a:chExt cx="1580322" cy="1823574"/>
          </a:xfrm>
        </p:grpSpPr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B2DFCE71-6805-1940-98AC-BE0857ADF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490104" y="335183"/>
              <a:ext cx="1560866" cy="1560866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D4A8CB-B54E-F342-AD99-33B14AF80D1A}"/>
                </a:ext>
              </a:extLst>
            </p:cNvPr>
            <p:cNvSpPr txBox="1"/>
            <p:nvPr/>
          </p:nvSpPr>
          <p:spPr>
            <a:xfrm>
              <a:off x="9480376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ldlife Conserv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C275B83-58F3-4C41-A29B-A8449C9A03FC}"/>
              </a:ext>
            </a:extLst>
          </p:cNvPr>
          <p:cNvGrpSpPr/>
          <p:nvPr userDrawn="1"/>
        </p:nvGrpSpPr>
        <p:grpSpPr>
          <a:xfrm>
            <a:off x="366479" y="2970743"/>
            <a:ext cx="1580322" cy="1876512"/>
            <a:chOff x="366479" y="2086161"/>
            <a:chExt cx="1580322" cy="187651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D0B128-566C-9946-8291-F34F48BC9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76207" y="2086161"/>
              <a:ext cx="1560866" cy="156086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A6ED507-A5BD-5E41-A120-C59F75E0D899}"/>
                </a:ext>
              </a:extLst>
            </p:cNvPr>
            <p:cNvSpPr txBox="1"/>
            <p:nvPr/>
          </p:nvSpPr>
          <p:spPr>
            <a:xfrm>
              <a:off x="36647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Waste to Landfill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88C6F2-E90C-9D4F-BB44-9C228DB01E7B}"/>
              </a:ext>
            </a:extLst>
          </p:cNvPr>
          <p:cNvGrpSpPr/>
          <p:nvPr userDrawn="1"/>
        </p:nvGrpSpPr>
        <p:grpSpPr>
          <a:xfrm>
            <a:off x="5750970" y="2970743"/>
            <a:ext cx="1580322" cy="1876512"/>
            <a:chOff x="5750970" y="2086161"/>
            <a:chExt cx="1580322" cy="1876512"/>
          </a:xfrm>
        </p:grpSpPr>
        <p:pic>
          <p:nvPicPr>
            <p:cNvPr id="21" name="Picture 20" descr="A close up of a logo&#10;&#10;Description automatically generated">
              <a:extLst>
                <a:ext uri="{FF2B5EF4-FFF2-40B4-BE49-F238E27FC236}">
                  <a16:creationId xmlns:a16="http://schemas.microsoft.com/office/drawing/2014/main" id="{40AF79D2-ABB6-6249-AB90-819D80E27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60698" y="2086161"/>
              <a:ext cx="1560866" cy="1560866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6D520A-1850-6240-AF9C-C53B4319489F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erve Precious Water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E86519-8C0E-7E4A-B35D-EA1C68D21516}"/>
              </a:ext>
            </a:extLst>
          </p:cNvPr>
          <p:cNvGrpSpPr/>
          <p:nvPr userDrawn="1"/>
        </p:nvGrpSpPr>
        <p:grpSpPr>
          <a:xfrm>
            <a:off x="366479" y="4789815"/>
            <a:ext cx="1580322" cy="1823732"/>
            <a:chOff x="366479" y="3905233"/>
            <a:chExt cx="1580322" cy="182373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4DD2E8F-EA5D-BE4D-9771-D7938B9CF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76207" y="3905233"/>
              <a:ext cx="1560866" cy="1560866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FCDF5E6-CEA8-974B-9E45-8BA498AE4982}"/>
                </a:ext>
              </a:extLst>
            </p:cNvPr>
            <p:cNvSpPr txBox="1"/>
            <p:nvPr/>
          </p:nvSpPr>
          <p:spPr>
            <a:xfrm>
              <a:off x="366479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ivert Waste </a:t>
              </a:r>
              <a:br>
                <a:rPr lang="en-US" sz="1200" dirty="0"/>
              </a:br>
              <a:r>
                <a:rPr lang="en-US" sz="1200" dirty="0"/>
                <a:t>From Landfill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6554505-D36A-6B4A-B149-925F6F387039}"/>
              </a:ext>
            </a:extLst>
          </p:cNvPr>
          <p:cNvGrpSpPr/>
          <p:nvPr userDrawn="1"/>
        </p:nvGrpSpPr>
        <p:grpSpPr>
          <a:xfrm>
            <a:off x="2060687" y="4789815"/>
            <a:ext cx="1580322" cy="1639066"/>
            <a:chOff x="2060687" y="3905233"/>
            <a:chExt cx="1580322" cy="1639066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A87986D-6D26-B049-ACB6-D09710666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070415" y="3905233"/>
              <a:ext cx="1560866" cy="156086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A0E7E4B-4EED-EF45-AD38-AB6BBD575001}"/>
                </a:ext>
              </a:extLst>
            </p:cNvPr>
            <p:cNvSpPr txBox="1"/>
            <p:nvPr/>
          </p:nvSpPr>
          <p:spPr>
            <a:xfrm>
              <a:off x="2060687" y="52673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Car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59AC5-5161-3542-A44B-87C140EF1AD7}"/>
              </a:ext>
            </a:extLst>
          </p:cNvPr>
          <p:cNvGrpSpPr/>
          <p:nvPr userDrawn="1"/>
        </p:nvGrpSpPr>
        <p:grpSpPr>
          <a:xfrm>
            <a:off x="3896140" y="4789815"/>
            <a:ext cx="1580322" cy="1823732"/>
            <a:chOff x="3896140" y="3905233"/>
            <a:chExt cx="1580322" cy="1823732"/>
          </a:xfrm>
        </p:grpSpPr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3118C172-C374-7148-8AF8-91DA1163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905868" y="3905233"/>
              <a:ext cx="1560866" cy="1560866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8D30B9-2D0D-5447-B451-99762172B567}"/>
                </a:ext>
              </a:extLst>
            </p:cNvPr>
            <p:cNvSpPr txBox="1"/>
            <p:nvPr/>
          </p:nvSpPr>
          <p:spPr>
            <a:xfrm>
              <a:off x="3896140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FE88D3-964D-F04D-982F-D50679D1A931}"/>
              </a:ext>
            </a:extLst>
          </p:cNvPr>
          <p:cNvGrpSpPr/>
          <p:nvPr userDrawn="1"/>
        </p:nvGrpSpPr>
        <p:grpSpPr>
          <a:xfrm>
            <a:off x="9480376" y="2970743"/>
            <a:ext cx="1580322" cy="1876512"/>
            <a:chOff x="9480376" y="2086161"/>
            <a:chExt cx="1580322" cy="1876512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B81C42D-1A62-0E42-9368-8AB6785A055B}"/>
                </a:ext>
              </a:extLst>
            </p:cNvPr>
            <p:cNvSpPr txBox="1"/>
            <p:nvPr/>
          </p:nvSpPr>
          <p:spPr>
            <a:xfrm>
              <a:off x="9480376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duce Carbon Emissions</a:t>
              </a:r>
            </a:p>
          </p:txBody>
        </p: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8C3D0B-F69D-584A-B789-F78D1EE92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490104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34229A7-5746-1545-9D95-5DB5D524B8B6}"/>
              </a:ext>
            </a:extLst>
          </p:cNvPr>
          <p:cNvGrpSpPr/>
          <p:nvPr userDrawn="1"/>
        </p:nvGrpSpPr>
        <p:grpSpPr>
          <a:xfrm>
            <a:off x="7667309" y="2970743"/>
            <a:ext cx="1580322" cy="1876512"/>
            <a:chOff x="7667309" y="2086161"/>
            <a:chExt cx="1580322" cy="187651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FCA6388-B3D7-E04A-9FFD-911C1AD95D4E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Upcycling Solutions</a:t>
              </a:r>
            </a:p>
          </p:txBody>
        </p:sp>
        <p:pic>
          <p:nvPicPr>
            <p:cNvPr id="37" name="Picture 36" descr="A close up of a logo&#10;&#10;Description automatically generated">
              <a:extLst>
                <a:ext uri="{FF2B5EF4-FFF2-40B4-BE49-F238E27FC236}">
                  <a16:creationId xmlns:a16="http://schemas.microsoft.com/office/drawing/2014/main" id="{87D98C90-3A4F-924E-866C-A3BD078DC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677037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5319109-DF02-FB4B-A59E-90747F79DBD5}"/>
              </a:ext>
            </a:extLst>
          </p:cNvPr>
          <p:cNvGrpSpPr/>
          <p:nvPr userDrawn="1"/>
        </p:nvGrpSpPr>
        <p:grpSpPr>
          <a:xfrm>
            <a:off x="3896140" y="2970743"/>
            <a:ext cx="1580322" cy="1691846"/>
            <a:chOff x="3896140" y="2086161"/>
            <a:chExt cx="1580322" cy="169184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69ACBB5-7413-064B-976E-6770C7943827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458CDF8-B795-7B49-9715-EAF36754E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05868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B72E4C2-6ABB-FC4C-ABD8-C3F418B7756B}"/>
              </a:ext>
            </a:extLst>
          </p:cNvPr>
          <p:cNvGrpSpPr/>
          <p:nvPr userDrawn="1"/>
        </p:nvGrpSpPr>
        <p:grpSpPr>
          <a:xfrm>
            <a:off x="2060687" y="2970743"/>
            <a:ext cx="1580322" cy="1876512"/>
            <a:chOff x="2060687" y="2086161"/>
            <a:chExt cx="1580322" cy="187651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7521234-615B-9B46-946E-CCDAC01ACD92}"/>
                </a:ext>
              </a:extLst>
            </p:cNvPr>
            <p:cNvSpPr txBox="1"/>
            <p:nvPr/>
          </p:nvSpPr>
          <p:spPr>
            <a:xfrm>
              <a:off x="2060687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Vehicles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8AC1DD03-B1F9-6B4C-AA85-870734290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070415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48BFC73-B6AF-004C-B3A9-6E0BA209E43D}"/>
              </a:ext>
            </a:extLst>
          </p:cNvPr>
          <p:cNvGrpSpPr/>
          <p:nvPr userDrawn="1"/>
        </p:nvGrpSpPr>
        <p:grpSpPr>
          <a:xfrm>
            <a:off x="366479" y="1219765"/>
            <a:ext cx="1580322" cy="1638908"/>
            <a:chOff x="366479" y="1219765"/>
            <a:chExt cx="1580322" cy="1638908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6E7A0CA-1D4D-C14A-847A-285EFAADE9AA}"/>
                </a:ext>
              </a:extLst>
            </p:cNvPr>
            <p:cNvSpPr txBox="1"/>
            <p:nvPr/>
          </p:nvSpPr>
          <p:spPr>
            <a:xfrm>
              <a:off x="366479" y="258167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T Plastic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AA491AB-E6B6-604B-BC91-441D57CCB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76207" y="1219765"/>
              <a:ext cx="1560866" cy="1560866"/>
            </a:xfrm>
            <a:prstGeom prst="rect">
              <a:avLst/>
            </a:prstGeom>
          </p:spPr>
        </p:pic>
      </p:grpSp>
      <p:sp>
        <p:nvSpPr>
          <p:cNvPr id="47" name="Title 4">
            <a:extLst>
              <a:ext uri="{FF2B5EF4-FFF2-40B4-BE49-F238E27FC236}">
                <a16:creationId xmlns:a16="http://schemas.microsoft.com/office/drawing/2014/main" id="{77074F7F-7772-E54E-8E65-51F80B009F05}"/>
              </a:ext>
            </a:extLst>
          </p:cNvPr>
          <p:cNvSpPr txBox="1">
            <a:spLocks/>
          </p:cNvSpPr>
          <p:nvPr userDrawn="1"/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net Passionate Icons</a:t>
            </a:r>
            <a:br>
              <a:rPr lang="en-I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722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7625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4DB3BC1-51BC-FA4C-B894-20464786F5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uideline Slide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5058055-1CEA-8F4A-B28D-6EBF057B1F66}"/>
              </a:ext>
            </a:extLst>
          </p:cNvPr>
          <p:cNvSpPr txBox="1"/>
          <p:nvPr userDrawn="1"/>
        </p:nvSpPr>
        <p:spPr>
          <a:xfrm>
            <a:off x="4198976" y="1454019"/>
            <a:ext cx="3609474" cy="51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3200" dirty="0">
                <a:latin typeface="Century Gothic" panose="020B0502020202020204" pitchFamily="34" charset="0"/>
              </a:rPr>
              <a:t>Title </a:t>
            </a:r>
            <a:r>
              <a:rPr lang="en-US" sz="3200" b="0" i="0" dirty="0">
                <a:latin typeface="Century Gothic" panose="020B0502020202020204" pitchFamily="34" charset="0"/>
              </a:rPr>
              <a:t>Size 3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latin typeface="Century Gothic" panose="020B0502020202020204" pitchFamily="34" charset="0"/>
              </a:rPr>
              <a:t>Title </a:t>
            </a:r>
            <a:r>
              <a:rPr lang="en-US" sz="4000" b="0" i="0" dirty="0">
                <a:latin typeface="Century Gothic" panose="020B0502020202020204" pitchFamily="34" charset="0"/>
              </a:rPr>
              <a:t>Size 4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latin typeface="Century Gothic" panose="020B0502020202020204" pitchFamily="34" charset="0"/>
              </a:rPr>
              <a:t>Title </a:t>
            </a:r>
            <a:r>
              <a:rPr lang="en-US" sz="4800" b="0" i="0" dirty="0">
                <a:latin typeface="Century Gothic" panose="020B0502020202020204" pitchFamily="34" charset="0"/>
              </a:rPr>
              <a:t>Size 4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Subtitle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i="0" dirty="0">
                <a:latin typeface="Century Gothic" panose="020B0502020202020204" pitchFamily="34" charset="0"/>
              </a:rPr>
              <a:t>Subtitle Size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i="0" dirty="0">
                <a:latin typeface="Century Gothic" panose="020B0502020202020204" pitchFamily="34" charset="0"/>
              </a:rPr>
              <a:t>Subtitle Size 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0" i="0" dirty="0">
                <a:latin typeface="Century Gothic" panose="020B0502020202020204" pitchFamily="34" charset="0"/>
              </a:rPr>
              <a:t>Subtitle Size 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latin typeface="Century Gothic" panose="020B0502020202020204" pitchFamily="34" charset="0"/>
              </a:rPr>
              <a:t>Body Copy Size 1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dirty="0">
                <a:latin typeface="Century Gothic" panose="020B0502020202020204" pitchFamily="34" charset="0"/>
              </a:rPr>
              <a:t>Body Copy Size 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0" i="0" dirty="0">
                <a:latin typeface="Century Gothic" panose="020B0502020202020204" pitchFamily="34" charset="0"/>
              </a:rPr>
              <a:t>Body Copy Size 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Body Copy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endParaRPr lang="en-US" sz="3200" b="0" i="0" dirty="0">
              <a:latin typeface="Century Gothic" panose="020B0502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A9601FA-2C65-E743-B839-2BC0AA447EFA}"/>
              </a:ext>
            </a:extLst>
          </p:cNvPr>
          <p:cNvGrpSpPr/>
          <p:nvPr userDrawn="1"/>
        </p:nvGrpSpPr>
        <p:grpSpPr>
          <a:xfrm>
            <a:off x="623887" y="1457766"/>
            <a:ext cx="3625820" cy="4943755"/>
            <a:chOff x="-6257760" y="707017"/>
            <a:chExt cx="3625820" cy="494375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BD78F41-BB0F-F94F-B712-97D86AE976FB}"/>
                </a:ext>
              </a:extLst>
            </p:cNvPr>
            <p:cNvSpPr/>
            <p:nvPr/>
          </p:nvSpPr>
          <p:spPr>
            <a:xfrm>
              <a:off x="-6246609" y="707017"/>
              <a:ext cx="881743" cy="881743"/>
            </a:xfrm>
            <a:prstGeom prst="ellipse">
              <a:avLst/>
            </a:prstGeom>
            <a:solidFill>
              <a:srgbClr val="0941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BCF57C2-460B-E046-8C9E-C10EFA6D7193}"/>
                </a:ext>
              </a:extLst>
            </p:cNvPr>
            <p:cNvSpPr/>
            <p:nvPr/>
          </p:nvSpPr>
          <p:spPr>
            <a:xfrm>
              <a:off x="-6246609" y="1726714"/>
              <a:ext cx="881743" cy="881743"/>
            </a:xfrm>
            <a:prstGeom prst="ellipse">
              <a:avLst/>
            </a:prstGeom>
            <a:solidFill>
              <a:srgbClr val="2382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5F50ABA-AC03-BB42-A8AC-FAC93E74E2FA}"/>
                </a:ext>
              </a:extLst>
            </p:cNvPr>
            <p:cNvSpPr/>
            <p:nvPr/>
          </p:nvSpPr>
          <p:spPr>
            <a:xfrm>
              <a:off x="-6246609" y="2740819"/>
              <a:ext cx="881743" cy="881743"/>
            </a:xfrm>
            <a:prstGeom prst="ellipse">
              <a:avLst/>
            </a:prstGeom>
            <a:solidFill>
              <a:srgbClr val="F7A4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78521A9-75E7-4548-A46B-547A9ACB0A3D}"/>
                </a:ext>
              </a:extLst>
            </p:cNvPr>
            <p:cNvSpPr/>
            <p:nvPr/>
          </p:nvSpPr>
          <p:spPr>
            <a:xfrm>
              <a:off x="-6257760" y="3754924"/>
              <a:ext cx="881743" cy="881743"/>
            </a:xfrm>
            <a:prstGeom prst="ellipse">
              <a:avLst/>
            </a:prstGeom>
            <a:solidFill>
              <a:srgbClr val="0FA0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BF5A9BF-9E01-A946-A6D0-4A399D564919}"/>
                </a:ext>
              </a:extLst>
            </p:cNvPr>
            <p:cNvSpPr/>
            <p:nvPr/>
          </p:nvSpPr>
          <p:spPr>
            <a:xfrm>
              <a:off x="-6257760" y="4769029"/>
              <a:ext cx="881743" cy="881743"/>
            </a:xfrm>
            <a:prstGeom prst="ellipse">
              <a:avLst/>
            </a:prstGeom>
            <a:solidFill>
              <a:srgbClr val="C09A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474E757-2D7D-E84A-8F90-67963898E9A5}"/>
                </a:ext>
              </a:extLst>
            </p:cNvPr>
            <p:cNvSpPr txBox="1"/>
            <p:nvPr/>
          </p:nvSpPr>
          <p:spPr>
            <a:xfrm>
              <a:off x="-5235635" y="293357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Orang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0 / 42 / 87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247 / 164 / 45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FBDF904-4B20-C644-BF8D-76EF3776FFF5}"/>
                </a:ext>
              </a:extLst>
            </p:cNvPr>
            <p:cNvSpPr txBox="1"/>
            <p:nvPr/>
          </p:nvSpPr>
          <p:spPr>
            <a:xfrm>
              <a:off x="-5235635" y="191247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0 / 33 / 4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 / 141 / 198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8FEDB90-7B3E-404B-BEE7-B7222F3FF624}"/>
                </a:ext>
              </a:extLst>
            </p:cNvPr>
            <p:cNvSpPr txBox="1"/>
            <p:nvPr/>
          </p:nvSpPr>
          <p:spPr>
            <a:xfrm>
              <a:off x="-5235635" y="851395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100 / 72 / 0 / 18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0 / 66 / 137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2223326-CD12-D04E-AD0D-8F5551660336}"/>
                </a:ext>
              </a:extLst>
            </p:cNvPr>
            <p:cNvSpPr txBox="1"/>
            <p:nvPr/>
          </p:nvSpPr>
          <p:spPr>
            <a:xfrm>
              <a:off x="-5235635" y="396009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Green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1 / 5 / 95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5 / 160 / 66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42560D3-17B6-DD47-A272-449E80C687E5}"/>
                </a:ext>
              </a:extLst>
            </p:cNvPr>
            <p:cNvSpPr txBox="1"/>
            <p:nvPr/>
          </p:nvSpPr>
          <p:spPr>
            <a:xfrm>
              <a:off x="-5235635" y="496178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Gold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30 / 40 / 70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2 / 154 / 9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3722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FF804A-9FCC-3D4F-8E5D-878EB0BC5C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18954" y="1397777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</p:spTree>
    <p:extLst>
      <p:ext uri="{BB962C8B-B14F-4D97-AF65-F5344CB8AC3E}">
        <p14:creationId xmlns:p14="http://schemas.microsoft.com/office/powerpoint/2010/main" val="2211441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4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94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582F58F-84F7-A348-85DD-03FEC9C57F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434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5" t="27833" r="42531" b="51236"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nsert backdrop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F7D7FD-2E4D-764B-8614-8BB948EDA1D8}"/>
              </a:ext>
            </a:extLst>
          </p:cNvPr>
          <p:cNvSpPr/>
          <p:nvPr userDrawn="1"/>
        </p:nvSpPr>
        <p:spPr>
          <a:xfrm>
            <a:off x="5562600" y="3456947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Right click and use the crop function to size your image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Scale and position your image to fit inside this area.</a:t>
            </a:r>
            <a:br>
              <a:rPr lang="en-US" sz="1400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04331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7507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8693107-CCA3-A44F-A088-CA97182B2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E3C12AD-F3DE-8345-83C1-ED4A54A6FA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288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226636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5B61BF-F308-884F-835C-950D755857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483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471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</a:lstStyle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Right click and use the crop function to size your image box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Scale and position your image to fit inside this area.</a:t>
            </a:r>
            <a:br>
              <a:rPr lang="en-US" sz="2000" dirty="0"/>
            </a:br>
            <a:endParaRPr lang="en-US" sz="2000" dirty="0"/>
          </a:p>
          <a:p>
            <a:pPr lvl="0"/>
            <a:endParaRPr lang="en-US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592070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846173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450524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415210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342228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9136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023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27396510-F944-4741-BA3C-017EE0787E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F86B7C-BE1A-8143-ADB4-6DDB056CB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050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429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4B06EC-548A-3A41-9515-77E050010F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263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735515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D2F7360-C85C-A545-9AC3-C8303F5241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37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913043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A08F8D-242C-EC41-A05E-7744BFBBC7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324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01CB732-A621-8440-A42B-A3E72ABEF6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363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56A60E4-0332-914F-93F8-9A7AA9093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810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08C281-9C7A-294A-87E1-B2464303E763}"/>
              </a:ext>
            </a:extLst>
          </p:cNvPr>
          <p:cNvSpPr/>
          <p:nvPr userDrawn="1"/>
        </p:nvSpPr>
        <p:spPr>
          <a:xfrm>
            <a:off x="0" y="1"/>
            <a:ext cx="12181021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9" y="1745140"/>
            <a:ext cx="3527424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12113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8023"/>
            <a:ext cx="10934489" cy="54303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49577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E4BDEA-9ED9-9E4A-8299-1ED7EDA0B7BE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530DB3-6D36-8245-B9A4-DFAB045921B8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44A662-5109-9E46-BA25-7B6A075E7F85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C6B76F-1E4F-AC47-9415-689DE31A47F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168B1D-3168-D940-8927-A3A5BAAAFAF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Subtitle 2">
            <a:extLst>
              <a:ext uri="{FF2B5EF4-FFF2-40B4-BE49-F238E27FC236}">
                <a16:creationId xmlns:a16="http://schemas.microsoft.com/office/drawing/2014/main" id="{A69FF014-B939-B84A-B950-4DB7547889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B58088-83A5-AD46-ACC2-6FB2290F56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2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B3BBCE2E-3119-F04F-B262-DE7256C2C7A1}"/>
              </a:ext>
            </a:extLst>
          </p:cNvPr>
          <p:cNvSpPr/>
          <p:nvPr userDrawn="1"/>
        </p:nvSpPr>
        <p:spPr>
          <a:xfrm>
            <a:off x="373198" y="0"/>
            <a:ext cx="11807823" cy="4530723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8" y="1745140"/>
            <a:ext cx="3527425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745140"/>
            <a:ext cx="3556001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01453" y="1745140"/>
            <a:ext cx="3556002" cy="254746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32288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E05B4EB-48E0-2742-B1AE-279309679E4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332288" y="4688681"/>
            <a:ext cx="3527425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CAB8C08-8214-6A4E-A4D8-C6B318A0AFD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3888" y="4688681"/>
            <a:ext cx="3556001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ECE91E5-64B2-9844-9A5C-E74D42AB53F9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8001453" y="4688681"/>
            <a:ext cx="3556002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06BC46-0E61-E540-B5BD-BCDF424A6C78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D66A452-9491-0747-91FC-E3C7677DDB5C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3775A9-4829-B74C-9440-0DEA4FFD7D3E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1899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270B3F9-86D7-C949-8435-04D9B62A3D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44DA6B8-C25A-AE4C-8728-B2D0905C2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580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736726"/>
            <a:ext cx="261815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736726"/>
            <a:ext cx="2627312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736726"/>
            <a:ext cx="259238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736726"/>
            <a:ext cx="2627313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B9EAB2A-56B1-E542-B42E-A1585F7F0D9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406405" y="1272949"/>
            <a:ext cx="2598735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0E97C0-517F-494A-9ECE-ABF5BF8D5F5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3888" y="1272949"/>
            <a:ext cx="2627311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6CB81E-2868-C24A-A2D5-F8A38CC80E0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6197605" y="1272949"/>
            <a:ext cx="259873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5484F9-15AE-E747-8437-F25FF8A7112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940800" y="1272949"/>
            <a:ext cx="262731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8A60D2C3-77F9-EA4D-8FDD-D99DA6EE91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3623"/>
            <a:ext cx="10968449" cy="512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Main Titl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AC9DD0D-4687-204C-B610-9E8509660368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23888" y="4801560"/>
            <a:ext cx="10944223" cy="12492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50B2B7B-B299-584F-83B1-8A6E2DAD24C1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1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7E5DAF-191D-4648-A2A4-AC5ABD21B32D}"/>
              </a:ext>
            </a:extLst>
          </p:cNvPr>
          <p:cNvCxnSpPr>
            <a:cxnSpLocks/>
          </p:cNvCxnSpPr>
          <p:nvPr userDrawn="1"/>
        </p:nvCxnSpPr>
        <p:spPr>
          <a:xfrm>
            <a:off x="3406405" y="1125538"/>
            <a:ext cx="261815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3C4C2E8-8905-214A-A6DA-BC1350B2EC69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A5E08C-7312-384E-B73D-6651839252B3}"/>
              </a:ext>
            </a:extLst>
          </p:cNvPr>
          <p:cNvCxnSpPr>
            <a:cxnSpLocks/>
          </p:cNvCxnSpPr>
          <p:nvPr userDrawn="1"/>
        </p:nvCxnSpPr>
        <p:spPr>
          <a:xfrm>
            <a:off x="89408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838D76C-8F40-194F-A2DC-75834602A1A6}"/>
              </a:ext>
            </a:extLst>
          </p:cNvPr>
          <p:cNvCxnSpPr>
            <a:cxnSpLocks/>
          </p:cNvCxnSpPr>
          <p:nvPr userDrawn="1"/>
        </p:nvCxnSpPr>
        <p:spPr>
          <a:xfrm>
            <a:off x="629925" y="4944428"/>
            <a:ext cx="31156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94EDC1BE-5A2F-9141-AD5F-0F7879D6BE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353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3B371F-F73D-7848-955E-6F4A47C7D7A0}"/>
              </a:ext>
            </a:extLst>
          </p:cNvPr>
          <p:cNvSpPr/>
          <p:nvPr userDrawn="1"/>
        </p:nvSpPr>
        <p:spPr>
          <a:xfrm>
            <a:off x="5232400" y="512763"/>
            <a:ext cx="4500563" cy="271747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9BCB5-7570-8940-9AC8-67AF9BFB7BFC}"/>
              </a:ext>
            </a:extLst>
          </p:cNvPr>
          <p:cNvSpPr/>
          <p:nvPr userDrawn="1"/>
        </p:nvSpPr>
        <p:spPr>
          <a:xfrm>
            <a:off x="5228384" y="3362277"/>
            <a:ext cx="3567953" cy="237387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02A2A2-091B-3843-8E8D-C5130D918C0B}"/>
              </a:ext>
            </a:extLst>
          </p:cNvPr>
          <p:cNvSpPr/>
          <p:nvPr userDrawn="1"/>
        </p:nvSpPr>
        <p:spPr>
          <a:xfrm>
            <a:off x="8947152" y="3362277"/>
            <a:ext cx="3244848" cy="237648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B59B44-4EB0-684F-AB52-741961638BCF}"/>
              </a:ext>
            </a:extLst>
          </p:cNvPr>
          <p:cNvSpPr/>
          <p:nvPr userDrawn="1"/>
        </p:nvSpPr>
        <p:spPr>
          <a:xfrm>
            <a:off x="9861552" y="501927"/>
            <a:ext cx="2330448" cy="272831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04AF4BF-EF8E-5246-A68A-86D5DCC9D8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560844" y="1459681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0D1934E5-DFFE-D64A-AC88-7270E46A22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7306656" y="1513469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BE6F2F-98ED-E740-8C3A-11E55932FF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021806" y="4122199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D554C6E-14A7-F240-A7FE-4B4921CCB3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9955726" y="4108752"/>
            <a:ext cx="1150938" cy="1004936"/>
          </a:xfrm>
          <a:prstGeom prst="rect">
            <a:avLst/>
          </a:prstGeom>
        </p:spPr>
      </p:pic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D0040FA-429B-3340-98A6-8EDBE6F6C15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400" y="501926"/>
            <a:ext cx="4500563" cy="2714866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25E71D81-56C6-4741-8183-0B428AFAEF52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5838" y="499315"/>
            <a:ext cx="2316162" cy="2717477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663DCAF0-0A11-9744-996C-8D17C975A9D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1" y="3373115"/>
            <a:ext cx="3251200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BD990BB-3AB6-874E-8F35-63EA9033F064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5232400" y="3373116"/>
            <a:ext cx="3563937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091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06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198804" y="0"/>
            <a:ext cx="798221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Imag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CD41DA-5299-F245-B635-25684774BD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872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 for any mention of Quadcor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 Select the logo and copy to clipboard.</a:t>
            </a:r>
            <a:br>
              <a:rPr lang="en-GB" dirty="0"/>
            </a:br>
            <a:r>
              <a:rPr lang="en-GB" dirty="0"/>
              <a:t>- Close master and place on a slide of your choosing.</a:t>
            </a:r>
            <a:endParaRPr lang="en-US" dirty="0"/>
          </a:p>
          <a:p>
            <a:pPr lvl="0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E78980-CB00-7148-8535-BC8EA3D80D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209547"/>
            <a:ext cx="825028" cy="303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805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1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lace on a slide of your choosing.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B07D24-D394-6B43-9672-1B4A838AF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65975" y="6259606"/>
            <a:ext cx="1875066" cy="513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490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D3A9F48F-DEB8-D54B-9A3F-D74D7B3BDB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E83591B-96D8-4D47-B22F-66A56E777A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982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CB6B763-9BD5-DD42-876D-86BF240D60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C0519C4-C654-324F-A1C1-D78DB6CBA7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318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8693107-CCA3-A44F-A088-CA97182B2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E3C12AD-F3DE-8345-83C1-ED4A54A6FA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883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27396510-F944-4741-BA3C-017EE0787E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F86B7C-BE1A-8143-ADB4-6DDB056CB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581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270B3F9-86D7-C949-8435-04D9B62A3D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44DA6B8-C25A-AE4C-8728-B2D0905C2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441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004AB388-D756-A24F-A1DD-F8134B91DB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28E617-A629-9444-BEB9-06AC835D6C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756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004AB388-D756-A24F-A1DD-F8134B91DB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28E617-A629-9444-BEB9-06AC835D6C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374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85126B2A-21C1-B843-B973-F8CD5363EB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9231C03-7741-E94C-A68A-77ABA0F6DD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510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348A17DD-BEA2-8848-AA12-6063DC78CA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1E35709-C6B8-1846-9E42-6EBD70173E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767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F34DB94D-7DB1-464A-90FB-C24B1FEAA0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528E442-F367-0A4F-90E7-9580D5CCF9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184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56D5E389-1BA3-8945-B943-A8A836E009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0B6B91-2D0D-3E40-9B08-7A2F43897A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46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8F8528-A255-6045-B279-EFF4A71A06DD}"/>
              </a:ext>
            </a:extLst>
          </p:cNvPr>
          <p:cNvSpPr/>
          <p:nvPr userDrawn="1"/>
        </p:nvSpPr>
        <p:spPr>
          <a:xfrm>
            <a:off x="10979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0414" y="2432441"/>
            <a:ext cx="899998" cy="439534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2E7FB9-B022-AB4A-BAC0-F149A0629C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0413" y="2992990"/>
            <a:ext cx="899998" cy="4395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00D63A-3C2D-3140-BC56-D1370DC4894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413" y="4298362"/>
            <a:ext cx="899998" cy="43953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9E988D2-9BC7-BB40-B379-300A8F82E87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989441" y="2434511"/>
            <a:ext cx="899998" cy="28294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AA5258F-A7C4-504C-A201-2E2E3883AF7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989441" y="2744742"/>
            <a:ext cx="899998" cy="28294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514FBC5-ECB4-6E4B-918D-248C86BC33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989441" y="3621350"/>
            <a:ext cx="899998" cy="33076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Logo Asset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EEEF11F-B58A-FD47-AD30-84622B7E652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60413" y="3550163"/>
            <a:ext cx="899999" cy="4395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E37C99C-700A-5A47-8187-38196CD7BE7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35774" y="2452612"/>
            <a:ext cx="2184530" cy="52921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B8D4501-51DF-8449-83DA-B5724F011D8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35774" y="4190510"/>
            <a:ext cx="1998598" cy="547386"/>
          </a:xfrm>
          <a:prstGeom prst="rect">
            <a:avLst/>
          </a:prstGeom>
        </p:spPr>
      </p:pic>
      <p:pic>
        <p:nvPicPr>
          <p:cNvPr id="17" name="Picture 16" descr="A close up of a sign&#10;&#10;Description automatically generated">
            <a:extLst>
              <a:ext uri="{FF2B5EF4-FFF2-40B4-BE49-F238E27FC236}">
                <a16:creationId xmlns:a16="http://schemas.microsoft.com/office/drawing/2014/main" id="{D60CCDB2-0EE1-6543-84A2-4D6FAFFC9AC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969676" y="3220067"/>
            <a:ext cx="899998" cy="2113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AD87397-2A55-3448-9CF3-31235031B11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335774" y="3621350"/>
            <a:ext cx="2254404" cy="43650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881D252-0CE7-8149-AA1C-F3C162BA8436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361028" y="3050202"/>
            <a:ext cx="2261893" cy="43795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32639EA-3281-6442-A50C-851F285B3942}"/>
              </a:ext>
            </a:extLst>
          </p:cNvPr>
          <p:cNvSpPr txBox="1"/>
          <p:nvPr userDrawn="1"/>
        </p:nvSpPr>
        <p:spPr>
          <a:xfrm>
            <a:off x="7045693" y="1474269"/>
            <a:ext cx="22619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access logos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a logo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logos can then be pasted onto a slide of your choosing.</a:t>
            </a:r>
          </a:p>
        </p:txBody>
      </p:sp>
    </p:spTree>
    <p:extLst>
      <p:ext uri="{BB962C8B-B14F-4D97-AF65-F5344CB8AC3E}">
        <p14:creationId xmlns:p14="http://schemas.microsoft.com/office/powerpoint/2010/main" val="554063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pic>
        <p:nvPicPr>
          <p:cNvPr id="187" name="Picture 186" descr="A group of people in a dark room&#10;&#10;Description automatically generated">
            <a:extLst>
              <a:ext uri="{FF2B5EF4-FFF2-40B4-BE49-F238E27FC236}">
                <a16:creationId xmlns:a16="http://schemas.microsoft.com/office/drawing/2014/main" id="{84355E12-4DC3-A24D-A7D7-89987EA9EB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82411" y="0"/>
            <a:ext cx="10609589" cy="6858000"/>
          </a:xfrm>
          <a:prstGeom prst="rect">
            <a:avLst/>
          </a:prstGeom>
        </p:spPr>
      </p:pic>
      <p:sp>
        <p:nvSpPr>
          <p:cNvPr id="188" name="Content Placeholder 2">
            <a:extLst>
              <a:ext uri="{FF2B5EF4-FFF2-40B4-BE49-F238E27FC236}">
                <a16:creationId xmlns:a16="http://schemas.microsoft.com/office/drawing/2014/main" id="{FF714AA7-CEE4-5F47-99FA-AE15DDF9FB8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148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map&#10;&#10;Description automatically generated">
            <a:extLst>
              <a:ext uri="{FF2B5EF4-FFF2-40B4-BE49-F238E27FC236}">
                <a16:creationId xmlns:a16="http://schemas.microsoft.com/office/drawing/2014/main" id="{BD34BBF7-F237-CC4A-B3CD-B5C10BA9F6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6745" y="777711"/>
            <a:ext cx="10624276" cy="608028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5BAECDA-3C87-BF41-AD8F-C04F616F40D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</p:spTree>
    <p:extLst>
      <p:ext uri="{BB962C8B-B14F-4D97-AF65-F5344CB8AC3E}">
        <p14:creationId xmlns:p14="http://schemas.microsoft.com/office/powerpoint/2010/main" val="4163528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0D7B03-0C58-0644-9EC7-D53C1D3087E4}"/>
              </a:ext>
            </a:extLst>
          </p:cNvPr>
          <p:cNvGrpSpPr/>
          <p:nvPr userDrawn="1"/>
        </p:nvGrpSpPr>
        <p:grpSpPr>
          <a:xfrm>
            <a:off x="1254681" y="1287006"/>
            <a:ext cx="9682637" cy="5156348"/>
            <a:chOff x="837718" y="2166032"/>
            <a:chExt cx="7093287" cy="3777427"/>
          </a:xfrm>
          <a:solidFill>
            <a:srgbClr val="09417A"/>
          </a:solidFill>
        </p:grpSpPr>
        <p:sp>
          <p:nvSpPr>
            <p:cNvPr id="6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DAF49FA4-B6FB-0F46-A0BA-21C9F57D1D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7718" y="2418601"/>
              <a:ext cx="990263" cy="467668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640446B4-3040-1D4B-840B-0E361CC5EE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72923" y="4820778"/>
              <a:ext cx="177968" cy="194284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01A6F51-C84B-9F47-9EC2-7970EFACE1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1736" y="4608454"/>
              <a:ext cx="268222" cy="281712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5AA18849-39FE-9B41-9D26-DBDF9DB3B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266" y="3838259"/>
              <a:ext cx="236443" cy="176243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D07A088-BF3A-0F44-AC89-393767370D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594016"/>
              <a:ext cx="193222" cy="180406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DD9D767A-7288-1348-84A7-DFED66876D8C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58018"/>
              <a:ext cx="13983" cy="33306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4A198BF-2931-E64C-805B-C2052042E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71" y="3090267"/>
              <a:ext cx="381360" cy="234528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3F5C7D8D-54BB-6146-8610-67E6A95F95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9211" y="3714749"/>
              <a:ext cx="195765" cy="419097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27D2E16E-A5D5-B24D-A2E3-A55D1BD5D3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2902" y="4032542"/>
              <a:ext cx="307630" cy="327507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BDD54B73-5DEE-864C-B0CA-377024D2AF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86029" y="2982023"/>
              <a:ext cx="1262300" cy="682768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2986076-BC4B-B947-B867-E7D21C467CD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2228" y="5232936"/>
              <a:ext cx="119493" cy="134611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62380EB0-BAB6-B54C-AC02-1A836BC10A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80120" y="2678108"/>
              <a:ext cx="185595" cy="290038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1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71DA14FD-819A-9346-80DF-9C39A7306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8946" y="3625934"/>
              <a:ext cx="108051" cy="112407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2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21ED622D-F845-4A49-B303-2D39675ADCB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3770" y="2901534"/>
              <a:ext cx="359749" cy="22065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4D19FE5E-7193-F34E-9986-9D11AFB391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8433" y="4260131"/>
              <a:ext cx="125848" cy="16236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F0D3446-BF62-3A4A-AFBA-4C01FAB82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996" y="3166593"/>
              <a:ext cx="325427" cy="212325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5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BB07076-388E-A34F-A6CC-09DDD04CF9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47499" y="3183246"/>
              <a:ext cx="428393" cy="17763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6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95C5FB4E-E02F-4648-A39E-B7564C1606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5038" y="3320631"/>
              <a:ext cx="87712" cy="19983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7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1671B8CE-94A9-1D4F-98F0-02BCD8AD49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5799" y="4064460"/>
              <a:ext cx="45763" cy="141549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9EA8586-F1DD-0147-8BEA-63245D8588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5142" y="3799402"/>
              <a:ext cx="199578" cy="417710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FA18E-509B-6F4E-B1F6-83832338418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7161" y="4407232"/>
              <a:ext cx="247883" cy="305303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619D18B-1B62-1C4A-AF21-FECBE870D2F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6237" y="3216551"/>
              <a:ext cx="177968" cy="123509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1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923B25CB-9D3E-3945-BBEE-20C381783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2011" y="3660628"/>
              <a:ext cx="38136" cy="9436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2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CEC19507-D2E4-3D46-B0B7-BD5DEBF24E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317856"/>
              <a:ext cx="144917" cy="14571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9D78D97-75EA-1742-BDB4-A9E6A56343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3025043"/>
              <a:ext cx="92797" cy="55510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4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026FE73A-891F-D144-B368-53D5C2C5B6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52581" y="2471335"/>
              <a:ext cx="223731" cy="348323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5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1F8F3C2-9E49-D547-BB98-83EDD700C9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416" y="5106653"/>
              <a:ext cx="33051" cy="47183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6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90AD4590-428C-7845-881F-AD9A60FF4E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397" y="4208785"/>
              <a:ext cx="94069" cy="117958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968A0D37-FD84-814B-B9F3-FC60D033BFB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2512" y="4106092"/>
              <a:ext cx="54661" cy="106856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8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3F5F92B-7E04-904F-A705-6A334CD194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25458" y="3138838"/>
              <a:ext cx="282206" cy="216487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6081DFCA-3607-5F4B-A84F-853A57D02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0300" y="4036705"/>
              <a:ext cx="230087" cy="38995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85663" y="4568210"/>
              <a:ext cx="119493" cy="122121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1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3B0B63E-08BE-024E-8D98-7EAE9C7725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5802" y="3048634"/>
              <a:ext cx="67373" cy="43020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2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F4BDB682-36AD-FF49-9375-C22F06C516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4447" y="2977860"/>
              <a:ext cx="115679" cy="51347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3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10CFEAE4-D597-064F-AA2C-04C7326E18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7068" y="4092214"/>
              <a:ext cx="67373" cy="9436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4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FF44D0B-D47E-0F4D-BE0D-80079287A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9694" y="3900706"/>
              <a:ext cx="134747" cy="129060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5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A848B51-A257-B141-A263-BE224F057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66344"/>
              <a:ext cx="477971" cy="448240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DE846F17-9F01-EF48-962A-D0A9F82C6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365" y="4407232"/>
              <a:ext cx="48306" cy="5134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7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372E6C68-F958-F445-8B73-E7939351B5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33963" y="2716965"/>
              <a:ext cx="97882" cy="421873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F42B9E93-C135-AE4A-A75B-415E4E29E0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17837" y="2196562"/>
              <a:ext cx="2916129" cy="1013050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ED648A8-9E07-0949-9E20-4C80C17ADD1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3013941"/>
              <a:ext cx="198307" cy="12906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B02953AA-348B-2F4E-BD82-9FC16DCE81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2420" y="3634260"/>
              <a:ext cx="21610" cy="4995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2DFD4982-A5B9-4E4F-8E73-67E0780CD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4345" y="3856299"/>
              <a:ext cx="44492" cy="2081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BEA959A1-E334-C94B-8EE0-1F52439F8E2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4018" y="3186021"/>
              <a:ext cx="73730" cy="144325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EFEBD36-86E7-2A46-B431-7A131B104F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9785" y="2834922"/>
              <a:ext cx="200849" cy="158202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4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D605A7B9-5938-034F-BA38-0471753AA7E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80570" y="3846585"/>
              <a:ext cx="230087" cy="42326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1BAB6D50-490A-6047-9A62-6C0F2F27253B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4765" y="4376702"/>
              <a:ext cx="302545" cy="52456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6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5C147906-B4DE-0A4C-B4E8-22D5959DAC6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7481" y="4923471"/>
              <a:ext cx="193222" cy="23869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19558" y="4430823"/>
              <a:ext cx="350851" cy="255344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8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5FEAE546-523E-AC42-A6B1-19CA1E780CA9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1713" y="4106092"/>
              <a:ext cx="130933" cy="680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50BCDF8-3135-5248-93F6-AE4B61D5D3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2168" y="3328958"/>
              <a:ext cx="338139" cy="370527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BCF68BDE-2130-F843-B4A7-1E94A1A95C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4213" y="3888217"/>
              <a:ext cx="30509" cy="22204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6BFC5A4-5C32-5749-9975-344F30D10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8014" y="3667566"/>
              <a:ext cx="174154" cy="237304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2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BB354FDB-0A58-9F46-9FC3-6BA252ED1BF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39445" y="2222930"/>
              <a:ext cx="438563" cy="52595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3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AB4B013-C271-2B47-9FB4-4E78AE94D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3173" y="3983971"/>
              <a:ext cx="269494" cy="2719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4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B3E8443-69F6-7041-AD17-3D1DC6B9C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969" y="3711974"/>
              <a:ext cx="357206" cy="331670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5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3DECCEF-2270-784E-BCAF-F10E57D8B3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3832" y="3957604"/>
              <a:ext cx="105509" cy="116570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21679" y="5350895"/>
              <a:ext cx="409326" cy="34554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BF31AF5-9264-CD44-86C0-EBDC749118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6297" y="2925126"/>
              <a:ext cx="137289" cy="134611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0A28748-E3AD-BD4A-85B0-B8D548584FB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8597" y="2872392"/>
              <a:ext cx="87712" cy="7355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9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E76FF854-0325-AE44-9D8C-AAB4FE65959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8019" y="3513528"/>
              <a:ext cx="189408" cy="11657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AE04FF1B-7800-154B-94D8-D2E361BBBA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5293" y="4858247"/>
              <a:ext cx="307630" cy="342772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811D5E9C-14A7-3A40-8667-0C42E33A39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5480" y="3569037"/>
              <a:ext cx="204663" cy="52734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2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25240E4B-B718-7F43-898D-8636267733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4789" y="4675065"/>
              <a:ext cx="246612" cy="47044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F7E9F73A-3DBC-3A43-B6D7-A4584C9A4D0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593" y="3360876"/>
              <a:ext cx="273307" cy="23314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4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176C0E46-7111-3D41-BC06-D17DC19DB77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2583" y="3143001"/>
              <a:ext cx="36864" cy="4718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5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D797893-1110-BE47-837C-5D9227211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89460" y="2905698"/>
              <a:ext cx="676278" cy="292813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FFF037F-C801-AE4A-A50B-D97EC55A8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96" y="3008390"/>
              <a:ext cx="69916" cy="8326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7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59AA8A-CB58-F746-8029-88751D885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0860" y="3452467"/>
              <a:ext cx="600006" cy="513464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8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E8824692-E2E0-5547-AD8D-0E5BD8CC3AA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17413" y="3351162"/>
              <a:ext cx="10170" cy="9715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9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2171320-371D-9B4B-A33C-220B752FE4E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606506"/>
              <a:ext cx="277121" cy="353874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0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5219B2B8-0AB4-874F-8AEB-AA738990DB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2492" y="3667566"/>
              <a:ext cx="373732" cy="42326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D08ED4CE-9296-2C4B-9BE4-04F85D2B35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9041" y="4186581"/>
              <a:ext cx="99153" cy="154040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990497EC-2119-3B4A-9C01-FCF50F5A68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0399" y="4168541"/>
              <a:ext cx="221189" cy="185957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2E37103F-4E40-6D49-A1C0-07C4AA1E7C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4535" y="4644535"/>
              <a:ext cx="75000" cy="22065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DE19BEA9-2759-8944-BD58-5E193AC6E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4452" y="4726412"/>
              <a:ext cx="191951" cy="383016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5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AF9052D-38A6-BB49-BC34-33F4416CB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346" y="3176306"/>
              <a:ext cx="53390" cy="44408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6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95E272BC-A097-824E-861A-D3A5637968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1987" y="2962594"/>
              <a:ext cx="16525" cy="1526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7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4BF7B08-758B-5042-9A32-DC5C0BD7D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9448" y="2790515"/>
              <a:ext cx="109323" cy="6938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8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3E7960AF-38D7-9E49-B1FD-EC0C15E6E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4445" y="3038921"/>
              <a:ext cx="5085" cy="8326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927E917-C6EC-1F4A-80D6-7E5988E20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3435814"/>
              <a:ext cx="354664" cy="38995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D28C5CB-C809-4F49-87FB-592C56054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0119" y="4133847"/>
              <a:ext cx="99153" cy="122121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2B34936F-976E-5945-8C5F-5214E9E139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3432" y="5189917"/>
              <a:ext cx="53390" cy="5689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14DE609C-CC3F-2D44-8380-22A8EC6CD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9959" y="3395569"/>
              <a:ext cx="34322" cy="55510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3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3CAFEBC2-E7F5-9849-B0D5-18B1C15F69E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2747495"/>
              <a:ext cx="137289" cy="6383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2EB0F508-E6AA-F04B-82F6-8E7C7F7D25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7261" y="3739729"/>
              <a:ext cx="193222" cy="244242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5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5995702-DA7F-4B41-BB2D-A3AD2E217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3101" y="3155491"/>
              <a:ext cx="216104" cy="10963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440E35C6-8F30-F14A-B7B1-6C286308BC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6911" y="3526017"/>
              <a:ext cx="44492" cy="43020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7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9FC9D387-1716-764D-A419-8571984317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19978" y="3285938"/>
              <a:ext cx="87712" cy="14987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1C36E996-9AD7-5745-A5D8-0FF94C28B5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46248" y="3162429"/>
              <a:ext cx="105509" cy="14710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9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10D2CB17-EB05-C64B-9880-8096F1E8A3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4244866"/>
              <a:ext cx="180510" cy="26783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7A27997-3D41-CA49-9CEA-857713EFB7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2819658"/>
              <a:ext cx="811025" cy="40938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4F29EEC-989F-7449-BDA9-F5E9B2181E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434426"/>
              <a:ext cx="90255" cy="117958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2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82F50A72-6FFD-8C4A-975D-2CF4DE9BDD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291" y="3856299"/>
              <a:ext cx="50848" cy="1804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3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504A868F-9630-B647-ABBE-0395C868D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69554" y="3090267"/>
              <a:ext cx="282206" cy="60089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63A4F46-4B32-FD4C-8313-C85B87DCBC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57242" y="3044472"/>
              <a:ext cx="250426" cy="292813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DFE9D0B4-0AEF-AE43-A484-16F8863A49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1060" y="3430263"/>
              <a:ext cx="33051" cy="112407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6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C40B0C6-ABA4-1E40-AF04-AD7D0F94F34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8001" y="2822433"/>
              <a:ext cx="90255" cy="104081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375E5BA3-5F93-5342-A775-E6524381F3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5129" y="3320631"/>
              <a:ext cx="221189" cy="231753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8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C269DEC-7FEA-AC4E-8BB1-4A1DB5957B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9198" y="3249857"/>
              <a:ext cx="463987" cy="414935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0989" y="4217111"/>
              <a:ext cx="1052552" cy="457954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A53D257F-B7C2-FB42-ACA9-5F81B765DD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36492" y="3356713"/>
              <a:ext cx="629243" cy="829868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1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BEEC59A-C859-5F41-A790-C40C37A32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3508" y="2532395"/>
              <a:ext cx="184323" cy="77713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0DE3950-C8D1-AC49-BB7F-8E7082EEA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4277" y="3005615"/>
              <a:ext cx="137289" cy="7771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3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CA5F6AD-6B1B-B847-B0A5-B10A62834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9509" y="3924298"/>
              <a:ext cx="143645" cy="8604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4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4BDD70F8-F59A-194D-ACA9-35B086EE3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1631" y="3814667"/>
              <a:ext cx="63560" cy="54122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5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4A896B05-7090-ED49-89FC-3C32DBB7D11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940" y="4214336"/>
              <a:ext cx="66102" cy="104081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6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E15ED31E-A063-F749-8C3E-9DBE6BF3C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1125" y="4138010"/>
              <a:ext cx="105509" cy="20538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7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D3C30FB3-8756-D646-8F89-F128731296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8423" y="4015889"/>
              <a:ext cx="59746" cy="55510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8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D9AF898F-AB32-0B4B-9B68-8490A53965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60" y="4018665"/>
              <a:ext cx="167798" cy="155427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9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E8CEF630-CD55-CC40-99C6-BFFFB89428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136" y="3870176"/>
              <a:ext cx="95339" cy="117958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54B9099-7E7B-7443-88B7-E3F47D0E83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14434" y="2166032"/>
              <a:ext cx="902551" cy="537056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1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6D8E5FEE-4A9D-2241-96D8-E5910411B1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7075" y="3194347"/>
              <a:ext cx="171611" cy="194284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2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360C1EA2-A8C0-0B40-B87A-ADA32B43BBA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2070" y="4063072"/>
              <a:ext cx="105509" cy="181794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3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F171FAA-1AC8-6F42-B558-1ADF7502645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2832147"/>
              <a:ext cx="181781" cy="206774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A732323D-F9C5-3A42-A22B-D99008E03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1316" y="3143001"/>
              <a:ext cx="148730" cy="7355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5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9C03-4491-9541-8611-3DE2526D62B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254" y="3986746"/>
              <a:ext cx="68645" cy="1804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6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B29C833E-78A1-3144-AE83-3685EFDC460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7920" y="4308702"/>
              <a:ext cx="134747" cy="180406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7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09A6D4BC-0CBA-1944-B8B0-BDCB5890BE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25884" y="2932064"/>
              <a:ext cx="293646" cy="27616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8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8FD2806-F4C2-BC4E-A283-7F5C4220F76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7667" y="2447744"/>
              <a:ext cx="203392" cy="252569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9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0327DD2A-68B7-684E-801A-1DC19D1D10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55976" y="3956216"/>
              <a:ext cx="340681" cy="32473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0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A2F3B1DF-EAE0-E346-B3A5-B5E2E210F9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346" y="2708639"/>
              <a:ext cx="111865" cy="54122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1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832A0616-B6C3-3142-94E2-F09D320E1A0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7163" y="3866013"/>
              <a:ext cx="155086" cy="16097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2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DF39F4F-EF0F-B64E-A406-70972C8CB50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4311477"/>
              <a:ext cx="47034" cy="38857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2C386AC4-3C1B-4D46-9A48-A3DE9F884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627" y="3968706"/>
              <a:ext cx="54661" cy="38857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C2C610D7-DD19-B147-9A77-39DCEA31B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313" y="3480222"/>
              <a:ext cx="254240" cy="283099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5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83D85B79-4B7A-9E43-B64E-A1A34F9C8D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38579" y="4332294"/>
              <a:ext cx="133475" cy="18595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35656" y="4611229"/>
              <a:ext cx="80085" cy="41632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7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C7FD8FF-083B-954C-A87E-E6863FCFDD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292" y="3814667"/>
              <a:ext cx="80085" cy="58285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8A8F7F21-18B6-C644-B3EE-228B6966FA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469" y="4018665"/>
              <a:ext cx="38136" cy="4857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F3EFAEAB-F135-F64F-94D1-82860E49B7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91564" y="2759985"/>
              <a:ext cx="88984" cy="83264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0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64F99F6-EC3C-3C4F-8DCB-C18A2DFF4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0378" y="2937615"/>
              <a:ext cx="136018" cy="680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1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CE846B08-B010-8540-A687-A13636C35D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670" y="3367814"/>
              <a:ext cx="48306" cy="30530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2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8E4C-3A8A-5746-B003-F1639CC13B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195358" y="3718913"/>
              <a:ext cx="237714" cy="9575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3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2EF9A2D4-36FF-8A4F-B138-7E7AB60CEF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3429" y="3062512"/>
              <a:ext cx="118221" cy="97142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4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05D78167-1A54-1D4A-9E20-B34CCF8E6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0035" y="4074174"/>
              <a:ext cx="141103" cy="181794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68C0568-35DB-C14D-B883-EC35C27CCC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35611" y="4060297"/>
              <a:ext cx="77543" cy="80489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6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8C0F3DB1-61AF-A742-9925-ACD308B9E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0548" y="4225437"/>
              <a:ext cx="434750" cy="53428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7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7605DDEA-60BD-DA43-A460-2E1C06BD57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2581" y="4272621"/>
              <a:ext cx="172883" cy="245630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8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5D5A8D6-264B-0342-A508-322110CB9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84342" y="4024216"/>
              <a:ext cx="279664" cy="47322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9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4A195178-707F-EA44-BDFC-6A2541D8C3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10615" y="4877675"/>
              <a:ext cx="372461" cy="106578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0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0319B322-D9B9-6248-867F-8D18BC0BBC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9712" y="2866841"/>
              <a:ext cx="1179672" cy="99362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F1B21333-AFF9-6746-804A-62D7F335F93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5971" y="3711974"/>
              <a:ext cx="238985" cy="45379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19C86435-F022-D445-AD83-576A5B8DE2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28853" y="4067235"/>
              <a:ext cx="294918" cy="245630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3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A28E9468-5E2A-0B46-B3D7-9AB65F3B1D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3402" y="2174358"/>
              <a:ext cx="1796203" cy="1014438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4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9746559D-C56A-3D42-BFC1-A5ACDDE6DA8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5378" y="4004787"/>
              <a:ext cx="175425" cy="326119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5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1E4A2EF-BD0B-EA49-A6F0-BCE0C0822F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2262" y="3965931"/>
              <a:ext cx="122035" cy="117958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5676EECF-3CD9-2D4D-A1D5-75A25C96944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79" y="4447476"/>
              <a:ext cx="43221" cy="58285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4D0E7A1-E73C-6241-8945-207006017BD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72493" y="3952053"/>
              <a:ext cx="184323" cy="158202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057A09AC-6876-F149-AD03-92551D0D49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6482" y="3127736"/>
              <a:ext cx="127120" cy="7910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9EDD2BF4-A4D8-0149-9A23-EFBEB04C4A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05105" y="4228213"/>
              <a:ext cx="897466" cy="110741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0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0EDA2F90-F4C0-8940-A03F-04E3C4578A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0888" y="4881839"/>
              <a:ext cx="208477" cy="256732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DC5CDCDB-9496-E042-B45B-274B38A2E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2837" y="3095817"/>
              <a:ext cx="85170" cy="8326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2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549DBB26-4102-8A4C-9E36-6524310DD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13157" y="4652861"/>
              <a:ext cx="287291" cy="373302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3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CDDAA2D9-E8A5-194E-8995-3C233B4BF0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8869" y="3574588"/>
              <a:ext cx="75000" cy="47183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4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FA3774AE-27A4-244E-B083-A8EDCA0EF6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410" y="4026991"/>
              <a:ext cx="71187" cy="174855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B6ED8C5F-70A3-E946-912C-AF64DA3A8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5865" y="3853523"/>
              <a:ext cx="34322" cy="7493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E06E570C-12DE-7149-8DEA-961D105725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4783" y="2926513"/>
              <a:ext cx="72458" cy="54122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7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182CE3BD-C442-7F45-B9CA-6FDE5314C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8699" y="3625934"/>
              <a:ext cx="120763" cy="14987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C0D8E9D-97C9-5741-9090-340132988C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7753" y="2798841"/>
              <a:ext cx="183053" cy="130448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BC42B544-8F2D-0846-96C3-0D1B5E39E9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2250" y="3627322"/>
              <a:ext cx="8898" cy="1942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C3A1C4F4-DDDB-E64E-9F8C-5D4166505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3190184"/>
              <a:ext cx="116950" cy="102693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7949E105-52FD-5046-A31F-9BC1F196A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9530" y="2993125"/>
              <a:ext cx="147459" cy="7077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94975" y="4679229"/>
              <a:ext cx="915263" cy="936725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3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55469E7-E7D1-3348-A69B-4D2A653C613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2673" y="3205449"/>
              <a:ext cx="71187" cy="7493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4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B3DEFFCF-AAB1-3642-91C5-DE4810571B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58921" y="4998409"/>
              <a:ext cx="352122" cy="859011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7521A6CE-6F98-0B44-99C1-A63D4DE0F1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65293" y="4498823"/>
              <a:ext cx="286019" cy="389955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CB02392A-E2CE-3148-85AE-BCEA1D57B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9189" y="3170755"/>
              <a:ext cx="10170" cy="5551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7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75732-6B7B-B545-80F9-EE99846E28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6221" y="3324795"/>
              <a:ext cx="476699" cy="513464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8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28186DFD-64FA-474B-8D41-2F04044AE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5295" y="3170755"/>
              <a:ext cx="47034" cy="8604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AA1E7552-2310-4D44-AD53-799CC30727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70803" y="5006735"/>
              <a:ext cx="366105" cy="359425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0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977D33B-3CDB-3345-B37D-D72D2A34168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2930" y="3285938"/>
              <a:ext cx="292376" cy="25950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181" name="Group 340">
              <a:extLst>
                <a:ext uri="{FF2B5EF4-FFF2-40B4-BE49-F238E27FC236}">
                  <a16:creationId xmlns:a16="http://schemas.microsoft.com/office/drawing/2014/main" id="{C58EA603-7266-DE48-8A2A-92C7FADF26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07667" y="3072226"/>
              <a:ext cx="88984" cy="119346"/>
              <a:chOff x="2184" y="1242"/>
              <a:chExt cx="257" cy="316"/>
            </a:xfrm>
            <a:grpFill/>
          </p:grpSpPr>
          <p:sp>
            <p:nvSpPr>
              <p:cNvPr id="18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69AE035-7B4F-164B-A9A9-E7FD0AFED4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A648D03-405F-FB4A-9FD3-D4DDC98B11C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2" name="Freeform 8">
              <a:extLst>
                <a:ext uri="{FF2B5EF4-FFF2-40B4-BE49-F238E27FC236}">
                  <a16:creationId xmlns:a16="http://schemas.microsoft.com/office/drawing/2014/main" id="{FD68E863-4757-814A-8DFE-A41707FF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042" y="3717611"/>
              <a:ext cx="388418" cy="415994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9">
              <a:extLst>
                <a:ext uri="{FF2B5EF4-FFF2-40B4-BE49-F238E27FC236}">
                  <a16:creationId xmlns:a16="http://schemas.microsoft.com/office/drawing/2014/main" id="{8B0634EF-FC5F-C744-8278-7C6F7A41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011" y="4027375"/>
              <a:ext cx="279661" cy="255310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560D582-DEA8-E74C-B2B7-4A0667BA1F5A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1938383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Europe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CD78BE-D550-3246-8FEB-D416FAC204D3}"/>
              </a:ext>
            </a:extLst>
          </p:cNvPr>
          <p:cNvGrpSpPr/>
          <p:nvPr userDrawn="1"/>
        </p:nvGrpSpPr>
        <p:grpSpPr>
          <a:xfrm>
            <a:off x="5188350" y="889056"/>
            <a:ext cx="7003650" cy="5968944"/>
            <a:chOff x="2140350" y="889056"/>
            <a:chExt cx="7003650" cy="5968944"/>
          </a:xfrm>
          <a:solidFill>
            <a:srgbClr val="09417A"/>
          </a:solidFill>
        </p:grpSpPr>
        <p:sp>
          <p:nvSpPr>
            <p:cNvPr id="24" name="Schweiz" descr="© INSCALE GmbH, 05.05.2010&#10;http://www.presentationload.com/">
              <a:extLst>
                <a:ext uri="{FF2B5EF4-FFF2-40B4-BE49-F238E27FC236}">
                  <a16:creationId xmlns:a16="http://schemas.microsoft.com/office/drawing/2014/main" id="{0535A40E-70FD-D749-B162-DC04351056F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795" y="4950314"/>
              <a:ext cx="496724" cy="308596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Niederlande" descr="© INSCALE GmbH, 05.05.2010&#10;http://www.presentationload.com/">
              <a:extLst>
                <a:ext uri="{FF2B5EF4-FFF2-40B4-BE49-F238E27FC236}">
                  <a16:creationId xmlns:a16="http://schemas.microsoft.com/office/drawing/2014/main" id="{0DCA152D-5DDD-B948-BCED-F5B1025605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99514" y="4054230"/>
              <a:ext cx="401010" cy="420814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Belgien" descr="© INSCALE GmbH, 05.05.2010&#10;http://www.presentationload.com/">
              <a:extLst>
                <a:ext uri="{FF2B5EF4-FFF2-40B4-BE49-F238E27FC236}">
                  <a16:creationId xmlns:a16="http://schemas.microsoft.com/office/drawing/2014/main" id="{2172DDBA-DAA5-E949-A629-02FCD0C8C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8652" y="4354575"/>
              <a:ext cx="384507" cy="316847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Luxemburg" descr="© INSCALE GmbH, 05.05.2010&#10;http://www.presentationload.com/">
              <a:extLst>
                <a:ext uri="{FF2B5EF4-FFF2-40B4-BE49-F238E27FC236}">
                  <a16:creationId xmlns:a16="http://schemas.microsoft.com/office/drawing/2014/main" id="{78A776CD-D227-524B-ADEE-E471815288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5598" y="4570757"/>
              <a:ext cx="84162" cy="118817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Däne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C6F5416-35DB-0D4D-A2D2-08A7E76DCB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539" y="3400732"/>
              <a:ext cx="640296" cy="488473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Öster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285B4E3B-DD89-CA4E-81BB-B697A13BA9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1953" y="4758886"/>
              <a:ext cx="820172" cy="407611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Vereinigtes König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C9A0A0F0-FBC1-DF4A-8C0E-F29B4DB0CB3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20917" y="2849549"/>
              <a:ext cx="853178" cy="1597439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I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3F1B05C-8F35-D049-B939-DC4F4DDD4F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94169" y="3570708"/>
              <a:ext cx="486822" cy="552833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51C3C924-F01B-9441-898E-A9937FDC4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350" y="5564207"/>
              <a:ext cx="483523" cy="802020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Zypern" descr="© INSCALE GmbH, 05.05.2010&#10;http://www.presentationload.com/">
              <a:extLst>
                <a:ext uri="{FF2B5EF4-FFF2-40B4-BE49-F238E27FC236}">
                  <a16:creationId xmlns:a16="http://schemas.microsoft.com/office/drawing/2014/main" id="{B4366EEE-FEB3-8048-B035-64847330C6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0649" y="6377778"/>
              <a:ext cx="267340" cy="255788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Bosnien und Herzegowina" descr="© INSCALE GmbH, 05.05.2010&#10;http://www.presentationload.com/">
              <a:extLst>
                <a:ext uri="{FF2B5EF4-FFF2-40B4-BE49-F238E27FC236}">
                  <a16:creationId xmlns:a16="http://schemas.microsoft.com/office/drawing/2014/main" id="{B471F671-CFAF-FF41-AAF4-11A16BD358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5156" y="5323271"/>
              <a:ext cx="473621" cy="405961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Alb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57A54FD-ABAE-6B45-8616-11F2359A57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3924" y="5696227"/>
              <a:ext cx="240936" cy="457119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Mazedo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20BD5DB-52E3-E246-A72E-7B5EEE4E1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4095" y="5706128"/>
              <a:ext cx="301996" cy="250837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Norwegen" descr="© INSCALE GmbH, 05.05.2010&#10;http://www.presentationload.com/">
              <a:extLst>
                <a:ext uri="{FF2B5EF4-FFF2-40B4-BE49-F238E27FC236}">
                  <a16:creationId xmlns:a16="http://schemas.microsoft.com/office/drawing/2014/main" id="{629EDFA3-5E72-A84A-A5CA-5AA9A68875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85008" y="1263662"/>
              <a:ext cx="1648597" cy="2099114"/>
            </a:xfrm>
            <a:custGeom>
              <a:avLst/>
              <a:gdLst/>
              <a:ahLst/>
              <a:cxnLst>
                <a:cxn ang="0">
                  <a:pos x="626" y="61"/>
                </a:cxn>
                <a:cxn ang="0">
                  <a:pos x="605" y="40"/>
                </a:cxn>
                <a:cxn ang="0">
                  <a:pos x="586" y="22"/>
                </a:cxn>
                <a:cxn ang="0">
                  <a:pos x="547" y="55"/>
                </a:cxn>
                <a:cxn ang="0">
                  <a:pos x="532" y="46"/>
                </a:cxn>
                <a:cxn ang="0">
                  <a:pos x="465" y="77"/>
                </a:cxn>
                <a:cxn ang="0">
                  <a:pos x="445" y="116"/>
                </a:cxn>
                <a:cxn ang="0">
                  <a:pos x="410" y="132"/>
                </a:cxn>
                <a:cxn ang="0">
                  <a:pos x="380" y="181"/>
                </a:cxn>
                <a:cxn ang="0">
                  <a:pos x="374" y="209"/>
                </a:cxn>
                <a:cxn ang="0">
                  <a:pos x="330" y="227"/>
                </a:cxn>
                <a:cxn ang="0">
                  <a:pos x="331" y="254"/>
                </a:cxn>
                <a:cxn ang="0">
                  <a:pos x="331" y="290"/>
                </a:cxn>
                <a:cxn ang="0">
                  <a:pos x="275" y="339"/>
                </a:cxn>
                <a:cxn ang="0">
                  <a:pos x="261" y="381"/>
                </a:cxn>
                <a:cxn ang="0">
                  <a:pos x="252" y="428"/>
                </a:cxn>
                <a:cxn ang="0">
                  <a:pos x="198" y="471"/>
                </a:cxn>
                <a:cxn ang="0">
                  <a:pos x="224" y="509"/>
                </a:cxn>
                <a:cxn ang="0">
                  <a:pos x="141" y="534"/>
                </a:cxn>
                <a:cxn ang="0">
                  <a:pos x="122" y="571"/>
                </a:cxn>
                <a:cxn ang="0">
                  <a:pos x="96" y="584"/>
                </a:cxn>
                <a:cxn ang="0">
                  <a:pos x="69" y="595"/>
                </a:cxn>
                <a:cxn ang="0">
                  <a:pos x="26" y="611"/>
                </a:cxn>
                <a:cxn ang="0">
                  <a:pos x="23" y="650"/>
                </a:cxn>
                <a:cxn ang="0">
                  <a:pos x="83" y="675"/>
                </a:cxn>
                <a:cxn ang="0">
                  <a:pos x="74" y="678"/>
                </a:cxn>
                <a:cxn ang="0">
                  <a:pos x="38" y="704"/>
                </a:cxn>
                <a:cxn ang="0">
                  <a:pos x="55" y="723"/>
                </a:cxn>
                <a:cxn ang="0">
                  <a:pos x="42" y="766"/>
                </a:cxn>
                <a:cxn ang="0">
                  <a:pos x="26" y="785"/>
                </a:cxn>
                <a:cxn ang="0">
                  <a:pos x="34" y="813"/>
                </a:cxn>
                <a:cxn ang="0">
                  <a:pos x="65" y="873"/>
                </a:cxn>
                <a:cxn ang="0">
                  <a:pos x="182" y="789"/>
                </a:cxn>
                <a:cxn ang="0">
                  <a:pos x="230" y="815"/>
                </a:cxn>
                <a:cxn ang="0">
                  <a:pos x="305" y="482"/>
                </a:cxn>
                <a:cxn ang="0">
                  <a:pos x="443" y="205"/>
                </a:cxn>
                <a:cxn ang="0">
                  <a:pos x="595" y="78"/>
                </a:cxn>
                <a:cxn ang="0">
                  <a:pos x="18" y="803"/>
                </a:cxn>
                <a:cxn ang="0">
                  <a:pos x="10" y="767"/>
                </a:cxn>
                <a:cxn ang="0">
                  <a:pos x="14" y="743"/>
                </a:cxn>
                <a:cxn ang="0">
                  <a:pos x="10" y="711"/>
                </a:cxn>
                <a:cxn ang="0">
                  <a:pos x="8" y="699"/>
                </a:cxn>
                <a:cxn ang="0">
                  <a:pos x="7" y="680"/>
                </a:cxn>
                <a:cxn ang="0">
                  <a:pos x="15" y="632"/>
                </a:cxn>
                <a:cxn ang="0">
                  <a:pos x="44" y="600"/>
                </a:cxn>
                <a:cxn ang="0">
                  <a:pos x="58" y="582"/>
                </a:cxn>
                <a:cxn ang="0">
                  <a:pos x="106" y="551"/>
                </a:cxn>
                <a:cxn ang="0">
                  <a:pos x="123" y="537"/>
                </a:cxn>
                <a:cxn ang="0">
                  <a:pos x="162" y="515"/>
                </a:cxn>
                <a:cxn ang="0">
                  <a:pos x="259" y="367"/>
                </a:cxn>
                <a:cxn ang="0">
                  <a:pos x="264" y="359"/>
                </a:cxn>
                <a:cxn ang="0">
                  <a:pos x="301" y="294"/>
                </a:cxn>
                <a:cxn ang="0">
                  <a:pos x="351" y="208"/>
                </a:cxn>
                <a:cxn ang="0">
                  <a:pos x="296" y="220"/>
                </a:cxn>
                <a:cxn ang="0">
                  <a:pos x="362" y="187"/>
                </a:cxn>
                <a:cxn ang="0">
                  <a:pos x="322" y="218"/>
                </a:cxn>
                <a:cxn ang="0">
                  <a:pos x="320" y="183"/>
                </a:cxn>
                <a:cxn ang="0">
                  <a:pos x="367" y="152"/>
                </a:cxn>
                <a:cxn ang="0">
                  <a:pos x="411" y="97"/>
                </a:cxn>
                <a:cxn ang="0">
                  <a:pos x="407" y="97"/>
                </a:cxn>
                <a:cxn ang="0">
                  <a:pos x="492" y="40"/>
                </a:cxn>
                <a:cxn ang="0">
                  <a:pos x="514" y="56"/>
                </a:cxn>
                <a:cxn ang="0">
                  <a:pos x="538" y="19"/>
                </a:cxn>
              </a:cxnLst>
              <a:rect l="0" t="0" r="r" b="b"/>
              <a:pathLst>
                <a:path w="690" h="880">
                  <a:moveTo>
                    <a:pt x="685" y="71"/>
                  </a:moveTo>
                  <a:cubicBezTo>
                    <a:pt x="685" y="68"/>
                    <a:pt x="685" y="68"/>
                    <a:pt x="685" y="68"/>
                  </a:cubicBezTo>
                  <a:cubicBezTo>
                    <a:pt x="681" y="68"/>
                    <a:pt x="681" y="68"/>
                    <a:pt x="681" y="68"/>
                  </a:cubicBezTo>
                  <a:cubicBezTo>
                    <a:pt x="681" y="68"/>
                    <a:pt x="681" y="66"/>
                    <a:pt x="678" y="66"/>
                  </a:cubicBezTo>
                  <a:cubicBezTo>
                    <a:pt x="673" y="66"/>
                    <a:pt x="673" y="66"/>
                    <a:pt x="673" y="66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3" y="76"/>
                    <a:pt x="673" y="76"/>
                    <a:pt x="673" y="76"/>
                  </a:cubicBezTo>
                  <a:cubicBezTo>
                    <a:pt x="673" y="72"/>
                    <a:pt x="673" y="72"/>
                    <a:pt x="673" y="72"/>
                  </a:cubicBezTo>
                  <a:cubicBezTo>
                    <a:pt x="668" y="64"/>
                    <a:pt x="668" y="64"/>
                    <a:pt x="668" y="64"/>
                  </a:cubicBezTo>
                  <a:cubicBezTo>
                    <a:pt x="666" y="64"/>
                    <a:pt x="666" y="64"/>
                    <a:pt x="666" y="64"/>
                  </a:cubicBezTo>
                  <a:cubicBezTo>
                    <a:pt x="668" y="72"/>
                    <a:pt x="668" y="72"/>
                    <a:pt x="668" y="72"/>
                  </a:cubicBezTo>
                  <a:cubicBezTo>
                    <a:pt x="666" y="76"/>
                    <a:pt x="666" y="76"/>
                    <a:pt x="666" y="76"/>
                  </a:cubicBezTo>
                  <a:cubicBezTo>
                    <a:pt x="664" y="73"/>
                    <a:pt x="664" y="73"/>
                    <a:pt x="664" y="73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59" y="77"/>
                    <a:pt x="659" y="77"/>
                    <a:pt x="659" y="77"/>
                  </a:cubicBezTo>
                  <a:cubicBezTo>
                    <a:pt x="659" y="77"/>
                    <a:pt x="656" y="81"/>
                    <a:pt x="655" y="81"/>
                  </a:cubicBezTo>
                  <a:cubicBezTo>
                    <a:pt x="654" y="80"/>
                    <a:pt x="655" y="77"/>
                    <a:pt x="656" y="75"/>
                  </a:cubicBezTo>
                  <a:cubicBezTo>
                    <a:pt x="657" y="74"/>
                    <a:pt x="657" y="67"/>
                    <a:pt x="654" y="66"/>
                  </a:cubicBezTo>
                  <a:cubicBezTo>
                    <a:pt x="652" y="64"/>
                    <a:pt x="649" y="71"/>
                    <a:pt x="649" y="71"/>
                  </a:cubicBezTo>
                  <a:cubicBezTo>
                    <a:pt x="647" y="71"/>
                    <a:pt x="647" y="71"/>
                    <a:pt x="647" y="71"/>
                  </a:cubicBezTo>
                  <a:cubicBezTo>
                    <a:pt x="647" y="71"/>
                    <a:pt x="653" y="64"/>
                    <a:pt x="649" y="62"/>
                  </a:cubicBezTo>
                  <a:cubicBezTo>
                    <a:pt x="645" y="59"/>
                    <a:pt x="641" y="62"/>
                    <a:pt x="641" y="62"/>
                  </a:cubicBezTo>
                  <a:cubicBezTo>
                    <a:pt x="637" y="59"/>
                    <a:pt x="637" y="59"/>
                    <a:pt x="637" y="59"/>
                  </a:cubicBezTo>
                  <a:cubicBezTo>
                    <a:pt x="633" y="61"/>
                    <a:pt x="633" y="61"/>
                    <a:pt x="633" y="61"/>
                  </a:cubicBezTo>
                  <a:cubicBezTo>
                    <a:pt x="632" y="59"/>
                    <a:pt x="632" y="59"/>
                    <a:pt x="632" y="59"/>
                  </a:cubicBezTo>
                  <a:cubicBezTo>
                    <a:pt x="632" y="59"/>
                    <a:pt x="629" y="62"/>
                    <a:pt x="626" y="61"/>
                  </a:cubicBezTo>
                  <a:cubicBezTo>
                    <a:pt x="624" y="60"/>
                    <a:pt x="626" y="58"/>
                    <a:pt x="626" y="58"/>
                  </a:cubicBezTo>
                  <a:cubicBezTo>
                    <a:pt x="626" y="57"/>
                    <a:pt x="624" y="56"/>
                    <a:pt x="625" y="53"/>
                  </a:cubicBezTo>
                  <a:cubicBezTo>
                    <a:pt x="625" y="51"/>
                    <a:pt x="646" y="57"/>
                    <a:pt x="646" y="57"/>
                  </a:cubicBezTo>
                  <a:cubicBezTo>
                    <a:pt x="646" y="57"/>
                    <a:pt x="655" y="57"/>
                    <a:pt x="662" y="52"/>
                  </a:cubicBezTo>
                  <a:cubicBezTo>
                    <a:pt x="668" y="47"/>
                    <a:pt x="666" y="41"/>
                    <a:pt x="666" y="41"/>
                  </a:cubicBezTo>
                  <a:cubicBezTo>
                    <a:pt x="666" y="41"/>
                    <a:pt x="678" y="35"/>
                    <a:pt x="677" y="30"/>
                  </a:cubicBezTo>
                  <a:cubicBezTo>
                    <a:pt x="675" y="26"/>
                    <a:pt x="667" y="28"/>
                    <a:pt x="667" y="28"/>
                  </a:cubicBezTo>
                  <a:cubicBezTo>
                    <a:pt x="667" y="28"/>
                    <a:pt x="664" y="24"/>
                    <a:pt x="661" y="24"/>
                  </a:cubicBezTo>
                  <a:cubicBezTo>
                    <a:pt x="656" y="24"/>
                    <a:pt x="652" y="27"/>
                    <a:pt x="652" y="27"/>
                  </a:cubicBezTo>
                  <a:cubicBezTo>
                    <a:pt x="655" y="19"/>
                    <a:pt x="655" y="19"/>
                    <a:pt x="655" y="19"/>
                  </a:cubicBezTo>
                  <a:cubicBezTo>
                    <a:pt x="651" y="19"/>
                    <a:pt x="651" y="19"/>
                    <a:pt x="651" y="19"/>
                  </a:cubicBezTo>
                  <a:cubicBezTo>
                    <a:pt x="651" y="19"/>
                    <a:pt x="652" y="16"/>
                    <a:pt x="648" y="16"/>
                  </a:cubicBezTo>
                  <a:cubicBezTo>
                    <a:pt x="644" y="15"/>
                    <a:pt x="645" y="21"/>
                    <a:pt x="642" y="21"/>
                  </a:cubicBezTo>
                  <a:cubicBezTo>
                    <a:pt x="640" y="22"/>
                    <a:pt x="642" y="16"/>
                    <a:pt x="640" y="16"/>
                  </a:cubicBezTo>
                  <a:cubicBezTo>
                    <a:pt x="639" y="16"/>
                    <a:pt x="632" y="22"/>
                    <a:pt x="632" y="22"/>
                  </a:cubicBezTo>
                  <a:cubicBezTo>
                    <a:pt x="632" y="15"/>
                    <a:pt x="632" y="15"/>
                    <a:pt x="632" y="15"/>
                  </a:cubicBezTo>
                  <a:cubicBezTo>
                    <a:pt x="632" y="15"/>
                    <a:pt x="629" y="10"/>
                    <a:pt x="622" y="11"/>
                  </a:cubicBezTo>
                  <a:cubicBezTo>
                    <a:pt x="615" y="11"/>
                    <a:pt x="616" y="22"/>
                    <a:pt x="616" y="22"/>
                  </a:cubicBezTo>
                  <a:cubicBezTo>
                    <a:pt x="617" y="25"/>
                    <a:pt x="617" y="25"/>
                    <a:pt x="617" y="25"/>
                  </a:cubicBezTo>
                  <a:cubicBezTo>
                    <a:pt x="616" y="36"/>
                    <a:pt x="616" y="36"/>
                    <a:pt x="616" y="36"/>
                  </a:cubicBezTo>
                  <a:cubicBezTo>
                    <a:pt x="619" y="36"/>
                    <a:pt x="619" y="36"/>
                    <a:pt x="619" y="36"/>
                  </a:cubicBezTo>
                  <a:cubicBezTo>
                    <a:pt x="619" y="39"/>
                    <a:pt x="619" y="39"/>
                    <a:pt x="619" y="39"/>
                  </a:cubicBezTo>
                  <a:cubicBezTo>
                    <a:pt x="614" y="39"/>
                    <a:pt x="614" y="39"/>
                    <a:pt x="614" y="39"/>
                  </a:cubicBezTo>
                  <a:cubicBezTo>
                    <a:pt x="613" y="35"/>
                    <a:pt x="613" y="35"/>
                    <a:pt x="613" y="35"/>
                  </a:cubicBezTo>
                  <a:cubicBezTo>
                    <a:pt x="608" y="40"/>
                    <a:pt x="608" y="40"/>
                    <a:pt x="608" y="40"/>
                  </a:cubicBezTo>
                  <a:cubicBezTo>
                    <a:pt x="605" y="40"/>
                    <a:pt x="605" y="40"/>
                    <a:pt x="605" y="40"/>
                  </a:cubicBezTo>
                  <a:cubicBezTo>
                    <a:pt x="605" y="42"/>
                    <a:pt x="605" y="42"/>
                    <a:pt x="605" y="42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603" y="37"/>
                    <a:pt x="606" y="34"/>
                    <a:pt x="608" y="33"/>
                  </a:cubicBezTo>
                  <a:cubicBezTo>
                    <a:pt x="610" y="31"/>
                    <a:pt x="612" y="25"/>
                    <a:pt x="610" y="22"/>
                  </a:cubicBezTo>
                  <a:cubicBezTo>
                    <a:pt x="609" y="21"/>
                    <a:pt x="605" y="26"/>
                    <a:pt x="604" y="28"/>
                  </a:cubicBezTo>
                  <a:cubicBezTo>
                    <a:pt x="604" y="30"/>
                    <a:pt x="599" y="32"/>
                    <a:pt x="599" y="32"/>
                  </a:cubicBezTo>
                  <a:cubicBezTo>
                    <a:pt x="599" y="32"/>
                    <a:pt x="601" y="29"/>
                    <a:pt x="602" y="28"/>
                  </a:cubicBezTo>
                  <a:cubicBezTo>
                    <a:pt x="603" y="27"/>
                    <a:pt x="606" y="21"/>
                    <a:pt x="606" y="21"/>
                  </a:cubicBezTo>
                  <a:cubicBezTo>
                    <a:pt x="602" y="21"/>
                    <a:pt x="602" y="21"/>
                    <a:pt x="602" y="21"/>
                  </a:cubicBezTo>
                  <a:cubicBezTo>
                    <a:pt x="601" y="21"/>
                    <a:pt x="598" y="25"/>
                    <a:pt x="598" y="25"/>
                  </a:cubicBezTo>
                  <a:cubicBezTo>
                    <a:pt x="598" y="25"/>
                    <a:pt x="598" y="22"/>
                    <a:pt x="599" y="21"/>
                  </a:cubicBezTo>
                  <a:cubicBezTo>
                    <a:pt x="599" y="19"/>
                    <a:pt x="604" y="19"/>
                    <a:pt x="608" y="18"/>
                  </a:cubicBezTo>
                  <a:cubicBezTo>
                    <a:pt x="613" y="17"/>
                    <a:pt x="612" y="5"/>
                    <a:pt x="612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5"/>
                    <a:pt x="604" y="8"/>
                    <a:pt x="603" y="6"/>
                  </a:cubicBezTo>
                  <a:cubicBezTo>
                    <a:pt x="601" y="6"/>
                    <a:pt x="604" y="2"/>
                    <a:pt x="602" y="1"/>
                  </a:cubicBezTo>
                  <a:cubicBezTo>
                    <a:pt x="600" y="0"/>
                    <a:pt x="598" y="5"/>
                    <a:pt x="596" y="5"/>
                  </a:cubicBezTo>
                  <a:cubicBezTo>
                    <a:pt x="593" y="6"/>
                    <a:pt x="591" y="1"/>
                    <a:pt x="587" y="2"/>
                  </a:cubicBezTo>
                  <a:cubicBezTo>
                    <a:pt x="584" y="4"/>
                    <a:pt x="591" y="11"/>
                    <a:pt x="589" y="11"/>
                  </a:cubicBezTo>
                  <a:cubicBezTo>
                    <a:pt x="587" y="12"/>
                    <a:pt x="585" y="9"/>
                    <a:pt x="581" y="8"/>
                  </a:cubicBezTo>
                  <a:cubicBezTo>
                    <a:pt x="577" y="8"/>
                    <a:pt x="584" y="13"/>
                    <a:pt x="584" y="13"/>
                  </a:cubicBezTo>
                  <a:cubicBezTo>
                    <a:pt x="581" y="14"/>
                    <a:pt x="581" y="14"/>
                    <a:pt x="581" y="14"/>
                  </a:cubicBezTo>
                  <a:cubicBezTo>
                    <a:pt x="583" y="17"/>
                    <a:pt x="583" y="17"/>
                    <a:pt x="583" y="17"/>
                  </a:cubicBezTo>
                  <a:cubicBezTo>
                    <a:pt x="586" y="17"/>
                    <a:pt x="586" y="17"/>
                    <a:pt x="586" y="17"/>
                  </a:cubicBezTo>
                  <a:cubicBezTo>
                    <a:pt x="593" y="21"/>
                    <a:pt x="593" y="21"/>
                    <a:pt x="593" y="21"/>
                  </a:cubicBezTo>
                  <a:cubicBezTo>
                    <a:pt x="586" y="22"/>
                    <a:pt x="586" y="22"/>
                    <a:pt x="586" y="22"/>
                  </a:cubicBezTo>
                  <a:cubicBezTo>
                    <a:pt x="587" y="27"/>
                    <a:pt x="587" y="27"/>
                    <a:pt x="587" y="27"/>
                  </a:cubicBezTo>
                  <a:cubicBezTo>
                    <a:pt x="583" y="27"/>
                    <a:pt x="583" y="27"/>
                    <a:pt x="583" y="27"/>
                  </a:cubicBezTo>
                  <a:cubicBezTo>
                    <a:pt x="583" y="30"/>
                    <a:pt x="583" y="30"/>
                    <a:pt x="583" y="30"/>
                  </a:cubicBezTo>
                  <a:cubicBezTo>
                    <a:pt x="585" y="31"/>
                    <a:pt x="585" y="31"/>
                    <a:pt x="585" y="31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7" y="36"/>
                    <a:pt x="587" y="36"/>
                    <a:pt x="587" y="36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87" y="45"/>
                    <a:pt x="587" y="45"/>
                    <a:pt x="587" y="45"/>
                  </a:cubicBezTo>
                  <a:cubicBezTo>
                    <a:pt x="580" y="45"/>
                    <a:pt x="580" y="45"/>
                    <a:pt x="580" y="45"/>
                  </a:cubicBezTo>
                  <a:cubicBezTo>
                    <a:pt x="576" y="55"/>
                    <a:pt x="576" y="55"/>
                    <a:pt x="576" y="55"/>
                  </a:cubicBezTo>
                  <a:cubicBezTo>
                    <a:pt x="574" y="35"/>
                    <a:pt x="574" y="35"/>
                    <a:pt x="574" y="35"/>
                  </a:cubicBezTo>
                  <a:cubicBezTo>
                    <a:pt x="569" y="37"/>
                    <a:pt x="569" y="37"/>
                    <a:pt x="569" y="37"/>
                  </a:cubicBezTo>
                  <a:cubicBezTo>
                    <a:pt x="575" y="26"/>
                    <a:pt x="575" y="26"/>
                    <a:pt x="575" y="26"/>
                  </a:cubicBezTo>
                  <a:cubicBezTo>
                    <a:pt x="573" y="24"/>
                    <a:pt x="573" y="24"/>
                    <a:pt x="573" y="24"/>
                  </a:cubicBezTo>
                  <a:cubicBezTo>
                    <a:pt x="573" y="24"/>
                    <a:pt x="574" y="17"/>
                    <a:pt x="569" y="17"/>
                  </a:cubicBezTo>
                  <a:cubicBezTo>
                    <a:pt x="564" y="18"/>
                    <a:pt x="564" y="32"/>
                    <a:pt x="564" y="32"/>
                  </a:cubicBezTo>
                  <a:cubicBezTo>
                    <a:pt x="560" y="33"/>
                    <a:pt x="560" y="33"/>
                    <a:pt x="560" y="33"/>
                  </a:cubicBezTo>
                  <a:cubicBezTo>
                    <a:pt x="560" y="33"/>
                    <a:pt x="561" y="41"/>
                    <a:pt x="558" y="45"/>
                  </a:cubicBezTo>
                  <a:cubicBezTo>
                    <a:pt x="556" y="50"/>
                    <a:pt x="550" y="60"/>
                    <a:pt x="550" y="60"/>
                  </a:cubicBezTo>
                  <a:cubicBezTo>
                    <a:pt x="550" y="60"/>
                    <a:pt x="555" y="62"/>
                    <a:pt x="554" y="65"/>
                  </a:cubicBezTo>
                  <a:cubicBezTo>
                    <a:pt x="553" y="68"/>
                    <a:pt x="551" y="73"/>
                    <a:pt x="551" y="73"/>
                  </a:cubicBezTo>
                  <a:cubicBezTo>
                    <a:pt x="549" y="78"/>
                    <a:pt x="549" y="78"/>
                    <a:pt x="549" y="78"/>
                  </a:cubicBezTo>
                  <a:cubicBezTo>
                    <a:pt x="546" y="74"/>
                    <a:pt x="546" y="74"/>
                    <a:pt x="546" y="74"/>
                  </a:cubicBezTo>
                  <a:cubicBezTo>
                    <a:pt x="544" y="77"/>
                    <a:pt x="544" y="77"/>
                    <a:pt x="544" y="77"/>
                  </a:cubicBezTo>
                  <a:cubicBezTo>
                    <a:pt x="541" y="71"/>
                    <a:pt x="541" y="71"/>
                    <a:pt x="541" y="71"/>
                  </a:cubicBezTo>
                  <a:cubicBezTo>
                    <a:pt x="547" y="55"/>
                    <a:pt x="547" y="55"/>
                    <a:pt x="547" y="55"/>
                  </a:cubicBezTo>
                  <a:cubicBezTo>
                    <a:pt x="542" y="55"/>
                    <a:pt x="542" y="55"/>
                    <a:pt x="542" y="55"/>
                  </a:cubicBezTo>
                  <a:cubicBezTo>
                    <a:pt x="541" y="52"/>
                    <a:pt x="541" y="52"/>
                    <a:pt x="541" y="52"/>
                  </a:cubicBezTo>
                  <a:cubicBezTo>
                    <a:pt x="553" y="34"/>
                    <a:pt x="553" y="34"/>
                    <a:pt x="553" y="34"/>
                  </a:cubicBezTo>
                  <a:cubicBezTo>
                    <a:pt x="551" y="32"/>
                    <a:pt x="551" y="32"/>
                    <a:pt x="551" y="32"/>
                  </a:cubicBezTo>
                  <a:cubicBezTo>
                    <a:pt x="551" y="32"/>
                    <a:pt x="556" y="25"/>
                    <a:pt x="554" y="24"/>
                  </a:cubicBezTo>
                  <a:cubicBezTo>
                    <a:pt x="552" y="22"/>
                    <a:pt x="546" y="29"/>
                    <a:pt x="546" y="29"/>
                  </a:cubicBezTo>
                  <a:cubicBezTo>
                    <a:pt x="546" y="22"/>
                    <a:pt x="546" y="22"/>
                    <a:pt x="546" y="22"/>
                  </a:cubicBezTo>
                  <a:cubicBezTo>
                    <a:pt x="540" y="22"/>
                    <a:pt x="540" y="22"/>
                    <a:pt x="540" y="22"/>
                  </a:cubicBezTo>
                  <a:cubicBezTo>
                    <a:pt x="542" y="26"/>
                    <a:pt x="542" y="26"/>
                    <a:pt x="542" y="26"/>
                  </a:cubicBezTo>
                  <a:cubicBezTo>
                    <a:pt x="541" y="31"/>
                    <a:pt x="541" y="31"/>
                    <a:pt x="541" y="31"/>
                  </a:cubicBezTo>
                  <a:cubicBezTo>
                    <a:pt x="537" y="26"/>
                    <a:pt x="537" y="26"/>
                    <a:pt x="537" y="26"/>
                  </a:cubicBezTo>
                  <a:cubicBezTo>
                    <a:pt x="534" y="29"/>
                    <a:pt x="534" y="29"/>
                    <a:pt x="534" y="29"/>
                  </a:cubicBezTo>
                  <a:cubicBezTo>
                    <a:pt x="535" y="24"/>
                    <a:pt x="535" y="24"/>
                    <a:pt x="535" y="24"/>
                  </a:cubicBezTo>
                  <a:cubicBezTo>
                    <a:pt x="534" y="22"/>
                    <a:pt x="534" y="22"/>
                    <a:pt x="534" y="22"/>
                  </a:cubicBezTo>
                  <a:cubicBezTo>
                    <a:pt x="532" y="26"/>
                    <a:pt x="532" y="26"/>
                    <a:pt x="532" y="26"/>
                  </a:cubicBezTo>
                  <a:cubicBezTo>
                    <a:pt x="525" y="21"/>
                    <a:pt x="525" y="21"/>
                    <a:pt x="525" y="21"/>
                  </a:cubicBezTo>
                  <a:cubicBezTo>
                    <a:pt x="523" y="27"/>
                    <a:pt x="523" y="27"/>
                    <a:pt x="523" y="27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6" y="31"/>
                    <a:pt x="526" y="31"/>
                    <a:pt x="526" y="31"/>
                  </a:cubicBezTo>
                  <a:cubicBezTo>
                    <a:pt x="526" y="35"/>
                    <a:pt x="526" y="35"/>
                    <a:pt x="526" y="35"/>
                  </a:cubicBezTo>
                  <a:cubicBezTo>
                    <a:pt x="523" y="34"/>
                    <a:pt x="523" y="34"/>
                    <a:pt x="523" y="3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9"/>
                    <a:pt x="519" y="39"/>
                    <a:pt x="519" y="39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46"/>
                    <a:pt x="532" y="46"/>
                    <a:pt x="532" y="46"/>
                  </a:cubicBezTo>
                  <a:cubicBezTo>
                    <a:pt x="532" y="48"/>
                    <a:pt x="532" y="48"/>
                    <a:pt x="532" y="48"/>
                  </a:cubicBezTo>
                  <a:cubicBezTo>
                    <a:pt x="532" y="48"/>
                    <a:pt x="530" y="46"/>
                    <a:pt x="527" y="45"/>
                  </a:cubicBezTo>
                  <a:cubicBezTo>
                    <a:pt x="525" y="43"/>
                    <a:pt x="521" y="43"/>
                    <a:pt x="521" y="43"/>
                  </a:cubicBezTo>
                  <a:cubicBezTo>
                    <a:pt x="520" y="53"/>
                    <a:pt x="520" y="53"/>
                    <a:pt x="520" y="53"/>
                  </a:cubicBezTo>
                  <a:cubicBezTo>
                    <a:pt x="522" y="52"/>
                    <a:pt x="522" y="52"/>
                    <a:pt x="522" y="52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25" y="58"/>
                    <a:pt x="522" y="57"/>
                    <a:pt x="519" y="56"/>
                  </a:cubicBezTo>
                  <a:cubicBezTo>
                    <a:pt x="515" y="56"/>
                    <a:pt x="514" y="59"/>
                    <a:pt x="514" y="59"/>
                  </a:cubicBezTo>
                  <a:cubicBezTo>
                    <a:pt x="505" y="75"/>
                    <a:pt x="505" y="75"/>
                    <a:pt x="505" y="75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4" y="78"/>
                    <a:pt x="504" y="78"/>
                    <a:pt x="504" y="78"/>
                  </a:cubicBezTo>
                  <a:cubicBezTo>
                    <a:pt x="508" y="83"/>
                    <a:pt x="508" y="83"/>
                    <a:pt x="508" y="83"/>
                  </a:cubicBezTo>
                  <a:cubicBezTo>
                    <a:pt x="505" y="85"/>
                    <a:pt x="505" y="85"/>
                    <a:pt x="505" y="85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04" y="92"/>
                    <a:pt x="504" y="92"/>
                    <a:pt x="504" y="92"/>
                  </a:cubicBezTo>
                  <a:cubicBezTo>
                    <a:pt x="499" y="83"/>
                    <a:pt x="499" y="83"/>
                    <a:pt x="499" y="83"/>
                  </a:cubicBezTo>
                  <a:cubicBezTo>
                    <a:pt x="486" y="91"/>
                    <a:pt x="486" y="91"/>
                    <a:pt x="486" y="91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6" y="89"/>
                    <a:pt x="497" y="83"/>
                    <a:pt x="498" y="79"/>
                  </a:cubicBezTo>
                  <a:cubicBezTo>
                    <a:pt x="499" y="76"/>
                    <a:pt x="489" y="78"/>
                    <a:pt x="489" y="78"/>
                  </a:cubicBezTo>
                  <a:cubicBezTo>
                    <a:pt x="489" y="78"/>
                    <a:pt x="486" y="75"/>
                    <a:pt x="484" y="78"/>
                  </a:cubicBezTo>
                  <a:cubicBezTo>
                    <a:pt x="481" y="81"/>
                    <a:pt x="487" y="84"/>
                    <a:pt x="487" y="84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1" y="76"/>
                    <a:pt x="476" y="76"/>
                  </a:cubicBezTo>
                  <a:cubicBezTo>
                    <a:pt x="472" y="76"/>
                    <a:pt x="472" y="82"/>
                    <a:pt x="472" y="82"/>
                  </a:cubicBezTo>
                  <a:cubicBezTo>
                    <a:pt x="465" y="77"/>
                    <a:pt x="465" y="77"/>
                    <a:pt x="465" y="77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464" y="80"/>
                    <a:pt x="460" y="79"/>
                    <a:pt x="458" y="82"/>
                  </a:cubicBezTo>
                  <a:cubicBezTo>
                    <a:pt x="456" y="87"/>
                    <a:pt x="465" y="87"/>
                    <a:pt x="465" y="87"/>
                  </a:cubicBezTo>
                  <a:cubicBezTo>
                    <a:pt x="462" y="90"/>
                    <a:pt x="462" y="90"/>
                    <a:pt x="462" y="90"/>
                  </a:cubicBezTo>
                  <a:cubicBezTo>
                    <a:pt x="472" y="92"/>
                    <a:pt x="472" y="92"/>
                    <a:pt x="472" y="92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3" y="94"/>
                    <a:pt x="473" y="94"/>
                    <a:pt x="473" y="94"/>
                  </a:cubicBezTo>
                  <a:cubicBezTo>
                    <a:pt x="474" y="95"/>
                    <a:pt x="474" y="95"/>
                    <a:pt x="474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7"/>
                    <a:pt x="478" y="97"/>
                    <a:pt x="478" y="97"/>
                  </a:cubicBezTo>
                  <a:cubicBezTo>
                    <a:pt x="475" y="97"/>
                    <a:pt x="475" y="97"/>
                    <a:pt x="475" y="97"/>
                  </a:cubicBezTo>
                  <a:cubicBezTo>
                    <a:pt x="478" y="103"/>
                    <a:pt x="478" y="103"/>
                    <a:pt x="478" y="103"/>
                  </a:cubicBezTo>
                  <a:cubicBezTo>
                    <a:pt x="478" y="106"/>
                    <a:pt x="478" y="106"/>
                    <a:pt x="478" y="106"/>
                  </a:cubicBezTo>
                  <a:cubicBezTo>
                    <a:pt x="478" y="106"/>
                    <a:pt x="484" y="110"/>
                    <a:pt x="482" y="111"/>
                  </a:cubicBezTo>
                  <a:cubicBezTo>
                    <a:pt x="479" y="112"/>
                    <a:pt x="474" y="103"/>
                    <a:pt x="474" y="103"/>
                  </a:cubicBezTo>
                  <a:cubicBezTo>
                    <a:pt x="469" y="100"/>
                    <a:pt x="469" y="100"/>
                    <a:pt x="469" y="100"/>
                  </a:cubicBezTo>
                  <a:cubicBezTo>
                    <a:pt x="469" y="100"/>
                    <a:pt x="465" y="94"/>
                    <a:pt x="460" y="94"/>
                  </a:cubicBezTo>
                  <a:cubicBezTo>
                    <a:pt x="457" y="94"/>
                    <a:pt x="459" y="100"/>
                    <a:pt x="459" y="100"/>
                  </a:cubicBezTo>
                  <a:cubicBezTo>
                    <a:pt x="461" y="104"/>
                    <a:pt x="461" y="104"/>
                    <a:pt x="461" y="104"/>
                  </a:cubicBezTo>
                  <a:cubicBezTo>
                    <a:pt x="458" y="106"/>
                    <a:pt x="458" y="106"/>
                    <a:pt x="458" y="106"/>
                  </a:cubicBezTo>
                  <a:cubicBezTo>
                    <a:pt x="456" y="111"/>
                    <a:pt x="456" y="111"/>
                    <a:pt x="456" y="111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57" y="102"/>
                    <a:pt x="457" y="102"/>
                    <a:pt x="457" y="102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1" y="106"/>
                    <a:pt x="451" y="106"/>
                    <a:pt x="451" y="106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448" y="124"/>
                    <a:pt x="448" y="124"/>
                    <a:pt x="448" y="124"/>
                  </a:cubicBezTo>
                  <a:cubicBezTo>
                    <a:pt x="452" y="129"/>
                    <a:pt x="452" y="129"/>
                    <a:pt x="452" y="129"/>
                  </a:cubicBezTo>
                  <a:cubicBezTo>
                    <a:pt x="444" y="126"/>
                    <a:pt x="444" y="126"/>
                    <a:pt x="444" y="126"/>
                  </a:cubicBezTo>
                  <a:cubicBezTo>
                    <a:pt x="442" y="140"/>
                    <a:pt x="442" y="140"/>
                    <a:pt x="442" y="140"/>
                  </a:cubicBezTo>
                  <a:cubicBezTo>
                    <a:pt x="440" y="140"/>
                    <a:pt x="440" y="140"/>
                    <a:pt x="440" y="140"/>
                  </a:cubicBezTo>
                  <a:cubicBezTo>
                    <a:pt x="436" y="147"/>
                    <a:pt x="436" y="147"/>
                    <a:pt x="436" y="147"/>
                  </a:cubicBezTo>
                  <a:cubicBezTo>
                    <a:pt x="434" y="144"/>
                    <a:pt x="434" y="144"/>
                    <a:pt x="434" y="144"/>
                  </a:cubicBezTo>
                  <a:cubicBezTo>
                    <a:pt x="439" y="138"/>
                    <a:pt x="439" y="138"/>
                    <a:pt x="439" y="138"/>
                  </a:cubicBezTo>
                  <a:cubicBezTo>
                    <a:pt x="441" y="129"/>
                    <a:pt x="441" y="129"/>
                    <a:pt x="441" y="129"/>
                  </a:cubicBezTo>
                  <a:cubicBezTo>
                    <a:pt x="440" y="128"/>
                    <a:pt x="440" y="128"/>
                    <a:pt x="440" y="128"/>
                  </a:cubicBezTo>
                  <a:cubicBezTo>
                    <a:pt x="443" y="125"/>
                    <a:pt x="443" y="125"/>
                    <a:pt x="443" y="125"/>
                  </a:cubicBezTo>
                  <a:cubicBezTo>
                    <a:pt x="441" y="120"/>
                    <a:pt x="441" y="120"/>
                    <a:pt x="441" y="120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09"/>
                    <a:pt x="439" y="102"/>
                    <a:pt x="439" y="102"/>
                  </a:cubicBezTo>
                  <a:cubicBezTo>
                    <a:pt x="434" y="106"/>
                    <a:pt x="434" y="106"/>
                    <a:pt x="434" y="106"/>
                  </a:cubicBezTo>
                  <a:cubicBezTo>
                    <a:pt x="434" y="106"/>
                    <a:pt x="435" y="112"/>
                    <a:pt x="432" y="115"/>
                  </a:cubicBezTo>
                  <a:cubicBezTo>
                    <a:pt x="428" y="118"/>
                    <a:pt x="431" y="124"/>
                    <a:pt x="431" y="124"/>
                  </a:cubicBezTo>
                  <a:cubicBezTo>
                    <a:pt x="434" y="126"/>
                    <a:pt x="434" y="126"/>
                    <a:pt x="434" y="126"/>
                  </a:cubicBezTo>
                  <a:cubicBezTo>
                    <a:pt x="429" y="128"/>
                    <a:pt x="429" y="128"/>
                    <a:pt x="429" y="128"/>
                  </a:cubicBezTo>
                  <a:cubicBezTo>
                    <a:pt x="429" y="137"/>
                    <a:pt x="429" y="137"/>
                    <a:pt x="429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7" y="124"/>
                    <a:pt x="427" y="124"/>
                    <a:pt x="427" y="124"/>
                  </a:cubicBezTo>
                  <a:cubicBezTo>
                    <a:pt x="426" y="124"/>
                    <a:pt x="426" y="124"/>
                    <a:pt x="426" y="124"/>
                  </a:cubicBezTo>
                  <a:cubicBezTo>
                    <a:pt x="426" y="113"/>
                    <a:pt x="426" y="113"/>
                    <a:pt x="426" y="113"/>
                  </a:cubicBezTo>
                  <a:cubicBezTo>
                    <a:pt x="426" y="113"/>
                    <a:pt x="421" y="115"/>
                    <a:pt x="413" y="119"/>
                  </a:cubicBezTo>
                  <a:cubicBezTo>
                    <a:pt x="405" y="121"/>
                    <a:pt x="410" y="132"/>
                    <a:pt x="410" y="132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3" y="132"/>
                    <a:pt x="413" y="134"/>
                    <a:pt x="412" y="137"/>
                  </a:cubicBezTo>
                  <a:cubicBezTo>
                    <a:pt x="411" y="139"/>
                    <a:pt x="416" y="142"/>
                    <a:pt x="420" y="142"/>
                  </a:cubicBezTo>
                  <a:cubicBezTo>
                    <a:pt x="424" y="143"/>
                    <a:pt x="424" y="150"/>
                    <a:pt x="424" y="150"/>
                  </a:cubicBezTo>
                  <a:cubicBezTo>
                    <a:pt x="427" y="151"/>
                    <a:pt x="427" y="151"/>
                    <a:pt x="427" y="151"/>
                  </a:cubicBezTo>
                  <a:cubicBezTo>
                    <a:pt x="425" y="152"/>
                    <a:pt x="425" y="152"/>
                    <a:pt x="425" y="152"/>
                  </a:cubicBezTo>
                  <a:cubicBezTo>
                    <a:pt x="425" y="152"/>
                    <a:pt x="421" y="150"/>
                    <a:pt x="421" y="147"/>
                  </a:cubicBezTo>
                  <a:cubicBezTo>
                    <a:pt x="421" y="144"/>
                    <a:pt x="416" y="144"/>
                    <a:pt x="412" y="143"/>
                  </a:cubicBezTo>
                  <a:cubicBezTo>
                    <a:pt x="410" y="143"/>
                    <a:pt x="407" y="134"/>
                    <a:pt x="407" y="134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9" y="136"/>
                    <a:pt x="400" y="140"/>
                    <a:pt x="402" y="143"/>
                  </a:cubicBezTo>
                  <a:cubicBezTo>
                    <a:pt x="405" y="146"/>
                    <a:pt x="409" y="147"/>
                    <a:pt x="409" y="147"/>
                  </a:cubicBezTo>
                  <a:cubicBezTo>
                    <a:pt x="409" y="147"/>
                    <a:pt x="405" y="148"/>
                    <a:pt x="402" y="146"/>
                  </a:cubicBezTo>
                  <a:cubicBezTo>
                    <a:pt x="399" y="145"/>
                    <a:pt x="394" y="138"/>
                    <a:pt x="394" y="138"/>
                  </a:cubicBezTo>
                  <a:cubicBezTo>
                    <a:pt x="390" y="139"/>
                    <a:pt x="390" y="139"/>
                    <a:pt x="390" y="139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92" y="159"/>
                    <a:pt x="392" y="159"/>
                    <a:pt x="392" y="159"/>
                  </a:cubicBezTo>
                  <a:cubicBezTo>
                    <a:pt x="380" y="160"/>
                    <a:pt x="380" y="160"/>
                    <a:pt x="380" y="160"/>
                  </a:cubicBezTo>
                  <a:cubicBezTo>
                    <a:pt x="384" y="165"/>
                    <a:pt x="384" y="165"/>
                    <a:pt x="384" y="165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84" y="174"/>
                    <a:pt x="384" y="174"/>
                    <a:pt x="384" y="174"/>
                  </a:cubicBezTo>
                  <a:cubicBezTo>
                    <a:pt x="387" y="176"/>
                    <a:pt x="387" y="176"/>
                    <a:pt x="387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0" y="181"/>
                    <a:pt x="380" y="181"/>
                    <a:pt x="380" y="181"/>
                  </a:cubicBezTo>
                  <a:cubicBezTo>
                    <a:pt x="385" y="183"/>
                    <a:pt x="385" y="183"/>
                    <a:pt x="385" y="183"/>
                  </a:cubicBezTo>
                  <a:cubicBezTo>
                    <a:pt x="377" y="183"/>
                    <a:pt x="377" y="183"/>
                    <a:pt x="377" y="183"/>
                  </a:cubicBezTo>
                  <a:cubicBezTo>
                    <a:pt x="371" y="184"/>
                    <a:pt x="377" y="187"/>
                    <a:pt x="377" y="187"/>
                  </a:cubicBezTo>
                  <a:cubicBezTo>
                    <a:pt x="382" y="189"/>
                    <a:pt x="382" y="189"/>
                    <a:pt x="382" y="189"/>
                  </a:cubicBezTo>
                  <a:cubicBezTo>
                    <a:pt x="382" y="189"/>
                    <a:pt x="375" y="187"/>
                    <a:pt x="372" y="188"/>
                  </a:cubicBezTo>
                  <a:cubicBezTo>
                    <a:pt x="370" y="188"/>
                    <a:pt x="371" y="190"/>
                    <a:pt x="371" y="190"/>
                  </a:cubicBezTo>
                  <a:cubicBezTo>
                    <a:pt x="375" y="191"/>
                    <a:pt x="375" y="191"/>
                    <a:pt x="375" y="191"/>
                  </a:cubicBezTo>
                  <a:cubicBezTo>
                    <a:pt x="374" y="195"/>
                    <a:pt x="374" y="195"/>
                    <a:pt x="374" y="195"/>
                  </a:cubicBezTo>
                  <a:cubicBezTo>
                    <a:pt x="374" y="192"/>
                    <a:pt x="374" y="192"/>
                    <a:pt x="374" y="192"/>
                  </a:cubicBezTo>
                  <a:cubicBezTo>
                    <a:pt x="370" y="191"/>
                    <a:pt x="370" y="191"/>
                    <a:pt x="370" y="191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91"/>
                    <a:pt x="367" y="191"/>
                    <a:pt x="367" y="191"/>
                  </a:cubicBezTo>
                  <a:cubicBezTo>
                    <a:pt x="367" y="191"/>
                    <a:pt x="366" y="192"/>
                    <a:pt x="361" y="192"/>
                  </a:cubicBezTo>
                  <a:cubicBezTo>
                    <a:pt x="357" y="192"/>
                    <a:pt x="357" y="200"/>
                    <a:pt x="357" y="200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68" y="203"/>
                    <a:pt x="369" y="205"/>
                    <a:pt x="372" y="205"/>
                  </a:cubicBezTo>
                  <a:cubicBezTo>
                    <a:pt x="375" y="205"/>
                    <a:pt x="382" y="199"/>
                    <a:pt x="382" y="199"/>
                  </a:cubicBezTo>
                  <a:cubicBezTo>
                    <a:pt x="380" y="203"/>
                    <a:pt x="380" y="203"/>
                    <a:pt x="380" y="203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76" y="207"/>
                    <a:pt x="376" y="207"/>
                    <a:pt x="376" y="207"/>
                  </a:cubicBezTo>
                  <a:cubicBezTo>
                    <a:pt x="376" y="213"/>
                    <a:pt x="376" y="213"/>
                    <a:pt x="376" y="213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4" y="209"/>
                    <a:pt x="374" y="209"/>
                    <a:pt x="374" y="209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211"/>
                    <a:pt x="364" y="208"/>
                    <a:pt x="361" y="208"/>
                  </a:cubicBezTo>
                  <a:cubicBezTo>
                    <a:pt x="358" y="207"/>
                    <a:pt x="353" y="209"/>
                    <a:pt x="351" y="213"/>
                  </a:cubicBezTo>
                  <a:cubicBezTo>
                    <a:pt x="348" y="215"/>
                    <a:pt x="355" y="215"/>
                    <a:pt x="358" y="216"/>
                  </a:cubicBezTo>
                  <a:cubicBezTo>
                    <a:pt x="362" y="217"/>
                    <a:pt x="361" y="221"/>
                    <a:pt x="361" y="221"/>
                  </a:cubicBezTo>
                  <a:cubicBezTo>
                    <a:pt x="364" y="223"/>
                    <a:pt x="364" y="223"/>
                    <a:pt x="364" y="223"/>
                  </a:cubicBezTo>
                  <a:cubicBezTo>
                    <a:pt x="363" y="224"/>
                    <a:pt x="363" y="224"/>
                    <a:pt x="363" y="224"/>
                  </a:cubicBezTo>
                  <a:cubicBezTo>
                    <a:pt x="363" y="224"/>
                    <a:pt x="359" y="221"/>
                    <a:pt x="357" y="219"/>
                  </a:cubicBezTo>
                  <a:cubicBezTo>
                    <a:pt x="355" y="217"/>
                    <a:pt x="348" y="216"/>
                    <a:pt x="348" y="216"/>
                  </a:cubicBezTo>
                  <a:cubicBezTo>
                    <a:pt x="347" y="218"/>
                    <a:pt x="347" y="218"/>
                    <a:pt x="347" y="218"/>
                  </a:cubicBezTo>
                  <a:cubicBezTo>
                    <a:pt x="353" y="219"/>
                    <a:pt x="353" y="219"/>
                    <a:pt x="353" y="219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52" y="223"/>
                    <a:pt x="352" y="223"/>
                    <a:pt x="352" y="223"/>
                  </a:cubicBezTo>
                  <a:cubicBezTo>
                    <a:pt x="355" y="222"/>
                    <a:pt x="355" y="222"/>
                    <a:pt x="355" y="222"/>
                  </a:cubicBezTo>
                  <a:cubicBezTo>
                    <a:pt x="358" y="223"/>
                    <a:pt x="358" y="223"/>
                    <a:pt x="358" y="223"/>
                  </a:cubicBezTo>
                  <a:cubicBezTo>
                    <a:pt x="351" y="226"/>
                    <a:pt x="351" y="226"/>
                    <a:pt x="351" y="226"/>
                  </a:cubicBezTo>
                  <a:cubicBezTo>
                    <a:pt x="352" y="230"/>
                    <a:pt x="352" y="230"/>
                    <a:pt x="352" y="230"/>
                  </a:cubicBezTo>
                  <a:cubicBezTo>
                    <a:pt x="352" y="230"/>
                    <a:pt x="354" y="229"/>
                    <a:pt x="356" y="231"/>
                  </a:cubicBezTo>
                  <a:cubicBezTo>
                    <a:pt x="357" y="233"/>
                    <a:pt x="352" y="236"/>
                    <a:pt x="348" y="235"/>
                  </a:cubicBezTo>
                  <a:cubicBezTo>
                    <a:pt x="345" y="233"/>
                    <a:pt x="346" y="221"/>
                    <a:pt x="346" y="221"/>
                  </a:cubicBezTo>
                  <a:cubicBezTo>
                    <a:pt x="343" y="221"/>
                    <a:pt x="343" y="221"/>
                    <a:pt x="343" y="221"/>
                  </a:cubicBezTo>
                  <a:cubicBezTo>
                    <a:pt x="338" y="230"/>
                    <a:pt x="338" y="230"/>
                    <a:pt x="338" y="230"/>
                  </a:cubicBezTo>
                  <a:cubicBezTo>
                    <a:pt x="337" y="224"/>
                    <a:pt x="337" y="224"/>
                    <a:pt x="337" y="224"/>
                  </a:cubicBezTo>
                  <a:cubicBezTo>
                    <a:pt x="335" y="224"/>
                    <a:pt x="335" y="224"/>
                    <a:pt x="335" y="224"/>
                  </a:cubicBezTo>
                  <a:cubicBezTo>
                    <a:pt x="334" y="229"/>
                    <a:pt x="334" y="229"/>
                    <a:pt x="334" y="229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27" y="235"/>
                    <a:pt x="327" y="235"/>
                    <a:pt x="327" y="235"/>
                  </a:cubicBezTo>
                  <a:cubicBezTo>
                    <a:pt x="329" y="238"/>
                    <a:pt x="329" y="238"/>
                    <a:pt x="329" y="238"/>
                  </a:cubicBezTo>
                  <a:cubicBezTo>
                    <a:pt x="331" y="237"/>
                    <a:pt x="331" y="237"/>
                    <a:pt x="331" y="237"/>
                  </a:cubicBezTo>
                  <a:cubicBezTo>
                    <a:pt x="331" y="234"/>
                    <a:pt x="331" y="234"/>
                    <a:pt x="331" y="234"/>
                  </a:cubicBezTo>
                  <a:cubicBezTo>
                    <a:pt x="335" y="232"/>
                    <a:pt x="335" y="232"/>
                    <a:pt x="335" y="232"/>
                  </a:cubicBezTo>
                  <a:cubicBezTo>
                    <a:pt x="337" y="234"/>
                    <a:pt x="337" y="234"/>
                    <a:pt x="337" y="234"/>
                  </a:cubicBezTo>
                  <a:cubicBezTo>
                    <a:pt x="333" y="237"/>
                    <a:pt x="333" y="237"/>
                    <a:pt x="333" y="237"/>
                  </a:cubicBezTo>
                  <a:cubicBezTo>
                    <a:pt x="335" y="238"/>
                    <a:pt x="335" y="238"/>
                    <a:pt x="335" y="238"/>
                  </a:cubicBezTo>
                  <a:cubicBezTo>
                    <a:pt x="335" y="238"/>
                    <a:pt x="339" y="238"/>
                    <a:pt x="341" y="239"/>
                  </a:cubicBezTo>
                  <a:cubicBezTo>
                    <a:pt x="343" y="239"/>
                    <a:pt x="340" y="236"/>
                    <a:pt x="340" y="234"/>
                  </a:cubicBezTo>
                  <a:cubicBezTo>
                    <a:pt x="340" y="233"/>
                    <a:pt x="344" y="234"/>
                    <a:pt x="345" y="236"/>
                  </a:cubicBezTo>
                  <a:cubicBezTo>
                    <a:pt x="346" y="238"/>
                    <a:pt x="344" y="242"/>
                    <a:pt x="343" y="242"/>
                  </a:cubicBezTo>
                  <a:cubicBezTo>
                    <a:pt x="341" y="244"/>
                    <a:pt x="342" y="242"/>
                    <a:pt x="339" y="240"/>
                  </a:cubicBezTo>
                  <a:cubicBezTo>
                    <a:pt x="336" y="239"/>
                    <a:pt x="334" y="244"/>
                    <a:pt x="330" y="244"/>
                  </a:cubicBezTo>
                  <a:cubicBezTo>
                    <a:pt x="327" y="244"/>
                    <a:pt x="322" y="245"/>
                    <a:pt x="322" y="245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2" y="248"/>
                    <a:pt x="322" y="248"/>
                    <a:pt x="322" y="248"/>
                  </a:cubicBezTo>
                  <a:cubicBezTo>
                    <a:pt x="318" y="248"/>
                    <a:pt x="318" y="248"/>
                    <a:pt x="318" y="248"/>
                  </a:cubicBezTo>
                  <a:cubicBezTo>
                    <a:pt x="315" y="252"/>
                    <a:pt x="315" y="252"/>
                    <a:pt x="315" y="252"/>
                  </a:cubicBezTo>
                  <a:cubicBezTo>
                    <a:pt x="321" y="253"/>
                    <a:pt x="321" y="253"/>
                    <a:pt x="321" y="253"/>
                  </a:cubicBezTo>
                  <a:cubicBezTo>
                    <a:pt x="315" y="256"/>
                    <a:pt x="315" y="256"/>
                    <a:pt x="315" y="256"/>
                  </a:cubicBezTo>
                  <a:cubicBezTo>
                    <a:pt x="315" y="256"/>
                    <a:pt x="318" y="260"/>
                    <a:pt x="322" y="258"/>
                  </a:cubicBezTo>
                  <a:cubicBezTo>
                    <a:pt x="327" y="256"/>
                    <a:pt x="331" y="249"/>
                    <a:pt x="331" y="249"/>
                  </a:cubicBezTo>
                  <a:cubicBezTo>
                    <a:pt x="342" y="256"/>
                    <a:pt x="342" y="256"/>
                    <a:pt x="342" y="256"/>
                  </a:cubicBezTo>
                  <a:cubicBezTo>
                    <a:pt x="334" y="253"/>
                    <a:pt x="334" y="253"/>
                    <a:pt x="334" y="253"/>
                  </a:cubicBezTo>
                  <a:cubicBezTo>
                    <a:pt x="331" y="254"/>
                    <a:pt x="331" y="254"/>
                    <a:pt x="331" y="254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29" y="256"/>
                    <a:pt x="329" y="256"/>
                    <a:pt x="329" y="256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0" y="263"/>
                    <a:pt x="330" y="263"/>
                    <a:pt x="330" y="263"/>
                  </a:cubicBezTo>
                  <a:cubicBezTo>
                    <a:pt x="328" y="267"/>
                    <a:pt x="328" y="267"/>
                    <a:pt x="328" y="267"/>
                  </a:cubicBezTo>
                  <a:cubicBezTo>
                    <a:pt x="329" y="269"/>
                    <a:pt x="335" y="267"/>
                    <a:pt x="335" y="267"/>
                  </a:cubicBezTo>
                  <a:cubicBezTo>
                    <a:pt x="339" y="265"/>
                    <a:pt x="339" y="265"/>
                    <a:pt x="339" y="265"/>
                  </a:cubicBezTo>
                  <a:cubicBezTo>
                    <a:pt x="336" y="274"/>
                    <a:pt x="336" y="274"/>
                    <a:pt x="336" y="274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7" y="278"/>
                    <a:pt x="337" y="278"/>
                    <a:pt x="337" y="278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1"/>
                    <a:pt x="339" y="281"/>
                    <a:pt x="337" y="280"/>
                  </a:cubicBezTo>
                  <a:cubicBezTo>
                    <a:pt x="335" y="280"/>
                    <a:pt x="333" y="271"/>
                    <a:pt x="331" y="270"/>
                  </a:cubicBezTo>
                  <a:cubicBezTo>
                    <a:pt x="329" y="270"/>
                    <a:pt x="327" y="271"/>
                    <a:pt x="327" y="271"/>
                  </a:cubicBezTo>
                  <a:cubicBezTo>
                    <a:pt x="327" y="271"/>
                    <a:pt x="325" y="267"/>
                    <a:pt x="322" y="266"/>
                  </a:cubicBezTo>
                  <a:cubicBezTo>
                    <a:pt x="319" y="266"/>
                    <a:pt x="313" y="273"/>
                    <a:pt x="313" y="273"/>
                  </a:cubicBezTo>
                  <a:cubicBezTo>
                    <a:pt x="321" y="274"/>
                    <a:pt x="321" y="274"/>
                    <a:pt x="321" y="274"/>
                  </a:cubicBezTo>
                  <a:cubicBezTo>
                    <a:pt x="321" y="274"/>
                    <a:pt x="318" y="276"/>
                    <a:pt x="314" y="276"/>
                  </a:cubicBezTo>
                  <a:cubicBezTo>
                    <a:pt x="312" y="276"/>
                    <a:pt x="313" y="279"/>
                    <a:pt x="312" y="281"/>
                  </a:cubicBezTo>
                  <a:cubicBezTo>
                    <a:pt x="310" y="283"/>
                    <a:pt x="306" y="285"/>
                    <a:pt x="306" y="285"/>
                  </a:cubicBezTo>
                  <a:cubicBezTo>
                    <a:pt x="317" y="285"/>
                    <a:pt x="317" y="285"/>
                    <a:pt x="317" y="285"/>
                  </a:cubicBezTo>
                  <a:cubicBezTo>
                    <a:pt x="322" y="285"/>
                    <a:pt x="327" y="282"/>
                    <a:pt x="327" y="282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35" y="285"/>
                    <a:pt x="335" y="285"/>
                    <a:pt x="335" y="285"/>
                  </a:cubicBezTo>
                  <a:cubicBezTo>
                    <a:pt x="334" y="295"/>
                    <a:pt x="334" y="295"/>
                    <a:pt x="334" y="295"/>
                  </a:cubicBezTo>
                  <a:cubicBezTo>
                    <a:pt x="331" y="290"/>
                    <a:pt x="331" y="290"/>
                    <a:pt x="331" y="290"/>
                  </a:cubicBezTo>
                  <a:cubicBezTo>
                    <a:pt x="323" y="287"/>
                    <a:pt x="323" y="287"/>
                    <a:pt x="323" y="287"/>
                  </a:cubicBezTo>
                  <a:cubicBezTo>
                    <a:pt x="318" y="294"/>
                    <a:pt x="318" y="294"/>
                    <a:pt x="318" y="294"/>
                  </a:cubicBezTo>
                  <a:cubicBezTo>
                    <a:pt x="321" y="287"/>
                    <a:pt x="321" y="287"/>
                    <a:pt x="321" y="287"/>
                  </a:cubicBezTo>
                  <a:cubicBezTo>
                    <a:pt x="308" y="288"/>
                    <a:pt x="308" y="288"/>
                    <a:pt x="308" y="288"/>
                  </a:cubicBezTo>
                  <a:cubicBezTo>
                    <a:pt x="303" y="302"/>
                    <a:pt x="303" y="302"/>
                    <a:pt x="303" y="302"/>
                  </a:cubicBezTo>
                  <a:cubicBezTo>
                    <a:pt x="297" y="301"/>
                    <a:pt x="297" y="301"/>
                    <a:pt x="297" y="301"/>
                  </a:cubicBezTo>
                  <a:cubicBezTo>
                    <a:pt x="296" y="304"/>
                    <a:pt x="296" y="304"/>
                    <a:pt x="296" y="304"/>
                  </a:cubicBezTo>
                  <a:cubicBezTo>
                    <a:pt x="296" y="304"/>
                    <a:pt x="295" y="303"/>
                    <a:pt x="290" y="305"/>
                  </a:cubicBezTo>
                  <a:cubicBezTo>
                    <a:pt x="284" y="308"/>
                    <a:pt x="284" y="311"/>
                    <a:pt x="284" y="311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286" y="316"/>
                    <a:pt x="286" y="316"/>
                    <a:pt x="286" y="316"/>
                  </a:cubicBezTo>
                  <a:cubicBezTo>
                    <a:pt x="281" y="317"/>
                    <a:pt x="281" y="317"/>
                    <a:pt x="281" y="317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79" y="321"/>
                    <a:pt x="279" y="321"/>
                    <a:pt x="279" y="321"/>
                  </a:cubicBezTo>
                  <a:cubicBezTo>
                    <a:pt x="276" y="321"/>
                    <a:pt x="276" y="321"/>
                    <a:pt x="276" y="321"/>
                  </a:cubicBezTo>
                  <a:cubicBezTo>
                    <a:pt x="282" y="327"/>
                    <a:pt x="282" y="327"/>
                    <a:pt x="282" y="327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75" y="331"/>
                    <a:pt x="275" y="331"/>
                    <a:pt x="275" y="331"/>
                  </a:cubicBezTo>
                  <a:cubicBezTo>
                    <a:pt x="277" y="333"/>
                    <a:pt x="277" y="333"/>
                    <a:pt x="277" y="333"/>
                  </a:cubicBezTo>
                  <a:cubicBezTo>
                    <a:pt x="281" y="332"/>
                    <a:pt x="281" y="332"/>
                    <a:pt x="281" y="332"/>
                  </a:cubicBezTo>
                  <a:cubicBezTo>
                    <a:pt x="287" y="335"/>
                    <a:pt x="287" y="335"/>
                    <a:pt x="287" y="335"/>
                  </a:cubicBezTo>
                  <a:cubicBezTo>
                    <a:pt x="287" y="335"/>
                    <a:pt x="282" y="334"/>
                    <a:pt x="279" y="335"/>
                  </a:cubicBezTo>
                  <a:cubicBezTo>
                    <a:pt x="276" y="336"/>
                    <a:pt x="278" y="339"/>
                    <a:pt x="278" y="339"/>
                  </a:cubicBezTo>
                  <a:cubicBezTo>
                    <a:pt x="275" y="339"/>
                    <a:pt x="275" y="339"/>
                    <a:pt x="275" y="339"/>
                  </a:cubicBezTo>
                  <a:cubicBezTo>
                    <a:pt x="275" y="335"/>
                    <a:pt x="275" y="335"/>
                    <a:pt x="275" y="335"/>
                  </a:cubicBezTo>
                  <a:cubicBezTo>
                    <a:pt x="271" y="334"/>
                    <a:pt x="271" y="334"/>
                    <a:pt x="271" y="334"/>
                  </a:cubicBezTo>
                  <a:cubicBezTo>
                    <a:pt x="270" y="336"/>
                    <a:pt x="270" y="336"/>
                    <a:pt x="270" y="336"/>
                  </a:cubicBezTo>
                  <a:cubicBezTo>
                    <a:pt x="273" y="340"/>
                    <a:pt x="273" y="340"/>
                    <a:pt x="273" y="340"/>
                  </a:cubicBezTo>
                  <a:cubicBezTo>
                    <a:pt x="273" y="340"/>
                    <a:pt x="270" y="346"/>
                    <a:pt x="272" y="348"/>
                  </a:cubicBezTo>
                  <a:cubicBezTo>
                    <a:pt x="275" y="350"/>
                    <a:pt x="284" y="347"/>
                    <a:pt x="284" y="348"/>
                  </a:cubicBezTo>
                  <a:cubicBezTo>
                    <a:pt x="284" y="349"/>
                    <a:pt x="275" y="350"/>
                    <a:pt x="275" y="350"/>
                  </a:cubicBezTo>
                  <a:cubicBezTo>
                    <a:pt x="271" y="356"/>
                    <a:pt x="271" y="356"/>
                    <a:pt x="271" y="35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85" y="351"/>
                    <a:pt x="285" y="351"/>
                    <a:pt x="285" y="351"/>
                  </a:cubicBezTo>
                  <a:cubicBezTo>
                    <a:pt x="287" y="351"/>
                    <a:pt x="287" y="351"/>
                    <a:pt x="287" y="351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0" y="353"/>
                    <a:pt x="290" y="353"/>
                    <a:pt x="290" y="353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285" y="360"/>
                    <a:pt x="285" y="360"/>
                    <a:pt x="285" y="360"/>
                  </a:cubicBezTo>
                  <a:cubicBezTo>
                    <a:pt x="285" y="360"/>
                    <a:pt x="286" y="355"/>
                    <a:pt x="285" y="353"/>
                  </a:cubicBezTo>
                  <a:cubicBezTo>
                    <a:pt x="282" y="351"/>
                    <a:pt x="277" y="356"/>
                    <a:pt x="275" y="357"/>
                  </a:cubicBezTo>
                  <a:cubicBezTo>
                    <a:pt x="273" y="359"/>
                    <a:pt x="263" y="360"/>
                    <a:pt x="262" y="363"/>
                  </a:cubicBezTo>
                  <a:cubicBezTo>
                    <a:pt x="260" y="366"/>
                    <a:pt x="269" y="364"/>
                    <a:pt x="269" y="364"/>
                  </a:cubicBezTo>
                  <a:cubicBezTo>
                    <a:pt x="268" y="371"/>
                    <a:pt x="268" y="371"/>
                    <a:pt x="268" y="371"/>
                  </a:cubicBezTo>
                  <a:cubicBezTo>
                    <a:pt x="274" y="375"/>
                    <a:pt x="274" y="375"/>
                    <a:pt x="274" y="375"/>
                  </a:cubicBezTo>
                  <a:cubicBezTo>
                    <a:pt x="274" y="375"/>
                    <a:pt x="262" y="372"/>
                    <a:pt x="261" y="375"/>
                  </a:cubicBezTo>
                  <a:cubicBezTo>
                    <a:pt x="259" y="378"/>
                    <a:pt x="261" y="381"/>
                    <a:pt x="261" y="381"/>
                  </a:cubicBezTo>
                  <a:cubicBezTo>
                    <a:pt x="259" y="381"/>
                    <a:pt x="259" y="381"/>
                    <a:pt x="259" y="381"/>
                  </a:cubicBezTo>
                  <a:cubicBezTo>
                    <a:pt x="257" y="383"/>
                    <a:pt x="257" y="383"/>
                    <a:pt x="257" y="383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7"/>
                    <a:pt x="256" y="386"/>
                    <a:pt x="253" y="389"/>
                  </a:cubicBezTo>
                  <a:cubicBezTo>
                    <a:pt x="249" y="391"/>
                    <a:pt x="254" y="398"/>
                    <a:pt x="254" y="398"/>
                  </a:cubicBezTo>
                  <a:cubicBezTo>
                    <a:pt x="258" y="399"/>
                    <a:pt x="258" y="399"/>
                    <a:pt x="258" y="399"/>
                  </a:cubicBezTo>
                  <a:cubicBezTo>
                    <a:pt x="259" y="405"/>
                    <a:pt x="259" y="405"/>
                    <a:pt x="259" y="405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49" y="396"/>
                    <a:pt x="249" y="396"/>
                    <a:pt x="249" y="396"/>
                  </a:cubicBezTo>
                  <a:cubicBezTo>
                    <a:pt x="247" y="404"/>
                    <a:pt x="247" y="404"/>
                    <a:pt x="247" y="404"/>
                  </a:cubicBezTo>
                  <a:cubicBezTo>
                    <a:pt x="252" y="404"/>
                    <a:pt x="252" y="404"/>
                    <a:pt x="252" y="404"/>
                  </a:cubicBezTo>
                  <a:cubicBezTo>
                    <a:pt x="252" y="404"/>
                    <a:pt x="248" y="406"/>
                    <a:pt x="246" y="409"/>
                  </a:cubicBezTo>
                  <a:cubicBezTo>
                    <a:pt x="244" y="411"/>
                    <a:pt x="246" y="416"/>
                    <a:pt x="246" y="416"/>
                  </a:cubicBezTo>
                  <a:cubicBezTo>
                    <a:pt x="241" y="418"/>
                    <a:pt x="241" y="418"/>
                    <a:pt x="241" y="418"/>
                  </a:cubicBezTo>
                  <a:cubicBezTo>
                    <a:pt x="243" y="420"/>
                    <a:pt x="243" y="420"/>
                    <a:pt x="243" y="420"/>
                  </a:cubicBezTo>
                  <a:cubicBezTo>
                    <a:pt x="248" y="416"/>
                    <a:pt x="248" y="416"/>
                    <a:pt x="248" y="416"/>
                  </a:cubicBezTo>
                  <a:cubicBezTo>
                    <a:pt x="248" y="413"/>
                    <a:pt x="248" y="413"/>
                    <a:pt x="248" y="413"/>
                  </a:cubicBezTo>
                  <a:cubicBezTo>
                    <a:pt x="253" y="411"/>
                    <a:pt x="253" y="411"/>
                    <a:pt x="253" y="411"/>
                  </a:cubicBezTo>
                  <a:cubicBezTo>
                    <a:pt x="249" y="415"/>
                    <a:pt x="249" y="415"/>
                    <a:pt x="249" y="415"/>
                  </a:cubicBezTo>
                  <a:cubicBezTo>
                    <a:pt x="254" y="419"/>
                    <a:pt x="254" y="419"/>
                    <a:pt x="254" y="419"/>
                  </a:cubicBezTo>
                  <a:cubicBezTo>
                    <a:pt x="253" y="423"/>
                    <a:pt x="253" y="423"/>
                    <a:pt x="253" y="423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1" y="414"/>
                    <a:pt x="271" y="414"/>
                    <a:pt x="271" y="414"/>
                  </a:cubicBezTo>
                  <a:cubicBezTo>
                    <a:pt x="256" y="427"/>
                    <a:pt x="256" y="427"/>
                    <a:pt x="256" y="427"/>
                  </a:cubicBezTo>
                  <a:cubicBezTo>
                    <a:pt x="252" y="428"/>
                    <a:pt x="252" y="428"/>
                    <a:pt x="252" y="428"/>
                  </a:cubicBezTo>
                  <a:cubicBezTo>
                    <a:pt x="249" y="421"/>
                    <a:pt x="249" y="421"/>
                    <a:pt x="249" y="421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43" y="424"/>
                    <a:pt x="243" y="424"/>
                    <a:pt x="243" y="424"/>
                  </a:cubicBezTo>
                  <a:cubicBezTo>
                    <a:pt x="243" y="424"/>
                    <a:pt x="239" y="424"/>
                    <a:pt x="239" y="426"/>
                  </a:cubicBezTo>
                  <a:cubicBezTo>
                    <a:pt x="239" y="427"/>
                    <a:pt x="235" y="435"/>
                    <a:pt x="231" y="435"/>
                  </a:cubicBezTo>
                  <a:cubicBezTo>
                    <a:pt x="228" y="436"/>
                    <a:pt x="222" y="440"/>
                    <a:pt x="222" y="440"/>
                  </a:cubicBezTo>
                  <a:cubicBezTo>
                    <a:pt x="224" y="442"/>
                    <a:pt x="224" y="442"/>
                    <a:pt x="224" y="442"/>
                  </a:cubicBezTo>
                  <a:cubicBezTo>
                    <a:pt x="224" y="442"/>
                    <a:pt x="216" y="446"/>
                    <a:pt x="221" y="450"/>
                  </a:cubicBezTo>
                  <a:cubicBezTo>
                    <a:pt x="224" y="452"/>
                    <a:pt x="231" y="441"/>
                    <a:pt x="231" y="441"/>
                  </a:cubicBezTo>
                  <a:cubicBezTo>
                    <a:pt x="242" y="436"/>
                    <a:pt x="242" y="436"/>
                    <a:pt x="242" y="436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8" y="446"/>
                    <a:pt x="232" y="447"/>
                    <a:pt x="228" y="450"/>
                  </a:cubicBezTo>
                  <a:cubicBezTo>
                    <a:pt x="223" y="452"/>
                    <a:pt x="226" y="457"/>
                    <a:pt x="226" y="457"/>
                  </a:cubicBezTo>
                  <a:cubicBezTo>
                    <a:pt x="223" y="458"/>
                    <a:pt x="223" y="458"/>
                    <a:pt x="223" y="458"/>
                  </a:cubicBezTo>
                  <a:cubicBezTo>
                    <a:pt x="219" y="455"/>
                    <a:pt x="219" y="455"/>
                    <a:pt x="219" y="455"/>
                  </a:cubicBezTo>
                  <a:cubicBezTo>
                    <a:pt x="215" y="457"/>
                    <a:pt x="215" y="457"/>
                    <a:pt x="215" y="457"/>
                  </a:cubicBezTo>
                  <a:cubicBezTo>
                    <a:pt x="215" y="457"/>
                    <a:pt x="219" y="463"/>
                    <a:pt x="221" y="465"/>
                  </a:cubicBezTo>
                  <a:cubicBezTo>
                    <a:pt x="222" y="467"/>
                    <a:pt x="231" y="459"/>
                    <a:pt x="231" y="459"/>
                  </a:cubicBezTo>
                  <a:cubicBezTo>
                    <a:pt x="226" y="468"/>
                    <a:pt x="226" y="468"/>
                    <a:pt x="226" y="468"/>
                  </a:cubicBezTo>
                  <a:cubicBezTo>
                    <a:pt x="221" y="471"/>
                    <a:pt x="221" y="471"/>
                    <a:pt x="221" y="471"/>
                  </a:cubicBezTo>
                  <a:cubicBezTo>
                    <a:pt x="213" y="459"/>
                    <a:pt x="213" y="459"/>
                    <a:pt x="213" y="459"/>
                  </a:cubicBezTo>
                  <a:cubicBezTo>
                    <a:pt x="204" y="467"/>
                    <a:pt x="204" y="467"/>
                    <a:pt x="204" y="467"/>
                  </a:cubicBezTo>
                  <a:cubicBezTo>
                    <a:pt x="207" y="470"/>
                    <a:pt x="207" y="470"/>
                    <a:pt x="207" y="470"/>
                  </a:cubicBezTo>
                  <a:cubicBezTo>
                    <a:pt x="200" y="468"/>
                    <a:pt x="200" y="468"/>
                    <a:pt x="200" y="468"/>
                  </a:cubicBezTo>
                  <a:cubicBezTo>
                    <a:pt x="198" y="471"/>
                    <a:pt x="198" y="471"/>
                    <a:pt x="198" y="471"/>
                  </a:cubicBezTo>
                  <a:cubicBezTo>
                    <a:pt x="203" y="474"/>
                    <a:pt x="203" y="474"/>
                    <a:pt x="203" y="474"/>
                  </a:cubicBezTo>
                  <a:cubicBezTo>
                    <a:pt x="198" y="475"/>
                    <a:pt x="198" y="475"/>
                    <a:pt x="198" y="475"/>
                  </a:cubicBezTo>
                  <a:cubicBezTo>
                    <a:pt x="198" y="475"/>
                    <a:pt x="189" y="485"/>
                    <a:pt x="188" y="486"/>
                  </a:cubicBezTo>
                  <a:cubicBezTo>
                    <a:pt x="188" y="487"/>
                    <a:pt x="191" y="490"/>
                    <a:pt x="191" y="490"/>
                  </a:cubicBezTo>
                  <a:cubicBezTo>
                    <a:pt x="184" y="489"/>
                    <a:pt x="184" y="489"/>
                    <a:pt x="184" y="489"/>
                  </a:cubicBezTo>
                  <a:cubicBezTo>
                    <a:pt x="182" y="498"/>
                    <a:pt x="182" y="498"/>
                    <a:pt x="182" y="498"/>
                  </a:cubicBezTo>
                  <a:cubicBezTo>
                    <a:pt x="182" y="498"/>
                    <a:pt x="188" y="498"/>
                    <a:pt x="188" y="500"/>
                  </a:cubicBezTo>
                  <a:cubicBezTo>
                    <a:pt x="188" y="502"/>
                    <a:pt x="179" y="504"/>
                    <a:pt x="174" y="505"/>
                  </a:cubicBezTo>
                  <a:cubicBezTo>
                    <a:pt x="169" y="507"/>
                    <a:pt x="169" y="517"/>
                    <a:pt x="169" y="517"/>
                  </a:cubicBezTo>
                  <a:cubicBezTo>
                    <a:pt x="169" y="517"/>
                    <a:pt x="184" y="509"/>
                    <a:pt x="183" y="514"/>
                  </a:cubicBezTo>
                  <a:cubicBezTo>
                    <a:pt x="183" y="518"/>
                    <a:pt x="176" y="517"/>
                    <a:pt x="176" y="517"/>
                  </a:cubicBezTo>
                  <a:cubicBezTo>
                    <a:pt x="177" y="520"/>
                    <a:pt x="177" y="520"/>
                    <a:pt x="177" y="520"/>
                  </a:cubicBezTo>
                  <a:cubicBezTo>
                    <a:pt x="182" y="522"/>
                    <a:pt x="182" y="522"/>
                    <a:pt x="182" y="52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181" y="529"/>
                    <a:pt x="181" y="529"/>
                    <a:pt x="181" y="529"/>
                  </a:cubicBezTo>
                  <a:cubicBezTo>
                    <a:pt x="198" y="520"/>
                    <a:pt x="198" y="520"/>
                    <a:pt x="198" y="520"/>
                  </a:cubicBezTo>
                  <a:cubicBezTo>
                    <a:pt x="198" y="520"/>
                    <a:pt x="202" y="517"/>
                    <a:pt x="203" y="516"/>
                  </a:cubicBezTo>
                  <a:cubicBezTo>
                    <a:pt x="205" y="515"/>
                    <a:pt x="206" y="513"/>
                    <a:pt x="209" y="512"/>
                  </a:cubicBezTo>
                  <a:cubicBezTo>
                    <a:pt x="211" y="512"/>
                    <a:pt x="213" y="508"/>
                    <a:pt x="213" y="505"/>
                  </a:cubicBezTo>
                  <a:cubicBezTo>
                    <a:pt x="213" y="502"/>
                    <a:pt x="202" y="507"/>
                    <a:pt x="202" y="507"/>
                  </a:cubicBezTo>
                  <a:cubicBezTo>
                    <a:pt x="202" y="507"/>
                    <a:pt x="209" y="502"/>
                    <a:pt x="212" y="500"/>
                  </a:cubicBezTo>
                  <a:cubicBezTo>
                    <a:pt x="214" y="499"/>
                    <a:pt x="215" y="494"/>
                    <a:pt x="221" y="494"/>
                  </a:cubicBezTo>
                  <a:cubicBezTo>
                    <a:pt x="225" y="494"/>
                    <a:pt x="226" y="498"/>
                    <a:pt x="226" y="498"/>
                  </a:cubicBezTo>
                  <a:cubicBezTo>
                    <a:pt x="215" y="503"/>
                    <a:pt x="215" y="503"/>
                    <a:pt x="215" y="503"/>
                  </a:cubicBezTo>
                  <a:cubicBezTo>
                    <a:pt x="214" y="506"/>
                    <a:pt x="214" y="506"/>
                    <a:pt x="214" y="506"/>
                  </a:cubicBezTo>
                  <a:cubicBezTo>
                    <a:pt x="214" y="506"/>
                    <a:pt x="223" y="506"/>
                    <a:pt x="224" y="509"/>
                  </a:cubicBezTo>
                  <a:cubicBezTo>
                    <a:pt x="224" y="513"/>
                    <a:pt x="214" y="515"/>
                    <a:pt x="211" y="516"/>
                  </a:cubicBezTo>
                  <a:cubicBezTo>
                    <a:pt x="208" y="516"/>
                    <a:pt x="203" y="521"/>
                    <a:pt x="202" y="524"/>
                  </a:cubicBezTo>
                  <a:cubicBezTo>
                    <a:pt x="202" y="528"/>
                    <a:pt x="206" y="522"/>
                    <a:pt x="208" y="523"/>
                  </a:cubicBezTo>
                  <a:cubicBezTo>
                    <a:pt x="209" y="525"/>
                    <a:pt x="206" y="526"/>
                    <a:pt x="205" y="528"/>
                  </a:cubicBezTo>
                  <a:cubicBezTo>
                    <a:pt x="203" y="530"/>
                    <a:pt x="208" y="531"/>
                    <a:pt x="208" y="531"/>
                  </a:cubicBezTo>
                  <a:cubicBezTo>
                    <a:pt x="205" y="533"/>
                    <a:pt x="205" y="533"/>
                    <a:pt x="205" y="533"/>
                  </a:cubicBezTo>
                  <a:cubicBezTo>
                    <a:pt x="205" y="533"/>
                    <a:pt x="194" y="530"/>
                    <a:pt x="188" y="532"/>
                  </a:cubicBezTo>
                  <a:cubicBezTo>
                    <a:pt x="181" y="534"/>
                    <a:pt x="187" y="539"/>
                    <a:pt x="187" y="539"/>
                  </a:cubicBezTo>
                  <a:cubicBezTo>
                    <a:pt x="180" y="538"/>
                    <a:pt x="180" y="538"/>
                    <a:pt x="180" y="538"/>
                  </a:cubicBezTo>
                  <a:cubicBezTo>
                    <a:pt x="175" y="540"/>
                    <a:pt x="175" y="540"/>
                    <a:pt x="175" y="540"/>
                  </a:cubicBezTo>
                  <a:cubicBezTo>
                    <a:pt x="180" y="532"/>
                    <a:pt x="180" y="532"/>
                    <a:pt x="180" y="532"/>
                  </a:cubicBezTo>
                  <a:cubicBezTo>
                    <a:pt x="175" y="518"/>
                    <a:pt x="175" y="518"/>
                    <a:pt x="175" y="518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6" y="523"/>
                    <a:pt x="166" y="523"/>
                    <a:pt x="166" y="523"/>
                  </a:cubicBezTo>
                  <a:cubicBezTo>
                    <a:pt x="158" y="526"/>
                    <a:pt x="158" y="526"/>
                    <a:pt x="158" y="526"/>
                  </a:cubicBezTo>
                  <a:cubicBezTo>
                    <a:pt x="157" y="530"/>
                    <a:pt x="157" y="530"/>
                    <a:pt x="157" y="530"/>
                  </a:cubicBezTo>
                  <a:cubicBezTo>
                    <a:pt x="164" y="531"/>
                    <a:pt x="164" y="531"/>
                    <a:pt x="164" y="531"/>
                  </a:cubicBezTo>
                  <a:cubicBezTo>
                    <a:pt x="157" y="532"/>
                    <a:pt x="157" y="532"/>
                    <a:pt x="157" y="532"/>
                  </a:cubicBezTo>
                  <a:cubicBezTo>
                    <a:pt x="156" y="536"/>
                    <a:pt x="156" y="536"/>
                    <a:pt x="156" y="536"/>
                  </a:cubicBezTo>
                  <a:cubicBezTo>
                    <a:pt x="162" y="537"/>
                    <a:pt x="162" y="537"/>
                    <a:pt x="162" y="537"/>
                  </a:cubicBezTo>
                  <a:cubicBezTo>
                    <a:pt x="150" y="539"/>
                    <a:pt x="150" y="539"/>
                    <a:pt x="150" y="539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47" y="534"/>
                    <a:pt x="147" y="534"/>
                    <a:pt x="147" y="534"/>
                  </a:cubicBezTo>
                  <a:cubicBezTo>
                    <a:pt x="145" y="532"/>
                    <a:pt x="145" y="532"/>
                    <a:pt x="145" y="532"/>
                  </a:cubicBezTo>
                  <a:cubicBezTo>
                    <a:pt x="141" y="534"/>
                    <a:pt x="141" y="534"/>
                    <a:pt x="141" y="534"/>
                  </a:cubicBezTo>
                  <a:cubicBezTo>
                    <a:pt x="145" y="538"/>
                    <a:pt x="145" y="538"/>
                    <a:pt x="145" y="538"/>
                  </a:cubicBezTo>
                  <a:cubicBezTo>
                    <a:pt x="138" y="538"/>
                    <a:pt x="138" y="538"/>
                    <a:pt x="138" y="538"/>
                  </a:cubicBezTo>
                  <a:cubicBezTo>
                    <a:pt x="134" y="541"/>
                    <a:pt x="134" y="541"/>
                    <a:pt x="134" y="541"/>
                  </a:cubicBezTo>
                  <a:cubicBezTo>
                    <a:pt x="139" y="547"/>
                    <a:pt x="139" y="547"/>
                    <a:pt x="139" y="547"/>
                  </a:cubicBezTo>
                  <a:cubicBezTo>
                    <a:pt x="143" y="548"/>
                    <a:pt x="143" y="548"/>
                    <a:pt x="143" y="548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5" y="552"/>
                    <a:pt x="135" y="552"/>
                    <a:pt x="135" y="552"/>
                  </a:cubicBezTo>
                  <a:cubicBezTo>
                    <a:pt x="126" y="551"/>
                    <a:pt x="126" y="551"/>
                    <a:pt x="126" y="551"/>
                  </a:cubicBezTo>
                  <a:cubicBezTo>
                    <a:pt x="126" y="555"/>
                    <a:pt x="126" y="555"/>
                    <a:pt x="126" y="555"/>
                  </a:cubicBezTo>
                  <a:cubicBezTo>
                    <a:pt x="132" y="563"/>
                    <a:pt x="132" y="563"/>
                    <a:pt x="132" y="563"/>
                  </a:cubicBezTo>
                  <a:cubicBezTo>
                    <a:pt x="138" y="561"/>
                    <a:pt x="138" y="561"/>
                    <a:pt x="138" y="561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2" y="566"/>
                    <a:pt x="132" y="566"/>
                    <a:pt x="132" y="566"/>
                  </a:cubicBezTo>
                  <a:cubicBezTo>
                    <a:pt x="137" y="568"/>
                    <a:pt x="137" y="568"/>
                    <a:pt x="137" y="568"/>
                  </a:cubicBezTo>
                  <a:cubicBezTo>
                    <a:pt x="135" y="569"/>
                    <a:pt x="135" y="569"/>
                    <a:pt x="135" y="569"/>
                  </a:cubicBezTo>
                  <a:cubicBezTo>
                    <a:pt x="130" y="567"/>
                    <a:pt x="130" y="567"/>
                    <a:pt x="130" y="567"/>
                  </a:cubicBezTo>
                  <a:cubicBezTo>
                    <a:pt x="129" y="561"/>
                    <a:pt x="129" y="561"/>
                    <a:pt x="129" y="561"/>
                  </a:cubicBezTo>
                  <a:cubicBezTo>
                    <a:pt x="123" y="552"/>
                    <a:pt x="123" y="552"/>
                    <a:pt x="123" y="552"/>
                  </a:cubicBezTo>
                  <a:cubicBezTo>
                    <a:pt x="114" y="557"/>
                    <a:pt x="114" y="557"/>
                    <a:pt x="114" y="557"/>
                  </a:cubicBezTo>
                  <a:cubicBezTo>
                    <a:pt x="116" y="558"/>
                    <a:pt x="116" y="558"/>
                    <a:pt x="116" y="558"/>
                  </a:cubicBezTo>
                  <a:cubicBezTo>
                    <a:pt x="118" y="558"/>
                    <a:pt x="118" y="558"/>
                    <a:pt x="118" y="558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32" y="577"/>
                    <a:pt x="132" y="577"/>
                    <a:pt x="132" y="577"/>
                  </a:cubicBezTo>
                  <a:cubicBezTo>
                    <a:pt x="133" y="579"/>
                    <a:pt x="133" y="579"/>
                    <a:pt x="133" y="579"/>
                  </a:cubicBezTo>
                  <a:cubicBezTo>
                    <a:pt x="122" y="571"/>
                    <a:pt x="122" y="571"/>
                    <a:pt x="122" y="571"/>
                  </a:cubicBezTo>
                  <a:cubicBezTo>
                    <a:pt x="122" y="562"/>
                    <a:pt x="122" y="562"/>
                    <a:pt x="122" y="562"/>
                  </a:cubicBezTo>
                  <a:cubicBezTo>
                    <a:pt x="113" y="562"/>
                    <a:pt x="113" y="562"/>
                    <a:pt x="113" y="562"/>
                  </a:cubicBezTo>
                  <a:cubicBezTo>
                    <a:pt x="111" y="565"/>
                    <a:pt x="111" y="565"/>
                    <a:pt x="111" y="565"/>
                  </a:cubicBezTo>
                  <a:cubicBezTo>
                    <a:pt x="112" y="560"/>
                    <a:pt x="112" y="560"/>
                    <a:pt x="112" y="560"/>
                  </a:cubicBezTo>
                  <a:cubicBezTo>
                    <a:pt x="108" y="560"/>
                    <a:pt x="108" y="560"/>
                    <a:pt x="108" y="560"/>
                  </a:cubicBezTo>
                  <a:cubicBezTo>
                    <a:pt x="107" y="563"/>
                    <a:pt x="107" y="563"/>
                    <a:pt x="107" y="563"/>
                  </a:cubicBezTo>
                  <a:cubicBezTo>
                    <a:pt x="101" y="564"/>
                    <a:pt x="101" y="564"/>
                    <a:pt x="101" y="564"/>
                  </a:cubicBezTo>
                  <a:cubicBezTo>
                    <a:pt x="96" y="557"/>
                    <a:pt x="96" y="557"/>
                    <a:pt x="96" y="557"/>
                  </a:cubicBezTo>
                  <a:cubicBezTo>
                    <a:pt x="96" y="557"/>
                    <a:pt x="92" y="557"/>
                    <a:pt x="85" y="562"/>
                  </a:cubicBezTo>
                  <a:cubicBezTo>
                    <a:pt x="80" y="567"/>
                    <a:pt x="93" y="567"/>
                    <a:pt x="94" y="569"/>
                  </a:cubicBezTo>
                  <a:cubicBezTo>
                    <a:pt x="94" y="571"/>
                    <a:pt x="91" y="570"/>
                    <a:pt x="88" y="570"/>
                  </a:cubicBezTo>
                  <a:cubicBezTo>
                    <a:pt x="83" y="571"/>
                    <a:pt x="87" y="577"/>
                    <a:pt x="87" y="577"/>
                  </a:cubicBezTo>
                  <a:cubicBezTo>
                    <a:pt x="87" y="577"/>
                    <a:pt x="104" y="571"/>
                    <a:pt x="105" y="573"/>
                  </a:cubicBezTo>
                  <a:cubicBezTo>
                    <a:pt x="106" y="575"/>
                    <a:pt x="99" y="575"/>
                    <a:pt x="99" y="575"/>
                  </a:cubicBezTo>
                  <a:cubicBezTo>
                    <a:pt x="99" y="578"/>
                    <a:pt x="99" y="578"/>
                    <a:pt x="99" y="578"/>
                  </a:cubicBezTo>
                  <a:cubicBezTo>
                    <a:pt x="99" y="578"/>
                    <a:pt x="108" y="575"/>
                    <a:pt x="113" y="573"/>
                  </a:cubicBezTo>
                  <a:cubicBezTo>
                    <a:pt x="118" y="573"/>
                    <a:pt x="122" y="579"/>
                    <a:pt x="122" y="579"/>
                  </a:cubicBezTo>
                  <a:cubicBezTo>
                    <a:pt x="122" y="579"/>
                    <a:pt x="117" y="576"/>
                    <a:pt x="114" y="575"/>
                  </a:cubicBezTo>
                  <a:cubicBezTo>
                    <a:pt x="112" y="575"/>
                    <a:pt x="104" y="578"/>
                    <a:pt x="104" y="578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2" y="581"/>
                    <a:pt x="102" y="581"/>
                    <a:pt x="102" y="581"/>
                  </a:cubicBezTo>
                  <a:cubicBezTo>
                    <a:pt x="100" y="582"/>
                    <a:pt x="100" y="582"/>
                    <a:pt x="100" y="582"/>
                  </a:cubicBezTo>
                  <a:cubicBezTo>
                    <a:pt x="102" y="586"/>
                    <a:pt x="102" y="586"/>
                    <a:pt x="102" y="586"/>
                  </a:cubicBezTo>
                  <a:cubicBezTo>
                    <a:pt x="108" y="586"/>
                    <a:pt x="108" y="586"/>
                    <a:pt x="108" y="586"/>
                  </a:cubicBezTo>
                  <a:cubicBezTo>
                    <a:pt x="104" y="591"/>
                    <a:pt x="104" y="591"/>
                    <a:pt x="104" y="591"/>
                  </a:cubicBezTo>
                  <a:cubicBezTo>
                    <a:pt x="96" y="584"/>
                    <a:pt x="96" y="584"/>
                    <a:pt x="96" y="584"/>
                  </a:cubicBezTo>
                  <a:cubicBezTo>
                    <a:pt x="92" y="582"/>
                    <a:pt x="92" y="582"/>
                    <a:pt x="92" y="582"/>
                  </a:cubicBezTo>
                  <a:cubicBezTo>
                    <a:pt x="92" y="585"/>
                    <a:pt x="92" y="585"/>
                    <a:pt x="92" y="585"/>
                  </a:cubicBezTo>
                  <a:cubicBezTo>
                    <a:pt x="92" y="585"/>
                    <a:pt x="90" y="581"/>
                    <a:pt x="87" y="580"/>
                  </a:cubicBezTo>
                  <a:cubicBezTo>
                    <a:pt x="83" y="579"/>
                    <a:pt x="83" y="583"/>
                    <a:pt x="83" y="583"/>
                  </a:cubicBezTo>
                  <a:cubicBezTo>
                    <a:pt x="83" y="583"/>
                    <a:pt x="81" y="581"/>
                    <a:pt x="80" y="580"/>
                  </a:cubicBezTo>
                  <a:cubicBezTo>
                    <a:pt x="78" y="580"/>
                    <a:pt x="74" y="583"/>
                    <a:pt x="74" y="583"/>
                  </a:cubicBezTo>
                  <a:cubicBezTo>
                    <a:pt x="74" y="583"/>
                    <a:pt x="72" y="582"/>
                    <a:pt x="69" y="581"/>
                  </a:cubicBezTo>
                  <a:cubicBezTo>
                    <a:pt x="66" y="581"/>
                    <a:pt x="65" y="584"/>
                    <a:pt x="63" y="587"/>
                  </a:cubicBezTo>
                  <a:cubicBezTo>
                    <a:pt x="62" y="589"/>
                    <a:pt x="74" y="586"/>
                    <a:pt x="74" y="586"/>
                  </a:cubicBezTo>
                  <a:cubicBezTo>
                    <a:pt x="74" y="586"/>
                    <a:pt x="82" y="592"/>
                    <a:pt x="84" y="594"/>
                  </a:cubicBezTo>
                  <a:cubicBezTo>
                    <a:pt x="85" y="595"/>
                    <a:pt x="84" y="600"/>
                    <a:pt x="84" y="600"/>
                  </a:cubicBezTo>
                  <a:cubicBezTo>
                    <a:pt x="87" y="603"/>
                    <a:pt x="87" y="603"/>
                    <a:pt x="87" y="603"/>
                  </a:cubicBezTo>
                  <a:cubicBezTo>
                    <a:pt x="92" y="604"/>
                    <a:pt x="92" y="604"/>
                    <a:pt x="92" y="604"/>
                  </a:cubicBezTo>
                  <a:cubicBezTo>
                    <a:pt x="94" y="603"/>
                    <a:pt x="94" y="603"/>
                    <a:pt x="94" y="603"/>
                  </a:cubicBezTo>
                  <a:cubicBezTo>
                    <a:pt x="93" y="605"/>
                    <a:pt x="93" y="605"/>
                    <a:pt x="93" y="605"/>
                  </a:cubicBezTo>
                  <a:cubicBezTo>
                    <a:pt x="85" y="605"/>
                    <a:pt x="85" y="605"/>
                    <a:pt x="85" y="605"/>
                  </a:cubicBezTo>
                  <a:cubicBezTo>
                    <a:pt x="87" y="608"/>
                    <a:pt x="87" y="608"/>
                    <a:pt x="87" y="608"/>
                  </a:cubicBezTo>
                  <a:cubicBezTo>
                    <a:pt x="83" y="614"/>
                    <a:pt x="83" y="614"/>
                    <a:pt x="83" y="614"/>
                  </a:cubicBezTo>
                  <a:cubicBezTo>
                    <a:pt x="85" y="616"/>
                    <a:pt x="85" y="616"/>
                    <a:pt x="85" y="616"/>
                  </a:cubicBezTo>
                  <a:cubicBezTo>
                    <a:pt x="80" y="615"/>
                    <a:pt x="80" y="615"/>
                    <a:pt x="80" y="615"/>
                  </a:cubicBezTo>
                  <a:cubicBezTo>
                    <a:pt x="84" y="607"/>
                    <a:pt x="84" y="607"/>
                    <a:pt x="84" y="607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82" y="594"/>
                    <a:pt x="82" y="594"/>
                    <a:pt x="82" y="594"/>
                  </a:cubicBezTo>
                  <a:cubicBezTo>
                    <a:pt x="73" y="593"/>
                    <a:pt x="73" y="593"/>
                    <a:pt x="73" y="593"/>
                  </a:cubicBezTo>
                  <a:cubicBezTo>
                    <a:pt x="73" y="597"/>
                    <a:pt x="73" y="597"/>
                    <a:pt x="73" y="597"/>
                  </a:cubicBezTo>
                  <a:cubicBezTo>
                    <a:pt x="69" y="595"/>
                    <a:pt x="69" y="595"/>
                    <a:pt x="69" y="595"/>
                  </a:cubicBezTo>
                  <a:cubicBezTo>
                    <a:pt x="66" y="595"/>
                    <a:pt x="66" y="595"/>
                    <a:pt x="66" y="595"/>
                  </a:cubicBezTo>
                  <a:cubicBezTo>
                    <a:pt x="72" y="611"/>
                    <a:pt x="72" y="611"/>
                    <a:pt x="72" y="611"/>
                  </a:cubicBezTo>
                  <a:cubicBezTo>
                    <a:pt x="71" y="613"/>
                    <a:pt x="71" y="613"/>
                    <a:pt x="71" y="613"/>
                  </a:cubicBezTo>
                  <a:cubicBezTo>
                    <a:pt x="68" y="607"/>
                    <a:pt x="68" y="607"/>
                    <a:pt x="68" y="607"/>
                  </a:cubicBezTo>
                  <a:cubicBezTo>
                    <a:pt x="65" y="602"/>
                    <a:pt x="65" y="602"/>
                    <a:pt x="65" y="602"/>
                  </a:cubicBezTo>
                  <a:cubicBezTo>
                    <a:pt x="65" y="602"/>
                    <a:pt x="66" y="598"/>
                    <a:pt x="63" y="597"/>
                  </a:cubicBezTo>
                  <a:cubicBezTo>
                    <a:pt x="61" y="596"/>
                    <a:pt x="52" y="603"/>
                    <a:pt x="52" y="603"/>
                  </a:cubicBezTo>
                  <a:cubicBezTo>
                    <a:pt x="56" y="607"/>
                    <a:pt x="56" y="607"/>
                    <a:pt x="56" y="607"/>
                  </a:cubicBezTo>
                  <a:cubicBezTo>
                    <a:pt x="50" y="607"/>
                    <a:pt x="50" y="607"/>
                    <a:pt x="50" y="607"/>
                  </a:cubicBezTo>
                  <a:cubicBezTo>
                    <a:pt x="50" y="607"/>
                    <a:pt x="52" y="608"/>
                    <a:pt x="55" y="610"/>
                  </a:cubicBezTo>
                  <a:cubicBezTo>
                    <a:pt x="57" y="613"/>
                    <a:pt x="61" y="616"/>
                    <a:pt x="61" y="616"/>
                  </a:cubicBezTo>
                  <a:cubicBezTo>
                    <a:pt x="55" y="615"/>
                    <a:pt x="55" y="615"/>
                    <a:pt x="55" y="615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8" y="617"/>
                    <a:pt x="48" y="617"/>
                    <a:pt x="48" y="617"/>
                  </a:cubicBezTo>
                  <a:cubicBezTo>
                    <a:pt x="51" y="610"/>
                    <a:pt x="51" y="610"/>
                    <a:pt x="51" y="610"/>
                  </a:cubicBezTo>
                  <a:cubicBezTo>
                    <a:pt x="51" y="610"/>
                    <a:pt x="50" y="608"/>
                    <a:pt x="46" y="608"/>
                  </a:cubicBezTo>
                  <a:cubicBezTo>
                    <a:pt x="42" y="608"/>
                    <a:pt x="43" y="612"/>
                    <a:pt x="43" y="612"/>
                  </a:cubicBezTo>
                  <a:cubicBezTo>
                    <a:pt x="43" y="612"/>
                    <a:pt x="40" y="608"/>
                    <a:pt x="38" y="608"/>
                  </a:cubicBezTo>
                  <a:cubicBezTo>
                    <a:pt x="34" y="608"/>
                    <a:pt x="33" y="612"/>
                    <a:pt x="33" y="612"/>
                  </a:cubicBezTo>
                  <a:cubicBezTo>
                    <a:pt x="39" y="615"/>
                    <a:pt x="39" y="615"/>
                    <a:pt x="39" y="615"/>
                  </a:cubicBezTo>
                  <a:cubicBezTo>
                    <a:pt x="38" y="616"/>
                    <a:pt x="38" y="616"/>
                    <a:pt x="38" y="616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32" y="609"/>
                    <a:pt x="32" y="609"/>
                    <a:pt x="32" y="609"/>
                  </a:cubicBezTo>
                  <a:cubicBezTo>
                    <a:pt x="28" y="605"/>
                    <a:pt x="28" y="605"/>
                    <a:pt x="28" y="605"/>
                  </a:cubicBezTo>
                  <a:cubicBezTo>
                    <a:pt x="25" y="609"/>
                    <a:pt x="25" y="609"/>
                    <a:pt x="25" y="609"/>
                  </a:cubicBezTo>
                  <a:cubicBezTo>
                    <a:pt x="26" y="611"/>
                    <a:pt x="26" y="611"/>
                    <a:pt x="26" y="611"/>
                  </a:cubicBezTo>
                  <a:cubicBezTo>
                    <a:pt x="26" y="611"/>
                    <a:pt x="32" y="616"/>
                    <a:pt x="32" y="618"/>
                  </a:cubicBezTo>
                  <a:cubicBezTo>
                    <a:pt x="31" y="621"/>
                    <a:pt x="25" y="620"/>
                    <a:pt x="25" y="624"/>
                  </a:cubicBezTo>
                  <a:cubicBezTo>
                    <a:pt x="25" y="627"/>
                    <a:pt x="34" y="623"/>
                    <a:pt x="34" y="623"/>
                  </a:cubicBezTo>
                  <a:cubicBezTo>
                    <a:pt x="50" y="627"/>
                    <a:pt x="50" y="627"/>
                    <a:pt x="50" y="627"/>
                  </a:cubicBezTo>
                  <a:cubicBezTo>
                    <a:pt x="49" y="628"/>
                    <a:pt x="49" y="628"/>
                    <a:pt x="49" y="628"/>
                  </a:cubicBezTo>
                  <a:cubicBezTo>
                    <a:pt x="64" y="632"/>
                    <a:pt x="64" y="632"/>
                    <a:pt x="64" y="632"/>
                  </a:cubicBezTo>
                  <a:cubicBezTo>
                    <a:pt x="71" y="629"/>
                    <a:pt x="71" y="629"/>
                    <a:pt x="71" y="629"/>
                  </a:cubicBezTo>
                  <a:cubicBezTo>
                    <a:pt x="78" y="631"/>
                    <a:pt x="78" y="631"/>
                    <a:pt x="78" y="631"/>
                  </a:cubicBezTo>
                  <a:cubicBezTo>
                    <a:pt x="78" y="632"/>
                    <a:pt x="78" y="632"/>
                    <a:pt x="78" y="632"/>
                  </a:cubicBezTo>
                  <a:cubicBezTo>
                    <a:pt x="72" y="631"/>
                    <a:pt x="72" y="631"/>
                    <a:pt x="72" y="631"/>
                  </a:cubicBezTo>
                  <a:cubicBezTo>
                    <a:pt x="65" y="633"/>
                    <a:pt x="65" y="633"/>
                    <a:pt x="65" y="633"/>
                  </a:cubicBezTo>
                  <a:cubicBezTo>
                    <a:pt x="56" y="631"/>
                    <a:pt x="56" y="631"/>
                    <a:pt x="56" y="631"/>
                  </a:cubicBezTo>
                  <a:cubicBezTo>
                    <a:pt x="55" y="633"/>
                    <a:pt x="55" y="633"/>
                    <a:pt x="55" y="633"/>
                  </a:cubicBezTo>
                  <a:cubicBezTo>
                    <a:pt x="55" y="633"/>
                    <a:pt x="42" y="626"/>
                    <a:pt x="35" y="626"/>
                  </a:cubicBezTo>
                  <a:cubicBezTo>
                    <a:pt x="28" y="626"/>
                    <a:pt x="29" y="629"/>
                    <a:pt x="29" y="629"/>
                  </a:cubicBezTo>
                  <a:cubicBezTo>
                    <a:pt x="29" y="629"/>
                    <a:pt x="28" y="629"/>
                    <a:pt x="25" y="631"/>
                  </a:cubicBezTo>
                  <a:cubicBezTo>
                    <a:pt x="23" y="632"/>
                    <a:pt x="25" y="635"/>
                    <a:pt x="25" y="635"/>
                  </a:cubicBezTo>
                  <a:cubicBezTo>
                    <a:pt x="25" y="635"/>
                    <a:pt x="19" y="634"/>
                    <a:pt x="17" y="638"/>
                  </a:cubicBezTo>
                  <a:cubicBezTo>
                    <a:pt x="16" y="641"/>
                    <a:pt x="19" y="642"/>
                    <a:pt x="19" y="642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2" y="646"/>
                    <a:pt x="32" y="646"/>
                    <a:pt x="32" y="646"/>
                  </a:cubicBezTo>
                  <a:cubicBezTo>
                    <a:pt x="26" y="644"/>
                    <a:pt x="26" y="644"/>
                    <a:pt x="26" y="644"/>
                  </a:cubicBezTo>
                  <a:cubicBezTo>
                    <a:pt x="24" y="646"/>
                    <a:pt x="24" y="646"/>
                    <a:pt x="24" y="646"/>
                  </a:cubicBezTo>
                  <a:cubicBezTo>
                    <a:pt x="28" y="648"/>
                    <a:pt x="28" y="648"/>
                    <a:pt x="28" y="648"/>
                  </a:cubicBezTo>
                  <a:cubicBezTo>
                    <a:pt x="23" y="648"/>
                    <a:pt x="23" y="648"/>
                    <a:pt x="23" y="648"/>
                  </a:cubicBezTo>
                  <a:cubicBezTo>
                    <a:pt x="23" y="650"/>
                    <a:pt x="23" y="650"/>
                    <a:pt x="23" y="650"/>
                  </a:cubicBezTo>
                  <a:cubicBezTo>
                    <a:pt x="32" y="652"/>
                    <a:pt x="32" y="652"/>
                    <a:pt x="32" y="652"/>
                  </a:cubicBezTo>
                  <a:cubicBezTo>
                    <a:pt x="17" y="655"/>
                    <a:pt x="17" y="655"/>
                    <a:pt x="17" y="655"/>
                  </a:cubicBezTo>
                  <a:cubicBezTo>
                    <a:pt x="17" y="657"/>
                    <a:pt x="17" y="657"/>
                    <a:pt x="17" y="657"/>
                  </a:cubicBezTo>
                  <a:cubicBezTo>
                    <a:pt x="20" y="657"/>
                    <a:pt x="20" y="657"/>
                    <a:pt x="20" y="657"/>
                  </a:cubicBezTo>
                  <a:cubicBezTo>
                    <a:pt x="20" y="660"/>
                    <a:pt x="20" y="660"/>
                    <a:pt x="20" y="660"/>
                  </a:cubicBezTo>
                  <a:cubicBezTo>
                    <a:pt x="30" y="660"/>
                    <a:pt x="30" y="660"/>
                    <a:pt x="30" y="660"/>
                  </a:cubicBezTo>
                  <a:cubicBezTo>
                    <a:pt x="17" y="663"/>
                    <a:pt x="17" y="663"/>
                    <a:pt x="17" y="663"/>
                  </a:cubicBezTo>
                  <a:cubicBezTo>
                    <a:pt x="15" y="667"/>
                    <a:pt x="15" y="667"/>
                    <a:pt x="15" y="667"/>
                  </a:cubicBezTo>
                  <a:cubicBezTo>
                    <a:pt x="22" y="670"/>
                    <a:pt x="22" y="670"/>
                    <a:pt x="22" y="670"/>
                  </a:cubicBezTo>
                  <a:cubicBezTo>
                    <a:pt x="18" y="670"/>
                    <a:pt x="18" y="670"/>
                    <a:pt x="18" y="670"/>
                  </a:cubicBezTo>
                  <a:cubicBezTo>
                    <a:pt x="23" y="675"/>
                    <a:pt x="23" y="675"/>
                    <a:pt x="23" y="675"/>
                  </a:cubicBezTo>
                  <a:cubicBezTo>
                    <a:pt x="26" y="675"/>
                    <a:pt x="26" y="675"/>
                    <a:pt x="26" y="675"/>
                  </a:cubicBezTo>
                  <a:cubicBezTo>
                    <a:pt x="28" y="677"/>
                    <a:pt x="28" y="677"/>
                    <a:pt x="28" y="677"/>
                  </a:cubicBezTo>
                  <a:cubicBezTo>
                    <a:pt x="48" y="672"/>
                    <a:pt x="48" y="672"/>
                    <a:pt x="48" y="672"/>
                  </a:cubicBezTo>
                  <a:cubicBezTo>
                    <a:pt x="46" y="675"/>
                    <a:pt x="46" y="675"/>
                    <a:pt x="46" y="675"/>
                  </a:cubicBezTo>
                  <a:cubicBezTo>
                    <a:pt x="55" y="674"/>
                    <a:pt x="55" y="674"/>
                    <a:pt x="55" y="674"/>
                  </a:cubicBezTo>
                  <a:cubicBezTo>
                    <a:pt x="55" y="674"/>
                    <a:pt x="56" y="677"/>
                    <a:pt x="61" y="677"/>
                  </a:cubicBezTo>
                  <a:cubicBezTo>
                    <a:pt x="65" y="677"/>
                    <a:pt x="63" y="668"/>
                    <a:pt x="63" y="668"/>
                  </a:cubicBezTo>
                  <a:cubicBezTo>
                    <a:pt x="66" y="667"/>
                    <a:pt x="66" y="667"/>
                    <a:pt x="66" y="667"/>
                  </a:cubicBezTo>
                  <a:cubicBezTo>
                    <a:pt x="71" y="661"/>
                    <a:pt x="71" y="661"/>
                    <a:pt x="71" y="661"/>
                  </a:cubicBezTo>
                  <a:cubicBezTo>
                    <a:pt x="72" y="662"/>
                    <a:pt x="72" y="662"/>
                    <a:pt x="72" y="662"/>
                  </a:cubicBezTo>
                  <a:cubicBezTo>
                    <a:pt x="67" y="670"/>
                    <a:pt x="67" y="670"/>
                    <a:pt x="67" y="670"/>
                  </a:cubicBezTo>
                  <a:cubicBezTo>
                    <a:pt x="69" y="674"/>
                    <a:pt x="69" y="674"/>
                    <a:pt x="69" y="674"/>
                  </a:cubicBezTo>
                  <a:cubicBezTo>
                    <a:pt x="79" y="675"/>
                    <a:pt x="79" y="675"/>
                    <a:pt x="79" y="675"/>
                  </a:cubicBezTo>
                  <a:cubicBezTo>
                    <a:pt x="83" y="671"/>
                    <a:pt x="83" y="671"/>
                    <a:pt x="83" y="671"/>
                  </a:cubicBezTo>
                  <a:cubicBezTo>
                    <a:pt x="83" y="675"/>
                    <a:pt x="83" y="675"/>
                    <a:pt x="83" y="675"/>
                  </a:cubicBezTo>
                  <a:cubicBezTo>
                    <a:pt x="76" y="677"/>
                    <a:pt x="76" y="677"/>
                    <a:pt x="76" y="677"/>
                  </a:cubicBezTo>
                  <a:cubicBezTo>
                    <a:pt x="78" y="679"/>
                    <a:pt x="78" y="679"/>
                    <a:pt x="78" y="679"/>
                  </a:cubicBezTo>
                  <a:cubicBezTo>
                    <a:pt x="90" y="675"/>
                    <a:pt x="90" y="675"/>
                    <a:pt x="90" y="675"/>
                  </a:cubicBezTo>
                  <a:cubicBezTo>
                    <a:pt x="89" y="668"/>
                    <a:pt x="89" y="668"/>
                    <a:pt x="89" y="668"/>
                  </a:cubicBezTo>
                  <a:cubicBezTo>
                    <a:pt x="89" y="668"/>
                    <a:pt x="91" y="664"/>
                    <a:pt x="93" y="661"/>
                  </a:cubicBezTo>
                  <a:cubicBezTo>
                    <a:pt x="94" y="659"/>
                    <a:pt x="98" y="656"/>
                    <a:pt x="98" y="656"/>
                  </a:cubicBezTo>
                  <a:cubicBezTo>
                    <a:pt x="99" y="658"/>
                    <a:pt x="99" y="658"/>
                    <a:pt x="99" y="658"/>
                  </a:cubicBezTo>
                  <a:cubicBezTo>
                    <a:pt x="99" y="658"/>
                    <a:pt x="97" y="660"/>
                    <a:pt x="95" y="662"/>
                  </a:cubicBezTo>
                  <a:cubicBezTo>
                    <a:pt x="93" y="663"/>
                    <a:pt x="90" y="668"/>
                    <a:pt x="90" y="668"/>
                  </a:cubicBezTo>
                  <a:cubicBezTo>
                    <a:pt x="92" y="671"/>
                    <a:pt x="92" y="671"/>
                    <a:pt x="92" y="671"/>
                  </a:cubicBezTo>
                  <a:cubicBezTo>
                    <a:pt x="93" y="675"/>
                    <a:pt x="93" y="675"/>
                    <a:pt x="93" y="675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98" y="676"/>
                    <a:pt x="98" y="676"/>
                    <a:pt x="98" y="676"/>
                  </a:cubicBezTo>
                  <a:cubicBezTo>
                    <a:pt x="96" y="676"/>
                    <a:pt x="96" y="676"/>
                    <a:pt x="96" y="676"/>
                  </a:cubicBezTo>
                  <a:cubicBezTo>
                    <a:pt x="92" y="677"/>
                    <a:pt x="92" y="677"/>
                    <a:pt x="92" y="677"/>
                  </a:cubicBezTo>
                  <a:cubicBezTo>
                    <a:pt x="92" y="680"/>
                    <a:pt x="92" y="680"/>
                    <a:pt x="92" y="680"/>
                  </a:cubicBezTo>
                  <a:cubicBezTo>
                    <a:pt x="88" y="678"/>
                    <a:pt x="88" y="678"/>
                    <a:pt x="88" y="678"/>
                  </a:cubicBezTo>
                  <a:cubicBezTo>
                    <a:pt x="80" y="680"/>
                    <a:pt x="80" y="680"/>
                    <a:pt x="80" y="680"/>
                  </a:cubicBezTo>
                  <a:cubicBezTo>
                    <a:pt x="80" y="686"/>
                    <a:pt x="80" y="686"/>
                    <a:pt x="80" y="686"/>
                  </a:cubicBezTo>
                  <a:cubicBezTo>
                    <a:pt x="82" y="691"/>
                    <a:pt x="82" y="691"/>
                    <a:pt x="82" y="691"/>
                  </a:cubicBezTo>
                  <a:cubicBezTo>
                    <a:pt x="79" y="688"/>
                    <a:pt x="79" y="688"/>
                    <a:pt x="79" y="688"/>
                  </a:cubicBezTo>
                  <a:cubicBezTo>
                    <a:pt x="76" y="690"/>
                    <a:pt x="76" y="690"/>
                    <a:pt x="76" y="690"/>
                  </a:cubicBezTo>
                  <a:cubicBezTo>
                    <a:pt x="78" y="686"/>
                    <a:pt x="78" y="686"/>
                    <a:pt x="78" y="686"/>
                  </a:cubicBezTo>
                  <a:cubicBezTo>
                    <a:pt x="77" y="681"/>
                    <a:pt x="77" y="681"/>
                    <a:pt x="77" y="68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4" y="678"/>
                    <a:pt x="74" y="678"/>
                    <a:pt x="74" y="678"/>
                  </a:cubicBezTo>
                  <a:cubicBezTo>
                    <a:pt x="74" y="678"/>
                    <a:pt x="67" y="676"/>
                    <a:pt x="66" y="675"/>
                  </a:cubicBezTo>
                  <a:cubicBezTo>
                    <a:pt x="65" y="675"/>
                    <a:pt x="64" y="679"/>
                    <a:pt x="64" y="679"/>
                  </a:cubicBezTo>
                  <a:cubicBezTo>
                    <a:pt x="56" y="680"/>
                    <a:pt x="56" y="680"/>
                    <a:pt x="56" y="680"/>
                  </a:cubicBezTo>
                  <a:cubicBezTo>
                    <a:pt x="56" y="678"/>
                    <a:pt x="56" y="678"/>
                    <a:pt x="56" y="678"/>
                  </a:cubicBezTo>
                  <a:cubicBezTo>
                    <a:pt x="42" y="676"/>
                    <a:pt x="42" y="676"/>
                    <a:pt x="42" y="676"/>
                  </a:cubicBezTo>
                  <a:cubicBezTo>
                    <a:pt x="41" y="678"/>
                    <a:pt x="41" y="678"/>
                    <a:pt x="41" y="678"/>
                  </a:cubicBezTo>
                  <a:cubicBezTo>
                    <a:pt x="39" y="676"/>
                    <a:pt x="39" y="676"/>
                    <a:pt x="39" y="676"/>
                  </a:cubicBezTo>
                  <a:cubicBezTo>
                    <a:pt x="33" y="678"/>
                    <a:pt x="33" y="678"/>
                    <a:pt x="33" y="678"/>
                  </a:cubicBezTo>
                  <a:cubicBezTo>
                    <a:pt x="31" y="681"/>
                    <a:pt x="31" y="681"/>
                    <a:pt x="31" y="681"/>
                  </a:cubicBezTo>
                  <a:cubicBezTo>
                    <a:pt x="24" y="680"/>
                    <a:pt x="24" y="680"/>
                    <a:pt x="24" y="680"/>
                  </a:cubicBezTo>
                  <a:cubicBezTo>
                    <a:pt x="24" y="680"/>
                    <a:pt x="23" y="678"/>
                    <a:pt x="19" y="678"/>
                  </a:cubicBezTo>
                  <a:cubicBezTo>
                    <a:pt x="16" y="678"/>
                    <a:pt x="15" y="682"/>
                    <a:pt x="15" y="682"/>
                  </a:cubicBezTo>
                  <a:cubicBezTo>
                    <a:pt x="18" y="686"/>
                    <a:pt x="18" y="686"/>
                    <a:pt x="18" y="686"/>
                  </a:cubicBezTo>
                  <a:cubicBezTo>
                    <a:pt x="14" y="687"/>
                    <a:pt x="14" y="687"/>
                    <a:pt x="14" y="687"/>
                  </a:cubicBezTo>
                  <a:cubicBezTo>
                    <a:pt x="14" y="687"/>
                    <a:pt x="14" y="692"/>
                    <a:pt x="18" y="693"/>
                  </a:cubicBezTo>
                  <a:cubicBezTo>
                    <a:pt x="22" y="695"/>
                    <a:pt x="24" y="691"/>
                    <a:pt x="24" y="691"/>
                  </a:cubicBezTo>
                  <a:cubicBezTo>
                    <a:pt x="28" y="691"/>
                    <a:pt x="28" y="691"/>
                    <a:pt x="28" y="691"/>
                  </a:cubicBezTo>
                  <a:cubicBezTo>
                    <a:pt x="27" y="692"/>
                    <a:pt x="27" y="692"/>
                    <a:pt x="27" y="692"/>
                  </a:cubicBezTo>
                  <a:cubicBezTo>
                    <a:pt x="27" y="692"/>
                    <a:pt x="23" y="692"/>
                    <a:pt x="22" y="697"/>
                  </a:cubicBezTo>
                  <a:cubicBezTo>
                    <a:pt x="20" y="703"/>
                    <a:pt x="27" y="704"/>
                    <a:pt x="27" y="704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7" y="707"/>
                    <a:pt x="27" y="707"/>
                    <a:pt x="27" y="707"/>
                  </a:cubicBezTo>
                  <a:cubicBezTo>
                    <a:pt x="30" y="707"/>
                    <a:pt x="30" y="707"/>
                    <a:pt x="30" y="707"/>
                  </a:cubicBezTo>
                  <a:cubicBezTo>
                    <a:pt x="30" y="707"/>
                    <a:pt x="29" y="705"/>
                    <a:pt x="29" y="703"/>
                  </a:cubicBezTo>
                  <a:cubicBezTo>
                    <a:pt x="29" y="702"/>
                    <a:pt x="32" y="701"/>
                    <a:pt x="32" y="701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8" y="704"/>
                    <a:pt x="36" y="708"/>
                    <a:pt x="35" y="711"/>
                  </a:cubicBezTo>
                  <a:cubicBezTo>
                    <a:pt x="34" y="714"/>
                    <a:pt x="34" y="719"/>
                    <a:pt x="34" y="719"/>
                  </a:cubicBezTo>
                  <a:cubicBezTo>
                    <a:pt x="25" y="720"/>
                    <a:pt x="25" y="720"/>
                    <a:pt x="25" y="720"/>
                  </a:cubicBezTo>
                  <a:cubicBezTo>
                    <a:pt x="25" y="720"/>
                    <a:pt x="24" y="713"/>
                    <a:pt x="19" y="714"/>
                  </a:cubicBezTo>
                  <a:cubicBezTo>
                    <a:pt x="15" y="715"/>
                    <a:pt x="19" y="723"/>
                    <a:pt x="19" y="723"/>
                  </a:cubicBezTo>
                  <a:cubicBezTo>
                    <a:pt x="19" y="723"/>
                    <a:pt x="15" y="723"/>
                    <a:pt x="15" y="727"/>
                  </a:cubicBezTo>
                  <a:cubicBezTo>
                    <a:pt x="15" y="731"/>
                    <a:pt x="18" y="730"/>
                    <a:pt x="18" y="730"/>
                  </a:cubicBezTo>
                  <a:cubicBezTo>
                    <a:pt x="17" y="733"/>
                    <a:pt x="17" y="733"/>
                    <a:pt x="17" y="733"/>
                  </a:cubicBezTo>
                  <a:cubicBezTo>
                    <a:pt x="22" y="738"/>
                    <a:pt x="22" y="738"/>
                    <a:pt x="22" y="738"/>
                  </a:cubicBezTo>
                  <a:cubicBezTo>
                    <a:pt x="26" y="735"/>
                    <a:pt x="26" y="735"/>
                    <a:pt x="26" y="735"/>
                  </a:cubicBezTo>
                  <a:cubicBezTo>
                    <a:pt x="29" y="727"/>
                    <a:pt x="29" y="727"/>
                    <a:pt x="29" y="727"/>
                  </a:cubicBezTo>
                  <a:cubicBezTo>
                    <a:pt x="27" y="734"/>
                    <a:pt x="27" y="734"/>
                    <a:pt x="27" y="734"/>
                  </a:cubicBezTo>
                  <a:cubicBezTo>
                    <a:pt x="27" y="738"/>
                    <a:pt x="27" y="738"/>
                    <a:pt x="27" y="738"/>
                  </a:cubicBezTo>
                  <a:cubicBezTo>
                    <a:pt x="32" y="738"/>
                    <a:pt x="32" y="738"/>
                    <a:pt x="32" y="738"/>
                  </a:cubicBezTo>
                  <a:cubicBezTo>
                    <a:pt x="33" y="739"/>
                    <a:pt x="31" y="743"/>
                    <a:pt x="31" y="743"/>
                  </a:cubicBezTo>
                  <a:cubicBezTo>
                    <a:pt x="32" y="744"/>
                    <a:pt x="32" y="744"/>
                    <a:pt x="32" y="744"/>
                  </a:cubicBezTo>
                  <a:cubicBezTo>
                    <a:pt x="30" y="744"/>
                    <a:pt x="30" y="744"/>
                    <a:pt x="30" y="744"/>
                  </a:cubicBezTo>
                  <a:cubicBezTo>
                    <a:pt x="30" y="746"/>
                    <a:pt x="30" y="746"/>
                    <a:pt x="30" y="746"/>
                  </a:cubicBezTo>
                  <a:cubicBezTo>
                    <a:pt x="34" y="750"/>
                    <a:pt x="34" y="750"/>
                    <a:pt x="34" y="750"/>
                  </a:cubicBezTo>
                  <a:cubicBezTo>
                    <a:pt x="38" y="745"/>
                    <a:pt x="38" y="745"/>
                    <a:pt x="38" y="745"/>
                  </a:cubicBezTo>
                  <a:cubicBezTo>
                    <a:pt x="38" y="738"/>
                    <a:pt x="38" y="738"/>
                    <a:pt x="38" y="738"/>
                  </a:cubicBezTo>
                  <a:cubicBezTo>
                    <a:pt x="40" y="737"/>
                    <a:pt x="40" y="737"/>
                    <a:pt x="40" y="737"/>
                  </a:cubicBezTo>
                  <a:cubicBezTo>
                    <a:pt x="42" y="731"/>
                    <a:pt x="42" y="731"/>
                    <a:pt x="42" y="731"/>
                  </a:cubicBezTo>
                  <a:cubicBezTo>
                    <a:pt x="42" y="731"/>
                    <a:pt x="45" y="734"/>
                    <a:pt x="47" y="731"/>
                  </a:cubicBezTo>
                  <a:cubicBezTo>
                    <a:pt x="48" y="730"/>
                    <a:pt x="47" y="726"/>
                    <a:pt x="47" y="726"/>
                  </a:cubicBezTo>
                  <a:cubicBezTo>
                    <a:pt x="47" y="726"/>
                    <a:pt x="49" y="725"/>
                    <a:pt x="55" y="723"/>
                  </a:cubicBezTo>
                  <a:cubicBezTo>
                    <a:pt x="59" y="720"/>
                    <a:pt x="64" y="720"/>
                    <a:pt x="64" y="720"/>
                  </a:cubicBezTo>
                  <a:cubicBezTo>
                    <a:pt x="64" y="722"/>
                    <a:pt x="64" y="722"/>
                    <a:pt x="64" y="722"/>
                  </a:cubicBezTo>
                  <a:cubicBezTo>
                    <a:pt x="71" y="719"/>
                    <a:pt x="71" y="719"/>
                    <a:pt x="71" y="719"/>
                  </a:cubicBezTo>
                  <a:cubicBezTo>
                    <a:pt x="72" y="715"/>
                    <a:pt x="72" y="715"/>
                    <a:pt x="72" y="715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3" y="719"/>
                    <a:pt x="73" y="719"/>
                    <a:pt x="73" y="719"/>
                  </a:cubicBezTo>
                  <a:cubicBezTo>
                    <a:pt x="77" y="720"/>
                    <a:pt x="77" y="720"/>
                    <a:pt x="77" y="720"/>
                  </a:cubicBezTo>
                  <a:cubicBezTo>
                    <a:pt x="77" y="720"/>
                    <a:pt x="68" y="721"/>
                    <a:pt x="65" y="726"/>
                  </a:cubicBezTo>
                  <a:cubicBezTo>
                    <a:pt x="62" y="731"/>
                    <a:pt x="63" y="735"/>
                    <a:pt x="62" y="738"/>
                  </a:cubicBezTo>
                  <a:cubicBezTo>
                    <a:pt x="62" y="740"/>
                    <a:pt x="58" y="743"/>
                    <a:pt x="58" y="743"/>
                  </a:cubicBezTo>
                  <a:cubicBezTo>
                    <a:pt x="62" y="726"/>
                    <a:pt x="62" y="726"/>
                    <a:pt x="62" y="726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62" y="723"/>
                    <a:pt x="58" y="724"/>
                    <a:pt x="56" y="726"/>
                  </a:cubicBezTo>
                  <a:cubicBezTo>
                    <a:pt x="52" y="727"/>
                    <a:pt x="47" y="735"/>
                    <a:pt x="47" y="735"/>
                  </a:cubicBezTo>
                  <a:cubicBezTo>
                    <a:pt x="47" y="735"/>
                    <a:pt x="44" y="736"/>
                    <a:pt x="44" y="739"/>
                  </a:cubicBezTo>
                  <a:cubicBezTo>
                    <a:pt x="45" y="742"/>
                    <a:pt x="50" y="740"/>
                    <a:pt x="48" y="742"/>
                  </a:cubicBezTo>
                  <a:cubicBezTo>
                    <a:pt x="47" y="743"/>
                    <a:pt x="43" y="743"/>
                    <a:pt x="41" y="745"/>
                  </a:cubicBezTo>
                  <a:cubicBezTo>
                    <a:pt x="39" y="747"/>
                    <a:pt x="39" y="752"/>
                    <a:pt x="39" y="752"/>
                  </a:cubicBezTo>
                  <a:cubicBezTo>
                    <a:pt x="32" y="752"/>
                    <a:pt x="32" y="752"/>
                    <a:pt x="32" y="752"/>
                  </a:cubicBezTo>
                  <a:cubicBezTo>
                    <a:pt x="28" y="757"/>
                    <a:pt x="28" y="757"/>
                    <a:pt x="28" y="757"/>
                  </a:cubicBezTo>
                  <a:cubicBezTo>
                    <a:pt x="33" y="762"/>
                    <a:pt x="33" y="762"/>
                    <a:pt x="33" y="762"/>
                  </a:cubicBezTo>
                  <a:cubicBezTo>
                    <a:pt x="39" y="759"/>
                    <a:pt x="39" y="759"/>
                    <a:pt x="39" y="759"/>
                  </a:cubicBezTo>
                  <a:cubicBezTo>
                    <a:pt x="38" y="764"/>
                    <a:pt x="38" y="764"/>
                    <a:pt x="38" y="764"/>
                  </a:cubicBezTo>
                  <a:cubicBezTo>
                    <a:pt x="40" y="765"/>
                    <a:pt x="40" y="765"/>
                    <a:pt x="40" y="765"/>
                  </a:cubicBezTo>
                  <a:cubicBezTo>
                    <a:pt x="46" y="760"/>
                    <a:pt x="46" y="760"/>
                    <a:pt x="46" y="760"/>
                  </a:cubicBezTo>
                  <a:cubicBezTo>
                    <a:pt x="42" y="766"/>
                    <a:pt x="42" y="766"/>
                    <a:pt x="42" y="766"/>
                  </a:cubicBezTo>
                  <a:cubicBezTo>
                    <a:pt x="44" y="768"/>
                    <a:pt x="44" y="768"/>
                    <a:pt x="44" y="768"/>
                  </a:cubicBezTo>
                  <a:cubicBezTo>
                    <a:pt x="34" y="765"/>
                    <a:pt x="34" y="765"/>
                    <a:pt x="34" y="765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72"/>
                    <a:pt x="34" y="772"/>
                    <a:pt x="34" y="772"/>
                  </a:cubicBezTo>
                  <a:cubicBezTo>
                    <a:pt x="26" y="768"/>
                    <a:pt x="26" y="768"/>
                    <a:pt x="26" y="768"/>
                  </a:cubicBezTo>
                  <a:cubicBezTo>
                    <a:pt x="23" y="770"/>
                    <a:pt x="23" y="770"/>
                    <a:pt x="23" y="770"/>
                  </a:cubicBezTo>
                  <a:cubicBezTo>
                    <a:pt x="20" y="778"/>
                    <a:pt x="20" y="778"/>
                    <a:pt x="20" y="778"/>
                  </a:cubicBezTo>
                  <a:cubicBezTo>
                    <a:pt x="18" y="780"/>
                    <a:pt x="18" y="780"/>
                    <a:pt x="18" y="780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9" y="767"/>
                    <a:pt x="19" y="767"/>
                    <a:pt x="19" y="767"/>
                  </a:cubicBezTo>
                  <a:cubicBezTo>
                    <a:pt x="18" y="771"/>
                    <a:pt x="18" y="771"/>
                    <a:pt x="18" y="771"/>
                  </a:cubicBezTo>
                  <a:cubicBezTo>
                    <a:pt x="15" y="771"/>
                    <a:pt x="15" y="771"/>
                    <a:pt x="15" y="771"/>
                  </a:cubicBezTo>
                  <a:cubicBezTo>
                    <a:pt x="10" y="780"/>
                    <a:pt x="10" y="780"/>
                    <a:pt x="10" y="780"/>
                  </a:cubicBezTo>
                  <a:cubicBezTo>
                    <a:pt x="13" y="793"/>
                    <a:pt x="13" y="793"/>
                    <a:pt x="13" y="793"/>
                  </a:cubicBezTo>
                  <a:cubicBezTo>
                    <a:pt x="14" y="792"/>
                    <a:pt x="14" y="792"/>
                    <a:pt x="14" y="792"/>
                  </a:cubicBezTo>
                  <a:cubicBezTo>
                    <a:pt x="14" y="800"/>
                    <a:pt x="14" y="800"/>
                    <a:pt x="14" y="800"/>
                  </a:cubicBezTo>
                  <a:cubicBezTo>
                    <a:pt x="17" y="800"/>
                    <a:pt x="17" y="800"/>
                    <a:pt x="17" y="800"/>
                  </a:cubicBezTo>
                  <a:cubicBezTo>
                    <a:pt x="17" y="793"/>
                    <a:pt x="17" y="793"/>
                    <a:pt x="17" y="793"/>
                  </a:cubicBezTo>
                  <a:cubicBezTo>
                    <a:pt x="22" y="792"/>
                    <a:pt x="22" y="792"/>
                    <a:pt x="22" y="792"/>
                  </a:cubicBezTo>
                  <a:cubicBezTo>
                    <a:pt x="22" y="789"/>
                    <a:pt x="22" y="789"/>
                    <a:pt x="22" y="789"/>
                  </a:cubicBezTo>
                  <a:cubicBezTo>
                    <a:pt x="25" y="791"/>
                    <a:pt x="25" y="791"/>
                    <a:pt x="25" y="791"/>
                  </a:cubicBezTo>
                  <a:cubicBezTo>
                    <a:pt x="23" y="794"/>
                    <a:pt x="23" y="794"/>
                    <a:pt x="23" y="794"/>
                  </a:cubicBezTo>
                  <a:cubicBezTo>
                    <a:pt x="24" y="796"/>
                    <a:pt x="24" y="796"/>
                    <a:pt x="24" y="796"/>
                  </a:cubicBezTo>
                  <a:cubicBezTo>
                    <a:pt x="32" y="788"/>
                    <a:pt x="32" y="788"/>
                    <a:pt x="32" y="788"/>
                  </a:cubicBezTo>
                  <a:cubicBezTo>
                    <a:pt x="30" y="784"/>
                    <a:pt x="30" y="784"/>
                    <a:pt x="30" y="784"/>
                  </a:cubicBezTo>
                  <a:cubicBezTo>
                    <a:pt x="26" y="785"/>
                    <a:pt x="26" y="785"/>
                    <a:pt x="26" y="785"/>
                  </a:cubicBezTo>
                  <a:cubicBezTo>
                    <a:pt x="31" y="782"/>
                    <a:pt x="31" y="782"/>
                    <a:pt x="31" y="782"/>
                  </a:cubicBezTo>
                  <a:cubicBezTo>
                    <a:pt x="32" y="778"/>
                    <a:pt x="32" y="778"/>
                    <a:pt x="32" y="778"/>
                  </a:cubicBezTo>
                  <a:cubicBezTo>
                    <a:pt x="34" y="783"/>
                    <a:pt x="34" y="783"/>
                    <a:pt x="34" y="783"/>
                  </a:cubicBezTo>
                  <a:cubicBezTo>
                    <a:pt x="39" y="784"/>
                    <a:pt x="39" y="784"/>
                    <a:pt x="39" y="784"/>
                  </a:cubicBezTo>
                  <a:cubicBezTo>
                    <a:pt x="35" y="785"/>
                    <a:pt x="35" y="785"/>
                    <a:pt x="35" y="785"/>
                  </a:cubicBezTo>
                  <a:cubicBezTo>
                    <a:pt x="36" y="788"/>
                    <a:pt x="36" y="788"/>
                    <a:pt x="36" y="788"/>
                  </a:cubicBezTo>
                  <a:cubicBezTo>
                    <a:pt x="41" y="786"/>
                    <a:pt x="41" y="786"/>
                    <a:pt x="41" y="786"/>
                  </a:cubicBezTo>
                  <a:cubicBezTo>
                    <a:pt x="43" y="780"/>
                    <a:pt x="43" y="780"/>
                    <a:pt x="43" y="780"/>
                  </a:cubicBezTo>
                  <a:cubicBezTo>
                    <a:pt x="45" y="778"/>
                    <a:pt x="45" y="778"/>
                    <a:pt x="45" y="778"/>
                  </a:cubicBezTo>
                  <a:cubicBezTo>
                    <a:pt x="47" y="773"/>
                    <a:pt x="47" y="773"/>
                    <a:pt x="47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7" y="780"/>
                    <a:pt x="47" y="780"/>
                    <a:pt x="47" y="780"/>
                  </a:cubicBezTo>
                  <a:cubicBezTo>
                    <a:pt x="52" y="777"/>
                    <a:pt x="52" y="777"/>
                    <a:pt x="52" y="777"/>
                  </a:cubicBezTo>
                  <a:cubicBezTo>
                    <a:pt x="52" y="778"/>
                    <a:pt x="52" y="778"/>
                    <a:pt x="52" y="778"/>
                  </a:cubicBezTo>
                  <a:cubicBezTo>
                    <a:pt x="45" y="782"/>
                    <a:pt x="45" y="782"/>
                    <a:pt x="45" y="782"/>
                  </a:cubicBezTo>
                  <a:cubicBezTo>
                    <a:pt x="44" y="788"/>
                    <a:pt x="44" y="788"/>
                    <a:pt x="44" y="788"/>
                  </a:cubicBezTo>
                  <a:cubicBezTo>
                    <a:pt x="38" y="790"/>
                    <a:pt x="38" y="790"/>
                    <a:pt x="38" y="790"/>
                  </a:cubicBezTo>
                  <a:cubicBezTo>
                    <a:pt x="40" y="792"/>
                    <a:pt x="40" y="792"/>
                    <a:pt x="40" y="792"/>
                  </a:cubicBezTo>
                  <a:cubicBezTo>
                    <a:pt x="40" y="792"/>
                    <a:pt x="41" y="790"/>
                    <a:pt x="44" y="791"/>
                  </a:cubicBezTo>
                  <a:cubicBezTo>
                    <a:pt x="46" y="792"/>
                    <a:pt x="41" y="796"/>
                    <a:pt x="41" y="796"/>
                  </a:cubicBezTo>
                  <a:cubicBezTo>
                    <a:pt x="49" y="793"/>
                    <a:pt x="49" y="793"/>
                    <a:pt x="49" y="793"/>
                  </a:cubicBezTo>
                  <a:cubicBezTo>
                    <a:pt x="49" y="793"/>
                    <a:pt x="42" y="797"/>
                    <a:pt x="41" y="798"/>
                  </a:cubicBezTo>
                  <a:cubicBezTo>
                    <a:pt x="39" y="799"/>
                    <a:pt x="36" y="803"/>
                    <a:pt x="36" y="803"/>
                  </a:cubicBezTo>
                  <a:cubicBezTo>
                    <a:pt x="38" y="805"/>
                    <a:pt x="38" y="805"/>
                    <a:pt x="38" y="805"/>
                  </a:cubicBezTo>
                  <a:cubicBezTo>
                    <a:pt x="31" y="807"/>
                    <a:pt x="31" y="807"/>
                    <a:pt x="31" y="807"/>
                  </a:cubicBezTo>
                  <a:cubicBezTo>
                    <a:pt x="34" y="813"/>
                    <a:pt x="34" y="813"/>
                    <a:pt x="34" y="813"/>
                  </a:cubicBezTo>
                  <a:cubicBezTo>
                    <a:pt x="35" y="817"/>
                    <a:pt x="35" y="817"/>
                    <a:pt x="35" y="817"/>
                  </a:cubicBezTo>
                  <a:cubicBezTo>
                    <a:pt x="43" y="813"/>
                    <a:pt x="43" y="813"/>
                    <a:pt x="43" y="813"/>
                  </a:cubicBezTo>
                  <a:cubicBezTo>
                    <a:pt x="50" y="814"/>
                    <a:pt x="50" y="814"/>
                    <a:pt x="50" y="814"/>
                  </a:cubicBezTo>
                  <a:cubicBezTo>
                    <a:pt x="44" y="815"/>
                    <a:pt x="44" y="815"/>
                    <a:pt x="44" y="815"/>
                  </a:cubicBezTo>
                  <a:cubicBezTo>
                    <a:pt x="38" y="819"/>
                    <a:pt x="38" y="819"/>
                    <a:pt x="38" y="819"/>
                  </a:cubicBezTo>
                  <a:cubicBezTo>
                    <a:pt x="38" y="822"/>
                    <a:pt x="38" y="822"/>
                    <a:pt x="38" y="822"/>
                  </a:cubicBezTo>
                  <a:cubicBezTo>
                    <a:pt x="30" y="816"/>
                    <a:pt x="30" y="816"/>
                    <a:pt x="30" y="816"/>
                  </a:cubicBezTo>
                  <a:cubicBezTo>
                    <a:pt x="25" y="820"/>
                    <a:pt x="25" y="820"/>
                    <a:pt x="25" y="820"/>
                  </a:cubicBezTo>
                  <a:cubicBezTo>
                    <a:pt x="25" y="814"/>
                    <a:pt x="25" y="814"/>
                    <a:pt x="25" y="814"/>
                  </a:cubicBezTo>
                  <a:cubicBezTo>
                    <a:pt x="19" y="812"/>
                    <a:pt x="19" y="812"/>
                    <a:pt x="19" y="812"/>
                  </a:cubicBezTo>
                  <a:cubicBezTo>
                    <a:pt x="20" y="820"/>
                    <a:pt x="20" y="820"/>
                    <a:pt x="20" y="820"/>
                  </a:cubicBezTo>
                  <a:cubicBezTo>
                    <a:pt x="18" y="821"/>
                    <a:pt x="18" y="821"/>
                    <a:pt x="18" y="821"/>
                  </a:cubicBezTo>
                  <a:cubicBezTo>
                    <a:pt x="17" y="824"/>
                    <a:pt x="17" y="824"/>
                    <a:pt x="17" y="824"/>
                  </a:cubicBezTo>
                  <a:cubicBezTo>
                    <a:pt x="14" y="829"/>
                    <a:pt x="14" y="829"/>
                    <a:pt x="14" y="829"/>
                  </a:cubicBezTo>
                  <a:cubicBezTo>
                    <a:pt x="14" y="829"/>
                    <a:pt x="18" y="841"/>
                    <a:pt x="23" y="844"/>
                  </a:cubicBezTo>
                  <a:cubicBezTo>
                    <a:pt x="26" y="847"/>
                    <a:pt x="29" y="849"/>
                    <a:pt x="31" y="853"/>
                  </a:cubicBezTo>
                  <a:cubicBezTo>
                    <a:pt x="33" y="857"/>
                    <a:pt x="49" y="863"/>
                    <a:pt x="49" y="863"/>
                  </a:cubicBezTo>
                  <a:cubicBezTo>
                    <a:pt x="50" y="866"/>
                    <a:pt x="50" y="866"/>
                    <a:pt x="50" y="866"/>
                  </a:cubicBezTo>
                  <a:cubicBezTo>
                    <a:pt x="53" y="862"/>
                    <a:pt x="53" y="862"/>
                    <a:pt x="53" y="862"/>
                  </a:cubicBezTo>
                  <a:cubicBezTo>
                    <a:pt x="58" y="865"/>
                    <a:pt x="58" y="865"/>
                    <a:pt x="58" y="865"/>
                  </a:cubicBezTo>
                  <a:cubicBezTo>
                    <a:pt x="48" y="872"/>
                    <a:pt x="48" y="872"/>
                    <a:pt x="48" y="872"/>
                  </a:cubicBezTo>
                  <a:cubicBezTo>
                    <a:pt x="50" y="876"/>
                    <a:pt x="50" y="876"/>
                    <a:pt x="50" y="876"/>
                  </a:cubicBezTo>
                  <a:cubicBezTo>
                    <a:pt x="58" y="876"/>
                    <a:pt x="58" y="876"/>
                    <a:pt x="58" y="876"/>
                  </a:cubicBezTo>
                  <a:cubicBezTo>
                    <a:pt x="56" y="873"/>
                    <a:pt x="56" y="873"/>
                    <a:pt x="56" y="873"/>
                  </a:cubicBezTo>
                  <a:cubicBezTo>
                    <a:pt x="60" y="871"/>
                    <a:pt x="60" y="871"/>
                    <a:pt x="60" y="871"/>
                  </a:cubicBezTo>
                  <a:cubicBezTo>
                    <a:pt x="65" y="873"/>
                    <a:pt x="65" y="873"/>
                    <a:pt x="65" y="873"/>
                  </a:cubicBezTo>
                  <a:cubicBezTo>
                    <a:pt x="60" y="875"/>
                    <a:pt x="60" y="875"/>
                    <a:pt x="60" y="875"/>
                  </a:cubicBezTo>
                  <a:cubicBezTo>
                    <a:pt x="64" y="879"/>
                    <a:pt x="64" y="879"/>
                    <a:pt x="64" y="879"/>
                  </a:cubicBezTo>
                  <a:cubicBezTo>
                    <a:pt x="68" y="877"/>
                    <a:pt x="68" y="877"/>
                    <a:pt x="68" y="877"/>
                  </a:cubicBezTo>
                  <a:cubicBezTo>
                    <a:pt x="68" y="877"/>
                    <a:pt x="74" y="880"/>
                    <a:pt x="80" y="880"/>
                  </a:cubicBezTo>
                  <a:cubicBezTo>
                    <a:pt x="85" y="880"/>
                    <a:pt x="88" y="878"/>
                    <a:pt x="92" y="877"/>
                  </a:cubicBezTo>
                  <a:cubicBezTo>
                    <a:pt x="96" y="876"/>
                    <a:pt x="101" y="870"/>
                    <a:pt x="101" y="870"/>
                  </a:cubicBezTo>
                  <a:cubicBezTo>
                    <a:pt x="101" y="877"/>
                    <a:pt x="101" y="877"/>
                    <a:pt x="101" y="877"/>
                  </a:cubicBezTo>
                  <a:cubicBezTo>
                    <a:pt x="124" y="857"/>
                    <a:pt x="124" y="857"/>
                    <a:pt x="124" y="857"/>
                  </a:cubicBezTo>
                  <a:cubicBezTo>
                    <a:pt x="124" y="853"/>
                    <a:pt x="124" y="853"/>
                    <a:pt x="124" y="853"/>
                  </a:cubicBezTo>
                  <a:cubicBezTo>
                    <a:pt x="142" y="839"/>
                    <a:pt x="142" y="839"/>
                    <a:pt x="142" y="839"/>
                  </a:cubicBezTo>
                  <a:cubicBezTo>
                    <a:pt x="141" y="835"/>
                    <a:pt x="141" y="835"/>
                    <a:pt x="141" y="835"/>
                  </a:cubicBezTo>
                  <a:cubicBezTo>
                    <a:pt x="145" y="836"/>
                    <a:pt x="145" y="836"/>
                    <a:pt x="145" y="836"/>
                  </a:cubicBezTo>
                  <a:cubicBezTo>
                    <a:pt x="150" y="830"/>
                    <a:pt x="150" y="830"/>
                    <a:pt x="150" y="830"/>
                  </a:cubicBezTo>
                  <a:cubicBezTo>
                    <a:pt x="146" y="828"/>
                    <a:pt x="146" y="828"/>
                    <a:pt x="146" y="828"/>
                  </a:cubicBezTo>
                  <a:cubicBezTo>
                    <a:pt x="161" y="817"/>
                    <a:pt x="161" y="817"/>
                    <a:pt x="161" y="817"/>
                  </a:cubicBezTo>
                  <a:cubicBezTo>
                    <a:pt x="156" y="810"/>
                    <a:pt x="156" y="810"/>
                    <a:pt x="156" y="810"/>
                  </a:cubicBezTo>
                  <a:cubicBezTo>
                    <a:pt x="159" y="812"/>
                    <a:pt x="159" y="812"/>
                    <a:pt x="159" y="812"/>
                  </a:cubicBezTo>
                  <a:cubicBezTo>
                    <a:pt x="167" y="821"/>
                    <a:pt x="167" y="821"/>
                    <a:pt x="167" y="821"/>
                  </a:cubicBezTo>
                  <a:cubicBezTo>
                    <a:pt x="180" y="817"/>
                    <a:pt x="180" y="817"/>
                    <a:pt x="180" y="817"/>
                  </a:cubicBezTo>
                  <a:cubicBezTo>
                    <a:pt x="181" y="805"/>
                    <a:pt x="181" y="805"/>
                    <a:pt x="181" y="805"/>
                  </a:cubicBezTo>
                  <a:cubicBezTo>
                    <a:pt x="184" y="808"/>
                    <a:pt x="184" y="808"/>
                    <a:pt x="184" y="808"/>
                  </a:cubicBezTo>
                  <a:cubicBezTo>
                    <a:pt x="188" y="806"/>
                    <a:pt x="188" y="806"/>
                    <a:pt x="188" y="806"/>
                  </a:cubicBezTo>
                  <a:cubicBezTo>
                    <a:pt x="186" y="803"/>
                    <a:pt x="186" y="803"/>
                    <a:pt x="186" y="803"/>
                  </a:cubicBezTo>
                  <a:cubicBezTo>
                    <a:pt x="189" y="803"/>
                    <a:pt x="189" y="803"/>
                    <a:pt x="189" y="803"/>
                  </a:cubicBezTo>
                  <a:cubicBezTo>
                    <a:pt x="188" y="791"/>
                    <a:pt x="188" y="791"/>
                    <a:pt x="188" y="791"/>
                  </a:cubicBezTo>
                  <a:cubicBezTo>
                    <a:pt x="182" y="789"/>
                    <a:pt x="182" y="789"/>
                    <a:pt x="182" y="789"/>
                  </a:cubicBezTo>
                  <a:cubicBezTo>
                    <a:pt x="179" y="782"/>
                    <a:pt x="179" y="782"/>
                    <a:pt x="179" y="782"/>
                  </a:cubicBezTo>
                  <a:cubicBezTo>
                    <a:pt x="183" y="785"/>
                    <a:pt x="183" y="785"/>
                    <a:pt x="183" y="785"/>
                  </a:cubicBezTo>
                  <a:cubicBezTo>
                    <a:pt x="183" y="776"/>
                    <a:pt x="183" y="776"/>
                    <a:pt x="183" y="776"/>
                  </a:cubicBezTo>
                  <a:cubicBezTo>
                    <a:pt x="178" y="771"/>
                    <a:pt x="178" y="771"/>
                    <a:pt x="178" y="771"/>
                  </a:cubicBezTo>
                  <a:cubicBezTo>
                    <a:pt x="181" y="770"/>
                    <a:pt x="181" y="770"/>
                    <a:pt x="181" y="770"/>
                  </a:cubicBezTo>
                  <a:cubicBezTo>
                    <a:pt x="186" y="773"/>
                    <a:pt x="186" y="773"/>
                    <a:pt x="186" y="773"/>
                  </a:cubicBezTo>
                  <a:cubicBezTo>
                    <a:pt x="186" y="785"/>
                    <a:pt x="186" y="785"/>
                    <a:pt x="186" y="785"/>
                  </a:cubicBezTo>
                  <a:cubicBezTo>
                    <a:pt x="186" y="785"/>
                    <a:pt x="191" y="784"/>
                    <a:pt x="192" y="781"/>
                  </a:cubicBezTo>
                  <a:cubicBezTo>
                    <a:pt x="192" y="776"/>
                    <a:pt x="189" y="773"/>
                    <a:pt x="189" y="773"/>
                  </a:cubicBezTo>
                  <a:cubicBezTo>
                    <a:pt x="189" y="773"/>
                    <a:pt x="189" y="767"/>
                    <a:pt x="190" y="762"/>
                  </a:cubicBezTo>
                  <a:cubicBezTo>
                    <a:pt x="190" y="758"/>
                    <a:pt x="197" y="759"/>
                    <a:pt x="199" y="762"/>
                  </a:cubicBezTo>
                  <a:cubicBezTo>
                    <a:pt x="200" y="765"/>
                    <a:pt x="197" y="769"/>
                    <a:pt x="197" y="769"/>
                  </a:cubicBezTo>
                  <a:cubicBezTo>
                    <a:pt x="195" y="764"/>
                    <a:pt x="195" y="764"/>
                    <a:pt x="195" y="764"/>
                  </a:cubicBezTo>
                  <a:cubicBezTo>
                    <a:pt x="193" y="769"/>
                    <a:pt x="193" y="769"/>
                    <a:pt x="193" y="769"/>
                  </a:cubicBezTo>
                  <a:cubicBezTo>
                    <a:pt x="194" y="776"/>
                    <a:pt x="194" y="776"/>
                    <a:pt x="194" y="776"/>
                  </a:cubicBezTo>
                  <a:cubicBezTo>
                    <a:pt x="194" y="788"/>
                    <a:pt x="194" y="788"/>
                    <a:pt x="194" y="788"/>
                  </a:cubicBezTo>
                  <a:cubicBezTo>
                    <a:pt x="192" y="789"/>
                    <a:pt x="192" y="789"/>
                    <a:pt x="192" y="789"/>
                  </a:cubicBezTo>
                  <a:cubicBezTo>
                    <a:pt x="195" y="800"/>
                    <a:pt x="195" y="800"/>
                    <a:pt x="195" y="800"/>
                  </a:cubicBezTo>
                  <a:cubicBezTo>
                    <a:pt x="198" y="798"/>
                    <a:pt x="198" y="798"/>
                    <a:pt x="198" y="798"/>
                  </a:cubicBezTo>
                  <a:cubicBezTo>
                    <a:pt x="199" y="809"/>
                    <a:pt x="199" y="809"/>
                    <a:pt x="199" y="809"/>
                  </a:cubicBezTo>
                  <a:cubicBezTo>
                    <a:pt x="208" y="810"/>
                    <a:pt x="208" y="810"/>
                    <a:pt x="208" y="810"/>
                  </a:cubicBezTo>
                  <a:cubicBezTo>
                    <a:pt x="211" y="808"/>
                    <a:pt x="211" y="808"/>
                    <a:pt x="211" y="808"/>
                  </a:cubicBezTo>
                  <a:cubicBezTo>
                    <a:pt x="212" y="814"/>
                    <a:pt x="212" y="814"/>
                    <a:pt x="212" y="814"/>
                  </a:cubicBezTo>
                  <a:cubicBezTo>
                    <a:pt x="212" y="814"/>
                    <a:pt x="220" y="809"/>
                    <a:pt x="221" y="814"/>
                  </a:cubicBezTo>
                  <a:cubicBezTo>
                    <a:pt x="222" y="819"/>
                    <a:pt x="219" y="828"/>
                    <a:pt x="223" y="828"/>
                  </a:cubicBezTo>
                  <a:cubicBezTo>
                    <a:pt x="227" y="828"/>
                    <a:pt x="228" y="822"/>
                    <a:pt x="230" y="815"/>
                  </a:cubicBezTo>
                  <a:cubicBezTo>
                    <a:pt x="232" y="808"/>
                    <a:pt x="236" y="800"/>
                    <a:pt x="236" y="800"/>
                  </a:cubicBezTo>
                  <a:cubicBezTo>
                    <a:pt x="236" y="800"/>
                    <a:pt x="227" y="782"/>
                    <a:pt x="230" y="780"/>
                  </a:cubicBezTo>
                  <a:cubicBezTo>
                    <a:pt x="232" y="776"/>
                    <a:pt x="238" y="777"/>
                    <a:pt x="238" y="773"/>
                  </a:cubicBezTo>
                  <a:cubicBezTo>
                    <a:pt x="239" y="768"/>
                    <a:pt x="232" y="767"/>
                    <a:pt x="237" y="764"/>
                  </a:cubicBezTo>
                  <a:cubicBezTo>
                    <a:pt x="241" y="760"/>
                    <a:pt x="252" y="766"/>
                    <a:pt x="256" y="754"/>
                  </a:cubicBezTo>
                  <a:cubicBezTo>
                    <a:pt x="259" y="741"/>
                    <a:pt x="255" y="738"/>
                    <a:pt x="256" y="734"/>
                  </a:cubicBezTo>
                  <a:cubicBezTo>
                    <a:pt x="257" y="729"/>
                    <a:pt x="265" y="733"/>
                    <a:pt x="262" y="725"/>
                  </a:cubicBezTo>
                  <a:cubicBezTo>
                    <a:pt x="260" y="718"/>
                    <a:pt x="254" y="704"/>
                    <a:pt x="254" y="704"/>
                  </a:cubicBezTo>
                  <a:cubicBezTo>
                    <a:pt x="252" y="695"/>
                    <a:pt x="252" y="695"/>
                    <a:pt x="252" y="695"/>
                  </a:cubicBezTo>
                  <a:cubicBezTo>
                    <a:pt x="247" y="689"/>
                    <a:pt x="247" y="689"/>
                    <a:pt x="247" y="689"/>
                  </a:cubicBezTo>
                  <a:cubicBezTo>
                    <a:pt x="256" y="686"/>
                    <a:pt x="256" y="686"/>
                    <a:pt x="256" y="686"/>
                  </a:cubicBezTo>
                  <a:cubicBezTo>
                    <a:pt x="256" y="686"/>
                    <a:pt x="264" y="692"/>
                    <a:pt x="266" y="680"/>
                  </a:cubicBezTo>
                  <a:cubicBezTo>
                    <a:pt x="270" y="668"/>
                    <a:pt x="269" y="664"/>
                    <a:pt x="265" y="660"/>
                  </a:cubicBezTo>
                  <a:cubicBezTo>
                    <a:pt x="261" y="657"/>
                    <a:pt x="256" y="654"/>
                    <a:pt x="256" y="654"/>
                  </a:cubicBezTo>
                  <a:cubicBezTo>
                    <a:pt x="246" y="644"/>
                    <a:pt x="246" y="644"/>
                    <a:pt x="246" y="644"/>
                  </a:cubicBezTo>
                  <a:cubicBezTo>
                    <a:pt x="252" y="609"/>
                    <a:pt x="252" y="609"/>
                    <a:pt x="252" y="609"/>
                  </a:cubicBezTo>
                  <a:cubicBezTo>
                    <a:pt x="244" y="586"/>
                    <a:pt x="244" y="586"/>
                    <a:pt x="244" y="586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4" y="567"/>
                    <a:pt x="244" y="567"/>
                    <a:pt x="244" y="567"/>
                  </a:cubicBezTo>
                  <a:cubicBezTo>
                    <a:pt x="248" y="561"/>
                    <a:pt x="248" y="561"/>
                    <a:pt x="248" y="561"/>
                  </a:cubicBezTo>
                  <a:cubicBezTo>
                    <a:pt x="241" y="542"/>
                    <a:pt x="241" y="542"/>
                    <a:pt x="241" y="542"/>
                  </a:cubicBezTo>
                  <a:cubicBezTo>
                    <a:pt x="249" y="531"/>
                    <a:pt x="249" y="531"/>
                    <a:pt x="249" y="531"/>
                  </a:cubicBezTo>
                  <a:cubicBezTo>
                    <a:pt x="246" y="522"/>
                    <a:pt x="246" y="522"/>
                    <a:pt x="246" y="522"/>
                  </a:cubicBezTo>
                  <a:cubicBezTo>
                    <a:pt x="246" y="522"/>
                    <a:pt x="258" y="494"/>
                    <a:pt x="270" y="491"/>
                  </a:cubicBezTo>
                  <a:cubicBezTo>
                    <a:pt x="280" y="488"/>
                    <a:pt x="300" y="494"/>
                    <a:pt x="300" y="494"/>
                  </a:cubicBezTo>
                  <a:cubicBezTo>
                    <a:pt x="305" y="482"/>
                    <a:pt x="305" y="482"/>
                    <a:pt x="305" y="48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309" y="425"/>
                    <a:pt x="309" y="425"/>
                    <a:pt x="309" y="425"/>
                  </a:cubicBezTo>
                  <a:cubicBezTo>
                    <a:pt x="310" y="415"/>
                    <a:pt x="310" y="415"/>
                    <a:pt x="310" y="415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3" y="390"/>
                    <a:pt x="313" y="390"/>
                    <a:pt x="313" y="390"/>
                  </a:cubicBezTo>
                  <a:cubicBezTo>
                    <a:pt x="315" y="378"/>
                    <a:pt x="315" y="378"/>
                    <a:pt x="315" y="378"/>
                  </a:cubicBezTo>
                  <a:cubicBezTo>
                    <a:pt x="311" y="358"/>
                    <a:pt x="311" y="358"/>
                    <a:pt x="311" y="358"/>
                  </a:cubicBezTo>
                  <a:cubicBezTo>
                    <a:pt x="324" y="356"/>
                    <a:pt x="324" y="356"/>
                    <a:pt x="324" y="356"/>
                  </a:cubicBezTo>
                  <a:cubicBezTo>
                    <a:pt x="337" y="346"/>
                    <a:pt x="337" y="346"/>
                    <a:pt x="337" y="346"/>
                  </a:cubicBezTo>
                  <a:cubicBezTo>
                    <a:pt x="334" y="333"/>
                    <a:pt x="334" y="333"/>
                    <a:pt x="334" y="333"/>
                  </a:cubicBezTo>
                  <a:cubicBezTo>
                    <a:pt x="334" y="333"/>
                    <a:pt x="339" y="332"/>
                    <a:pt x="341" y="326"/>
                  </a:cubicBezTo>
                  <a:cubicBezTo>
                    <a:pt x="343" y="319"/>
                    <a:pt x="341" y="314"/>
                    <a:pt x="347" y="308"/>
                  </a:cubicBezTo>
                  <a:cubicBezTo>
                    <a:pt x="355" y="300"/>
                    <a:pt x="361" y="298"/>
                    <a:pt x="359" y="292"/>
                  </a:cubicBezTo>
                  <a:cubicBezTo>
                    <a:pt x="358" y="284"/>
                    <a:pt x="351" y="273"/>
                    <a:pt x="351" y="273"/>
                  </a:cubicBezTo>
                  <a:cubicBezTo>
                    <a:pt x="351" y="266"/>
                    <a:pt x="351" y="266"/>
                    <a:pt x="351" y="266"/>
                  </a:cubicBezTo>
                  <a:cubicBezTo>
                    <a:pt x="351" y="266"/>
                    <a:pt x="359" y="268"/>
                    <a:pt x="360" y="263"/>
                  </a:cubicBezTo>
                  <a:cubicBezTo>
                    <a:pt x="360" y="258"/>
                    <a:pt x="364" y="241"/>
                    <a:pt x="364" y="241"/>
                  </a:cubicBezTo>
                  <a:cubicBezTo>
                    <a:pt x="378" y="226"/>
                    <a:pt x="378" y="226"/>
                    <a:pt x="378" y="226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4" y="234"/>
                    <a:pt x="397" y="223"/>
                    <a:pt x="399" y="218"/>
                  </a:cubicBezTo>
                  <a:cubicBezTo>
                    <a:pt x="400" y="213"/>
                    <a:pt x="397" y="198"/>
                    <a:pt x="397" y="198"/>
                  </a:cubicBezTo>
                  <a:cubicBezTo>
                    <a:pt x="405" y="193"/>
                    <a:pt x="405" y="193"/>
                    <a:pt x="405" y="193"/>
                  </a:cubicBezTo>
                  <a:cubicBezTo>
                    <a:pt x="409" y="198"/>
                    <a:pt x="409" y="198"/>
                    <a:pt x="409" y="198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43" y="205"/>
                    <a:pt x="443" y="205"/>
                    <a:pt x="443" y="205"/>
                  </a:cubicBezTo>
                  <a:cubicBezTo>
                    <a:pt x="450" y="195"/>
                    <a:pt x="450" y="195"/>
                    <a:pt x="450" y="195"/>
                  </a:cubicBezTo>
                  <a:cubicBezTo>
                    <a:pt x="442" y="191"/>
                    <a:pt x="442" y="191"/>
                    <a:pt x="442" y="191"/>
                  </a:cubicBezTo>
                  <a:cubicBezTo>
                    <a:pt x="442" y="191"/>
                    <a:pt x="450" y="182"/>
                    <a:pt x="449" y="174"/>
                  </a:cubicBezTo>
                  <a:cubicBezTo>
                    <a:pt x="448" y="168"/>
                    <a:pt x="441" y="159"/>
                    <a:pt x="441" y="159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5" y="154"/>
                    <a:pt x="455" y="154"/>
                    <a:pt x="455" y="154"/>
                  </a:cubicBezTo>
                  <a:cubicBezTo>
                    <a:pt x="455" y="154"/>
                    <a:pt x="464" y="159"/>
                    <a:pt x="466" y="157"/>
                  </a:cubicBezTo>
                  <a:cubicBezTo>
                    <a:pt x="467" y="155"/>
                    <a:pt x="459" y="148"/>
                    <a:pt x="465" y="144"/>
                  </a:cubicBezTo>
                  <a:cubicBezTo>
                    <a:pt x="469" y="139"/>
                    <a:pt x="478" y="142"/>
                    <a:pt x="478" y="142"/>
                  </a:cubicBezTo>
                  <a:cubicBezTo>
                    <a:pt x="478" y="142"/>
                    <a:pt x="485" y="152"/>
                    <a:pt x="490" y="157"/>
                  </a:cubicBezTo>
                  <a:cubicBezTo>
                    <a:pt x="497" y="163"/>
                    <a:pt x="499" y="172"/>
                    <a:pt x="499" y="172"/>
                  </a:cubicBezTo>
                  <a:cubicBezTo>
                    <a:pt x="504" y="171"/>
                    <a:pt x="504" y="171"/>
                    <a:pt x="504" y="171"/>
                  </a:cubicBezTo>
                  <a:cubicBezTo>
                    <a:pt x="515" y="171"/>
                    <a:pt x="515" y="171"/>
                    <a:pt x="515" y="171"/>
                  </a:cubicBezTo>
                  <a:cubicBezTo>
                    <a:pt x="522" y="175"/>
                    <a:pt x="522" y="175"/>
                    <a:pt x="522" y="175"/>
                  </a:cubicBezTo>
                  <a:cubicBezTo>
                    <a:pt x="531" y="169"/>
                    <a:pt x="531" y="169"/>
                    <a:pt x="531" y="169"/>
                  </a:cubicBezTo>
                  <a:cubicBezTo>
                    <a:pt x="531" y="169"/>
                    <a:pt x="533" y="161"/>
                    <a:pt x="539" y="161"/>
                  </a:cubicBezTo>
                  <a:cubicBezTo>
                    <a:pt x="544" y="161"/>
                    <a:pt x="546" y="166"/>
                    <a:pt x="546" y="166"/>
                  </a:cubicBezTo>
                  <a:cubicBezTo>
                    <a:pt x="558" y="167"/>
                    <a:pt x="558" y="167"/>
                    <a:pt x="558" y="167"/>
                  </a:cubicBezTo>
                  <a:cubicBezTo>
                    <a:pt x="565" y="174"/>
                    <a:pt x="565" y="174"/>
                    <a:pt x="565" y="174"/>
                  </a:cubicBezTo>
                  <a:cubicBezTo>
                    <a:pt x="565" y="174"/>
                    <a:pt x="567" y="161"/>
                    <a:pt x="570" y="157"/>
                  </a:cubicBezTo>
                  <a:cubicBezTo>
                    <a:pt x="572" y="154"/>
                    <a:pt x="575" y="150"/>
                    <a:pt x="575" y="144"/>
                  </a:cubicBezTo>
                  <a:cubicBezTo>
                    <a:pt x="574" y="139"/>
                    <a:pt x="572" y="130"/>
                    <a:pt x="572" y="130"/>
                  </a:cubicBezTo>
                  <a:cubicBezTo>
                    <a:pt x="574" y="97"/>
                    <a:pt x="574" y="97"/>
                    <a:pt x="574" y="97"/>
                  </a:cubicBezTo>
                  <a:cubicBezTo>
                    <a:pt x="577" y="93"/>
                    <a:pt x="577" y="93"/>
                    <a:pt x="577" y="93"/>
                  </a:cubicBezTo>
                  <a:cubicBezTo>
                    <a:pt x="577" y="93"/>
                    <a:pt x="576" y="81"/>
                    <a:pt x="582" y="79"/>
                  </a:cubicBezTo>
                  <a:cubicBezTo>
                    <a:pt x="588" y="76"/>
                    <a:pt x="595" y="78"/>
                    <a:pt x="595" y="78"/>
                  </a:cubicBezTo>
                  <a:cubicBezTo>
                    <a:pt x="595" y="78"/>
                    <a:pt x="604" y="66"/>
                    <a:pt x="610" y="65"/>
                  </a:cubicBezTo>
                  <a:cubicBezTo>
                    <a:pt x="616" y="64"/>
                    <a:pt x="625" y="77"/>
                    <a:pt x="625" y="77"/>
                  </a:cubicBezTo>
                  <a:cubicBezTo>
                    <a:pt x="648" y="80"/>
                    <a:pt x="648" y="80"/>
                    <a:pt x="648" y="80"/>
                  </a:cubicBezTo>
                  <a:cubicBezTo>
                    <a:pt x="655" y="91"/>
                    <a:pt x="655" y="91"/>
                    <a:pt x="655" y="91"/>
                  </a:cubicBezTo>
                  <a:cubicBezTo>
                    <a:pt x="655" y="91"/>
                    <a:pt x="647" y="105"/>
                    <a:pt x="647" y="110"/>
                  </a:cubicBezTo>
                  <a:cubicBezTo>
                    <a:pt x="647" y="116"/>
                    <a:pt x="650" y="121"/>
                    <a:pt x="650" y="121"/>
                  </a:cubicBezTo>
                  <a:cubicBezTo>
                    <a:pt x="650" y="121"/>
                    <a:pt x="654" y="125"/>
                    <a:pt x="656" y="123"/>
                  </a:cubicBezTo>
                  <a:cubicBezTo>
                    <a:pt x="659" y="121"/>
                    <a:pt x="658" y="107"/>
                    <a:pt x="658" y="107"/>
                  </a:cubicBezTo>
                  <a:cubicBezTo>
                    <a:pt x="658" y="107"/>
                    <a:pt x="655" y="108"/>
                    <a:pt x="656" y="105"/>
                  </a:cubicBezTo>
                  <a:cubicBezTo>
                    <a:pt x="657" y="102"/>
                    <a:pt x="661" y="102"/>
                    <a:pt x="663" y="100"/>
                  </a:cubicBezTo>
                  <a:cubicBezTo>
                    <a:pt x="666" y="98"/>
                    <a:pt x="665" y="93"/>
                    <a:pt x="666" y="93"/>
                  </a:cubicBezTo>
                  <a:cubicBezTo>
                    <a:pt x="668" y="92"/>
                    <a:pt x="674" y="94"/>
                    <a:pt x="674" y="90"/>
                  </a:cubicBezTo>
                  <a:cubicBezTo>
                    <a:pt x="674" y="85"/>
                    <a:pt x="669" y="78"/>
                    <a:pt x="669" y="78"/>
                  </a:cubicBezTo>
                  <a:cubicBezTo>
                    <a:pt x="669" y="78"/>
                    <a:pt x="673" y="78"/>
                    <a:pt x="675" y="79"/>
                  </a:cubicBezTo>
                  <a:cubicBezTo>
                    <a:pt x="678" y="79"/>
                    <a:pt x="685" y="87"/>
                    <a:pt x="687" y="80"/>
                  </a:cubicBezTo>
                  <a:cubicBezTo>
                    <a:pt x="690" y="74"/>
                    <a:pt x="685" y="71"/>
                    <a:pt x="685" y="71"/>
                  </a:cubicBezTo>
                  <a:close/>
                  <a:moveTo>
                    <a:pt x="8" y="787"/>
                  </a:moveTo>
                  <a:cubicBezTo>
                    <a:pt x="8" y="787"/>
                    <a:pt x="7" y="793"/>
                    <a:pt x="8" y="794"/>
                  </a:cubicBezTo>
                  <a:cubicBezTo>
                    <a:pt x="9" y="796"/>
                    <a:pt x="6" y="800"/>
                    <a:pt x="6" y="800"/>
                  </a:cubicBezTo>
                  <a:cubicBezTo>
                    <a:pt x="9" y="800"/>
                    <a:pt x="9" y="800"/>
                    <a:pt x="9" y="800"/>
                  </a:cubicBezTo>
                  <a:cubicBezTo>
                    <a:pt x="11" y="798"/>
                    <a:pt x="11" y="798"/>
                    <a:pt x="11" y="798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0" y="785"/>
                    <a:pt x="10" y="785"/>
                    <a:pt x="10" y="785"/>
                  </a:cubicBezTo>
                  <a:lnTo>
                    <a:pt x="8" y="787"/>
                  </a:lnTo>
                  <a:close/>
                  <a:moveTo>
                    <a:pt x="27" y="805"/>
                  </a:moveTo>
                  <a:cubicBezTo>
                    <a:pt x="18" y="803"/>
                    <a:pt x="18" y="803"/>
                    <a:pt x="18" y="803"/>
                  </a:cubicBezTo>
                  <a:cubicBezTo>
                    <a:pt x="26" y="808"/>
                    <a:pt x="26" y="808"/>
                    <a:pt x="26" y="808"/>
                  </a:cubicBezTo>
                  <a:lnTo>
                    <a:pt x="27" y="805"/>
                  </a:lnTo>
                  <a:close/>
                  <a:moveTo>
                    <a:pt x="36" y="794"/>
                  </a:moveTo>
                  <a:cubicBezTo>
                    <a:pt x="32" y="794"/>
                    <a:pt x="32" y="794"/>
                    <a:pt x="32" y="794"/>
                  </a:cubicBezTo>
                  <a:cubicBezTo>
                    <a:pt x="30" y="799"/>
                    <a:pt x="30" y="799"/>
                    <a:pt x="30" y="799"/>
                  </a:cubicBezTo>
                  <a:cubicBezTo>
                    <a:pt x="38" y="798"/>
                    <a:pt x="38" y="798"/>
                    <a:pt x="38" y="798"/>
                  </a:cubicBezTo>
                  <a:lnTo>
                    <a:pt x="36" y="794"/>
                  </a:lnTo>
                  <a:close/>
                  <a:moveTo>
                    <a:pt x="16" y="750"/>
                  </a:moveTo>
                  <a:cubicBezTo>
                    <a:pt x="16" y="753"/>
                    <a:pt x="16" y="753"/>
                    <a:pt x="16" y="753"/>
                  </a:cubicBezTo>
                  <a:cubicBezTo>
                    <a:pt x="14" y="754"/>
                    <a:pt x="14" y="754"/>
                    <a:pt x="14" y="754"/>
                  </a:cubicBezTo>
                  <a:cubicBezTo>
                    <a:pt x="14" y="754"/>
                    <a:pt x="16" y="762"/>
                    <a:pt x="20" y="762"/>
                  </a:cubicBezTo>
                  <a:cubicBezTo>
                    <a:pt x="26" y="762"/>
                    <a:pt x="22" y="753"/>
                    <a:pt x="22" y="753"/>
                  </a:cubicBezTo>
                  <a:cubicBezTo>
                    <a:pt x="17" y="750"/>
                    <a:pt x="17" y="750"/>
                    <a:pt x="17" y="750"/>
                  </a:cubicBezTo>
                  <a:lnTo>
                    <a:pt x="16" y="750"/>
                  </a:lnTo>
                  <a:close/>
                  <a:moveTo>
                    <a:pt x="15" y="768"/>
                  </a:moveTo>
                  <a:cubicBezTo>
                    <a:pt x="17" y="766"/>
                    <a:pt x="17" y="766"/>
                    <a:pt x="17" y="766"/>
                  </a:cubicBezTo>
                  <a:cubicBezTo>
                    <a:pt x="15" y="762"/>
                    <a:pt x="15" y="762"/>
                    <a:pt x="15" y="762"/>
                  </a:cubicBezTo>
                  <a:cubicBezTo>
                    <a:pt x="15" y="758"/>
                    <a:pt x="15" y="758"/>
                    <a:pt x="15" y="758"/>
                  </a:cubicBezTo>
                  <a:cubicBezTo>
                    <a:pt x="11" y="756"/>
                    <a:pt x="11" y="756"/>
                    <a:pt x="11" y="756"/>
                  </a:cubicBezTo>
                  <a:cubicBezTo>
                    <a:pt x="11" y="757"/>
                    <a:pt x="11" y="757"/>
                    <a:pt x="11" y="757"/>
                  </a:cubicBezTo>
                  <a:cubicBezTo>
                    <a:pt x="11" y="757"/>
                    <a:pt x="10" y="758"/>
                    <a:pt x="9" y="760"/>
                  </a:cubicBezTo>
                  <a:cubicBezTo>
                    <a:pt x="8" y="762"/>
                    <a:pt x="12" y="764"/>
                    <a:pt x="12" y="764"/>
                  </a:cubicBezTo>
                  <a:cubicBezTo>
                    <a:pt x="9" y="767"/>
                    <a:pt x="9" y="767"/>
                    <a:pt x="9" y="767"/>
                  </a:cubicBezTo>
                  <a:cubicBezTo>
                    <a:pt x="9" y="773"/>
                    <a:pt x="9" y="773"/>
                    <a:pt x="9" y="773"/>
                  </a:cubicBezTo>
                  <a:cubicBezTo>
                    <a:pt x="13" y="772"/>
                    <a:pt x="13" y="772"/>
                    <a:pt x="13" y="772"/>
                  </a:cubicBezTo>
                  <a:cubicBezTo>
                    <a:pt x="10" y="767"/>
                    <a:pt x="10" y="767"/>
                    <a:pt x="10" y="767"/>
                  </a:cubicBezTo>
                  <a:cubicBezTo>
                    <a:pt x="14" y="764"/>
                    <a:pt x="14" y="764"/>
                    <a:pt x="14" y="764"/>
                  </a:cubicBezTo>
                  <a:cubicBezTo>
                    <a:pt x="15" y="764"/>
                    <a:pt x="15" y="764"/>
                    <a:pt x="15" y="764"/>
                  </a:cubicBezTo>
                  <a:cubicBezTo>
                    <a:pt x="14" y="766"/>
                    <a:pt x="14" y="766"/>
                    <a:pt x="14" y="766"/>
                  </a:cubicBezTo>
                  <a:lnTo>
                    <a:pt x="15" y="768"/>
                  </a:lnTo>
                  <a:close/>
                  <a:moveTo>
                    <a:pt x="29" y="766"/>
                  </a:moveTo>
                  <a:cubicBezTo>
                    <a:pt x="33" y="764"/>
                    <a:pt x="33" y="764"/>
                    <a:pt x="33" y="764"/>
                  </a:cubicBezTo>
                  <a:cubicBezTo>
                    <a:pt x="27" y="759"/>
                    <a:pt x="27" y="759"/>
                    <a:pt x="27" y="759"/>
                  </a:cubicBezTo>
                  <a:cubicBezTo>
                    <a:pt x="25" y="761"/>
                    <a:pt x="25" y="761"/>
                    <a:pt x="25" y="761"/>
                  </a:cubicBezTo>
                  <a:lnTo>
                    <a:pt x="29" y="766"/>
                  </a:lnTo>
                  <a:close/>
                  <a:moveTo>
                    <a:pt x="28" y="743"/>
                  </a:moveTo>
                  <a:cubicBezTo>
                    <a:pt x="23" y="744"/>
                    <a:pt x="23" y="744"/>
                    <a:pt x="23" y="744"/>
                  </a:cubicBezTo>
                  <a:cubicBezTo>
                    <a:pt x="23" y="747"/>
                    <a:pt x="23" y="747"/>
                    <a:pt x="23" y="747"/>
                  </a:cubicBezTo>
                  <a:cubicBezTo>
                    <a:pt x="20" y="749"/>
                    <a:pt x="20" y="749"/>
                    <a:pt x="20" y="749"/>
                  </a:cubicBezTo>
                  <a:cubicBezTo>
                    <a:pt x="23" y="751"/>
                    <a:pt x="23" y="751"/>
                    <a:pt x="23" y="751"/>
                  </a:cubicBezTo>
                  <a:cubicBezTo>
                    <a:pt x="25" y="754"/>
                    <a:pt x="25" y="754"/>
                    <a:pt x="25" y="754"/>
                  </a:cubicBezTo>
                  <a:cubicBezTo>
                    <a:pt x="27" y="754"/>
                    <a:pt x="27" y="754"/>
                    <a:pt x="27" y="754"/>
                  </a:cubicBezTo>
                  <a:cubicBezTo>
                    <a:pt x="27" y="751"/>
                    <a:pt x="27" y="751"/>
                    <a:pt x="27" y="751"/>
                  </a:cubicBezTo>
                  <a:cubicBezTo>
                    <a:pt x="29" y="749"/>
                    <a:pt x="29" y="749"/>
                    <a:pt x="29" y="749"/>
                  </a:cubicBezTo>
                  <a:lnTo>
                    <a:pt x="28" y="743"/>
                  </a:lnTo>
                  <a:close/>
                  <a:moveTo>
                    <a:pt x="19" y="743"/>
                  </a:moveTo>
                  <a:cubicBezTo>
                    <a:pt x="16" y="746"/>
                    <a:pt x="19" y="747"/>
                    <a:pt x="20" y="746"/>
                  </a:cubicBezTo>
                  <a:cubicBezTo>
                    <a:pt x="23" y="744"/>
                    <a:pt x="22" y="740"/>
                    <a:pt x="19" y="743"/>
                  </a:cubicBezTo>
                  <a:close/>
                  <a:moveTo>
                    <a:pt x="10" y="738"/>
                  </a:moveTo>
                  <a:cubicBezTo>
                    <a:pt x="11" y="740"/>
                    <a:pt x="11" y="740"/>
                    <a:pt x="11" y="740"/>
                  </a:cubicBezTo>
                  <a:cubicBezTo>
                    <a:pt x="12" y="740"/>
                    <a:pt x="12" y="740"/>
                    <a:pt x="12" y="740"/>
                  </a:cubicBezTo>
                  <a:cubicBezTo>
                    <a:pt x="14" y="743"/>
                    <a:pt x="14" y="743"/>
                    <a:pt x="14" y="743"/>
                  </a:cubicBezTo>
                  <a:cubicBezTo>
                    <a:pt x="12" y="745"/>
                    <a:pt x="12" y="745"/>
                    <a:pt x="12" y="745"/>
                  </a:cubicBezTo>
                  <a:cubicBezTo>
                    <a:pt x="15" y="746"/>
                    <a:pt x="15" y="746"/>
                    <a:pt x="15" y="746"/>
                  </a:cubicBezTo>
                  <a:cubicBezTo>
                    <a:pt x="16" y="742"/>
                    <a:pt x="16" y="742"/>
                    <a:pt x="16" y="742"/>
                  </a:cubicBezTo>
                  <a:cubicBezTo>
                    <a:pt x="12" y="737"/>
                    <a:pt x="12" y="737"/>
                    <a:pt x="12" y="737"/>
                  </a:cubicBezTo>
                  <a:lnTo>
                    <a:pt x="10" y="738"/>
                  </a:lnTo>
                  <a:close/>
                  <a:moveTo>
                    <a:pt x="13" y="749"/>
                  </a:moveTo>
                  <a:cubicBezTo>
                    <a:pt x="11" y="746"/>
                    <a:pt x="11" y="746"/>
                    <a:pt x="11" y="746"/>
                  </a:cubicBezTo>
                  <a:cubicBezTo>
                    <a:pt x="8" y="749"/>
                    <a:pt x="8" y="749"/>
                    <a:pt x="8" y="749"/>
                  </a:cubicBezTo>
                  <a:cubicBezTo>
                    <a:pt x="9" y="751"/>
                    <a:pt x="9" y="751"/>
                    <a:pt x="9" y="751"/>
                  </a:cubicBezTo>
                  <a:lnTo>
                    <a:pt x="13" y="749"/>
                  </a:lnTo>
                  <a:close/>
                  <a:moveTo>
                    <a:pt x="41" y="738"/>
                  </a:moveTo>
                  <a:cubicBezTo>
                    <a:pt x="39" y="740"/>
                    <a:pt x="39" y="740"/>
                    <a:pt x="39" y="740"/>
                  </a:cubicBezTo>
                  <a:cubicBezTo>
                    <a:pt x="40" y="744"/>
                    <a:pt x="40" y="744"/>
                    <a:pt x="40" y="744"/>
                  </a:cubicBezTo>
                  <a:cubicBezTo>
                    <a:pt x="43" y="741"/>
                    <a:pt x="43" y="741"/>
                    <a:pt x="43" y="741"/>
                  </a:cubicBezTo>
                  <a:lnTo>
                    <a:pt x="41" y="738"/>
                  </a:lnTo>
                  <a:close/>
                  <a:moveTo>
                    <a:pt x="9" y="733"/>
                  </a:moveTo>
                  <a:cubicBezTo>
                    <a:pt x="11" y="734"/>
                    <a:pt x="13" y="734"/>
                    <a:pt x="13" y="734"/>
                  </a:cubicBezTo>
                  <a:cubicBezTo>
                    <a:pt x="11" y="729"/>
                    <a:pt x="11" y="729"/>
                    <a:pt x="11" y="729"/>
                  </a:cubicBezTo>
                  <a:cubicBezTo>
                    <a:pt x="13" y="727"/>
                    <a:pt x="13" y="727"/>
                    <a:pt x="13" y="727"/>
                  </a:cubicBezTo>
                  <a:cubicBezTo>
                    <a:pt x="10" y="719"/>
                    <a:pt x="10" y="719"/>
                    <a:pt x="10" y="719"/>
                  </a:cubicBezTo>
                  <a:cubicBezTo>
                    <a:pt x="9" y="722"/>
                    <a:pt x="9" y="722"/>
                    <a:pt x="9" y="722"/>
                  </a:cubicBezTo>
                  <a:cubicBezTo>
                    <a:pt x="11" y="726"/>
                    <a:pt x="11" y="726"/>
                    <a:pt x="11" y="726"/>
                  </a:cubicBezTo>
                  <a:cubicBezTo>
                    <a:pt x="7" y="727"/>
                    <a:pt x="7" y="727"/>
                    <a:pt x="7" y="727"/>
                  </a:cubicBezTo>
                  <a:cubicBezTo>
                    <a:pt x="7" y="727"/>
                    <a:pt x="7" y="731"/>
                    <a:pt x="9" y="733"/>
                  </a:cubicBezTo>
                  <a:close/>
                  <a:moveTo>
                    <a:pt x="16" y="715"/>
                  </a:moveTo>
                  <a:cubicBezTo>
                    <a:pt x="10" y="711"/>
                    <a:pt x="10" y="711"/>
                    <a:pt x="10" y="711"/>
                  </a:cubicBezTo>
                  <a:cubicBezTo>
                    <a:pt x="9" y="712"/>
                    <a:pt x="9" y="712"/>
                    <a:pt x="9" y="712"/>
                  </a:cubicBezTo>
                  <a:cubicBezTo>
                    <a:pt x="12" y="714"/>
                    <a:pt x="12" y="714"/>
                    <a:pt x="12" y="714"/>
                  </a:cubicBezTo>
                  <a:cubicBezTo>
                    <a:pt x="12" y="718"/>
                    <a:pt x="12" y="718"/>
                    <a:pt x="12" y="718"/>
                  </a:cubicBezTo>
                  <a:cubicBezTo>
                    <a:pt x="14" y="721"/>
                    <a:pt x="14" y="721"/>
                    <a:pt x="14" y="721"/>
                  </a:cubicBezTo>
                  <a:cubicBezTo>
                    <a:pt x="17" y="721"/>
                    <a:pt x="17" y="721"/>
                    <a:pt x="17" y="721"/>
                  </a:cubicBezTo>
                  <a:lnTo>
                    <a:pt x="16" y="715"/>
                  </a:lnTo>
                  <a:close/>
                  <a:moveTo>
                    <a:pt x="24" y="713"/>
                  </a:moveTo>
                  <a:cubicBezTo>
                    <a:pt x="28" y="719"/>
                    <a:pt x="28" y="719"/>
                    <a:pt x="28" y="719"/>
                  </a:cubicBezTo>
                  <a:cubicBezTo>
                    <a:pt x="32" y="717"/>
                    <a:pt x="32" y="717"/>
                    <a:pt x="32" y="717"/>
                  </a:cubicBezTo>
                  <a:cubicBezTo>
                    <a:pt x="34" y="706"/>
                    <a:pt x="34" y="706"/>
                    <a:pt x="34" y="706"/>
                  </a:cubicBezTo>
                  <a:cubicBezTo>
                    <a:pt x="33" y="705"/>
                    <a:pt x="33" y="705"/>
                    <a:pt x="33" y="705"/>
                  </a:cubicBezTo>
                  <a:cubicBezTo>
                    <a:pt x="29" y="710"/>
                    <a:pt x="29" y="710"/>
                    <a:pt x="29" y="710"/>
                  </a:cubicBezTo>
                  <a:cubicBezTo>
                    <a:pt x="29" y="710"/>
                    <a:pt x="28" y="710"/>
                    <a:pt x="26" y="711"/>
                  </a:cubicBezTo>
                  <a:cubicBezTo>
                    <a:pt x="24" y="711"/>
                    <a:pt x="24" y="713"/>
                    <a:pt x="24" y="713"/>
                  </a:cubicBezTo>
                  <a:close/>
                  <a:moveTo>
                    <a:pt x="22" y="703"/>
                  </a:moveTo>
                  <a:cubicBezTo>
                    <a:pt x="13" y="694"/>
                    <a:pt x="13" y="694"/>
                    <a:pt x="13" y="694"/>
                  </a:cubicBezTo>
                  <a:cubicBezTo>
                    <a:pt x="12" y="695"/>
                    <a:pt x="12" y="695"/>
                    <a:pt x="12" y="695"/>
                  </a:cubicBezTo>
                  <a:cubicBezTo>
                    <a:pt x="18" y="703"/>
                    <a:pt x="18" y="703"/>
                    <a:pt x="18" y="703"/>
                  </a:cubicBezTo>
                  <a:cubicBezTo>
                    <a:pt x="17" y="705"/>
                    <a:pt x="17" y="705"/>
                    <a:pt x="17" y="705"/>
                  </a:cubicBezTo>
                  <a:cubicBezTo>
                    <a:pt x="15" y="704"/>
                    <a:pt x="15" y="704"/>
                    <a:pt x="15" y="704"/>
                  </a:cubicBezTo>
                  <a:cubicBezTo>
                    <a:pt x="20" y="711"/>
                    <a:pt x="20" y="711"/>
                    <a:pt x="20" y="711"/>
                  </a:cubicBezTo>
                  <a:cubicBezTo>
                    <a:pt x="23" y="711"/>
                    <a:pt x="25" y="708"/>
                    <a:pt x="25" y="708"/>
                  </a:cubicBezTo>
                  <a:cubicBezTo>
                    <a:pt x="23" y="705"/>
                    <a:pt x="23" y="705"/>
                    <a:pt x="23" y="705"/>
                  </a:cubicBezTo>
                  <a:lnTo>
                    <a:pt x="22" y="703"/>
                  </a:lnTo>
                  <a:close/>
                  <a:moveTo>
                    <a:pt x="9" y="699"/>
                  </a:moveTo>
                  <a:cubicBezTo>
                    <a:pt x="8" y="699"/>
                    <a:pt x="8" y="699"/>
                    <a:pt x="8" y="699"/>
                  </a:cubicBezTo>
                  <a:cubicBezTo>
                    <a:pt x="8" y="699"/>
                    <a:pt x="10" y="703"/>
                    <a:pt x="11" y="704"/>
                  </a:cubicBezTo>
                  <a:cubicBezTo>
                    <a:pt x="12" y="705"/>
                    <a:pt x="14" y="707"/>
                    <a:pt x="14" y="707"/>
                  </a:cubicBezTo>
                  <a:cubicBezTo>
                    <a:pt x="14" y="707"/>
                    <a:pt x="15" y="705"/>
                    <a:pt x="13" y="703"/>
                  </a:cubicBezTo>
                  <a:cubicBezTo>
                    <a:pt x="12" y="701"/>
                    <a:pt x="9" y="699"/>
                    <a:pt x="9" y="699"/>
                  </a:cubicBezTo>
                  <a:close/>
                  <a:moveTo>
                    <a:pt x="10" y="707"/>
                  </a:moveTo>
                  <a:cubicBezTo>
                    <a:pt x="9" y="707"/>
                    <a:pt x="10" y="709"/>
                    <a:pt x="11" y="710"/>
                  </a:cubicBezTo>
                  <a:cubicBezTo>
                    <a:pt x="12" y="710"/>
                    <a:pt x="16" y="712"/>
                    <a:pt x="16" y="712"/>
                  </a:cubicBezTo>
                  <a:cubicBezTo>
                    <a:pt x="16" y="710"/>
                    <a:pt x="16" y="710"/>
                    <a:pt x="16" y="710"/>
                  </a:cubicBezTo>
                  <a:cubicBezTo>
                    <a:pt x="16" y="710"/>
                    <a:pt x="11" y="707"/>
                    <a:pt x="10" y="707"/>
                  </a:cubicBezTo>
                  <a:close/>
                  <a:moveTo>
                    <a:pt x="9" y="693"/>
                  </a:moveTo>
                  <a:cubicBezTo>
                    <a:pt x="7" y="695"/>
                    <a:pt x="7" y="695"/>
                    <a:pt x="7" y="695"/>
                  </a:cubicBezTo>
                  <a:cubicBezTo>
                    <a:pt x="11" y="698"/>
                    <a:pt x="11" y="698"/>
                    <a:pt x="11" y="698"/>
                  </a:cubicBezTo>
                  <a:lnTo>
                    <a:pt x="9" y="693"/>
                  </a:lnTo>
                  <a:close/>
                  <a:moveTo>
                    <a:pt x="10" y="692"/>
                  </a:moveTo>
                  <a:cubicBezTo>
                    <a:pt x="9" y="687"/>
                    <a:pt x="9" y="687"/>
                    <a:pt x="9" y="687"/>
                  </a:cubicBezTo>
                  <a:cubicBezTo>
                    <a:pt x="7" y="689"/>
                    <a:pt x="7" y="689"/>
                    <a:pt x="7" y="689"/>
                  </a:cubicBezTo>
                  <a:lnTo>
                    <a:pt x="10" y="692"/>
                  </a:lnTo>
                  <a:close/>
                  <a:moveTo>
                    <a:pt x="9" y="678"/>
                  </a:moveTo>
                  <a:cubicBezTo>
                    <a:pt x="11" y="676"/>
                    <a:pt x="11" y="676"/>
                    <a:pt x="11" y="676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15" y="676"/>
                    <a:pt x="15" y="674"/>
                  </a:cubicBezTo>
                  <a:cubicBezTo>
                    <a:pt x="15" y="671"/>
                    <a:pt x="12" y="670"/>
                    <a:pt x="12" y="670"/>
                  </a:cubicBezTo>
                  <a:cubicBezTo>
                    <a:pt x="10" y="671"/>
                    <a:pt x="10" y="671"/>
                    <a:pt x="10" y="671"/>
                  </a:cubicBezTo>
                  <a:cubicBezTo>
                    <a:pt x="10" y="671"/>
                    <a:pt x="8" y="675"/>
                    <a:pt x="9" y="678"/>
                  </a:cubicBezTo>
                  <a:close/>
                  <a:moveTo>
                    <a:pt x="6" y="680"/>
                  </a:moveTo>
                  <a:cubicBezTo>
                    <a:pt x="7" y="680"/>
                    <a:pt x="7" y="680"/>
                    <a:pt x="7" y="680"/>
                  </a:cubicBezTo>
                  <a:cubicBezTo>
                    <a:pt x="8" y="676"/>
                    <a:pt x="8" y="676"/>
                    <a:pt x="8" y="676"/>
                  </a:cubicBezTo>
                  <a:cubicBezTo>
                    <a:pt x="7" y="676"/>
                    <a:pt x="7" y="676"/>
                    <a:pt x="7" y="676"/>
                  </a:cubicBezTo>
                  <a:lnTo>
                    <a:pt x="6" y="680"/>
                  </a:lnTo>
                  <a:close/>
                  <a:moveTo>
                    <a:pt x="3" y="678"/>
                  </a:moveTo>
                  <a:cubicBezTo>
                    <a:pt x="0" y="678"/>
                    <a:pt x="1" y="681"/>
                    <a:pt x="2" y="681"/>
                  </a:cubicBezTo>
                  <a:cubicBezTo>
                    <a:pt x="4" y="682"/>
                    <a:pt x="7" y="677"/>
                    <a:pt x="3" y="678"/>
                  </a:cubicBezTo>
                  <a:close/>
                  <a:moveTo>
                    <a:pt x="7" y="661"/>
                  </a:moveTo>
                  <a:cubicBezTo>
                    <a:pt x="3" y="661"/>
                    <a:pt x="4" y="663"/>
                    <a:pt x="6" y="663"/>
                  </a:cubicBezTo>
                  <a:cubicBezTo>
                    <a:pt x="9" y="663"/>
                    <a:pt x="10" y="662"/>
                    <a:pt x="7" y="661"/>
                  </a:cubicBezTo>
                  <a:close/>
                  <a:moveTo>
                    <a:pt x="17" y="658"/>
                  </a:moveTo>
                  <a:cubicBezTo>
                    <a:pt x="14" y="657"/>
                    <a:pt x="14" y="657"/>
                    <a:pt x="14" y="657"/>
                  </a:cubicBezTo>
                  <a:cubicBezTo>
                    <a:pt x="11" y="660"/>
                    <a:pt x="11" y="660"/>
                    <a:pt x="11" y="660"/>
                  </a:cubicBezTo>
                  <a:cubicBezTo>
                    <a:pt x="13" y="662"/>
                    <a:pt x="13" y="662"/>
                    <a:pt x="13" y="662"/>
                  </a:cubicBezTo>
                  <a:lnTo>
                    <a:pt x="17" y="658"/>
                  </a:lnTo>
                  <a:close/>
                  <a:moveTo>
                    <a:pt x="18" y="649"/>
                  </a:moveTo>
                  <a:cubicBezTo>
                    <a:pt x="14" y="646"/>
                    <a:pt x="14" y="646"/>
                    <a:pt x="14" y="646"/>
                  </a:cubicBezTo>
                  <a:cubicBezTo>
                    <a:pt x="15" y="650"/>
                    <a:pt x="15" y="650"/>
                    <a:pt x="15" y="650"/>
                  </a:cubicBezTo>
                  <a:lnTo>
                    <a:pt x="18" y="649"/>
                  </a:lnTo>
                  <a:close/>
                  <a:moveTo>
                    <a:pt x="22" y="643"/>
                  </a:moveTo>
                  <a:cubicBezTo>
                    <a:pt x="17" y="645"/>
                    <a:pt x="17" y="645"/>
                    <a:pt x="17" y="645"/>
                  </a:cubicBezTo>
                  <a:cubicBezTo>
                    <a:pt x="22" y="647"/>
                    <a:pt x="22" y="647"/>
                    <a:pt x="22" y="647"/>
                  </a:cubicBezTo>
                  <a:lnTo>
                    <a:pt x="22" y="643"/>
                  </a:lnTo>
                  <a:close/>
                  <a:moveTo>
                    <a:pt x="14" y="639"/>
                  </a:moveTo>
                  <a:cubicBezTo>
                    <a:pt x="14" y="635"/>
                    <a:pt x="11" y="635"/>
                    <a:pt x="12" y="638"/>
                  </a:cubicBezTo>
                  <a:cubicBezTo>
                    <a:pt x="12" y="641"/>
                    <a:pt x="14" y="641"/>
                    <a:pt x="14" y="639"/>
                  </a:cubicBezTo>
                  <a:close/>
                  <a:moveTo>
                    <a:pt x="15" y="632"/>
                  </a:moveTo>
                  <a:cubicBezTo>
                    <a:pt x="24" y="629"/>
                    <a:pt x="24" y="629"/>
                    <a:pt x="24" y="629"/>
                  </a:cubicBezTo>
                  <a:cubicBezTo>
                    <a:pt x="25" y="626"/>
                    <a:pt x="25" y="626"/>
                    <a:pt x="25" y="626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15" y="623"/>
                    <a:pt x="15" y="623"/>
                    <a:pt x="15" y="623"/>
                  </a:cubicBezTo>
                  <a:cubicBezTo>
                    <a:pt x="15" y="626"/>
                    <a:pt x="15" y="626"/>
                    <a:pt x="15" y="626"/>
                  </a:cubicBezTo>
                  <a:cubicBezTo>
                    <a:pt x="12" y="627"/>
                    <a:pt x="12" y="627"/>
                    <a:pt x="12" y="627"/>
                  </a:cubicBezTo>
                  <a:cubicBezTo>
                    <a:pt x="16" y="628"/>
                    <a:pt x="16" y="628"/>
                    <a:pt x="16" y="628"/>
                  </a:cubicBezTo>
                  <a:lnTo>
                    <a:pt x="15" y="632"/>
                  </a:lnTo>
                  <a:close/>
                  <a:moveTo>
                    <a:pt x="12" y="630"/>
                  </a:moveTo>
                  <a:cubicBezTo>
                    <a:pt x="13" y="632"/>
                    <a:pt x="13" y="632"/>
                    <a:pt x="13" y="632"/>
                  </a:cubicBezTo>
                  <a:cubicBezTo>
                    <a:pt x="14" y="633"/>
                    <a:pt x="14" y="633"/>
                    <a:pt x="14" y="633"/>
                  </a:cubicBezTo>
                  <a:cubicBezTo>
                    <a:pt x="14" y="629"/>
                    <a:pt x="14" y="629"/>
                    <a:pt x="14" y="629"/>
                  </a:cubicBezTo>
                  <a:lnTo>
                    <a:pt x="12" y="630"/>
                  </a:lnTo>
                  <a:close/>
                  <a:moveTo>
                    <a:pt x="20" y="618"/>
                  </a:moveTo>
                  <a:cubicBezTo>
                    <a:pt x="22" y="619"/>
                    <a:pt x="22" y="623"/>
                    <a:pt x="22" y="623"/>
                  </a:cubicBezTo>
                  <a:cubicBezTo>
                    <a:pt x="25" y="623"/>
                    <a:pt x="25" y="623"/>
                    <a:pt x="25" y="623"/>
                  </a:cubicBezTo>
                  <a:cubicBezTo>
                    <a:pt x="25" y="616"/>
                    <a:pt x="25" y="616"/>
                    <a:pt x="25" y="616"/>
                  </a:cubicBezTo>
                  <a:cubicBezTo>
                    <a:pt x="20" y="615"/>
                    <a:pt x="20" y="615"/>
                    <a:pt x="20" y="615"/>
                  </a:cubicBezTo>
                  <a:cubicBezTo>
                    <a:pt x="20" y="615"/>
                    <a:pt x="18" y="617"/>
                    <a:pt x="20" y="618"/>
                  </a:cubicBezTo>
                  <a:close/>
                  <a:moveTo>
                    <a:pt x="36" y="604"/>
                  </a:moveTo>
                  <a:cubicBezTo>
                    <a:pt x="36" y="601"/>
                    <a:pt x="36" y="601"/>
                    <a:pt x="36" y="601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4"/>
                    <a:pt x="34" y="604"/>
                    <a:pt x="34" y="604"/>
                  </a:cubicBezTo>
                  <a:lnTo>
                    <a:pt x="36" y="604"/>
                  </a:lnTo>
                  <a:close/>
                  <a:moveTo>
                    <a:pt x="45" y="607"/>
                  </a:moveTo>
                  <a:cubicBezTo>
                    <a:pt x="48" y="605"/>
                    <a:pt x="48" y="601"/>
                    <a:pt x="44" y="600"/>
                  </a:cubicBezTo>
                  <a:cubicBezTo>
                    <a:pt x="40" y="598"/>
                    <a:pt x="40" y="603"/>
                    <a:pt x="40" y="603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7"/>
                    <a:pt x="42" y="608"/>
                    <a:pt x="45" y="607"/>
                  </a:cubicBezTo>
                  <a:close/>
                  <a:moveTo>
                    <a:pt x="42" y="598"/>
                  </a:moveTo>
                  <a:cubicBezTo>
                    <a:pt x="45" y="598"/>
                    <a:pt x="45" y="598"/>
                    <a:pt x="45" y="598"/>
                  </a:cubicBezTo>
                  <a:cubicBezTo>
                    <a:pt x="46" y="596"/>
                    <a:pt x="46" y="596"/>
                    <a:pt x="46" y="596"/>
                  </a:cubicBezTo>
                  <a:cubicBezTo>
                    <a:pt x="43" y="593"/>
                    <a:pt x="43" y="593"/>
                    <a:pt x="43" y="593"/>
                  </a:cubicBezTo>
                  <a:cubicBezTo>
                    <a:pt x="41" y="593"/>
                    <a:pt x="41" y="593"/>
                    <a:pt x="41" y="593"/>
                  </a:cubicBezTo>
                  <a:cubicBezTo>
                    <a:pt x="42" y="596"/>
                    <a:pt x="42" y="596"/>
                    <a:pt x="42" y="596"/>
                  </a:cubicBezTo>
                  <a:lnTo>
                    <a:pt x="42" y="598"/>
                  </a:lnTo>
                  <a:close/>
                  <a:moveTo>
                    <a:pt x="53" y="593"/>
                  </a:moveTo>
                  <a:cubicBezTo>
                    <a:pt x="49" y="594"/>
                    <a:pt x="49" y="594"/>
                    <a:pt x="49" y="594"/>
                  </a:cubicBezTo>
                  <a:cubicBezTo>
                    <a:pt x="49" y="603"/>
                    <a:pt x="49" y="603"/>
                    <a:pt x="49" y="603"/>
                  </a:cubicBezTo>
                  <a:cubicBezTo>
                    <a:pt x="57" y="598"/>
                    <a:pt x="57" y="598"/>
                    <a:pt x="57" y="598"/>
                  </a:cubicBezTo>
                  <a:lnTo>
                    <a:pt x="53" y="593"/>
                  </a:lnTo>
                  <a:close/>
                  <a:moveTo>
                    <a:pt x="57" y="593"/>
                  </a:moveTo>
                  <a:cubicBezTo>
                    <a:pt x="60" y="596"/>
                    <a:pt x="60" y="596"/>
                    <a:pt x="60" y="596"/>
                  </a:cubicBezTo>
                  <a:cubicBezTo>
                    <a:pt x="65" y="594"/>
                    <a:pt x="65" y="594"/>
                    <a:pt x="65" y="594"/>
                  </a:cubicBezTo>
                  <a:cubicBezTo>
                    <a:pt x="61" y="592"/>
                    <a:pt x="61" y="592"/>
                    <a:pt x="61" y="592"/>
                  </a:cubicBezTo>
                  <a:lnTo>
                    <a:pt x="57" y="593"/>
                  </a:lnTo>
                  <a:close/>
                  <a:moveTo>
                    <a:pt x="55" y="587"/>
                  </a:moveTo>
                  <a:cubicBezTo>
                    <a:pt x="51" y="591"/>
                    <a:pt x="51" y="591"/>
                    <a:pt x="51" y="591"/>
                  </a:cubicBezTo>
                  <a:cubicBezTo>
                    <a:pt x="58" y="591"/>
                    <a:pt x="58" y="591"/>
                    <a:pt x="58" y="591"/>
                  </a:cubicBezTo>
                  <a:lnTo>
                    <a:pt x="55" y="587"/>
                  </a:lnTo>
                  <a:close/>
                  <a:moveTo>
                    <a:pt x="57" y="586"/>
                  </a:moveTo>
                  <a:cubicBezTo>
                    <a:pt x="59" y="586"/>
                    <a:pt x="61" y="581"/>
                    <a:pt x="58" y="582"/>
                  </a:cubicBezTo>
                  <a:cubicBezTo>
                    <a:pt x="55" y="583"/>
                    <a:pt x="56" y="586"/>
                    <a:pt x="57" y="586"/>
                  </a:cubicBezTo>
                  <a:close/>
                  <a:moveTo>
                    <a:pt x="63" y="580"/>
                  </a:moveTo>
                  <a:cubicBezTo>
                    <a:pt x="59" y="579"/>
                    <a:pt x="59" y="579"/>
                    <a:pt x="59" y="579"/>
                  </a:cubicBezTo>
                  <a:cubicBezTo>
                    <a:pt x="62" y="582"/>
                    <a:pt x="62" y="582"/>
                    <a:pt x="62" y="582"/>
                  </a:cubicBezTo>
                  <a:lnTo>
                    <a:pt x="63" y="580"/>
                  </a:lnTo>
                  <a:close/>
                  <a:moveTo>
                    <a:pt x="63" y="577"/>
                  </a:moveTo>
                  <a:cubicBezTo>
                    <a:pt x="62" y="578"/>
                    <a:pt x="62" y="578"/>
                    <a:pt x="62" y="578"/>
                  </a:cubicBezTo>
                  <a:cubicBezTo>
                    <a:pt x="65" y="580"/>
                    <a:pt x="65" y="580"/>
                    <a:pt x="65" y="580"/>
                  </a:cubicBezTo>
                  <a:lnTo>
                    <a:pt x="63" y="577"/>
                  </a:lnTo>
                  <a:close/>
                  <a:moveTo>
                    <a:pt x="71" y="575"/>
                  </a:moveTo>
                  <a:cubicBezTo>
                    <a:pt x="71" y="571"/>
                    <a:pt x="71" y="571"/>
                    <a:pt x="71" y="571"/>
                  </a:cubicBezTo>
                  <a:cubicBezTo>
                    <a:pt x="69" y="571"/>
                    <a:pt x="69" y="571"/>
                    <a:pt x="69" y="571"/>
                  </a:cubicBezTo>
                  <a:cubicBezTo>
                    <a:pt x="69" y="575"/>
                    <a:pt x="69" y="575"/>
                    <a:pt x="69" y="575"/>
                  </a:cubicBezTo>
                  <a:lnTo>
                    <a:pt x="71" y="575"/>
                  </a:lnTo>
                  <a:close/>
                  <a:moveTo>
                    <a:pt x="80" y="578"/>
                  </a:moveTo>
                  <a:cubicBezTo>
                    <a:pt x="85" y="576"/>
                    <a:pt x="85" y="575"/>
                    <a:pt x="82" y="575"/>
                  </a:cubicBezTo>
                  <a:cubicBezTo>
                    <a:pt x="78" y="573"/>
                    <a:pt x="77" y="576"/>
                    <a:pt x="77" y="577"/>
                  </a:cubicBezTo>
                  <a:cubicBezTo>
                    <a:pt x="77" y="578"/>
                    <a:pt x="80" y="578"/>
                    <a:pt x="80" y="578"/>
                  </a:cubicBezTo>
                  <a:close/>
                  <a:moveTo>
                    <a:pt x="87" y="568"/>
                  </a:moveTo>
                  <a:cubicBezTo>
                    <a:pt x="82" y="567"/>
                    <a:pt x="82" y="567"/>
                    <a:pt x="82" y="567"/>
                  </a:cubicBezTo>
                  <a:cubicBezTo>
                    <a:pt x="80" y="568"/>
                    <a:pt x="80" y="568"/>
                    <a:pt x="80" y="568"/>
                  </a:cubicBezTo>
                  <a:cubicBezTo>
                    <a:pt x="83" y="571"/>
                    <a:pt x="83" y="571"/>
                    <a:pt x="83" y="571"/>
                  </a:cubicBezTo>
                  <a:lnTo>
                    <a:pt x="87" y="568"/>
                  </a:lnTo>
                  <a:close/>
                  <a:moveTo>
                    <a:pt x="110" y="557"/>
                  </a:moveTo>
                  <a:cubicBezTo>
                    <a:pt x="109" y="551"/>
                    <a:pt x="109" y="551"/>
                    <a:pt x="109" y="551"/>
                  </a:cubicBezTo>
                  <a:cubicBezTo>
                    <a:pt x="106" y="551"/>
                    <a:pt x="106" y="551"/>
                    <a:pt x="106" y="551"/>
                  </a:cubicBezTo>
                  <a:cubicBezTo>
                    <a:pt x="107" y="554"/>
                    <a:pt x="107" y="554"/>
                    <a:pt x="107" y="554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0" y="558"/>
                    <a:pt x="100" y="558"/>
                    <a:pt x="100" y="558"/>
                  </a:cubicBezTo>
                  <a:cubicBezTo>
                    <a:pt x="105" y="562"/>
                    <a:pt x="105" y="562"/>
                    <a:pt x="105" y="562"/>
                  </a:cubicBezTo>
                  <a:lnTo>
                    <a:pt x="110" y="557"/>
                  </a:lnTo>
                  <a:close/>
                  <a:moveTo>
                    <a:pt x="116" y="555"/>
                  </a:moveTo>
                  <a:cubicBezTo>
                    <a:pt x="116" y="552"/>
                    <a:pt x="116" y="552"/>
                    <a:pt x="116" y="552"/>
                  </a:cubicBezTo>
                  <a:cubicBezTo>
                    <a:pt x="111" y="553"/>
                    <a:pt x="111" y="553"/>
                    <a:pt x="111" y="553"/>
                  </a:cubicBezTo>
                  <a:cubicBezTo>
                    <a:pt x="112" y="557"/>
                    <a:pt x="112" y="557"/>
                    <a:pt x="112" y="557"/>
                  </a:cubicBezTo>
                  <a:lnTo>
                    <a:pt x="116" y="555"/>
                  </a:lnTo>
                  <a:close/>
                  <a:moveTo>
                    <a:pt x="113" y="548"/>
                  </a:moveTo>
                  <a:cubicBezTo>
                    <a:pt x="111" y="552"/>
                    <a:pt x="111" y="552"/>
                    <a:pt x="111" y="552"/>
                  </a:cubicBezTo>
                  <a:cubicBezTo>
                    <a:pt x="115" y="551"/>
                    <a:pt x="115" y="551"/>
                    <a:pt x="115" y="551"/>
                  </a:cubicBezTo>
                  <a:lnTo>
                    <a:pt x="113" y="548"/>
                  </a:lnTo>
                  <a:close/>
                  <a:moveTo>
                    <a:pt x="124" y="545"/>
                  </a:moveTo>
                  <a:cubicBezTo>
                    <a:pt x="117" y="545"/>
                    <a:pt x="121" y="549"/>
                    <a:pt x="123" y="549"/>
                  </a:cubicBezTo>
                  <a:cubicBezTo>
                    <a:pt x="126" y="550"/>
                    <a:pt x="130" y="545"/>
                    <a:pt x="124" y="545"/>
                  </a:cubicBezTo>
                  <a:close/>
                  <a:moveTo>
                    <a:pt x="135" y="547"/>
                  </a:moveTo>
                  <a:cubicBezTo>
                    <a:pt x="133" y="542"/>
                    <a:pt x="133" y="542"/>
                    <a:pt x="133" y="542"/>
                  </a:cubicBezTo>
                  <a:cubicBezTo>
                    <a:pt x="132" y="544"/>
                    <a:pt x="132" y="544"/>
                    <a:pt x="132" y="544"/>
                  </a:cubicBezTo>
                  <a:cubicBezTo>
                    <a:pt x="129" y="541"/>
                    <a:pt x="129" y="541"/>
                    <a:pt x="129" y="541"/>
                  </a:cubicBezTo>
                  <a:cubicBezTo>
                    <a:pt x="127" y="542"/>
                    <a:pt x="127" y="542"/>
                    <a:pt x="127" y="542"/>
                  </a:cubicBezTo>
                  <a:cubicBezTo>
                    <a:pt x="132" y="549"/>
                    <a:pt x="132" y="549"/>
                    <a:pt x="132" y="549"/>
                  </a:cubicBezTo>
                  <a:lnTo>
                    <a:pt x="135" y="547"/>
                  </a:lnTo>
                  <a:close/>
                  <a:moveTo>
                    <a:pt x="118" y="535"/>
                  </a:moveTo>
                  <a:cubicBezTo>
                    <a:pt x="123" y="537"/>
                    <a:pt x="123" y="537"/>
                    <a:pt x="123" y="537"/>
                  </a:cubicBezTo>
                  <a:cubicBezTo>
                    <a:pt x="127" y="536"/>
                    <a:pt x="127" y="536"/>
                    <a:pt x="127" y="536"/>
                  </a:cubicBezTo>
                  <a:cubicBezTo>
                    <a:pt x="127" y="536"/>
                    <a:pt x="127" y="529"/>
                    <a:pt x="123" y="530"/>
                  </a:cubicBezTo>
                  <a:cubicBezTo>
                    <a:pt x="117" y="530"/>
                    <a:pt x="115" y="531"/>
                    <a:pt x="115" y="531"/>
                  </a:cubicBezTo>
                  <a:cubicBezTo>
                    <a:pt x="116" y="535"/>
                    <a:pt x="116" y="535"/>
                    <a:pt x="116" y="535"/>
                  </a:cubicBezTo>
                  <a:lnTo>
                    <a:pt x="118" y="535"/>
                  </a:lnTo>
                  <a:close/>
                  <a:moveTo>
                    <a:pt x="138" y="522"/>
                  </a:moveTo>
                  <a:cubicBezTo>
                    <a:pt x="138" y="522"/>
                    <a:pt x="131" y="524"/>
                    <a:pt x="131" y="528"/>
                  </a:cubicBezTo>
                  <a:cubicBezTo>
                    <a:pt x="131" y="533"/>
                    <a:pt x="138" y="530"/>
                    <a:pt x="145" y="529"/>
                  </a:cubicBezTo>
                  <a:cubicBezTo>
                    <a:pt x="154" y="526"/>
                    <a:pt x="158" y="523"/>
                    <a:pt x="156" y="522"/>
                  </a:cubicBezTo>
                  <a:cubicBezTo>
                    <a:pt x="154" y="521"/>
                    <a:pt x="150" y="521"/>
                    <a:pt x="150" y="521"/>
                  </a:cubicBezTo>
                  <a:cubicBezTo>
                    <a:pt x="150" y="518"/>
                    <a:pt x="150" y="518"/>
                    <a:pt x="150" y="518"/>
                  </a:cubicBezTo>
                  <a:cubicBezTo>
                    <a:pt x="150" y="518"/>
                    <a:pt x="147" y="518"/>
                    <a:pt x="143" y="519"/>
                  </a:cubicBezTo>
                  <a:cubicBezTo>
                    <a:pt x="139" y="519"/>
                    <a:pt x="138" y="522"/>
                    <a:pt x="138" y="522"/>
                  </a:cubicBezTo>
                  <a:close/>
                  <a:moveTo>
                    <a:pt x="139" y="516"/>
                  </a:moveTo>
                  <a:cubicBezTo>
                    <a:pt x="147" y="514"/>
                    <a:pt x="147" y="514"/>
                    <a:pt x="147" y="514"/>
                  </a:cubicBezTo>
                  <a:cubicBezTo>
                    <a:pt x="146" y="508"/>
                    <a:pt x="146" y="508"/>
                    <a:pt x="146" y="508"/>
                  </a:cubicBezTo>
                  <a:cubicBezTo>
                    <a:pt x="146" y="508"/>
                    <a:pt x="142" y="513"/>
                    <a:pt x="139" y="513"/>
                  </a:cubicBezTo>
                  <a:cubicBezTo>
                    <a:pt x="137" y="514"/>
                    <a:pt x="131" y="515"/>
                    <a:pt x="131" y="515"/>
                  </a:cubicBezTo>
                  <a:cubicBezTo>
                    <a:pt x="132" y="516"/>
                    <a:pt x="132" y="516"/>
                    <a:pt x="132" y="516"/>
                  </a:cubicBezTo>
                  <a:lnTo>
                    <a:pt x="139" y="516"/>
                  </a:lnTo>
                  <a:close/>
                  <a:moveTo>
                    <a:pt x="159" y="517"/>
                  </a:moveTo>
                  <a:cubicBezTo>
                    <a:pt x="154" y="518"/>
                    <a:pt x="154" y="518"/>
                    <a:pt x="154" y="518"/>
                  </a:cubicBezTo>
                  <a:cubicBezTo>
                    <a:pt x="153" y="519"/>
                    <a:pt x="153" y="519"/>
                    <a:pt x="153" y="519"/>
                  </a:cubicBezTo>
                  <a:cubicBezTo>
                    <a:pt x="159" y="519"/>
                    <a:pt x="159" y="519"/>
                    <a:pt x="159" y="519"/>
                  </a:cubicBezTo>
                  <a:lnTo>
                    <a:pt x="159" y="517"/>
                  </a:lnTo>
                  <a:close/>
                  <a:moveTo>
                    <a:pt x="162" y="515"/>
                  </a:moveTo>
                  <a:cubicBezTo>
                    <a:pt x="162" y="521"/>
                    <a:pt x="162" y="521"/>
                    <a:pt x="162" y="521"/>
                  </a:cubicBezTo>
                  <a:cubicBezTo>
                    <a:pt x="166" y="519"/>
                    <a:pt x="166" y="519"/>
                    <a:pt x="166" y="519"/>
                  </a:cubicBezTo>
                  <a:lnTo>
                    <a:pt x="162" y="515"/>
                  </a:lnTo>
                  <a:close/>
                  <a:moveTo>
                    <a:pt x="235" y="425"/>
                  </a:moveTo>
                  <a:cubicBezTo>
                    <a:pt x="235" y="425"/>
                    <a:pt x="232" y="424"/>
                    <a:pt x="230" y="425"/>
                  </a:cubicBezTo>
                  <a:cubicBezTo>
                    <a:pt x="227" y="427"/>
                    <a:pt x="229" y="430"/>
                    <a:pt x="229" y="430"/>
                  </a:cubicBezTo>
                  <a:lnTo>
                    <a:pt x="235" y="425"/>
                  </a:lnTo>
                  <a:close/>
                  <a:moveTo>
                    <a:pt x="215" y="439"/>
                  </a:moveTo>
                  <a:cubicBezTo>
                    <a:pt x="216" y="439"/>
                    <a:pt x="214" y="441"/>
                    <a:pt x="214" y="441"/>
                  </a:cubicBezTo>
                  <a:cubicBezTo>
                    <a:pt x="216" y="443"/>
                    <a:pt x="216" y="443"/>
                    <a:pt x="216" y="443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9"/>
                    <a:pt x="220" y="434"/>
                    <a:pt x="214" y="435"/>
                  </a:cubicBezTo>
                  <a:cubicBezTo>
                    <a:pt x="210" y="436"/>
                    <a:pt x="207" y="440"/>
                    <a:pt x="207" y="440"/>
                  </a:cubicBezTo>
                  <a:cubicBezTo>
                    <a:pt x="210" y="442"/>
                    <a:pt x="210" y="442"/>
                    <a:pt x="210" y="442"/>
                  </a:cubicBezTo>
                  <a:cubicBezTo>
                    <a:pt x="210" y="442"/>
                    <a:pt x="214" y="438"/>
                    <a:pt x="215" y="439"/>
                  </a:cubicBezTo>
                  <a:close/>
                  <a:moveTo>
                    <a:pt x="239" y="396"/>
                  </a:moveTo>
                  <a:cubicBezTo>
                    <a:pt x="244" y="390"/>
                    <a:pt x="244" y="390"/>
                    <a:pt x="244" y="390"/>
                  </a:cubicBezTo>
                  <a:cubicBezTo>
                    <a:pt x="242" y="387"/>
                    <a:pt x="242" y="387"/>
                    <a:pt x="242" y="387"/>
                  </a:cubicBezTo>
                  <a:cubicBezTo>
                    <a:pt x="242" y="387"/>
                    <a:pt x="236" y="386"/>
                    <a:pt x="237" y="391"/>
                  </a:cubicBezTo>
                  <a:cubicBezTo>
                    <a:pt x="237" y="396"/>
                    <a:pt x="239" y="396"/>
                    <a:pt x="239" y="396"/>
                  </a:cubicBezTo>
                  <a:close/>
                  <a:moveTo>
                    <a:pt x="242" y="408"/>
                  </a:moveTo>
                  <a:cubicBezTo>
                    <a:pt x="244" y="408"/>
                    <a:pt x="244" y="408"/>
                    <a:pt x="244" y="408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4" y="402"/>
                    <a:pt x="244" y="402"/>
                    <a:pt x="244" y="402"/>
                  </a:cubicBezTo>
                  <a:lnTo>
                    <a:pt x="242" y="408"/>
                  </a:lnTo>
                  <a:close/>
                  <a:moveTo>
                    <a:pt x="259" y="367"/>
                  </a:moveTo>
                  <a:cubicBezTo>
                    <a:pt x="259" y="367"/>
                    <a:pt x="254" y="371"/>
                    <a:pt x="253" y="373"/>
                  </a:cubicBezTo>
                  <a:cubicBezTo>
                    <a:pt x="252" y="374"/>
                    <a:pt x="255" y="378"/>
                    <a:pt x="255" y="378"/>
                  </a:cubicBezTo>
                  <a:cubicBezTo>
                    <a:pt x="260" y="373"/>
                    <a:pt x="260" y="373"/>
                    <a:pt x="260" y="373"/>
                  </a:cubicBezTo>
                  <a:cubicBezTo>
                    <a:pt x="265" y="370"/>
                    <a:pt x="265" y="370"/>
                    <a:pt x="265" y="370"/>
                  </a:cubicBezTo>
                  <a:cubicBezTo>
                    <a:pt x="266" y="367"/>
                    <a:pt x="266" y="367"/>
                    <a:pt x="266" y="367"/>
                  </a:cubicBezTo>
                  <a:cubicBezTo>
                    <a:pt x="260" y="370"/>
                    <a:pt x="260" y="370"/>
                    <a:pt x="260" y="370"/>
                  </a:cubicBezTo>
                  <a:lnTo>
                    <a:pt x="259" y="367"/>
                  </a:lnTo>
                  <a:close/>
                  <a:moveTo>
                    <a:pt x="253" y="366"/>
                  </a:moveTo>
                  <a:cubicBezTo>
                    <a:pt x="259" y="363"/>
                    <a:pt x="259" y="363"/>
                    <a:pt x="259" y="363"/>
                  </a:cubicBezTo>
                  <a:cubicBezTo>
                    <a:pt x="260" y="360"/>
                    <a:pt x="260" y="360"/>
                    <a:pt x="260" y="360"/>
                  </a:cubicBezTo>
                  <a:cubicBezTo>
                    <a:pt x="258" y="359"/>
                    <a:pt x="258" y="359"/>
                    <a:pt x="258" y="359"/>
                  </a:cubicBezTo>
                  <a:cubicBezTo>
                    <a:pt x="260" y="357"/>
                    <a:pt x="260" y="357"/>
                    <a:pt x="260" y="357"/>
                  </a:cubicBezTo>
                  <a:cubicBezTo>
                    <a:pt x="259" y="353"/>
                    <a:pt x="259" y="353"/>
                    <a:pt x="259" y="353"/>
                  </a:cubicBezTo>
                  <a:cubicBezTo>
                    <a:pt x="255" y="356"/>
                    <a:pt x="255" y="356"/>
                    <a:pt x="255" y="356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2" y="363"/>
                    <a:pt x="252" y="363"/>
                    <a:pt x="252" y="363"/>
                  </a:cubicBezTo>
                  <a:lnTo>
                    <a:pt x="253" y="366"/>
                  </a:lnTo>
                  <a:close/>
                  <a:moveTo>
                    <a:pt x="263" y="349"/>
                  </a:moveTo>
                  <a:cubicBezTo>
                    <a:pt x="262" y="352"/>
                    <a:pt x="262" y="352"/>
                    <a:pt x="262" y="352"/>
                  </a:cubicBezTo>
                  <a:cubicBezTo>
                    <a:pt x="264" y="355"/>
                    <a:pt x="264" y="355"/>
                    <a:pt x="264" y="355"/>
                  </a:cubicBezTo>
                  <a:cubicBezTo>
                    <a:pt x="268" y="350"/>
                    <a:pt x="268" y="350"/>
                    <a:pt x="268" y="350"/>
                  </a:cubicBezTo>
                  <a:lnTo>
                    <a:pt x="263" y="349"/>
                  </a:lnTo>
                  <a:close/>
                  <a:moveTo>
                    <a:pt x="264" y="359"/>
                  </a:moveTo>
                  <a:cubicBezTo>
                    <a:pt x="265" y="357"/>
                    <a:pt x="265" y="357"/>
                    <a:pt x="265" y="357"/>
                  </a:cubicBezTo>
                  <a:cubicBezTo>
                    <a:pt x="262" y="357"/>
                    <a:pt x="262" y="357"/>
                    <a:pt x="262" y="357"/>
                  </a:cubicBezTo>
                  <a:lnTo>
                    <a:pt x="264" y="359"/>
                  </a:lnTo>
                  <a:close/>
                  <a:moveTo>
                    <a:pt x="266" y="343"/>
                  </a:moveTo>
                  <a:cubicBezTo>
                    <a:pt x="269" y="340"/>
                    <a:pt x="269" y="340"/>
                    <a:pt x="269" y="340"/>
                  </a:cubicBezTo>
                  <a:cubicBezTo>
                    <a:pt x="265" y="339"/>
                    <a:pt x="265" y="339"/>
                    <a:pt x="265" y="339"/>
                  </a:cubicBezTo>
                  <a:lnTo>
                    <a:pt x="266" y="343"/>
                  </a:lnTo>
                  <a:close/>
                  <a:moveTo>
                    <a:pt x="261" y="330"/>
                  </a:moveTo>
                  <a:cubicBezTo>
                    <a:pt x="258" y="329"/>
                    <a:pt x="258" y="329"/>
                    <a:pt x="258" y="329"/>
                  </a:cubicBezTo>
                  <a:cubicBezTo>
                    <a:pt x="257" y="333"/>
                    <a:pt x="257" y="333"/>
                    <a:pt x="257" y="333"/>
                  </a:cubicBezTo>
                  <a:cubicBezTo>
                    <a:pt x="260" y="332"/>
                    <a:pt x="260" y="332"/>
                    <a:pt x="260" y="332"/>
                  </a:cubicBezTo>
                  <a:lnTo>
                    <a:pt x="261" y="330"/>
                  </a:lnTo>
                  <a:close/>
                  <a:moveTo>
                    <a:pt x="272" y="351"/>
                  </a:moveTo>
                  <a:cubicBezTo>
                    <a:pt x="269" y="350"/>
                    <a:pt x="269" y="350"/>
                    <a:pt x="269" y="350"/>
                  </a:cubicBezTo>
                  <a:cubicBezTo>
                    <a:pt x="268" y="356"/>
                    <a:pt x="268" y="356"/>
                    <a:pt x="268" y="356"/>
                  </a:cubicBezTo>
                  <a:lnTo>
                    <a:pt x="272" y="351"/>
                  </a:lnTo>
                  <a:close/>
                  <a:moveTo>
                    <a:pt x="280" y="319"/>
                  </a:moveTo>
                  <a:cubicBezTo>
                    <a:pt x="278" y="317"/>
                    <a:pt x="278" y="317"/>
                    <a:pt x="278" y="317"/>
                  </a:cubicBezTo>
                  <a:cubicBezTo>
                    <a:pt x="276" y="320"/>
                    <a:pt x="276" y="320"/>
                    <a:pt x="276" y="320"/>
                  </a:cubicBezTo>
                  <a:lnTo>
                    <a:pt x="280" y="319"/>
                  </a:lnTo>
                  <a:close/>
                  <a:moveTo>
                    <a:pt x="284" y="313"/>
                  </a:moveTo>
                  <a:cubicBezTo>
                    <a:pt x="279" y="312"/>
                    <a:pt x="279" y="312"/>
                    <a:pt x="279" y="312"/>
                  </a:cubicBezTo>
                  <a:cubicBezTo>
                    <a:pt x="276" y="315"/>
                    <a:pt x="276" y="315"/>
                    <a:pt x="276" y="315"/>
                  </a:cubicBezTo>
                  <a:cubicBezTo>
                    <a:pt x="284" y="315"/>
                    <a:pt x="284" y="315"/>
                    <a:pt x="284" y="315"/>
                  </a:cubicBezTo>
                  <a:lnTo>
                    <a:pt x="284" y="313"/>
                  </a:lnTo>
                  <a:close/>
                  <a:moveTo>
                    <a:pt x="301" y="300"/>
                  </a:moveTo>
                  <a:cubicBezTo>
                    <a:pt x="304" y="290"/>
                    <a:pt x="304" y="290"/>
                    <a:pt x="304" y="290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1" y="294"/>
                    <a:pt x="301" y="294"/>
                    <a:pt x="301" y="294"/>
                  </a:cubicBezTo>
                  <a:cubicBezTo>
                    <a:pt x="297" y="292"/>
                    <a:pt x="297" y="292"/>
                    <a:pt x="297" y="292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300" y="298"/>
                    <a:pt x="300" y="298"/>
                    <a:pt x="300" y="298"/>
                  </a:cubicBezTo>
                  <a:cubicBezTo>
                    <a:pt x="300" y="300"/>
                    <a:pt x="300" y="300"/>
                    <a:pt x="300" y="300"/>
                  </a:cubicBezTo>
                  <a:lnTo>
                    <a:pt x="301" y="300"/>
                  </a:lnTo>
                  <a:close/>
                  <a:moveTo>
                    <a:pt x="305" y="276"/>
                  </a:moveTo>
                  <a:cubicBezTo>
                    <a:pt x="298" y="279"/>
                    <a:pt x="304" y="279"/>
                    <a:pt x="306" y="278"/>
                  </a:cubicBezTo>
                  <a:cubicBezTo>
                    <a:pt x="311" y="276"/>
                    <a:pt x="310" y="273"/>
                    <a:pt x="305" y="276"/>
                  </a:cubicBezTo>
                  <a:close/>
                  <a:moveTo>
                    <a:pt x="262" y="260"/>
                  </a:moveTo>
                  <a:cubicBezTo>
                    <a:pt x="260" y="266"/>
                    <a:pt x="260" y="266"/>
                    <a:pt x="260" y="266"/>
                  </a:cubicBezTo>
                  <a:cubicBezTo>
                    <a:pt x="265" y="263"/>
                    <a:pt x="265" y="263"/>
                    <a:pt x="265" y="263"/>
                  </a:cubicBezTo>
                  <a:lnTo>
                    <a:pt x="262" y="260"/>
                  </a:lnTo>
                  <a:close/>
                  <a:moveTo>
                    <a:pt x="320" y="244"/>
                  </a:moveTo>
                  <a:cubicBezTo>
                    <a:pt x="327" y="242"/>
                    <a:pt x="327" y="242"/>
                    <a:pt x="327" y="242"/>
                  </a:cubicBezTo>
                  <a:cubicBezTo>
                    <a:pt x="327" y="241"/>
                    <a:pt x="327" y="241"/>
                    <a:pt x="327" y="241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44"/>
                  </a:lnTo>
                  <a:close/>
                  <a:moveTo>
                    <a:pt x="323" y="236"/>
                  </a:moveTo>
                  <a:cubicBezTo>
                    <a:pt x="327" y="239"/>
                    <a:pt x="327" y="239"/>
                    <a:pt x="327" y="239"/>
                  </a:cubicBezTo>
                  <a:cubicBezTo>
                    <a:pt x="327" y="238"/>
                    <a:pt x="324" y="234"/>
                    <a:pt x="324" y="234"/>
                  </a:cubicBezTo>
                  <a:lnTo>
                    <a:pt x="323" y="236"/>
                  </a:lnTo>
                  <a:close/>
                  <a:moveTo>
                    <a:pt x="353" y="201"/>
                  </a:moveTo>
                  <a:cubicBezTo>
                    <a:pt x="346" y="195"/>
                    <a:pt x="347" y="207"/>
                    <a:pt x="347" y="207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45" y="210"/>
                    <a:pt x="345" y="210"/>
                    <a:pt x="345" y="210"/>
                  </a:cubicBezTo>
                  <a:cubicBezTo>
                    <a:pt x="351" y="208"/>
                    <a:pt x="351" y="208"/>
                    <a:pt x="351" y="208"/>
                  </a:cubicBezTo>
                  <a:cubicBezTo>
                    <a:pt x="351" y="208"/>
                    <a:pt x="358" y="206"/>
                    <a:pt x="353" y="201"/>
                  </a:cubicBezTo>
                  <a:close/>
                  <a:moveTo>
                    <a:pt x="343" y="217"/>
                  </a:moveTo>
                  <a:cubicBezTo>
                    <a:pt x="348" y="213"/>
                    <a:pt x="348" y="213"/>
                    <a:pt x="348" y="213"/>
                  </a:cubicBezTo>
                  <a:cubicBezTo>
                    <a:pt x="343" y="214"/>
                    <a:pt x="343" y="214"/>
                    <a:pt x="343" y="214"/>
                  </a:cubicBezTo>
                  <a:lnTo>
                    <a:pt x="343" y="217"/>
                  </a:lnTo>
                  <a:close/>
                  <a:moveTo>
                    <a:pt x="350" y="229"/>
                  </a:moveTo>
                  <a:cubicBezTo>
                    <a:pt x="348" y="232"/>
                    <a:pt x="348" y="232"/>
                    <a:pt x="348" y="232"/>
                  </a:cubicBezTo>
                  <a:cubicBezTo>
                    <a:pt x="354" y="232"/>
                    <a:pt x="354" y="232"/>
                    <a:pt x="354" y="232"/>
                  </a:cubicBezTo>
                  <a:lnTo>
                    <a:pt x="350" y="229"/>
                  </a:lnTo>
                  <a:close/>
                  <a:moveTo>
                    <a:pt x="265" y="251"/>
                  </a:moveTo>
                  <a:cubicBezTo>
                    <a:pt x="265" y="251"/>
                    <a:pt x="270" y="250"/>
                    <a:pt x="271" y="247"/>
                  </a:cubicBezTo>
                  <a:cubicBezTo>
                    <a:pt x="271" y="245"/>
                    <a:pt x="270" y="242"/>
                    <a:pt x="271" y="242"/>
                  </a:cubicBezTo>
                  <a:cubicBezTo>
                    <a:pt x="272" y="242"/>
                    <a:pt x="275" y="238"/>
                    <a:pt x="275" y="238"/>
                  </a:cubicBezTo>
                  <a:cubicBezTo>
                    <a:pt x="275" y="238"/>
                    <a:pt x="281" y="237"/>
                    <a:pt x="281" y="232"/>
                  </a:cubicBezTo>
                  <a:cubicBezTo>
                    <a:pt x="281" y="226"/>
                    <a:pt x="278" y="227"/>
                    <a:pt x="278" y="227"/>
                  </a:cubicBezTo>
                  <a:cubicBezTo>
                    <a:pt x="274" y="235"/>
                    <a:pt x="274" y="235"/>
                    <a:pt x="274" y="235"/>
                  </a:cubicBezTo>
                  <a:cubicBezTo>
                    <a:pt x="272" y="232"/>
                    <a:pt x="272" y="232"/>
                    <a:pt x="272" y="232"/>
                  </a:cubicBezTo>
                  <a:cubicBezTo>
                    <a:pt x="272" y="232"/>
                    <a:pt x="266" y="239"/>
                    <a:pt x="266" y="242"/>
                  </a:cubicBezTo>
                  <a:cubicBezTo>
                    <a:pt x="265" y="245"/>
                    <a:pt x="266" y="247"/>
                    <a:pt x="266" y="248"/>
                  </a:cubicBezTo>
                  <a:cubicBezTo>
                    <a:pt x="266" y="249"/>
                    <a:pt x="264" y="250"/>
                    <a:pt x="265" y="251"/>
                  </a:cubicBezTo>
                  <a:close/>
                  <a:moveTo>
                    <a:pt x="282" y="233"/>
                  </a:moveTo>
                  <a:cubicBezTo>
                    <a:pt x="282" y="233"/>
                    <a:pt x="287" y="233"/>
                    <a:pt x="289" y="232"/>
                  </a:cubicBezTo>
                  <a:cubicBezTo>
                    <a:pt x="292" y="231"/>
                    <a:pt x="290" y="226"/>
                    <a:pt x="290" y="226"/>
                  </a:cubicBezTo>
                  <a:cubicBezTo>
                    <a:pt x="290" y="226"/>
                    <a:pt x="297" y="222"/>
                    <a:pt x="301" y="221"/>
                  </a:cubicBezTo>
                  <a:cubicBezTo>
                    <a:pt x="303" y="220"/>
                    <a:pt x="298" y="215"/>
                    <a:pt x="296" y="215"/>
                  </a:cubicBezTo>
                  <a:cubicBezTo>
                    <a:pt x="293" y="215"/>
                    <a:pt x="298" y="219"/>
                    <a:pt x="296" y="220"/>
                  </a:cubicBezTo>
                  <a:cubicBezTo>
                    <a:pt x="294" y="221"/>
                    <a:pt x="292" y="215"/>
                    <a:pt x="292" y="215"/>
                  </a:cubicBezTo>
                  <a:cubicBezTo>
                    <a:pt x="288" y="219"/>
                    <a:pt x="288" y="219"/>
                    <a:pt x="288" y="219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85" y="223"/>
                    <a:pt x="285" y="223"/>
                    <a:pt x="285" y="223"/>
                  </a:cubicBezTo>
                  <a:cubicBezTo>
                    <a:pt x="282" y="224"/>
                    <a:pt x="282" y="224"/>
                    <a:pt x="282" y="224"/>
                  </a:cubicBezTo>
                  <a:cubicBezTo>
                    <a:pt x="282" y="227"/>
                    <a:pt x="282" y="227"/>
                    <a:pt x="282" y="227"/>
                  </a:cubicBezTo>
                  <a:cubicBezTo>
                    <a:pt x="284" y="229"/>
                    <a:pt x="284" y="229"/>
                    <a:pt x="284" y="229"/>
                  </a:cubicBezTo>
                  <a:lnTo>
                    <a:pt x="282" y="233"/>
                  </a:lnTo>
                  <a:close/>
                  <a:moveTo>
                    <a:pt x="303" y="221"/>
                  </a:moveTo>
                  <a:cubicBezTo>
                    <a:pt x="303" y="223"/>
                    <a:pt x="301" y="226"/>
                    <a:pt x="301" y="226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11" y="216"/>
                    <a:pt x="311" y="216"/>
                    <a:pt x="311" y="216"/>
                  </a:cubicBezTo>
                  <a:cubicBezTo>
                    <a:pt x="313" y="220"/>
                    <a:pt x="313" y="220"/>
                    <a:pt x="313" y="220"/>
                  </a:cubicBezTo>
                  <a:cubicBezTo>
                    <a:pt x="322" y="207"/>
                    <a:pt x="322" y="207"/>
                    <a:pt x="322" y="207"/>
                  </a:cubicBezTo>
                  <a:cubicBezTo>
                    <a:pt x="322" y="207"/>
                    <a:pt x="317" y="208"/>
                    <a:pt x="317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05" y="213"/>
                    <a:pt x="305" y="213"/>
                    <a:pt x="305" y="213"/>
                  </a:cubicBezTo>
                  <a:cubicBezTo>
                    <a:pt x="306" y="217"/>
                    <a:pt x="306" y="217"/>
                    <a:pt x="306" y="217"/>
                  </a:cubicBezTo>
                  <a:cubicBezTo>
                    <a:pt x="303" y="216"/>
                    <a:pt x="303" y="216"/>
                    <a:pt x="303" y="216"/>
                  </a:cubicBezTo>
                  <a:cubicBezTo>
                    <a:pt x="303" y="216"/>
                    <a:pt x="304" y="219"/>
                    <a:pt x="303" y="221"/>
                  </a:cubicBezTo>
                  <a:close/>
                  <a:moveTo>
                    <a:pt x="362" y="187"/>
                  </a:moveTo>
                  <a:cubicBezTo>
                    <a:pt x="362" y="187"/>
                    <a:pt x="366" y="187"/>
                    <a:pt x="367" y="186"/>
                  </a:cubicBezTo>
                  <a:cubicBezTo>
                    <a:pt x="369" y="186"/>
                    <a:pt x="372" y="184"/>
                    <a:pt x="372" y="184"/>
                  </a:cubicBezTo>
                  <a:cubicBezTo>
                    <a:pt x="367" y="178"/>
                    <a:pt x="367" y="178"/>
                    <a:pt x="367" y="178"/>
                  </a:cubicBezTo>
                  <a:lnTo>
                    <a:pt x="362" y="187"/>
                  </a:lnTo>
                  <a:close/>
                  <a:moveTo>
                    <a:pt x="378" y="177"/>
                  </a:moveTo>
                  <a:cubicBezTo>
                    <a:pt x="377" y="175"/>
                    <a:pt x="376" y="174"/>
                    <a:pt x="374" y="174"/>
                  </a:cubicBezTo>
                  <a:cubicBezTo>
                    <a:pt x="371" y="173"/>
                    <a:pt x="369" y="175"/>
                    <a:pt x="369" y="175"/>
                  </a:cubicBezTo>
                  <a:cubicBezTo>
                    <a:pt x="369" y="175"/>
                    <a:pt x="370" y="182"/>
                    <a:pt x="373" y="182"/>
                  </a:cubicBezTo>
                  <a:cubicBezTo>
                    <a:pt x="375" y="183"/>
                    <a:pt x="379" y="178"/>
                    <a:pt x="378" y="177"/>
                  </a:cubicBezTo>
                  <a:close/>
                  <a:moveTo>
                    <a:pt x="352" y="177"/>
                  </a:moveTo>
                  <a:cubicBezTo>
                    <a:pt x="355" y="179"/>
                    <a:pt x="357" y="179"/>
                    <a:pt x="357" y="179"/>
                  </a:cubicBezTo>
                  <a:cubicBezTo>
                    <a:pt x="357" y="174"/>
                    <a:pt x="357" y="174"/>
                    <a:pt x="357" y="174"/>
                  </a:cubicBezTo>
                  <a:cubicBezTo>
                    <a:pt x="350" y="171"/>
                    <a:pt x="350" y="171"/>
                    <a:pt x="350" y="171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50" y="177"/>
                    <a:pt x="352" y="177"/>
                  </a:cubicBezTo>
                  <a:close/>
                  <a:moveTo>
                    <a:pt x="348" y="178"/>
                  </a:moveTo>
                  <a:cubicBezTo>
                    <a:pt x="344" y="183"/>
                    <a:pt x="344" y="183"/>
                    <a:pt x="344" y="183"/>
                  </a:cubicBezTo>
                  <a:cubicBezTo>
                    <a:pt x="348" y="188"/>
                    <a:pt x="348" y="188"/>
                    <a:pt x="348" y="188"/>
                  </a:cubicBezTo>
                  <a:cubicBezTo>
                    <a:pt x="344" y="189"/>
                    <a:pt x="344" y="189"/>
                    <a:pt x="344" y="189"/>
                  </a:cubicBezTo>
                  <a:cubicBezTo>
                    <a:pt x="337" y="201"/>
                    <a:pt x="337" y="201"/>
                    <a:pt x="337" y="201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2" y="177"/>
                    <a:pt x="338" y="175"/>
                  </a:cubicBezTo>
                  <a:cubicBezTo>
                    <a:pt x="333" y="173"/>
                    <a:pt x="333" y="185"/>
                    <a:pt x="333" y="185"/>
                  </a:cubicBezTo>
                  <a:cubicBezTo>
                    <a:pt x="330" y="186"/>
                    <a:pt x="330" y="186"/>
                    <a:pt x="330" y="186"/>
                  </a:cubicBezTo>
                  <a:cubicBezTo>
                    <a:pt x="331" y="197"/>
                    <a:pt x="331" y="197"/>
                    <a:pt x="331" y="197"/>
                  </a:cubicBezTo>
                  <a:cubicBezTo>
                    <a:pt x="324" y="202"/>
                    <a:pt x="324" y="202"/>
                    <a:pt x="324" y="202"/>
                  </a:cubicBezTo>
                  <a:cubicBezTo>
                    <a:pt x="325" y="206"/>
                    <a:pt x="325" y="206"/>
                    <a:pt x="325" y="206"/>
                  </a:cubicBezTo>
                  <a:cubicBezTo>
                    <a:pt x="319" y="218"/>
                    <a:pt x="319" y="218"/>
                    <a:pt x="319" y="218"/>
                  </a:cubicBezTo>
                  <a:cubicBezTo>
                    <a:pt x="322" y="218"/>
                    <a:pt x="322" y="218"/>
                    <a:pt x="322" y="218"/>
                  </a:cubicBezTo>
                  <a:cubicBezTo>
                    <a:pt x="331" y="208"/>
                    <a:pt x="331" y="208"/>
                    <a:pt x="331" y="208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35" y="215"/>
                    <a:pt x="335" y="215"/>
                    <a:pt x="335" y="215"/>
                  </a:cubicBezTo>
                  <a:cubicBezTo>
                    <a:pt x="336" y="215"/>
                    <a:pt x="337" y="209"/>
                    <a:pt x="337" y="209"/>
                  </a:cubicBezTo>
                  <a:cubicBezTo>
                    <a:pt x="340" y="211"/>
                    <a:pt x="340" y="211"/>
                    <a:pt x="340" y="211"/>
                  </a:cubicBezTo>
                  <a:cubicBezTo>
                    <a:pt x="340" y="211"/>
                    <a:pt x="345" y="202"/>
                    <a:pt x="346" y="200"/>
                  </a:cubicBezTo>
                  <a:cubicBezTo>
                    <a:pt x="347" y="198"/>
                    <a:pt x="354" y="198"/>
                    <a:pt x="354" y="198"/>
                  </a:cubicBezTo>
                  <a:cubicBezTo>
                    <a:pt x="354" y="198"/>
                    <a:pt x="357" y="193"/>
                    <a:pt x="358" y="188"/>
                  </a:cubicBezTo>
                  <a:cubicBezTo>
                    <a:pt x="359" y="184"/>
                    <a:pt x="348" y="178"/>
                    <a:pt x="348" y="178"/>
                  </a:cubicBezTo>
                  <a:close/>
                  <a:moveTo>
                    <a:pt x="330" y="179"/>
                  </a:moveTo>
                  <a:cubicBezTo>
                    <a:pt x="330" y="174"/>
                    <a:pt x="330" y="174"/>
                    <a:pt x="330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43" y="162"/>
                    <a:pt x="343" y="162"/>
                    <a:pt x="343" y="162"/>
                  </a:cubicBezTo>
                  <a:cubicBezTo>
                    <a:pt x="343" y="162"/>
                    <a:pt x="351" y="146"/>
                    <a:pt x="341" y="155"/>
                  </a:cubicBezTo>
                  <a:cubicBezTo>
                    <a:pt x="331" y="162"/>
                    <a:pt x="326" y="174"/>
                    <a:pt x="327" y="177"/>
                  </a:cubicBezTo>
                  <a:cubicBezTo>
                    <a:pt x="328" y="181"/>
                    <a:pt x="330" y="179"/>
                    <a:pt x="330" y="179"/>
                  </a:cubicBezTo>
                  <a:close/>
                  <a:moveTo>
                    <a:pt x="312" y="197"/>
                  </a:moveTo>
                  <a:cubicBezTo>
                    <a:pt x="315" y="194"/>
                    <a:pt x="319" y="192"/>
                    <a:pt x="319" y="192"/>
                  </a:cubicBezTo>
                  <a:cubicBezTo>
                    <a:pt x="313" y="199"/>
                    <a:pt x="313" y="199"/>
                    <a:pt x="313" y="199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27" y="191"/>
                    <a:pt x="327" y="191"/>
                    <a:pt x="327" y="191"/>
                  </a:cubicBezTo>
                  <a:cubicBezTo>
                    <a:pt x="325" y="187"/>
                    <a:pt x="325" y="187"/>
                    <a:pt x="325" y="187"/>
                  </a:cubicBezTo>
                  <a:cubicBezTo>
                    <a:pt x="327" y="185"/>
                    <a:pt x="327" y="185"/>
                    <a:pt x="327" y="185"/>
                  </a:cubicBezTo>
                  <a:cubicBezTo>
                    <a:pt x="322" y="171"/>
                    <a:pt x="322" y="171"/>
                    <a:pt x="322" y="171"/>
                  </a:cubicBezTo>
                  <a:cubicBezTo>
                    <a:pt x="315" y="172"/>
                    <a:pt x="315" y="172"/>
                    <a:pt x="315" y="172"/>
                  </a:cubicBezTo>
                  <a:cubicBezTo>
                    <a:pt x="320" y="183"/>
                    <a:pt x="320" y="183"/>
                    <a:pt x="320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7" y="188"/>
                    <a:pt x="317" y="188"/>
                    <a:pt x="317" y="188"/>
                  </a:cubicBezTo>
                  <a:cubicBezTo>
                    <a:pt x="309" y="186"/>
                    <a:pt x="309" y="186"/>
                    <a:pt x="309" y="186"/>
                  </a:cubicBezTo>
                  <a:cubicBezTo>
                    <a:pt x="309" y="186"/>
                    <a:pt x="306" y="191"/>
                    <a:pt x="305" y="194"/>
                  </a:cubicBezTo>
                  <a:cubicBezTo>
                    <a:pt x="303" y="199"/>
                    <a:pt x="308" y="198"/>
                    <a:pt x="312" y="197"/>
                  </a:cubicBezTo>
                  <a:close/>
                  <a:moveTo>
                    <a:pt x="309" y="186"/>
                  </a:moveTo>
                  <a:cubicBezTo>
                    <a:pt x="309" y="186"/>
                    <a:pt x="309" y="186"/>
                    <a:pt x="309" y="186"/>
                  </a:cubicBezTo>
                  <a:moveTo>
                    <a:pt x="313" y="206"/>
                  </a:moveTo>
                  <a:cubicBezTo>
                    <a:pt x="322" y="206"/>
                    <a:pt x="319" y="202"/>
                    <a:pt x="313" y="202"/>
                  </a:cubicBezTo>
                  <a:cubicBezTo>
                    <a:pt x="307" y="202"/>
                    <a:pt x="306" y="206"/>
                    <a:pt x="313" y="206"/>
                  </a:cubicBezTo>
                  <a:close/>
                  <a:moveTo>
                    <a:pt x="361" y="157"/>
                  </a:moveTo>
                  <a:cubicBezTo>
                    <a:pt x="367" y="159"/>
                    <a:pt x="367" y="159"/>
                    <a:pt x="367" y="159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62" y="168"/>
                    <a:pt x="368" y="170"/>
                    <a:pt x="371" y="168"/>
                  </a:cubicBezTo>
                  <a:cubicBezTo>
                    <a:pt x="376" y="157"/>
                    <a:pt x="376" y="157"/>
                    <a:pt x="376" y="157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9" y="144"/>
                    <a:pt x="389" y="144"/>
                    <a:pt x="389" y="144"/>
                  </a:cubicBezTo>
                  <a:cubicBezTo>
                    <a:pt x="389" y="144"/>
                    <a:pt x="391" y="135"/>
                    <a:pt x="384" y="132"/>
                  </a:cubicBezTo>
                  <a:cubicBezTo>
                    <a:pt x="376" y="129"/>
                    <a:pt x="370" y="139"/>
                    <a:pt x="370" y="139"/>
                  </a:cubicBezTo>
                  <a:cubicBezTo>
                    <a:pt x="375" y="145"/>
                    <a:pt x="375" y="145"/>
                    <a:pt x="375" y="145"/>
                  </a:cubicBezTo>
                  <a:cubicBezTo>
                    <a:pt x="371" y="143"/>
                    <a:pt x="371" y="143"/>
                    <a:pt x="371" y="143"/>
                  </a:cubicBezTo>
                  <a:cubicBezTo>
                    <a:pt x="371" y="143"/>
                    <a:pt x="362" y="144"/>
                    <a:pt x="362" y="145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7" y="152"/>
                    <a:pt x="367" y="152"/>
                    <a:pt x="367" y="152"/>
                  </a:cubicBezTo>
                  <a:cubicBezTo>
                    <a:pt x="360" y="155"/>
                    <a:pt x="360" y="155"/>
                    <a:pt x="360" y="155"/>
                  </a:cubicBezTo>
                  <a:lnTo>
                    <a:pt x="361" y="157"/>
                  </a:lnTo>
                  <a:close/>
                  <a:moveTo>
                    <a:pt x="401" y="132"/>
                  </a:moveTo>
                  <a:cubicBezTo>
                    <a:pt x="406" y="130"/>
                    <a:pt x="406" y="127"/>
                    <a:pt x="406" y="127"/>
                  </a:cubicBezTo>
                  <a:cubicBezTo>
                    <a:pt x="404" y="127"/>
                    <a:pt x="404" y="127"/>
                    <a:pt x="404" y="127"/>
                  </a:cubicBezTo>
                  <a:cubicBezTo>
                    <a:pt x="404" y="127"/>
                    <a:pt x="405" y="121"/>
                    <a:pt x="407" y="120"/>
                  </a:cubicBezTo>
                  <a:cubicBezTo>
                    <a:pt x="408" y="119"/>
                    <a:pt x="410" y="118"/>
                    <a:pt x="410" y="118"/>
                  </a:cubicBezTo>
                  <a:cubicBezTo>
                    <a:pt x="410" y="118"/>
                    <a:pt x="408" y="111"/>
                    <a:pt x="403" y="112"/>
                  </a:cubicBezTo>
                  <a:cubicBezTo>
                    <a:pt x="399" y="112"/>
                    <a:pt x="401" y="119"/>
                    <a:pt x="401" y="119"/>
                  </a:cubicBezTo>
                  <a:cubicBezTo>
                    <a:pt x="397" y="118"/>
                    <a:pt x="397" y="118"/>
                    <a:pt x="397" y="118"/>
                  </a:cubicBezTo>
                  <a:cubicBezTo>
                    <a:pt x="393" y="121"/>
                    <a:pt x="393" y="121"/>
                    <a:pt x="393" y="121"/>
                  </a:cubicBezTo>
                  <a:cubicBezTo>
                    <a:pt x="394" y="124"/>
                    <a:pt x="394" y="124"/>
                    <a:pt x="394" y="124"/>
                  </a:cubicBezTo>
                  <a:cubicBezTo>
                    <a:pt x="390" y="123"/>
                    <a:pt x="390" y="123"/>
                    <a:pt x="390" y="123"/>
                  </a:cubicBezTo>
                  <a:cubicBezTo>
                    <a:pt x="389" y="126"/>
                    <a:pt x="389" y="126"/>
                    <a:pt x="389" y="126"/>
                  </a:cubicBezTo>
                  <a:cubicBezTo>
                    <a:pt x="390" y="129"/>
                    <a:pt x="390" y="129"/>
                    <a:pt x="390" y="129"/>
                  </a:cubicBezTo>
                  <a:cubicBezTo>
                    <a:pt x="388" y="128"/>
                    <a:pt x="388" y="128"/>
                    <a:pt x="388" y="128"/>
                  </a:cubicBezTo>
                  <a:cubicBezTo>
                    <a:pt x="388" y="132"/>
                    <a:pt x="388" y="132"/>
                    <a:pt x="388" y="132"/>
                  </a:cubicBezTo>
                  <a:cubicBezTo>
                    <a:pt x="388" y="132"/>
                    <a:pt x="395" y="134"/>
                    <a:pt x="401" y="132"/>
                  </a:cubicBezTo>
                  <a:close/>
                  <a:moveTo>
                    <a:pt x="408" y="111"/>
                  </a:moveTo>
                  <a:cubicBezTo>
                    <a:pt x="410" y="112"/>
                    <a:pt x="411" y="112"/>
                    <a:pt x="411" y="112"/>
                  </a:cubicBezTo>
                  <a:cubicBezTo>
                    <a:pt x="412" y="115"/>
                    <a:pt x="412" y="115"/>
                    <a:pt x="412" y="115"/>
                  </a:cubicBezTo>
                  <a:cubicBezTo>
                    <a:pt x="412" y="115"/>
                    <a:pt x="420" y="113"/>
                    <a:pt x="420" y="109"/>
                  </a:cubicBezTo>
                  <a:cubicBezTo>
                    <a:pt x="420" y="106"/>
                    <a:pt x="420" y="106"/>
                    <a:pt x="420" y="106"/>
                  </a:cubicBezTo>
                  <a:cubicBezTo>
                    <a:pt x="420" y="106"/>
                    <a:pt x="426" y="104"/>
                    <a:pt x="424" y="102"/>
                  </a:cubicBezTo>
                  <a:cubicBezTo>
                    <a:pt x="423" y="99"/>
                    <a:pt x="418" y="100"/>
                    <a:pt x="418" y="100"/>
                  </a:cubicBezTo>
                  <a:cubicBezTo>
                    <a:pt x="418" y="100"/>
                    <a:pt x="416" y="96"/>
                    <a:pt x="411" y="97"/>
                  </a:cubicBezTo>
                  <a:cubicBezTo>
                    <a:pt x="408" y="98"/>
                    <a:pt x="403" y="106"/>
                    <a:pt x="403" y="106"/>
                  </a:cubicBezTo>
                  <a:cubicBezTo>
                    <a:pt x="403" y="106"/>
                    <a:pt x="406" y="110"/>
                    <a:pt x="408" y="111"/>
                  </a:cubicBezTo>
                  <a:close/>
                  <a:moveTo>
                    <a:pt x="424" y="106"/>
                  </a:moveTo>
                  <a:cubicBezTo>
                    <a:pt x="421" y="111"/>
                    <a:pt x="421" y="111"/>
                    <a:pt x="421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33" y="100"/>
                    <a:pt x="433" y="100"/>
                    <a:pt x="433" y="100"/>
                  </a:cubicBezTo>
                  <a:cubicBezTo>
                    <a:pt x="429" y="100"/>
                    <a:pt x="429" y="100"/>
                    <a:pt x="429" y="100"/>
                  </a:cubicBezTo>
                  <a:lnTo>
                    <a:pt x="424" y="106"/>
                  </a:lnTo>
                  <a:close/>
                  <a:moveTo>
                    <a:pt x="426" y="97"/>
                  </a:moveTo>
                  <a:cubicBezTo>
                    <a:pt x="433" y="98"/>
                    <a:pt x="434" y="97"/>
                    <a:pt x="433" y="93"/>
                  </a:cubicBezTo>
                  <a:cubicBezTo>
                    <a:pt x="431" y="90"/>
                    <a:pt x="427" y="87"/>
                    <a:pt x="427" y="87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2" y="83"/>
                    <a:pt x="422" y="83"/>
                    <a:pt x="422" y="83"/>
                  </a:cubicBezTo>
                  <a:cubicBezTo>
                    <a:pt x="420" y="87"/>
                    <a:pt x="420" y="87"/>
                    <a:pt x="420" y="87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4" y="94"/>
                    <a:pt x="422" y="96"/>
                    <a:pt x="426" y="97"/>
                  </a:cubicBezTo>
                  <a:close/>
                  <a:moveTo>
                    <a:pt x="421" y="95"/>
                  </a:moveTo>
                  <a:cubicBezTo>
                    <a:pt x="417" y="91"/>
                    <a:pt x="417" y="91"/>
                    <a:pt x="417" y="91"/>
                  </a:cubicBezTo>
                  <a:cubicBezTo>
                    <a:pt x="417" y="94"/>
                    <a:pt x="417" y="94"/>
                    <a:pt x="417" y="94"/>
                  </a:cubicBezTo>
                  <a:lnTo>
                    <a:pt x="421" y="95"/>
                  </a:lnTo>
                  <a:close/>
                  <a:moveTo>
                    <a:pt x="413" y="95"/>
                  </a:moveTo>
                  <a:cubicBezTo>
                    <a:pt x="415" y="87"/>
                    <a:pt x="415" y="87"/>
                    <a:pt x="415" y="87"/>
                  </a:cubicBezTo>
                  <a:cubicBezTo>
                    <a:pt x="409" y="84"/>
                    <a:pt x="409" y="84"/>
                    <a:pt x="409" y="84"/>
                  </a:cubicBezTo>
                  <a:cubicBezTo>
                    <a:pt x="409" y="95"/>
                    <a:pt x="409" y="95"/>
                    <a:pt x="409" y="95"/>
                  </a:cubicBezTo>
                  <a:lnTo>
                    <a:pt x="413" y="95"/>
                  </a:lnTo>
                  <a:close/>
                  <a:moveTo>
                    <a:pt x="407" y="97"/>
                  </a:moveTo>
                  <a:cubicBezTo>
                    <a:pt x="403" y="94"/>
                    <a:pt x="403" y="94"/>
                    <a:pt x="403" y="94"/>
                  </a:cubicBezTo>
                  <a:cubicBezTo>
                    <a:pt x="403" y="98"/>
                    <a:pt x="403" y="98"/>
                    <a:pt x="403" y="98"/>
                  </a:cubicBezTo>
                  <a:cubicBezTo>
                    <a:pt x="397" y="96"/>
                    <a:pt x="397" y="96"/>
                    <a:pt x="397" y="96"/>
                  </a:cubicBezTo>
                  <a:cubicBezTo>
                    <a:pt x="400" y="103"/>
                    <a:pt x="400" y="103"/>
                    <a:pt x="400" y="103"/>
                  </a:cubicBezTo>
                  <a:lnTo>
                    <a:pt x="407" y="97"/>
                  </a:lnTo>
                  <a:close/>
                  <a:moveTo>
                    <a:pt x="443" y="96"/>
                  </a:moveTo>
                  <a:cubicBezTo>
                    <a:pt x="449" y="97"/>
                    <a:pt x="452" y="90"/>
                    <a:pt x="449" y="84"/>
                  </a:cubicBezTo>
                  <a:cubicBezTo>
                    <a:pt x="446" y="79"/>
                    <a:pt x="441" y="83"/>
                    <a:pt x="440" y="90"/>
                  </a:cubicBezTo>
                  <a:cubicBezTo>
                    <a:pt x="439" y="95"/>
                    <a:pt x="443" y="96"/>
                    <a:pt x="443" y="96"/>
                  </a:cubicBezTo>
                  <a:close/>
                  <a:moveTo>
                    <a:pt x="455" y="99"/>
                  </a:moveTo>
                  <a:cubicBezTo>
                    <a:pt x="451" y="96"/>
                    <a:pt x="451" y="96"/>
                    <a:pt x="451" y="96"/>
                  </a:cubicBezTo>
                  <a:cubicBezTo>
                    <a:pt x="451" y="96"/>
                    <a:pt x="449" y="99"/>
                    <a:pt x="448" y="100"/>
                  </a:cubicBezTo>
                  <a:lnTo>
                    <a:pt x="455" y="99"/>
                  </a:lnTo>
                  <a:close/>
                  <a:moveTo>
                    <a:pt x="445" y="105"/>
                  </a:moveTo>
                  <a:cubicBezTo>
                    <a:pt x="444" y="111"/>
                    <a:pt x="444" y="111"/>
                    <a:pt x="444" y="111"/>
                  </a:cubicBezTo>
                  <a:cubicBezTo>
                    <a:pt x="449" y="109"/>
                    <a:pt x="449" y="109"/>
                    <a:pt x="449" y="109"/>
                  </a:cubicBezTo>
                  <a:cubicBezTo>
                    <a:pt x="448" y="104"/>
                    <a:pt x="448" y="104"/>
                    <a:pt x="448" y="104"/>
                  </a:cubicBezTo>
                  <a:lnTo>
                    <a:pt x="445" y="105"/>
                  </a:lnTo>
                  <a:close/>
                  <a:moveTo>
                    <a:pt x="474" y="58"/>
                  </a:moveTo>
                  <a:cubicBezTo>
                    <a:pt x="479" y="58"/>
                    <a:pt x="479" y="58"/>
                    <a:pt x="479" y="58"/>
                  </a:cubicBezTo>
                  <a:cubicBezTo>
                    <a:pt x="476" y="63"/>
                    <a:pt x="476" y="63"/>
                    <a:pt x="476" y="63"/>
                  </a:cubicBezTo>
                  <a:cubicBezTo>
                    <a:pt x="478" y="65"/>
                    <a:pt x="484" y="64"/>
                    <a:pt x="492" y="60"/>
                  </a:cubicBezTo>
                  <a:cubicBezTo>
                    <a:pt x="500" y="56"/>
                    <a:pt x="497" y="50"/>
                    <a:pt x="497" y="50"/>
                  </a:cubicBezTo>
                  <a:cubicBezTo>
                    <a:pt x="504" y="41"/>
                    <a:pt x="504" y="41"/>
                    <a:pt x="504" y="41"/>
                  </a:cubicBezTo>
                  <a:cubicBezTo>
                    <a:pt x="500" y="36"/>
                    <a:pt x="500" y="36"/>
                    <a:pt x="500" y="36"/>
                  </a:cubicBezTo>
                  <a:cubicBezTo>
                    <a:pt x="492" y="40"/>
                    <a:pt x="492" y="40"/>
                    <a:pt x="492" y="40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88" y="44"/>
                    <a:pt x="488" y="44"/>
                    <a:pt x="488" y="44"/>
                  </a:cubicBezTo>
                  <a:cubicBezTo>
                    <a:pt x="486" y="46"/>
                    <a:pt x="486" y="46"/>
                    <a:pt x="486" y="46"/>
                  </a:cubicBezTo>
                  <a:cubicBezTo>
                    <a:pt x="490" y="52"/>
                    <a:pt x="490" y="52"/>
                    <a:pt x="490" y="52"/>
                  </a:cubicBezTo>
                  <a:cubicBezTo>
                    <a:pt x="483" y="48"/>
                    <a:pt x="483" y="48"/>
                    <a:pt x="483" y="48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79" y="53"/>
                    <a:pt x="479" y="53"/>
                    <a:pt x="479" y="53"/>
                  </a:cubicBezTo>
                  <a:cubicBezTo>
                    <a:pt x="472" y="55"/>
                    <a:pt x="472" y="55"/>
                    <a:pt x="472" y="55"/>
                  </a:cubicBezTo>
                  <a:lnTo>
                    <a:pt x="474" y="58"/>
                  </a:lnTo>
                  <a:close/>
                  <a:moveTo>
                    <a:pt x="484" y="73"/>
                  </a:moveTo>
                  <a:cubicBezTo>
                    <a:pt x="484" y="76"/>
                    <a:pt x="489" y="76"/>
                    <a:pt x="489" y="76"/>
                  </a:cubicBezTo>
                  <a:cubicBezTo>
                    <a:pt x="489" y="76"/>
                    <a:pt x="498" y="77"/>
                    <a:pt x="497" y="73"/>
                  </a:cubicBezTo>
                  <a:cubicBezTo>
                    <a:pt x="497" y="68"/>
                    <a:pt x="482" y="66"/>
                    <a:pt x="484" y="73"/>
                  </a:cubicBezTo>
                  <a:close/>
                  <a:moveTo>
                    <a:pt x="503" y="55"/>
                  </a:moveTo>
                  <a:cubicBezTo>
                    <a:pt x="501" y="59"/>
                    <a:pt x="501" y="59"/>
                    <a:pt x="501" y="59"/>
                  </a:cubicBezTo>
                  <a:cubicBezTo>
                    <a:pt x="499" y="57"/>
                    <a:pt x="499" y="57"/>
                    <a:pt x="499" y="57"/>
                  </a:cubicBezTo>
                  <a:cubicBezTo>
                    <a:pt x="493" y="66"/>
                    <a:pt x="493" y="66"/>
                    <a:pt x="493" y="66"/>
                  </a:cubicBezTo>
                  <a:cubicBezTo>
                    <a:pt x="499" y="68"/>
                    <a:pt x="499" y="68"/>
                    <a:pt x="499" y="68"/>
                  </a:cubicBezTo>
                  <a:cubicBezTo>
                    <a:pt x="500" y="66"/>
                    <a:pt x="500" y="66"/>
                    <a:pt x="500" y="66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4" y="72"/>
                    <a:pt x="504" y="72"/>
                    <a:pt x="504" y="72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05" y="48"/>
                    <a:pt x="505" y="48"/>
                    <a:pt x="505" y="48"/>
                  </a:cubicBezTo>
                  <a:cubicBezTo>
                    <a:pt x="501" y="50"/>
                    <a:pt x="501" y="50"/>
                    <a:pt x="501" y="50"/>
                  </a:cubicBezTo>
                  <a:lnTo>
                    <a:pt x="503" y="55"/>
                  </a:lnTo>
                  <a:close/>
                  <a:moveTo>
                    <a:pt x="514" y="56"/>
                  </a:moveTo>
                  <a:cubicBezTo>
                    <a:pt x="517" y="56"/>
                    <a:pt x="521" y="48"/>
                    <a:pt x="516" y="43"/>
                  </a:cubicBezTo>
                  <a:cubicBezTo>
                    <a:pt x="509" y="37"/>
                    <a:pt x="505" y="43"/>
                    <a:pt x="508" y="50"/>
                  </a:cubicBezTo>
                  <a:cubicBezTo>
                    <a:pt x="508" y="50"/>
                    <a:pt x="510" y="56"/>
                    <a:pt x="514" y="56"/>
                  </a:cubicBezTo>
                  <a:close/>
                  <a:moveTo>
                    <a:pt x="513" y="22"/>
                  </a:moveTo>
                  <a:cubicBezTo>
                    <a:pt x="506" y="22"/>
                    <a:pt x="511" y="30"/>
                    <a:pt x="511" y="30"/>
                  </a:cubicBezTo>
                  <a:cubicBezTo>
                    <a:pt x="517" y="29"/>
                    <a:pt x="518" y="22"/>
                    <a:pt x="513" y="22"/>
                  </a:cubicBezTo>
                  <a:close/>
                  <a:moveTo>
                    <a:pt x="528" y="14"/>
                  </a:moveTo>
                  <a:cubicBezTo>
                    <a:pt x="523" y="17"/>
                    <a:pt x="523" y="17"/>
                    <a:pt x="523" y="17"/>
                  </a:cubicBezTo>
                  <a:cubicBezTo>
                    <a:pt x="531" y="19"/>
                    <a:pt x="531" y="19"/>
                    <a:pt x="531" y="19"/>
                  </a:cubicBezTo>
                  <a:lnTo>
                    <a:pt x="528" y="14"/>
                  </a:lnTo>
                  <a:close/>
                  <a:moveTo>
                    <a:pt x="538" y="19"/>
                  </a:moveTo>
                  <a:cubicBezTo>
                    <a:pt x="539" y="19"/>
                    <a:pt x="541" y="17"/>
                    <a:pt x="541" y="17"/>
                  </a:cubicBezTo>
                  <a:cubicBezTo>
                    <a:pt x="541" y="20"/>
                    <a:pt x="541" y="20"/>
                    <a:pt x="541" y="20"/>
                  </a:cubicBezTo>
                  <a:cubicBezTo>
                    <a:pt x="548" y="22"/>
                    <a:pt x="548" y="22"/>
                    <a:pt x="548" y="22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559" y="12"/>
                    <a:pt x="559" y="12"/>
                    <a:pt x="559" y="12"/>
                  </a:cubicBezTo>
                  <a:cubicBezTo>
                    <a:pt x="553" y="16"/>
                    <a:pt x="553" y="16"/>
                    <a:pt x="553" y="16"/>
                  </a:cubicBezTo>
                  <a:cubicBezTo>
                    <a:pt x="550" y="14"/>
                    <a:pt x="550" y="14"/>
                    <a:pt x="550" y="14"/>
                  </a:cubicBezTo>
                  <a:cubicBezTo>
                    <a:pt x="555" y="10"/>
                    <a:pt x="555" y="10"/>
                    <a:pt x="555" y="10"/>
                  </a:cubicBezTo>
                  <a:cubicBezTo>
                    <a:pt x="552" y="6"/>
                    <a:pt x="552" y="6"/>
                    <a:pt x="552" y="6"/>
                  </a:cubicBezTo>
                  <a:cubicBezTo>
                    <a:pt x="550" y="10"/>
                    <a:pt x="550" y="10"/>
                    <a:pt x="550" y="10"/>
                  </a:cubicBezTo>
                  <a:cubicBezTo>
                    <a:pt x="548" y="5"/>
                    <a:pt x="548" y="5"/>
                    <a:pt x="548" y="5"/>
                  </a:cubicBezTo>
                  <a:cubicBezTo>
                    <a:pt x="544" y="8"/>
                    <a:pt x="544" y="8"/>
                    <a:pt x="544" y="8"/>
                  </a:cubicBezTo>
                  <a:cubicBezTo>
                    <a:pt x="546" y="12"/>
                    <a:pt x="546" y="12"/>
                    <a:pt x="546" y="12"/>
                  </a:cubicBezTo>
                  <a:cubicBezTo>
                    <a:pt x="537" y="14"/>
                    <a:pt x="537" y="14"/>
                    <a:pt x="537" y="14"/>
                  </a:cubicBezTo>
                  <a:lnTo>
                    <a:pt x="538" y="19"/>
                  </a:lnTo>
                  <a:close/>
                  <a:moveTo>
                    <a:pt x="658" y="62"/>
                  </a:moveTo>
                  <a:cubicBezTo>
                    <a:pt x="659" y="72"/>
                    <a:pt x="659" y="72"/>
                    <a:pt x="659" y="72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2" y="60"/>
                    <a:pt x="662" y="60"/>
                    <a:pt x="662" y="60"/>
                  </a:cubicBezTo>
                  <a:lnTo>
                    <a:pt x="658" y="6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Es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671E315-3C47-824F-A5A3-69AB71AF8C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9465" y="2996422"/>
              <a:ext cx="513227" cy="326749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Weiß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8C100FD-BEE3-1C42-8D88-5EE56446FF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3604" y="3489846"/>
              <a:ext cx="871330" cy="788819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Let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165B0C-0C09-8A4A-9C6B-43FD4A0558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8112" y="3255510"/>
              <a:ext cx="636995" cy="359755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Moldawien" descr="© INSCALE GmbH, 05.05.2010&#10;http://www.presentationload.com/">
              <a:extLst>
                <a:ext uri="{FF2B5EF4-FFF2-40B4-BE49-F238E27FC236}">
                  <a16:creationId xmlns:a16="http://schemas.microsoft.com/office/drawing/2014/main" id="{49A541BA-EE10-0C4F-96B4-A95A88D331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3924" y="4656571"/>
              <a:ext cx="429064" cy="448867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7" name="Fin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D681938-DCF9-3D4F-9FBD-19B7F7E68B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65919" y="1417135"/>
              <a:ext cx="912587" cy="1608991"/>
            </a:xfrm>
            <a:custGeom>
              <a:avLst/>
              <a:gdLst/>
              <a:ahLst/>
              <a:cxnLst>
                <a:cxn ang="0">
                  <a:pos x="318" y="380"/>
                </a:cxn>
                <a:cxn ang="0">
                  <a:pos x="302" y="312"/>
                </a:cxn>
                <a:cxn ang="0">
                  <a:pos x="283" y="281"/>
                </a:cxn>
                <a:cxn ang="0">
                  <a:pos x="264" y="225"/>
                </a:cxn>
                <a:cxn ang="0">
                  <a:pos x="205" y="113"/>
                </a:cxn>
                <a:cxn ang="0">
                  <a:pos x="202" y="27"/>
                </a:cxn>
                <a:cxn ang="0">
                  <a:pos x="124" y="29"/>
                </a:cxn>
                <a:cxn ang="0">
                  <a:pos x="105" y="103"/>
                </a:cxn>
                <a:cxn ang="0">
                  <a:pos x="51" y="107"/>
                </a:cxn>
                <a:cxn ang="0">
                  <a:pos x="2" y="90"/>
                </a:cxn>
                <a:cxn ang="0">
                  <a:pos x="23" y="108"/>
                </a:cxn>
                <a:cxn ang="0">
                  <a:pos x="63" y="131"/>
                </a:cxn>
                <a:cxn ang="0">
                  <a:pos x="86" y="186"/>
                </a:cxn>
                <a:cxn ang="0">
                  <a:pos x="106" y="229"/>
                </a:cxn>
                <a:cxn ang="0">
                  <a:pos x="116" y="275"/>
                </a:cxn>
                <a:cxn ang="0">
                  <a:pos x="147" y="294"/>
                </a:cxn>
                <a:cxn ang="0">
                  <a:pos x="163" y="331"/>
                </a:cxn>
                <a:cxn ang="0">
                  <a:pos x="147" y="355"/>
                </a:cxn>
                <a:cxn ang="0">
                  <a:pos x="131" y="401"/>
                </a:cxn>
                <a:cxn ang="0">
                  <a:pos x="108" y="414"/>
                </a:cxn>
                <a:cxn ang="0">
                  <a:pos x="111" y="430"/>
                </a:cxn>
                <a:cxn ang="0">
                  <a:pos x="96" y="438"/>
                </a:cxn>
                <a:cxn ang="0">
                  <a:pos x="80" y="462"/>
                </a:cxn>
                <a:cxn ang="0">
                  <a:pos x="77" y="486"/>
                </a:cxn>
                <a:cxn ang="0">
                  <a:pos x="80" y="523"/>
                </a:cxn>
                <a:cxn ang="0">
                  <a:pos x="91" y="559"/>
                </a:cxn>
                <a:cxn ang="0">
                  <a:pos x="93" y="572"/>
                </a:cxn>
                <a:cxn ang="0">
                  <a:pos x="95" y="598"/>
                </a:cxn>
                <a:cxn ang="0">
                  <a:pos x="95" y="613"/>
                </a:cxn>
                <a:cxn ang="0">
                  <a:pos x="104" y="635"/>
                </a:cxn>
                <a:cxn ang="0">
                  <a:pos x="118" y="635"/>
                </a:cxn>
                <a:cxn ang="0">
                  <a:pos x="144" y="645"/>
                </a:cxn>
                <a:cxn ang="0">
                  <a:pos x="157" y="656"/>
                </a:cxn>
                <a:cxn ang="0">
                  <a:pos x="161" y="666"/>
                </a:cxn>
                <a:cxn ang="0">
                  <a:pos x="189" y="654"/>
                </a:cxn>
                <a:cxn ang="0">
                  <a:pos x="206" y="645"/>
                </a:cxn>
                <a:cxn ang="0">
                  <a:pos x="248" y="626"/>
                </a:cxn>
                <a:cxn ang="0">
                  <a:pos x="260" y="617"/>
                </a:cxn>
                <a:cxn ang="0">
                  <a:pos x="293" y="603"/>
                </a:cxn>
                <a:cxn ang="0">
                  <a:pos x="328" y="554"/>
                </a:cxn>
                <a:cxn ang="0">
                  <a:pos x="382" y="418"/>
                </a:cxn>
                <a:cxn ang="0">
                  <a:pos x="60" y="653"/>
                </a:cxn>
                <a:cxn ang="0">
                  <a:pos x="45" y="651"/>
                </a:cxn>
                <a:cxn ang="0">
                  <a:pos x="50" y="670"/>
                </a:cxn>
                <a:cxn ang="0">
                  <a:pos x="39" y="658"/>
                </a:cxn>
                <a:cxn ang="0">
                  <a:pos x="55" y="670"/>
                </a:cxn>
                <a:cxn ang="0">
                  <a:pos x="107" y="657"/>
                </a:cxn>
                <a:cxn ang="0">
                  <a:pos x="113" y="654"/>
                </a:cxn>
                <a:cxn ang="0">
                  <a:pos x="148" y="643"/>
                </a:cxn>
                <a:cxn ang="0">
                  <a:pos x="136" y="655"/>
                </a:cxn>
                <a:cxn ang="0">
                  <a:pos x="147" y="649"/>
                </a:cxn>
                <a:cxn ang="0">
                  <a:pos x="112" y="643"/>
                </a:cxn>
                <a:cxn ang="0">
                  <a:pos x="99" y="634"/>
                </a:cxn>
                <a:cxn ang="0">
                  <a:pos x="94" y="628"/>
                </a:cxn>
                <a:cxn ang="0">
                  <a:pos x="175" y="667"/>
                </a:cxn>
                <a:cxn ang="0">
                  <a:pos x="62" y="461"/>
                </a:cxn>
                <a:cxn ang="0">
                  <a:pos x="72" y="456"/>
                </a:cxn>
                <a:cxn ang="0">
                  <a:pos x="157" y="329"/>
                </a:cxn>
                <a:cxn ang="0">
                  <a:pos x="153" y="336"/>
                </a:cxn>
                <a:cxn ang="0">
                  <a:pos x="243" y="631"/>
                </a:cxn>
                <a:cxn ang="0">
                  <a:pos x="265" y="614"/>
                </a:cxn>
              </a:cxnLst>
              <a:rect l="0" t="0" r="r" b="b"/>
              <a:pathLst>
                <a:path w="382" h="674">
                  <a:moveTo>
                    <a:pt x="382" y="418"/>
                  </a:moveTo>
                  <a:cubicBezTo>
                    <a:pt x="381" y="412"/>
                    <a:pt x="369" y="412"/>
                    <a:pt x="369" y="412"/>
                  </a:cubicBezTo>
                  <a:cubicBezTo>
                    <a:pt x="366" y="404"/>
                    <a:pt x="366" y="404"/>
                    <a:pt x="366" y="404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39" y="394"/>
                    <a:pt x="339" y="394"/>
                    <a:pt x="339" y="394"/>
                  </a:cubicBezTo>
                  <a:cubicBezTo>
                    <a:pt x="318" y="380"/>
                    <a:pt x="318" y="380"/>
                    <a:pt x="318" y="380"/>
                  </a:cubicBezTo>
                  <a:cubicBezTo>
                    <a:pt x="327" y="374"/>
                    <a:pt x="327" y="374"/>
                    <a:pt x="327" y="374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26" y="370"/>
                    <a:pt x="331" y="355"/>
                    <a:pt x="327" y="346"/>
                  </a:cubicBezTo>
                  <a:cubicBezTo>
                    <a:pt x="323" y="338"/>
                    <a:pt x="313" y="344"/>
                    <a:pt x="308" y="335"/>
                  </a:cubicBezTo>
                  <a:cubicBezTo>
                    <a:pt x="301" y="326"/>
                    <a:pt x="307" y="320"/>
                    <a:pt x="307" y="320"/>
                  </a:cubicBezTo>
                  <a:cubicBezTo>
                    <a:pt x="302" y="312"/>
                    <a:pt x="302" y="312"/>
                    <a:pt x="302" y="312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285" y="301"/>
                    <a:pt x="285" y="301"/>
                    <a:pt x="285" y="301"/>
                  </a:cubicBezTo>
                  <a:cubicBezTo>
                    <a:pt x="292" y="296"/>
                    <a:pt x="292" y="296"/>
                    <a:pt x="292" y="296"/>
                  </a:cubicBezTo>
                  <a:cubicBezTo>
                    <a:pt x="291" y="291"/>
                    <a:pt x="291" y="291"/>
                    <a:pt x="291" y="291"/>
                  </a:cubicBezTo>
                  <a:cubicBezTo>
                    <a:pt x="280" y="293"/>
                    <a:pt x="280" y="293"/>
                    <a:pt x="280" y="293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0" y="272"/>
                    <a:pt x="280" y="272"/>
                    <a:pt x="280" y="272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8" y="259"/>
                    <a:pt x="288" y="259"/>
                    <a:pt x="288" y="259"/>
                  </a:cubicBezTo>
                  <a:cubicBezTo>
                    <a:pt x="288" y="259"/>
                    <a:pt x="286" y="249"/>
                    <a:pt x="281" y="240"/>
                  </a:cubicBezTo>
                  <a:cubicBezTo>
                    <a:pt x="277" y="232"/>
                    <a:pt x="264" y="225"/>
                    <a:pt x="264" y="225"/>
                  </a:cubicBezTo>
                  <a:cubicBezTo>
                    <a:pt x="261" y="223"/>
                    <a:pt x="262" y="214"/>
                    <a:pt x="254" y="208"/>
                  </a:cubicBezTo>
                  <a:cubicBezTo>
                    <a:pt x="248" y="204"/>
                    <a:pt x="237" y="187"/>
                    <a:pt x="237" y="187"/>
                  </a:cubicBezTo>
                  <a:cubicBezTo>
                    <a:pt x="237" y="187"/>
                    <a:pt x="252" y="152"/>
                    <a:pt x="251" y="142"/>
                  </a:cubicBezTo>
                  <a:cubicBezTo>
                    <a:pt x="250" y="133"/>
                    <a:pt x="238" y="133"/>
                    <a:pt x="238" y="133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05" y="113"/>
                    <a:pt x="205" y="113"/>
                    <a:pt x="205" y="113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9" y="70"/>
                    <a:pt x="199" y="70"/>
                    <a:pt x="199" y="70"/>
                  </a:cubicBezTo>
                  <a:cubicBezTo>
                    <a:pt x="188" y="68"/>
                    <a:pt x="188" y="68"/>
                    <a:pt x="188" y="68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197" y="57"/>
                    <a:pt x="194" y="52"/>
                    <a:pt x="194" y="46"/>
                  </a:cubicBezTo>
                  <a:cubicBezTo>
                    <a:pt x="194" y="41"/>
                    <a:pt x="202" y="27"/>
                    <a:pt x="202" y="27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13"/>
                    <a:pt x="163" y="0"/>
                    <a:pt x="157" y="1"/>
                  </a:cubicBezTo>
                  <a:cubicBezTo>
                    <a:pt x="151" y="2"/>
                    <a:pt x="142" y="14"/>
                    <a:pt x="142" y="14"/>
                  </a:cubicBezTo>
                  <a:cubicBezTo>
                    <a:pt x="142" y="14"/>
                    <a:pt x="135" y="12"/>
                    <a:pt x="129" y="15"/>
                  </a:cubicBezTo>
                  <a:cubicBezTo>
                    <a:pt x="123" y="17"/>
                    <a:pt x="124" y="29"/>
                    <a:pt x="124" y="29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1" y="75"/>
                    <a:pt x="122" y="80"/>
                  </a:cubicBezTo>
                  <a:cubicBezTo>
                    <a:pt x="122" y="86"/>
                    <a:pt x="119" y="90"/>
                    <a:pt x="117" y="93"/>
                  </a:cubicBezTo>
                  <a:cubicBezTo>
                    <a:pt x="114" y="97"/>
                    <a:pt x="112" y="110"/>
                    <a:pt x="112" y="110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1" y="97"/>
                    <a:pt x="86" y="97"/>
                  </a:cubicBezTo>
                  <a:cubicBezTo>
                    <a:pt x="80" y="97"/>
                    <a:pt x="78" y="105"/>
                    <a:pt x="78" y="105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4" y="99"/>
                    <a:pt x="37" y="93"/>
                  </a:cubicBezTo>
                  <a:cubicBezTo>
                    <a:pt x="32" y="88"/>
                    <a:pt x="25" y="78"/>
                    <a:pt x="25" y="78"/>
                  </a:cubicBezTo>
                  <a:cubicBezTo>
                    <a:pt x="25" y="78"/>
                    <a:pt x="16" y="75"/>
                    <a:pt x="12" y="80"/>
                  </a:cubicBezTo>
                  <a:cubicBezTo>
                    <a:pt x="6" y="84"/>
                    <a:pt x="14" y="91"/>
                    <a:pt x="13" y="93"/>
                  </a:cubicBezTo>
                  <a:cubicBezTo>
                    <a:pt x="11" y="95"/>
                    <a:pt x="2" y="90"/>
                    <a:pt x="2" y="9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53" y="126"/>
                    <a:pt x="63" y="131"/>
                  </a:cubicBezTo>
                  <a:cubicBezTo>
                    <a:pt x="72" y="136"/>
                    <a:pt x="73" y="146"/>
                    <a:pt x="73" y="146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86" y="152"/>
                    <a:pt x="88" y="155"/>
                  </a:cubicBezTo>
                  <a:cubicBezTo>
                    <a:pt x="90" y="158"/>
                    <a:pt x="85" y="158"/>
                    <a:pt x="84" y="162"/>
                  </a:cubicBezTo>
                  <a:cubicBezTo>
                    <a:pt x="83" y="167"/>
                    <a:pt x="85" y="170"/>
                    <a:pt x="86" y="174"/>
                  </a:cubicBezTo>
                  <a:cubicBezTo>
                    <a:pt x="88" y="180"/>
                    <a:pt x="86" y="186"/>
                    <a:pt x="86" y="186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95" y="197"/>
                    <a:pt x="94" y="199"/>
                    <a:pt x="94" y="204"/>
                  </a:cubicBezTo>
                  <a:cubicBezTo>
                    <a:pt x="94" y="210"/>
                    <a:pt x="103" y="215"/>
                    <a:pt x="105" y="218"/>
                  </a:cubicBezTo>
                  <a:cubicBezTo>
                    <a:pt x="107" y="222"/>
                    <a:pt x="106" y="229"/>
                    <a:pt x="106" y="229"/>
                  </a:cubicBezTo>
                  <a:cubicBezTo>
                    <a:pt x="106" y="229"/>
                    <a:pt x="108" y="233"/>
                    <a:pt x="110" y="237"/>
                  </a:cubicBezTo>
                  <a:cubicBezTo>
                    <a:pt x="111" y="240"/>
                    <a:pt x="106" y="243"/>
                    <a:pt x="103" y="248"/>
                  </a:cubicBezTo>
                  <a:cubicBezTo>
                    <a:pt x="101" y="252"/>
                    <a:pt x="106" y="253"/>
                    <a:pt x="106" y="253"/>
                  </a:cubicBezTo>
                  <a:cubicBezTo>
                    <a:pt x="106" y="253"/>
                    <a:pt x="106" y="254"/>
                    <a:pt x="105" y="260"/>
                  </a:cubicBezTo>
                  <a:cubicBezTo>
                    <a:pt x="105" y="264"/>
                    <a:pt x="112" y="265"/>
                    <a:pt x="114" y="266"/>
                  </a:cubicBezTo>
                  <a:cubicBezTo>
                    <a:pt x="116" y="268"/>
                    <a:pt x="115" y="271"/>
                    <a:pt x="116" y="275"/>
                  </a:cubicBezTo>
                  <a:cubicBezTo>
                    <a:pt x="117" y="279"/>
                    <a:pt x="122" y="281"/>
                    <a:pt x="122" y="281"/>
                  </a:cubicBezTo>
                  <a:cubicBezTo>
                    <a:pt x="123" y="288"/>
                    <a:pt x="123" y="288"/>
                    <a:pt x="123" y="288"/>
                  </a:cubicBezTo>
                  <a:cubicBezTo>
                    <a:pt x="128" y="286"/>
                    <a:pt x="128" y="286"/>
                    <a:pt x="128" y="286"/>
                  </a:cubicBezTo>
                  <a:cubicBezTo>
                    <a:pt x="139" y="293"/>
                    <a:pt x="139" y="293"/>
                    <a:pt x="139" y="293"/>
                  </a:cubicBezTo>
                  <a:cubicBezTo>
                    <a:pt x="139" y="295"/>
                    <a:pt x="139" y="295"/>
                    <a:pt x="139" y="295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54" y="297"/>
                    <a:pt x="154" y="297"/>
                    <a:pt x="154" y="297"/>
                  </a:cubicBezTo>
                  <a:cubicBezTo>
                    <a:pt x="154" y="297"/>
                    <a:pt x="159" y="301"/>
                    <a:pt x="162" y="308"/>
                  </a:cubicBezTo>
                  <a:cubicBezTo>
                    <a:pt x="166" y="314"/>
                    <a:pt x="162" y="324"/>
                    <a:pt x="162" y="324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2" y="334"/>
                    <a:pt x="162" y="334"/>
                    <a:pt x="162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7" y="342"/>
                    <a:pt x="160" y="340"/>
                    <a:pt x="154" y="341"/>
                  </a:cubicBezTo>
                  <a:cubicBezTo>
                    <a:pt x="150" y="342"/>
                    <a:pt x="147" y="346"/>
                    <a:pt x="147" y="346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66"/>
                    <a:pt x="145" y="366"/>
                    <a:pt x="145" y="366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37" y="376"/>
                    <a:pt x="137" y="376"/>
                    <a:pt x="137" y="376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1" y="401"/>
                    <a:pt x="131" y="401"/>
                    <a:pt x="131" y="401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409"/>
                    <a:pt x="124" y="409"/>
                    <a:pt x="124" y="409"/>
                  </a:cubicBezTo>
                  <a:cubicBezTo>
                    <a:pt x="117" y="413"/>
                    <a:pt x="117" y="413"/>
                    <a:pt x="117" y="413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2" y="413"/>
                    <a:pt x="112" y="413"/>
                    <a:pt x="112" y="413"/>
                  </a:cubicBezTo>
                  <a:cubicBezTo>
                    <a:pt x="108" y="414"/>
                    <a:pt x="108" y="414"/>
                    <a:pt x="108" y="414"/>
                  </a:cubicBezTo>
                  <a:cubicBezTo>
                    <a:pt x="108" y="417"/>
                    <a:pt x="108" y="417"/>
                    <a:pt x="108" y="417"/>
                  </a:cubicBezTo>
                  <a:cubicBezTo>
                    <a:pt x="106" y="418"/>
                    <a:pt x="106" y="418"/>
                    <a:pt x="106" y="418"/>
                  </a:cubicBezTo>
                  <a:cubicBezTo>
                    <a:pt x="105" y="421"/>
                    <a:pt x="105" y="421"/>
                    <a:pt x="105" y="421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3" y="422"/>
                    <a:pt x="113" y="422"/>
                    <a:pt x="113" y="422"/>
                  </a:cubicBezTo>
                  <a:cubicBezTo>
                    <a:pt x="111" y="430"/>
                    <a:pt x="111" y="430"/>
                    <a:pt x="111" y="430"/>
                  </a:cubicBezTo>
                  <a:cubicBezTo>
                    <a:pt x="111" y="430"/>
                    <a:pt x="107" y="426"/>
                    <a:pt x="104" y="428"/>
                  </a:cubicBezTo>
                  <a:cubicBezTo>
                    <a:pt x="100" y="430"/>
                    <a:pt x="102" y="436"/>
                    <a:pt x="102" y="436"/>
                  </a:cubicBezTo>
                  <a:cubicBezTo>
                    <a:pt x="102" y="439"/>
                    <a:pt x="102" y="439"/>
                    <a:pt x="102" y="439"/>
                  </a:cubicBezTo>
                  <a:cubicBezTo>
                    <a:pt x="101" y="441"/>
                    <a:pt x="100" y="442"/>
                    <a:pt x="100" y="442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6" y="438"/>
                    <a:pt x="96" y="438"/>
                    <a:pt x="96" y="438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444"/>
                    <a:pt x="99" y="455"/>
                    <a:pt x="98" y="457"/>
                  </a:cubicBezTo>
                  <a:cubicBezTo>
                    <a:pt x="97" y="460"/>
                    <a:pt x="91" y="458"/>
                    <a:pt x="89" y="458"/>
                  </a:cubicBezTo>
                  <a:cubicBezTo>
                    <a:pt x="82" y="458"/>
                    <a:pt x="82" y="458"/>
                    <a:pt x="82" y="458"/>
                  </a:cubicBezTo>
                  <a:cubicBezTo>
                    <a:pt x="82" y="458"/>
                    <a:pt x="82" y="462"/>
                    <a:pt x="80" y="462"/>
                  </a:cubicBezTo>
                  <a:cubicBezTo>
                    <a:pt x="79" y="462"/>
                    <a:pt x="77" y="459"/>
                    <a:pt x="77" y="459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83" y="475"/>
                    <a:pt x="83" y="475"/>
                    <a:pt x="83" y="475"/>
                  </a:cubicBezTo>
                  <a:cubicBezTo>
                    <a:pt x="77" y="474"/>
                    <a:pt x="77" y="474"/>
                    <a:pt x="77" y="474"/>
                  </a:cubicBezTo>
                  <a:cubicBezTo>
                    <a:pt x="75" y="482"/>
                    <a:pt x="75" y="482"/>
                    <a:pt x="75" y="482"/>
                  </a:cubicBezTo>
                  <a:cubicBezTo>
                    <a:pt x="75" y="482"/>
                    <a:pt x="77" y="484"/>
                    <a:pt x="77" y="486"/>
                  </a:cubicBezTo>
                  <a:cubicBezTo>
                    <a:pt x="77" y="487"/>
                    <a:pt x="72" y="487"/>
                    <a:pt x="72" y="487"/>
                  </a:cubicBezTo>
                  <a:cubicBezTo>
                    <a:pt x="69" y="492"/>
                    <a:pt x="69" y="492"/>
                    <a:pt x="69" y="492"/>
                  </a:cubicBezTo>
                  <a:cubicBezTo>
                    <a:pt x="68" y="504"/>
                    <a:pt x="68" y="504"/>
                    <a:pt x="68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72" y="504"/>
                    <a:pt x="69" y="508"/>
                    <a:pt x="70" y="513"/>
                  </a:cubicBezTo>
                  <a:cubicBezTo>
                    <a:pt x="70" y="517"/>
                    <a:pt x="78" y="519"/>
                    <a:pt x="80" y="523"/>
                  </a:cubicBezTo>
                  <a:cubicBezTo>
                    <a:pt x="83" y="528"/>
                    <a:pt x="80" y="534"/>
                    <a:pt x="80" y="534"/>
                  </a:cubicBezTo>
                  <a:cubicBezTo>
                    <a:pt x="80" y="543"/>
                    <a:pt x="80" y="543"/>
                    <a:pt x="80" y="543"/>
                  </a:cubicBezTo>
                  <a:cubicBezTo>
                    <a:pt x="83" y="546"/>
                    <a:pt x="83" y="546"/>
                    <a:pt x="83" y="546"/>
                  </a:cubicBezTo>
                  <a:cubicBezTo>
                    <a:pt x="86" y="544"/>
                    <a:pt x="86" y="544"/>
                    <a:pt x="86" y="544"/>
                  </a:cubicBezTo>
                  <a:cubicBezTo>
                    <a:pt x="86" y="544"/>
                    <a:pt x="86" y="550"/>
                    <a:pt x="87" y="552"/>
                  </a:cubicBezTo>
                  <a:cubicBezTo>
                    <a:pt x="88" y="555"/>
                    <a:pt x="91" y="559"/>
                    <a:pt x="91" y="559"/>
                  </a:cubicBezTo>
                  <a:cubicBezTo>
                    <a:pt x="90" y="561"/>
                    <a:pt x="90" y="561"/>
                    <a:pt x="90" y="561"/>
                  </a:cubicBezTo>
                  <a:cubicBezTo>
                    <a:pt x="94" y="562"/>
                    <a:pt x="94" y="562"/>
                    <a:pt x="94" y="562"/>
                  </a:cubicBezTo>
                  <a:cubicBezTo>
                    <a:pt x="95" y="567"/>
                    <a:pt x="95" y="567"/>
                    <a:pt x="95" y="567"/>
                  </a:cubicBezTo>
                  <a:cubicBezTo>
                    <a:pt x="90" y="566"/>
                    <a:pt x="90" y="566"/>
                    <a:pt x="90" y="566"/>
                  </a:cubicBezTo>
                  <a:cubicBezTo>
                    <a:pt x="90" y="569"/>
                    <a:pt x="90" y="569"/>
                    <a:pt x="90" y="569"/>
                  </a:cubicBezTo>
                  <a:cubicBezTo>
                    <a:pt x="93" y="572"/>
                    <a:pt x="93" y="572"/>
                    <a:pt x="93" y="572"/>
                  </a:cubicBezTo>
                  <a:cubicBezTo>
                    <a:pt x="89" y="572"/>
                    <a:pt x="89" y="572"/>
                    <a:pt x="89" y="572"/>
                  </a:cubicBezTo>
                  <a:cubicBezTo>
                    <a:pt x="93" y="577"/>
                    <a:pt x="93" y="577"/>
                    <a:pt x="93" y="577"/>
                  </a:cubicBezTo>
                  <a:cubicBezTo>
                    <a:pt x="90" y="578"/>
                    <a:pt x="90" y="578"/>
                    <a:pt x="90" y="578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5" y="584"/>
                    <a:pt x="96" y="588"/>
                    <a:pt x="94" y="591"/>
                  </a:cubicBezTo>
                  <a:cubicBezTo>
                    <a:pt x="91" y="593"/>
                    <a:pt x="95" y="598"/>
                    <a:pt x="95" y="598"/>
                  </a:cubicBezTo>
                  <a:cubicBezTo>
                    <a:pt x="95" y="598"/>
                    <a:pt x="90" y="599"/>
                    <a:pt x="90" y="603"/>
                  </a:cubicBezTo>
                  <a:cubicBezTo>
                    <a:pt x="91" y="607"/>
                    <a:pt x="94" y="610"/>
                    <a:pt x="94" y="610"/>
                  </a:cubicBezTo>
                  <a:cubicBezTo>
                    <a:pt x="91" y="610"/>
                    <a:pt x="91" y="610"/>
                    <a:pt x="91" y="610"/>
                  </a:cubicBezTo>
                  <a:cubicBezTo>
                    <a:pt x="88" y="607"/>
                    <a:pt x="88" y="607"/>
                    <a:pt x="88" y="607"/>
                  </a:cubicBezTo>
                  <a:cubicBezTo>
                    <a:pt x="87" y="613"/>
                    <a:pt x="87" y="613"/>
                    <a:pt x="87" y="613"/>
                  </a:cubicBezTo>
                  <a:cubicBezTo>
                    <a:pt x="95" y="613"/>
                    <a:pt x="95" y="613"/>
                    <a:pt x="95" y="613"/>
                  </a:cubicBezTo>
                  <a:cubicBezTo>
                    <a:pt x="93" y="614"/>
                    <a:pt x="93" y="614"/>
                    <a:pt x="93" y="614"/>
                  </a:cubicBezTo>
                  <a:cubicBezTo>
                    <a:pt x="94" y="619"/>
                    <a:pt x="94" y="619"/>
                    <a:pt x="94" y="619"/>
                  </a:cubicBezTo>
                  <a:cubicBezTo>
                    <a:pt x="97" y="622"/>
                    <a:pt x="97" y="622"/>
                    <a:pt x="97" y="622"/>
                  </a:cubicBezTo>
                  <a:cubicBezTo>
                    <a:pt x="97" y="622"/>
                    <a:pt x="95" y="624"/>
                    <a:pt x="97" y="628"/>
                  </a:cubicBezTo>
                  <a:cubicBezTo>
                    <a:pt x="99" y="632"/>
                    <a:pt x="101" y="632"/>
                    <a:pt x="101" y="632"/>
                  </a:cubicBezTo>
                  <a:cubicBezTo>
                    <a:pt x="104" y="635"/>
                    <a:pt x="104" y="635"/>
                    <a:pt x="104" y="635"/>
                  </a:cubicBezTo>
                  <a:cubicBezTo>
                    <a:pt x="104" y="630"/>
                    <a:pt x="104" y="630"/>
                    <a:pt x="104" y="630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35"/>
                    <a:pt x="110" y="635"/>
                    <a:pt x="110" y="635"/>
                  </a:cubicBezTo>
                  <a:cubicBezTo>
                    <a:pt x="112" y="635"/>
                    <a:pt x="112" y="635"/>
                    <a:pt x="112" y="635"/>
                  </a:cubicBezTo>
                  <a:cubicBezTo>
                    <a:pt x="113" y="631"/>
                    <a:pt x="113" y="631"/>
                    <a:pt x="113" y="631"/>
                  </a:cubicBezTo>
                  <a:cubicBezTo>
                    <a:pt x="118" y="635"/>
                    <a:pt x="118" y="635"/>
                    <a:pt x="118" y="635"/>
                  </a:cubicBezTo>
                  <a:cubicBezTo>
                    <a:pt x="124" y="635"/>
                    <a:pt x="124" y="635"/>
                    <a:pt x="124" y="635"/>
                  </a:cubicBezTo>
                  <a:cubicBezTo>
                    <a:pt x="131" y="638"/>
                    <a:pt x="131" y="638"/>
                    <a:pt x="131" y="638"/>
                  </a:cubicBezTo>
                  <a:cubicBezTo>
                    <a:pt x="137" y="638"/>
                    <a:pt x="137" y="638"/>
                    <a:pt x="137" y="638"/>
                  </a:cubicBezTo>
                  <a:cubicBezTo>
                    <a:pt x="135" y="646"/>
                    <a:pt x="135" y="646"/>
                    <a:pt x="135" y="646"/>
                  </a:cubicBezTo>
                  <a:cubicBezTo>
                    <a:pt x="137" y="648"/>
                    <a:pt x="137" y="648"/>
                    <a:pt x="137" y="648"/>
                  </a:cubicBezTo>
                  <a:cubicBezTo>
                    <a:pt x="144" y="645"/>
                    <a:pt x="144" y="645"/>
                    <a:pt x="144" y="645"/>
                  </a:cubicBezTo>
                  <a:cubicBezTo>
                    <a:pt x="151" y="639"/>
                    <a:pt x="151" y="639"/>
                    <a:pt x="151" y="639"/>
                  </a:cubicBezTo>
                  <a:cubicBezTo>
                    <a:pt x="152" y="640"/>
                    <a:pt x="152" y="640"/>
                    <a:pt x="152" y="640"/>
                  </a:cubicBezTo>
                  <a:cubicBezTo>
                    <a:pt x="149" y="649"/>
                    <a:pt x="149" y="649"/>
                    <a:pt x="149" y="649"/>
                  </a:cubicBezTo>
                  <a:cubicBezTo>
                    <a:pt x="154" y="653"/>
                    <a:pt x="154" y="653"/>
                    <a:pt x="154" y="653"/>
                  </a:cubicBezTo>
                  <a:cubicBezTo>
                    <a:pt x="153" y="657"/>
                    <a:pt x="153" y="657"/>
                    <a:pt x="153" y="657"/>
                  </a:cubicBezTo>
                  <a:cubicBezTo>
                    <a:pt x="157" y="656"/>
                    <a:pt x="157" y="656"/>
                    <a:pt x="157" y="656"/>
                  </a:cubicBezTo>
                  <a:cubicBezTo>
                    <a:pt x="157" y="658"/>
                    <a:pt x="157" y="658"/>
                    <a:pt x="157" y="658"/>
                  </a:cubicBezTo>
                  <a:cubicBezTo>
                    <a:pt x="150" y="664"/>
                    <a:pt x="150" y="664"/>
                    <a:pt x="150" y="664"/>
                  </a:cubicBezTo>
                  <a:cubicBezTo>
                    <a:pt x="151" y="666"/>
                    <a:pt x="151" y="666"/>
                    <a:pt x="151" y="666"/>
                  </a:cubicBezTo>
                  <a:cubicBezTo>
                    <a:pt x="156" y="666"/>
                    <a:pt x="156" y="666"/>
                    <a:pt x="156" y="666"/>
                  </a:cubicBezTo>
                  <a:cubicBezTo>
                    <a:pt x="159" y="662"/>
                    <a:pt x="159" y="662"/>
                    <a:pt x="159" y="662"/>
                  </a:cubicBezTo>
                  <a:cubicBezTo>
                    <a:pt x="159" y="662"/>
                    <a:pt x="161" y="664"/>
                    <a:pt x="161" y="666"/>
                  </a:cubicBezTo>
                  <a:cubicBezTo>
                    <a:pt x="162" y="669"/>
                    <a:pt x="152" y="674"/>
                    <a:pt x="152" y="674"/>
                  </a:cubicBezTo>
                  <a:cubicBezTo>
                    <a:pt x="163" y="671"/>
                    <a:pt x="163" y="671"/>
                    <a:pt x="163" y="671"/>
                  </a:cubicBezTo>
                  <a:cubicBezTo>
                    <a:pt x="171" y="655"/>
                    <a:pt x="171" y="655"/>
                    <a:pt x="171" y="655"/>
                  </a:cubicBezTo>
                  <a:cubicBezTo>
                    <a:pt x="169" y="663"/>
                    <a:pt x="169" y="663"/>
                    <a:pt x="169" y="663"/>
                  </a:cubicBezTo>
                  <a:cubicBezTo>
                    <a:pt x="181" y="660"/>
                    <a:pt x="181" y="660"/>
                    <a:pt x="181" y="660"/>
                  </a:cubicBezTo>
                  <a:cubicBezTo>
                    <a:pt x="189" y="654"/>
                    <a:pt x="189" y="654"/>
                    <a:pt x="189" y="654"/>
                  </a:cubicBezTo>
                  <a:cubicBezTo>
                    <a:pt x="192" y="654"/>
                    <a:pt x="192" y="654"/>
                    <a:pt x="192" y="654"/>
                  </a:cubicBezTo>
                  <a:cubicBezTo>
                    <a:pt x="198" y="649"/>
                    <a:pt x="198" y="649"/>
                    <a:pt x="198" y="649"/>
                  </a:cubicBezTo>
                  <a:cubicBezTo>
                    <a:pt x="201" y="650"/>
                    <a:pt x="201" y="650"/>
                    <a:pt x="201" y="650"/>
                  </a:cubicBezTo>
                  <a:cubicBezTo>
                    <a:pt x="203" y="655"/>
                    <a:pt x="203" y="655"/>
                    <a:pt x="203" y="655"/>
                  </a:cubicBezTo>
                  <a:cubicBezTo>
                    <a:pt x="206" y="653"/>
                    <a:pt x="206" y="653"/>
                    <a:pt x="206" y="653"/>
                  </a:cubicBezTo>
                  <a:cubicBezTo>
                    <a:pt x="206" y="645"/>
                    <a:pt x="206" y="645"/>
                    <a:pt x="206" y="645"/>
                  </a:cubicBezTo>
                  <a:cubicBezTo>
                    <a:pt x="221" y="638"/>
                    <a:pt x="221" y="638"/>
                    <a:pt x="221" y="638"/>
                  </a:cubicBezTo>
                  <a:cubicBezTo>
                    <a:pt x="222" y="635"/>
                    <a:pt x="222" y="635"/>
                    <a:pt x="222" y="635"/>
                  </a:cubicBezTo>
                  <a:cubicBezTo>
                    <a:pt x="235" y="629"/>
                    <a:pt x="235" y="629"/>
                    <a:pt x="235" y="629"/>
                  </a:cubicBezTo>
                  <a:cubicBezTo>
                    <a:pt x="235" y="622"/>
                    <a:pt x="235" y="622"/>
                    <a:pt x="235" y="622"/>
                  </a:cubicBezTo>
                  <a:cubicBezTo>
                    <a:pt x="235" y="622"/>
                    <a:pt x="237" y="628"/>
                    <a:pt x="241" y="628"/>
                  </a:cubicBezTo>
                  <a:cubicBezTo>
                    <a:pt x="244" y="628"/>
                    <a:pt x="248" y="626"/>
                    <a:pt x="248" y="626"/>
                  </a:cubicBezTo>
                  <a:cubicBezTo>
                    <a:pt x="245" y="624"/>
                    <a:pt x="245" y="624"/>
                    <a:pt x="245" y="624"/>
                  </a:cubicBezTo>
                  <a:cubicBezTo>
                    <a:pt x="246" y="620"/>
                    <a:pt x="246" y="620"/>
                    <a:pt x="246" y="620"/>
                  </a:cubicBezTo>
                  <a:cubicBezTo>
                    <a:pt x="251" y="624"/>
                    <a:pt x="251" y="624"/>
                    <a:pt x="251" y="624"/>
                  </a:cubicBezTo>
                  <a:cubicBezTo>
                    <a:pt x="251" y="622"/>
                    <a:pt x="251" y="622"/>
                    <a:pt x="251" y="622"/>
                  </a:cubicBezTo>
                  <a:cubicBezTo>
                    <a:pt x="245" y="613"/>
                    <a:pt x="245" y="613"/>
                    <a:pt x="245" y="613"/>
                  </a:cubicBezTo>
                  <a:cubicBezTo>
                    <a:pt x="245" y="613"/>
                    <a:pt x="254" y="619"/>
                    <a:pt x="260" y="617"/>
                  </a:cubicBezTo>
                  <a:cubicBezTo>
                    <a:pt x="264" y="614"/>
                    <a:pt x="262" y="611"/>
                    <a:pt x="262" y="611"/>
                  </a:cubicBezTo>
                  <a:cubicBezTo>
                    <a:pt x="268" y="610"/>
                    <a:pt x="268" y="610"/>
                    <a:pt x="268" y="610"/>
                  </a:cubicBezTo>
                  <a:cubicBezTo>
                    <a:pt x="273" y="608"/>
                    <a:pt x="273" y="608"/>
                    <a:pt x="273" y="608"/>
                  </a:cubicBezTo>
                  <a:cubicBezTo>
                    <a:pt x="279" y="608"/>
                    <a:pt x="279" y="608"/>
                    <a:pt x="279" y="608"/>
                  </a:cubicBezTo>
                  <a:cubicBezTo>
                    <a:pt x="283" y="602"/>
                    <a:pt x="283" y="602"/>
                    <a:pt x="283" y="602"/>
                  </a:cubicBezTo>
                  <a:cubicBezTo>
                    <a:pt x="293" y="603"/>
                    <a:pt x="293" y="603"/>
                    <a:pt x="293" y="603"/>
                  </a:cubicBezTo>
                  <a:cubicBezTo>
                    <a:pt x="304" y="598"/>
                    <a:pt x="304" y="598"/>
                    <a:pt x="304" y="598"/>
                  </a:cubicBezTo>
                  <a:cubicBezTo>
                    <a:pt x="304" y="597"/>
                    <a:pt x="304" y="597"/>
                    <a:pt x="304" y="597"/>
                  </a:cubicBezTo>
                  <a:cubicBezTo>
                    <a:pt x="312" y="581"/>
                    <a:pt x="312" y="581"/>
                    <a:pt x="312" y="581"/>
                  </a:cubicBezTo>
                  <a:cubicBezTo>
                    <a:pt x="323" y="566"/>
                    <a:pt x="323" y="566"/>
                    <a:pt x="323" y="566"/>
                  </a:cubicBezTo>
                  <a:cubicBezTo>
                    <a:pt x="327" y="563"/>
                    <a:pt x="327" y="563"/>
                    <a:pt x="327" y="563"/>
                  </a:cubicBezTo>
                  <a:cubicBezTo>
                    <a:pt x="328" y="554"/>
                    <a:pt x="328" y="554"/>
                    <a:pt x="328" y="554"/>
                  </a:cubicBezTo>
                  <a:cubicBezTo>
                    <a:pt x="341" y="540"/>
                    <a:pt x="341" y="540"/>
                    <a:pt x="341" y="540"/>
                  </a:cubicBezTo>
                  <a:cubicBezTo>
                    <a:pt x="341" y="540"/>
                    <a:pt x="346" y="527"/>
                    <a:pt x="349" y="521"/>
                  </a:cubicBezTo>
                  <a:cubicBezTo>
                    <a:pt x="352" y="516"/>
                    <a:pt x="360" y="496"/>
                    <a:pt x="363" y="485"/>
                  </a:cubicBezTo>
                  <a:cubicBezTo>
                    <a:pt x="366" y="473"/>
                    <a:pt x="375" y="460"/>
                    <a:pt x="375" y="460"/>
                  </a:cubicBezTo>
                  <a:cubicBezTo>
                    <a:pt x="375" y="460"/>
                    <a:pt x="377" y="456"/>
                    <a:pt x="378" y="452"/>
                  </a:cubicBezTo>
                  <a:cubicBezTo>
                    <a:pt x="380" y="448"/>
                    <a:pt x="382" y="424"/>
                    <a:pt x="382" y="418"/>
                  </a:cubicBezTo>
                  <a:close/>
                  <a:moveTo>
                    <a:pt x="52" y="662"/>
                  </a:moveTo>
                  <a:cubicBezTo>
                    <a:pt x="52" y="658"/>
                    <a:pt x="52" y="658"/>
                    <a:pt x="52" y="658"/>
                  </a:cubicBezTo>
                  <a:cubicBezTo>
                    <a:pt x="54" y="657"/>
                    <a:pt x="54" y="657"/>
                    <a:pt x="54" y="657"/>
                  </a:cubicBezTo>
                  <a:cubicBezTo>
                    <a:pt x="54" y="657"/>
                    <a:pt x="54" y="659"/>
                    <a:pt x="55" y="661"/>
                  </a:cubicBezTo>
                  <a:cubicBezTo>
                    <a:pt x="56" y="662"/>
                    <a:pt x="61" y="660"/>
                    <a:pt x="61" y="660"/>
                  </a:cubicBezTo>
                  <a:cubicBezTo>
                    <a:pt x="60" y="653"/>
                    <a:pt x="60" y="653"/>
                    <a:pt x="60" y="653"/>
                  </a:cubicBezTo>
                  <a:cubicBezTo>
                    <a:pt x="55" y="653"/>
                    <a:pt x="55" y="653"/>
                    <a:pt x="55" y="653"/>
                  </a:cubicBezTo>
                  <a:cubicBezTo>
                    <a:pt x="55" y="650"/>
                    <a:pt x="55" y="650"/>
                    <a:pt x="55" y="650"/>
                  </a:cubicBezTo>
                  <a:cubicBezTo>
                    <a:pt x="51" y="651"/>
                    <a:pt x="51" y="651"/>
                    <a:pt x="51" y="651"/>
                  </a:cubicBezTo>
                  <a:cubicBezTo>
                    <a:pt x="51" y="651"/>
                    <a:pt x="50" y="649"/>
                    <a:pt x="50" y="647"/>
                  </a:cubicBezTo>
                  <a:cubicBezTo>
                    <a:pt x="50" y="646"/>
                    <a:pt x="47" y="644"/>
                    <a:pt x="45" y="648"/>
                  </a:cubicBezTo>
                  <a:cubicBezTo>
                    <a:pt x="45" y="651"/>
                    <a:pt x="45" y="651"/>
                    <a:pt x="45" y="651"/>
                  </a:cubicBezTo>
                  <a:cubicBezTo>
                    <a:pt x="48" y="657"/>
                    <a:pt x="48" y="657"/>
                    <a:pt x="48" y="657"/>
                  </a:cubicBezTo>
                  <a:cubicBezTo>
                    <a:pt x="45" y="659"/>
                    <a:pt x="45" y="659"/>
                    <a:pt x="45" y="659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1" y="658"/>
                    <a:pt x="41" y="658"/>
                    <a:pt x="41" y="658"/>
                  </a:cubicBezTo>
                  <a:cubicBezTo>
                    <a:pt x="46" y="669"/>
                    <a:pt x="46" y="669"/>
                    <a:pt x="46" y="669"/>
                  </a:cubicBezTo>
                  <a:cubicBezTo>
                    <a:pt x="50" y="670"/>
                    <a:pt x="50" y="670"/>
                    <a:pt x="50" y="670"/>
                  </a:cubicBezTo>
                  <a:cubicBezTo>
                    <a:pt x="54" y="666"/>
                    <a:pt x="54" y="666"/>
                    <a:pt x="54" y="666"/>
                  </a:cubicBezTo>
                  <a:cubicBezTo>
                    <a:pt x="54" y="662"/>
                    <a:pt x="54" y="662"/>
                    <a:pt x="54" y="662"/>
                  </a:cubicBezTo>
                  <a:lnTo>
                    <a:pt x="52" y="662"/>
                  </a:lnTo>
                  <a:close/>
                  <a:moveTo>
                    <a:pt x="37" y="666"/>
                  </a:moveTo>
                  <a:cubicBezTo>
                    <a:pt x="41" y="664"/>
                    <a:pt x="41" y="664"/>
                    <a:pt x="41" y="664"/>
                  </a:cubicBezTo>
                  <a:cubicBezTo>
                    <a:pt x="39" y="658"/>
                    <a:pt x="39" y="658"/>
                    <a:pt x="39" y="658"/>
                  </a:cubicBezTo>
                  <a:lnTo>
                    <a:pt x="37" y="666"/>
                  </a:lnTo>
                  <a:close/>
                  <a:moveTo>
                    <a:pt x="55" y="670"/>
                  </a:moveTo>
                  <a:cubicBezTo>
                    <a:pt x="61" y="674"/>
                    <a:pt x="61" y="674"/>
                    <a:pt x="61" y="674"/>
                  </a:cubicBezTo>
                  <a:cubicBezTo>
                    <a:pt x="63" y="671"/>
                    <a:pt x="63" y="671"/>
                    <a:pt x="63" y="671"/>
                  </a:cubicBezTo>
                  <a:cubicBezTo>
                    <a:pt x="56" y="667"/>
                    <a:pt x="56" y="667"/>
                    <a:pt x="56" y="667"/>
                  </a:cubicBezTo>
                  <a:lnTo>
                    <a:pt x="55" y="670"/>
                  </a:lnTo>
                  <a:close/>
                  <a:moveTo>
                    <a:pt x="63" y="663"/>
                  </a:moveTo>
                  <a:cubicBezTo>
                    <a:pt x="61" y="664"/>
                    <a:pt x="61" y="667"/>
                    <a:pt x="64" y="667"/>
                  </a:cubicBezTo>
                  <a:cubicBezTo>
                    <a:pt x="66" y="666"/>
                    <a:pt x="66" y="662"/>
                    <a:pt x="63" y="663"/>
                  </a:cubicBezTo>
                  <a:close/>
                  <a:moveTo>
                    <a:pt x="107" y="657"/>
                  </a:moveTo>
                  <a:cubicBezTo>
                    <a:pt x="104" y="657"/>
                    <a:pt x="100" y="662"/>
                    <a:pt x="106" y="661"/>
                  </a:cubicBezTo>
                  <a:cubicBezTo>
                    <a:pt x="106" y="661"/>
                    <a:pt x="111" y="657"/>
                    <a:pt x="107" y="657"/>
                  </a:cubicBezTo>
                  <a:close/>
                  <a:moveTo>
                    <a:pt x="113" y="654"/>
                  </a:moveTo>
                  <a:cubicBezTo>
                    <a:pt x="111" y="655"/>
                    <a:pt x="112" y="657"/>
                    <a:pt x="112" y="657"/>
                  </a:cubicBezTo>
                  <a:cubicBezTo>
                    <a:pt x="110" y="659"/>
                    <a:pt x="110" y="659"/>
                    <a:pt x="110" y="659"/>
                  </a:cubicBezTo>
                  <a:cubicBezTo>
                    <a:pt x="111" y="660"/>
                    <a:pt x="111" y="660"/>
                    <a:pt x="111" y="660"/>
                  </a:cubicBezTo>
                  <a:cubicBezTo>
                    <a:pt x="117" y="655"/>
                    <a:pt x="117" y="655"/>
                    <a:pt x="117" y="655"/>
                  </a:cubicBezTo>
                  <a:cubicBezTo>
                    <a:pt x="117" y="655"/>
                    <a:pt x="115" y="653"/>
                    <a:pt x="113" y="654"/>
                  </a:cubicBezTo>
                  <a:close/>
                  <a:moveTo>
                    <a:pt x="119" y="654"/>
                  </a:moveTo>
                  <a:cubicBezTo>
                    <a:pt x="120" y="657"/>
                    <a:pt x="120" y="657"/>
                    <a:pt x="120" y="657"/>
                  </a:cubicBezTo>
                  <a:cubicBezTo>
                    <a:pt x="122" y="656"/>
                    <a:pt x="122" y="656"/>
                    <a:pt x="122" y="656"/>
                  </a:cubicBezTo>
                  <a:cubicBezTo>
                    <a:pt x="122" y="654"/>
                    <a:pt x="122" y="654"/>
                    <a:pt x="122" y="654"/>
                  </a:cubicBezTo>
                  <a:lnTo>
                    <a:pt x="119" y="654"/>
                  </a:lnTo>
                  <a:close/>
                  <a:moveTo>
                    <a:pt x="148" y="643"/>
                  </a:moveTo>
                  <a:cubicBezTo>
                    <a:pt x="146" y="647"/>
                    <a:pt x="146" y="647"/>
                    <a:pt x="146" y="647"/>
                  </a:cubicBezTo>
                  <a:cubicBezTo>
                    <a:pt x="142" y="648"/>
                    <a:pt x="142" y="648"/>
                    <a:pt x="142" y="648"/>
                  </a:cubicBezTo>
                  <a:cubicBezTo>
                    <a:pt x="139" y="650"/>
                    <a:pt x="139" y="650"/>
                    <a:pt x="139" y="650"/>
                  </a:cubicBezTo>
                  <a:cubicBezTo>
                    <a:pt x="134" y="651"/>
                    <a:pt x="134" y="651"/>
                    <a:pt x="134" y="651"/>
                  </a:cubicBezTo>
                  <a:cubicBezTo>
                    <a:pt x="133" y="655"/>
                    <a:pt x="133" y="655"/>
                    <a:pt x="133" y="655"/>
                  </a:cubicBezTo>
                  <a:cubicBezTo>
                    <a:pt x="136" y="655"/>
                    <a:pt x="136" y="655"/>
                    <a:pt x="136" y="655"/>
                  </a:cubicBezTo>
                  <a:cubicBezTo>
                    <a:pt x="133" y="659"/>
                    <a:pt x="133" y="659"/>
                    <a:pt x="133" y="659"/>
                  </a:cubicBezTo>
                  <a:cubicBezTo>
                    <a:pt x="133" y="664"/>
                    <a:pt x="133" y="664"/>
                    <a:pt x="133" y="664"/>
                  </a:cubicBezTo>
                  <a:cubicBezTo>
                    <a:pt x="139" y="661"/>
                    <a:pt x="139" y="661"/>
                    <a:pt x="139" y="661"/>
                  </a:cubicBezTo>
                  <a:cubicBezTo>
                    <a:pt x="145" y="661"/>
                    <a:pt x="145" y="661"/>
                    <a:pt x="145" y="661"/>
                  </a:cubicBezTo>
                  <a:cubicBezTo>
                    <a:pt x="149" y="654"/>
                    <a:pt x="149" y="654"/>
                    <a:pt x="149" y="654"/>
                  </a:cubicBezTo>
                  <a:cubicBezTo>
                    <a:pt x="147" y="649"/>
                    <a:pt x="147" y="649"/>
                    <a:pt x="147" y="649"/>
                  </a:cubicBezTo>
                  <a:cubicBezTo>
                    <a:pt x="149" y="644"/>
                    <a:pt x="149" y="644"/>
                    <a:pt x="149" y="644"/>
                  </a:cubicBezTo>
                  <a:lnTo>
                    <a:pt x="148" y="643"/>
                  </a:lnTo>
                  <a:close/>
                  <a:moveTo>
                    <a:pt x="111" y="639"/>
                  </a:moveTo>
                  <a:cubicBezTo>
                    <a:pt x="112" y="640"/>
                    <a:pt x="112" y="640"/>
                    <a:pt x="112" y="640"/>
                  </a:cubicBezTo>
                  <a:cubicBezTo>
                    <a:pt x="110" y="643"/>
                    <a:pt x="110" y="643"/>
                    <a:pt x="110" y="643"/>
                  </a:cubicBezTo>
                  <a:cubicBezTo>
                    <a:pt x="112" y="643"/>
                    <a:pt x="112" y="643"/>
                    <a:pt x="112" y="643"/>
                  </a:cubicBezTo>
                  <a:cubicBezTo>
                    <a:pt x="114" y="642"/>
                    <a:pt x="114" y="642"/>
                    <a:pt x="114" y="642"/>
                  </a:cubicBezTo>
                  <a:cubicBezTo>
                    <a:pt x="117" y="644"/>
                    <a:pt x="117" y="644"/>
                    <a:pt x="117" y="644"/>
                  </a:cubicBezTo>
                  <a:cubicBezTo>
                    <a:pt x="118" y="641"/>
                    <a:pt x="118" y="641"/>
                    <a:pt x="118" y="641"/>
                  </a:cubicBezTo>
                  <a:cubicBezTo>
                    <a:pt x="113" y="638"/>
                    <a:pt x="113" y="638"/>
                    <a:pt x="113" y="638"/>
                  </a:cubicBezTo>
                  <a:lnTo>
                    <a:pt x="111" y="639"/>
                  </a:lnTo>
                  <a:close/>
                  <a:moveTo>
                    <a:pt x="99" y="634"/>
                  </a:moveTo>
                  <a:cubicBezTo>
                    <a:pt x="95" y="631"/>
                    <a:pt x="94" y="630"/>
                    <a:pt x="95" y="632"/>
                  </a:cubicBezTo>
                  <a:cubicBezTo>
                    <a:pt x="97" y="637"/>
                    <a:pt x="97" y="637"/>
                    <a:pt x="97" y="637"/>
                  </a:cubicBezTo>
                  <a:cubicBezTo>
                    <a:pt x="102" y="637"/>
                    <a:pt x="102" y="637"/>
                    <a:pt x="99" y="634"/>
                  </a:cubicBezTo>
                  <a:close/>
                  <a:moveTo>
                    <a:pt x="90" y="628"/>
                  </a:moveTo>
                  <a:cubicBezTo>
                    <a:pt x="93" y="631"/>
                    <a:pt x="93" y="631"/>
                    <a:pt x="93" y="631"/>
                  </a:cubicBezTo>
                  <a:cubicBezTo>
                    <a:pt x="94" y="628"/>
                    <a:pt x="94" y="628"/>
                    <a:pt x="94" y="628"/>
                  </a:cubicBezTo>
                  <a:cubicBezTo>
                    <a:pt x="91" y="627"/>
                    <a:pt x="91" y="627"/>
                    <a:pt x="91" y="627"/>
                  </a:cubicBezTo>
                  <a:lnTo>
                    <a:pt x="90" y="628"/>
                  </a:lnTo>
                  <a:close/>
                  <a:moveTo>
                    <a:pt x="175" y="667"/>
                  </a:moveTo>
                  <a:cubicBezTo>
                    <a:pt x="175" y="664"/>
                    <a:pt x="175" y="664"/>
                    <a:pt x="175" y="664"/>
                  </a:cubicBezTo>
                  <a:cubicBezTo>
                    <a:pt x="170" y="666"/>
                    <a:pt x="170" y="666"/>
                    <a:pt x="170" y="666"/>
                  </a:cubicBezTo>
                  <a:lnTo>
                    <a:pt x="175" y="667"/>
                  </a:lnTo>
                  <a:close/>
                  <a:moveTo>
                    <a:pt x="74" y="466"/>
                  </a:moveTo>
                  <a:cubicBezTo>
                    <a:pt x="72" y="462"/>
                    <a:pt x="72" y="462"/>
                    <a:pt x="72" y="462"/>
                  </a:cubicBezTo>
                  <a:cubicBezTo>
                    <a:pt x="72" y="462"/>
                    <a:pt x="69" y="464"/>
                    <a:pt x="68" y="464"/>
                  </a:cubicBezTo>
                  <a:cubicBezTo>
                    <a:pt x="66" y="464"/>
                    <a:pt x="67" y="461"/>
                    <a:pt x="67" y="461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6" y="468"/>
                    <a:pt x="66" y="468"/>
                    <a:pt x="66" y="468"/>
                  </a:cubicBezTo>
                  <a:cubicBezTo>
                    <a:pt x="71" y="469"/>
                    <a:pt x="74" y="466"/>
                    <a:pt x="74" y="466"/>
                  </a:cubicBezTo>
                  <a:close/>
                  <a:moveTo>
                    <a:pt x="72" y="456"/>
                  </a:moveTo>
                  <a:cubicBezTo>
                    <a:pt x="67" y="457"/>
                    <a:pt x="67" y="457"/>
                    <a:pt x="67" y="457"/>
                  </a:cubicBezTo>
                  <a:cubicBezTo>
                    <a:pt x="70" y="460"/>
                    <a:pt x="70" y="460"/>
                    <a:pt x="70" y="460"/>
                  </a:cubicBezTo>
                  <a:lnTo>
                    <a:pt x="72" y="456"/>
                  </a:lnTo>
                  <a:close/>
                  <a:moveTo>
                    <a:pt x="93" y="452"/>
                  </a:moveTo>
                  <a:cubicBezTo>
                    <a:pt x="90" y="456"/>
                    <a:pt x="90" y="456"/>
                    <a:pt x="90" y="456"/>
                  </a:cubicBezTo>
                  <a:cubicBezTo>
                    <a:pt x="94" y="456"/>
                    <a:pt x="94" y="456"/>
                    <a:pt x="94" y="456"/>
                  </a:cubicBezTo>
                  <a:cubicBezTo>
                    <a:pt x="97" y="454"/>
                    <a:pt x="97" y="454"/>
                    <a:pt x="97" y="454"/>
                  </a:cubicBezTo>
                  <a:lnTo>
                    <a:pt x="93" y="452"/>
                  </a:lnTo>
                  <a:close/>
                  <a:moveTo>
                    <a:pt x="157" y="329"/>
                  </a:moveTo>
                  <a:cubicBezTo>
                    <a:pt x="153" y="331"/>
                    <a:pt x="153" y="331"/>
                    <a:pt x="153" y="331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45" y="331"/>
                    <a:pt x="145" y="331"/>
                    <a:pt x="145" y="331"/>
                  </a:cubicBezTo>
                  <a:cubicBezTo>
                    <a:pt x="145" y="335"/>
                    <a:pt x="145" y="335"/>
                    <a:pt x="145" y="335"/>
                  </a:cubicBezTo>
                  <a:cubicBezTo>
                    <a:pt x="145" y="336"/>
                    <a:pt x="147" y="338"/>
                    <a:pt x="147" y="338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52" y="332"/>
                    <a:pt x="152" y="332"/>
                    <a:pt x="152" y="332"/>
                  </a:cubicBezTo>
                  <a:cubicBezTo>
                    <a:pt x="157" y="331"/>
                    <a:pt x="157" y="331"/>
                    <a:pt x="157" y="331"/>
                  </a:cubicBezTo>
                  <a:lnTo>
                    <a:pt x="157" y="329"/>
                  </a:lnTo>
                  <a:close/>
                  <a:moveTo>
                    <a:pt x="244" y="634"/>
                  </a:moveTo>
                  <a:cubicBezTo>
                    <a:pt x="247" y="630"/>
                    <a:pt x="247" y="630"/>
                    <a:pt x="247" y="630"/>
                  </a:cubicBezTo>
                  <a:cubicBezTo>
                    <a:pt x="243" y="631"/>
                    <a:pt x="243" y="631"/>
                    <a:pt x="243" y="631"/>
                  </a:cubicBezTo>
                  <a:lnTo>
                    <a:pt x="244" y="634"/>
                  </a:lnTo>
                  <a:close/>
                  <a:moveTo>
                    <a:pt x="260" y="618"/>
                  </a:moveTo>
                  <a:cubicBezTo>
                    <a:pt x="265" y="619"/>
                    <a:pt x="265" y="619"/>
                    <a:pt x="265" y="619"/>
                  </a:cubicBezTo>
                  <a:cubicBezTo>
                    <a:pt x="263" y="616"/>
                    <a:pt x="263" y="616"/>
                    <a:pt x="263" y="616"/>
                  </a:cubicBezTo>
                  <a:lnTo>
                    <a:pt x="260" y="618"/>
                  </a:lnTo>
                  <a:close/>
                  <a:moveTo>
                    <a:pt x="265" y="614"/>
                  </a:moveTo>
                  <a:cubicBezTo>
                    <a:pt x="267" y="617"/>
                    <a:pt x="267" y="617"/>
                    <a:pt x="267" y="617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0" y="613"/>
                    <a:pt x="270" y="613"/>
                    <a:pt x="270" y="613"/>
                  </a:cubicBezTo>
                  <a:lnTo>
                    <a:pt x="265" y="6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Bulgarien" descr="© INSCALE GmbH, 05.05.2010&#10;http://www.presentationload.com/">
              <a:extLst>
                <a:ext uri="{FF2B5EF4-FFF2-40B4-BE49-F238E27FC236}">
                  <a16:creationId xmlns:a16="http://schemas.microsoft.com/office/drawing/2014/main" id="{FFD8B23C-3580-D242-BC2F-EAD95064FB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9023" y="5331521"/>
              <a:ext cx="717858" cy="521478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9" name="Griech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E9E8D4A-2346-0D4F-BF18-89022210D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16437" y="5724279"/>
              <a:ext cx="1150222" cy="1079262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56AD95A7-9F61-E443-A7E4-A416134BA3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30303" y="3909008"/>
              <a:ext cx="1807022" cy="1227784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I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9B613DB-BDAB-E74A-9F2D-354F7F8AC6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4193" y="1559056"/>
              <a:ext cx="679902" cy="561084"/>
            </a:xfrm>
            <a:custGeom>
              <a:avLst/>
              <a:gdLst/>
              <a:ahLst/>
              <a:cxnLst>
                <a:cxn ang="0">
                  <a:pos x="273" y="136"/>
                </a:cxn>
                <a:cxn ang="0">
                  <a:pos x="262" y="113"/>
                </a:cxn>
                <a:cxn ang="0">
                  <a:pos x="268" y="98"/>
                </a:cxn>
                <a:cxn ang="0">
                  <a:pos x="252" y="81"/>
                </a:cxn>
                <a:cxn ang="0">
                  <a:pos x="229" y="89"/>
                </a:cxn>
                <a:cxn ang="0">
                  <a:pos x="206" y="89"/>
                </a:cxn>
                <a:cxn ang="0">
                  <a:pos x="189" y="71"/>
                </a:cxn>
                <a:cxn ang="0">
                  <a:pos x="178" y="102"/>
                </a:cxn>
                <a:cxn ang="0">
                  <a:pos x="177" y="75"/>
                </a:cxn>
                <a:cxn ang="0">
                  <a:pos x="170" y="63"/>
                </a:cxn>
                <a:cxn ang="0">
                  <a:pos x="144" y="81"/>
                </a:cxn>
                <a:cxn ang="0">
                  <a:pos x="141" y="52"/>
                </a:cxn>
                <a:cxn ang="0">
                  <a:pos x="133" y="54"/>
                </a:cxn>
                <a:cxn ang="0">
                  <a:pos x="115" y="81"/>
                </a:cxn>
                <a:cxn ang="0">
                  <a:pos x="110" y="75"/>
                </a:cxn>
                <a:cxn ang="0">
                  <a:pos x="95" y="81"/>
                </a:cxn>
                <a:cxn ang="0">
                  <a:pos x="90" y="75"/>
                </a:cxn>
                <a:cxn ang="0">
                  <a:pos x="92" y="54"/>
                </a:cxn>
                <a:cxn ang="0">
                  <a:pos x="109" y="44"/>
                </a:cxn>
                <a:cxn ang="0">
                  <a:pos x="104" y="23"/>
                </a:cxn>
                <a:cxn ang="0">
                  <a:pos x="97" y="10"/>
                </a:cxn>
                <a:cxn ang="0">
                  <a:pos x="81" y="5"/>
                </a:cxn>
                <a:cxn ang="0">
                  <a:pos x="88" y="13"/>
                </a:cxn>
                <a:cxn ang="0">
                  <a:pos x="87" y="29"/>
                </a:cxn>
                <a:cxn ang="0">
                  <a:pos x="79" y="32"/>
                </a:cxn>
                <a:cxn ang="0">
                  <a:pos x="73" y="27"/>
                </a:cxn>
                <a:cxn ang="0">
                  <a:pos x="71" y="13"/>
                </a:cxn>
                <a:cxn ang="0">
                  <a:pos x="53" y="22"/>
                </a:cxn>
                <a:cxn ang="0">
                  <a:pos x="57" y="38"/>
                </a:cxn>
                <a:cxn ang="0">
                  <a:pos x="38" y="23"/>
                </a:cxn>
                <a:cxn ang="0">
                  <a:pos x="30" y="36"/>
                </a:cxn>
                <a:cxn ang="0">
                  <a:pos x="30" y="49"/>
                </a:cxn>
                <a:cxn ang="0">
                  <a:pos x="60" y="50"/>
                </a:cxn>
                <a:cxn ang="0">
                  <a:pos x="72" y="64"/>
                </a:cxn>
                <a:cxn ang="0">
                  <a:pos x="72" y="75"/>
                </a:cxn>
                <a:cxn ang="0">
                  <a:pos x="69" y="87"/>
                </a:cxn>
                <a:cxn ang="0">
                  <a:pos x="45" y="87"/>
                </a:cxn>
                <a:cxn ang="0">
                  <a:pos x="31" y="83"/>
                </a:cxn>
                <a:cxn ang="0">
                  <a:pos x="4" y="84"/>
                </a:cxn>
                <a:cxn ang="0">
                  <a:pos x="34" y="97"/>
                </a:cxn>
                <a:cxn ang="0">
                  <a:pos x="36" y="117"/>
                </a:cxn>
                <a:cxn ang="0">
                  <a:pos x="48" y="121"/>
                </a:cxn>
                <a:cxn ang="0">
                  <a:pos x="36" y="132"/>
                </a:cxn>
                <a:cxn ang="0">
                  <a:pos x="36" y="141"/>
                </a:cxn>
                <a:cxn ang="0">
                  <a:pos x="14" y="149"/>
                </a:cxn>
                <a:cxn ang="0">
                  <a:pos x="0" y="154"/>
                </a:cxn>
                <a:cxn ang="0">
                  <a:pos x="28" y="168"/>
                </a:cxn>
                <a:cxn ang="0">
                  <a:pos x="45" y="177"/>
                </a:cxn>
                <a:cxn ang="0">
                  <a:pos x="55" y="194"/>
                </a:cxn>
                <a:cxn ang="0">
                  <a:pos x="79" y="224"/>
                </a:cxn>
                <a:cxn ang="0">
                  <a:pos x="123" y="221"/>
                </a:cxn>
                <a:cxn ang="0">
                  <a:pos x="155" y="227"/>
                </a:cxn>
                <a:cxn ang="0">
                  <a:pos x="195" y="217"/>
                </a:cxn>
                <a:cxn ang="0">
                  <a:pos x="212" y="218"/>
                </a:cxn>
                <a:cxn ang="0">
                  <a:pos x="240" y="207"/>
                </a:cxn>
                <a:cxn ang="0">
                  <a:pos x="243" y="194"/>
                </a:cxn>
                <a:cxn ang="0">
                  <a:pos x="258" y="190"/>
                </a:cxn>
                <a:cxn ang="0">
                  <a:pos x="263" y="183"/>
                </a:cxn>
                <a:cxn ang="0">
                  <a:pos x="272" y="183"/>
                </a:cxn>
                <a:cxn ang="0">
                  <a:pos x="278" y="173"/>
                </a:cxn>
                <a:cxn ang="0">
                  <a:pos x="284" y="155"/>
                </a:cxn>
                <a:cxn ang="0">
                  <a:pos x="50" y="205"/>
                </a:cxn>
              </a:cxnLst>
              <a:rect l="0" t="0" r="r" b="b"/>
              <a:pathLst>
                <a:path w="285" h="235">
                  <a:moveTo>
                    <a:pt x="284" y="155"/>
                  </a:moveTo>
                  <a:cubicBezTo>
                    <a:pt x="280" y="156"/>
                    <a:pt x="280" y="156"/>
                    <a:pt x="280" y="156"/>
                  </a:cubicBezTo>
                  <a:cubicBezTo>
                    <a:pt x="280" y="153"/>
                    <a:pt x="280" y="153"/>
                    <a:pt x="280" y="153"/>
                  </a:cubicBezTo>
                  <a:cubicBezTo>
                    <a:pt x="279" y="153"/>
                    <a:pt x="279" y="153"/>
                    <a:pt x="279" y="153"/>
                  </a:cubicBezTo>
                  <a:cubicBezTo>
                    <a:pt x="281" y="150"/>
                    <a:pt x="281" y="150"/>
                    <a:pt x="281" y="150"/>
                  </a:cubicBezTo>
                  <a:cubicBezTo>
                    <a:pt x="280" y="149"/>
                    <a:pt x="280" y="149"/>
                    <a:pt x="280" y="149"/>
                  </a:cubicBezTo>
                  <a:cubicBezTo>
                    <a:pt x="280" y="149"/>
                    <a:pt x="275" y="147"/>
                    <a:pt x="272" y="143"/>
                  </a:cubicBezTo>
                  <a:cubicBezTo>
                    <a:pt x="270" y="139"/>
                    <a:pt x="273" y="136"/>
                    <a:pt x="273" y="136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59" y="130"/>
                    <a:pt x="259" y="130"/>
                    <a:pt x="259" y="130"/>
                  </a:cubicBezTo>
                  <a:cubicBezTo>
                    <a:pt x="259" y="130"/>
                    <a:pt x="260" y="128"/>
                    <a:pt x="262" y="128"/>
                  </a:cubicBezTo>
                  <a:cubicBezTo>
                    <a:pt x="264" y="127"/>
                    <a:pt x="265" y="127"/>
                    <a:pt x="269" y="124"/>
                  </a:cubicBezTo>
                  <a:cubicBezTo>
                    <a:pt x="273" y="122"/>
                    <a:pt x="272" y="116"/>
                    <a:pt x="271" y="115"/>
                  </a:cubicBezTo>
                  <a:cubicBezTo>
                    <a:pt x="270" y="113"/>
                    <a:pt x="268" y="115"/>
                    <a:pt x="265" y="115"/>
                  </a:cubicBezTo>
                  <a:cubicBezTo>
                    <a:pt x="264" y="115"/>
                    <a:pt x="262" y="113"/>
                    <a:pt x="262" y="113"/>
                  </a:cubicBezTo>
                  <a:cubicBezTo>
                    <a:pt x="262" y="113"/>
                    <a:pt x="263" y="112"/>
                    <a:pt x="263" y="110"/>
                  </a:cubicBezTo>
                  <a:cubicBezTo>
                    <a:pt x="263" y="108"/>
                    <a:pt x="260" y="107"/>
                    <a:pt x="260" y="107"/>
                  </a:cubicBezTo>
                  <a:cubicBezTo>
                    <a:pt x="260" y="107"/>
                    <a:pt x="269" y="106"/>
                    <a:pt x="270" y="105"/>
                  </a:cubicBezTo>
                  <a:cubicBezTo>
                    <a:pt x="271" y="102"/>
                    <a:pt x="271" y="99"/>
                    <a:pt x="271" y="99"/>
                  </a:cubicBezTo>
                  <a:cubicBezTo>
                    <a:pt x="284" y="97"/>
                    <a:pt x="284" y="97"/>
                    <a:pt x="284" y="97"/>
                  </a:cubicBezTo>
                  <a:cubicBezTo>
                    <a:pt x="284" y="97"/>
                    <a:pt x="280" y="96"/>
                    <a:pt x="278" y="96"/>
                  </a:cubicBezTo>
                  <a:cubicBezTo>
                    <a:pt x="277" y="95"/>
                    <a:pt x="279" y="94"/>
                    <a:pt x="276" y="93"/>
                  </a:cubicBezTo>
                  <a:cubicBezTo>
                    <a:pt x="274" y="92"/>
                    <a:pt x="270" y="97"/>
                    <a:pt x="268" y="98"/>
                  </a:cubicBezTo>
                  <a:cubicBezTo>
                    <a:pt x="264" y="99"/>
                    <a:pt x="265" y="96"/>
                    <a:pt x="262" y="97"/>
                  </a:cubicBezTo>
                  <a:cubicBezTo>
                    <a:pt x="258" y="97"/>
                    <a:pt x="259" y="101"/>
                    <a:pt x="258" y="102"/>
                  </a:cubicBezTo>
                  <a:cubicBezTo>
                    <a:pt x="257" y="102"/>
                    <a:pt x="256" y="99"/>
                    <a:pt x="256" y="97"/>
                  </a:cubicBezTo>
                  <a:cubicBezTo>
                    <a:pt x="255" y="96"/>
                    <a:pt x="253" y="95"/>
                    <a:pt x="253" y="95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92"/>
                    <a:pt x="255" y="90"/>
                    <a:pt x="256" y="86"/>
                  </a:cubicBezTo>
                  <a:cubicBezTo>
                    <a:pt x="258" y="84"/>
                    <a:pt x="252" y="81"/>
                    <a:pt x="252" y="81"/>
                  </a:cubicBezTo>
                  <a:cubicBezTo>
                    <a:pt x="252" y="81"/>
                    <a:pt x="255" y="79"/>
                    <a:pt x="253" y="74"/>
                  </a:cubicBezTo>
                  <a:cubicBezTo>
                    <a:pt x="251" y="69"/>
                    <a:pt x="245" y="74"/>
                    <a:pt x="245" y="74"/>
                  </a:cubicBezTo>
                  <a:cubicBezTo>
                    <a:pt x="245" y="74"/>
                    <a:pt x="242" y="69"/>
                    <a:pt x="240" y="69"/>
                  </a:cubicBezTo>
                  <a:cubicBezTo>
                    <a:pt x="238" y="69"/>
                    <a:pt x="238" y="75"/>
                    <a:pt x="238" y="77"/>
                  </a:cubicBezTo>
                  <a:cubicBezTo>
                    <a:pt x="238" y="79"/>
                    <a:pt x="236" y="80"/>
                    <a:pt x="236" y="80"/>
                  </a:cubicBezTo>
                  <a:cubicBezTo>
                    <a:pt x="236" y="80"/>
                    <a:pt x="236" y="86"/>
                    <a:pt x="235" y="89"/>
                  </a:cubicBezTo>
                  <a:cubicBezTo>
                    <a:pt x="232" y="90"/>
                    <a:pt x="230" y="90"/>
                    <a:pt x="230" y="90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6" y="89"/>
                    <a:pt x="226" y="89"/>
                    <a:pt x="226" y="89"/>
                  </a:cubicBezTo>
                  <a:cubicBezTo>
                    <a:pt x="226" y="89"/>
                    <a:pt x="224" y="90"/>
                    <a:pt x="223" y="91"/>
                  </a:cubicBezTo>
                  <a:cubicBezTo>
                    <a:pt x="222" y="91"/>
                    <a:pt x="219" y="89"/>
                    <a:pt x="219" y="89"/>
                  </a:cubicBezTo>
                  <a:cubicBezTo>
                    <a:pt x="220" y="84"/>
                    <a:pt x="220" y="84"/>
                    <a:pt x="220" y="84"/>
                  </a:cubicBezTo>
                  <a:cubicBezTo>
                    <a:pt x="220" y="84"/>
                    <a:pt x="217" y="81"/>
                    <a:pt x="214" y="82"/>
                  </a:cubicBezTo>
                  <a:cubicBezTo>
                    <a:pt x="210" y="82"/>
                    <a:pt x="210" y="84"/>
                    <a:pt x="210" y="86"/>
                  </a:cubicBezTo>
                  <a:cubicBezTo>
                    <a:pt x="209" y="87"/>
                    <a:pt x="206" y="87"/>
                    <a:pt x="206" y="87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3"/>
                    <a:pt x="202" y="91"/>
                    <a:pt x="199" y="90"/>
                  </a:cubicBezTo>
                  <a:cubicBezTo>
                    <a:pt x="198" y="89"/>
                    <a:pt x="197" y="90"/>
                    <a:pt x="197" y="90"/>
                  </a:cubicBezTo>
                  <a:cubicBezTo>
                    <a:pt x="196" y="80"/>
                    <a:pt x="196" y="80"/>
                    <a:pt x="196" y="80"/>
                  </a:cubicBezTo>
                  <a:cubicBezTo>
                    <a:pt x="195" y="79"/>
                    <a:pt x="195" y="79"/>
                    <a:pt x="195" y="79"/>
                  </a:cubicBezTo>
                  <a:cubicBezTo>
                    <a:pt x="195" y="76"/>
                    <a:pt x="195" y="76"/>
                    <a:pt x="195" y="76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4" y="71"/>
                    <a:pt x="183" y="78"/>
                  </a:cubicBezTo>
                  <a:cubicBezTo>
                    <a:pt x="181" y="84"/>
                    <a:pt x="183" y="85"/>
                    <a:pt x="183" y="8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1" y="87"/>
                    <a:pt x="181" y="87"/>
                    <a:pt x="181" y="87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93"/>
                    <a:pt x="182" y="93"/>
                    <a:pt x="182" y="93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7" y="98"/>
                    <a:pt x="177" y="98"/>
                    <a:pt x="177" y="98"/>
                  </a:cubicBezTo>
                  <a:cubicBezTo>
                    <a:pt x="177" y="98"/>
                    <a:pt x="177" y="96"/>
                    <a:pt x="178" y="95"/>
                  </a:cubicBezTo>
                  <a:cubicBezTo>
                    <a:pt x="179" y="94"/>
                    <a:pt x="179" y="92"/>
                    <a:pt x="179" y="92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83"/>
                    <a:pt x="175" y="81"/>
                    <a:pt x="175" y="80"/>
                  </a:cubicBezTo>
                  <a:cubicBezTo>
                    <a:pt x="175" y="78"/>
                    <a:pt x="177" y="77"/>
                    <a:pt x="177" y="75"/>
                  </a:cubicBezTo>
                  <a:cubicBezTo>
                    <a:pt x="178" y="74"/>
                    <a:pt x="177" y="71"/>
                    <a:pt x="177" y="71"/>
                  </a:cubicBezTo>
                  <a:cubicBezTo>
                    <a:pt x="178" y="69"/>
                    <a:pt x="178" y="69"/>
                    <a:pt x="178" y="69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5" y="67"/>
                    <a:pt x="175" y="67"/>
                    <a:pt x="175" y="67"/>
                  </a:cubicBezTo>
                  <a:cubicBezTo>
                    <a:pt x="176" y="65"/>
                    <a:pt x="176" y="65"/>
                    <a:pt x="176" y="65"/>
                  </a:cubicBezTo>
                  <a:cubicBezTo>
                    <a:pt x="175" y="64"/>
                    <a:pt x="175" y="64"/>
                    <a:pt x="175" y="64"/>
                  </a:cubicBezTo>
                  <a:cubicBezTo>
                    <a:pt x="172" y="66"/>
                    <a:pt x="172" y="66"/>
                    <a:pt x="172" y="66"/>
                  </a:cubicBezTo>
                  <a:cubicBezTo>
                    <a:pt x="172" y="66"/>
                    <a:pt x="173" y="63"/>
                    <a:pt x="170" y="63"/>
                  </a:cubicBezTo>
                  <a:cubicBezTo>
                    <a:pt x="167" y="62"/>
                    <a:pt x="166" y="66"/>
                    <a:pt x="164" y="66"/>
                  </a:cubicBezTo>
                  <a:cubicBezTo>
                    <a:pt x="162" y="67"/>
                    <a:pt x="161" y="65"/>
                    <a:pt x="159" y="64"/>
                  </a:cubicBezTo>
                  <a:cubicBezTo>
                    <a:pt x="156" y="64"/>
                    <a:pt x="155" y="67"/>
                    <a:pt x="155" y="68"/>
                  </a:cubicBezTo>
                  <a:cubicBezTo>
                    <a:pt x="154" y="69"/>
                    <a:pt x="153" y="68"/>
                    <a:pt x="150" y="70"/>
                  </a:cubicBezTo>
                  <a:cubicBezTo>
                    <a:pt x="149" y="73"/>
                    <a:pt x="151" y="76"/>
                    <a:pt x="150" y="79"/>
                  </a:cubicBezTo>
                  <a:cubicBezTo>
                    <a:pt x="149" y="82"/>
                    <a:pt x="145" y="83"/>
                    <a:pt x="145" y="83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3" y="75"/>
                    <a:pt x="143" y="73"/>
                  </a:cubicBezTo>
                  <a:cubicBezTo>
                    <a:pt x="144" y="71"/>
                    <a:pt x="141" y="69"/>
                    <a:pt x="141" y="69"/>
                  </a:cubicBezTo>
                  <a:cubicBezTo>
                    <a:pt x="141" y="69"/>
                    <a:pt x="141" y="66"/>
                    <a:pt x="142" y="64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2" y="59"/>
                    <a:pt x="143" y="57"/>
                    <a:pt x="143" y="54"/>
                  </a:cubicBezTo>
                  <a:cubicBezTo>
                    <a:pt x="143" y="53"/>
                    <a:pt x="141" y="52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8" y="52"/>
                    <a:pt x="138" y="52"/>
                    <a:pt x="138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0" y="63"/>
                    <a:pt x="128" y="66"/>
                  </a:cubicBezTo>
                  <a:cubicBezTo>
                    <a:pt x="126" y="70"/>
                    <a:pt x="126" y="76"/>
                    <a:pt x="126" y="76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4" y="85"/>
                    <a:pt x="112" y="85"/>
                  </a:cubicBezTo>
                  <a:cubicBezTo>
                    <a:pt x="110" y="84"/>
                    <a:pt x="113" y="79"/>
                    <a:pt x="11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4" y="75"/>
                    <a:pt x="102" y="77"/>
                    <a:pt x="102" y="77"/>
                  </a:cubicBezTo>
                  <a:cubicBezTo>
                    <a:pt x="102" y="77"/>
                    <a:pt x="101" y="78"/>
                    <a:pt x="100" y="80"/>
                  </a:cubicBezTo>
                  <a:cubicBezTo>
                    <a:pt x="99" y="82"/>
                    <a:pt x="98" y="89"/>
                    <a:pt x="98" y="89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6"/>
                    <a:pt x="92" y="89"/>
                    <a:pt x="91" y="90"/>
                  </a:cubicBezTo>
                  <a:cubicBezTo>
                    <a:pt x="90" y="91"/>
                    <a:pt x="90" y="95"/>
                    <a:pt x="90" y="95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97"/>
                    <a:pt x="88" y="92"/>
                    <a:pt x="89" y="89"/>
                  </a:cubicBezTo>
                  <a:cubicBezTo>
                    <a:pt x="89" y="85"/>
                    <a:pt x="93" y="82"/>
                    <a:pt x="93" y="82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2" y="64"/>
                    <a:pt x="91" y="62"/>
                  </a:cubicBezTo>
                  <a:cubicBezTo>
                    <a:pt x="90" y="60"/>
                    <a:pt x="91" y="60"/>
                    <a:pt x="92" y="59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9"/>
                    <a:pt x="94" y="60"/>
                  </a:cubicBezTo>
                  <a:cubicBezTo>
                    <a:pt x="94" y="62"/>
                    <a:pt x="97" y="62"/>
                    <a:pt x="98" y="62"/>
                  </a:cubicBezTo>
                  <a:cubicBezTo>
                    <a:pt x="100" y="62"/>
                    <a:pt x="99" y="59"/>
                    <a:pt x="99" y="59"/>
                  </a:cubicBezTo>
                  <a:cubicBezTo>
                    <a:pt x="99" y="59"/>
                    <a:pt x="101" y="60"/>
                    <a:pt x="107" y="54"/>
                  </a:cubicBezTo>
                  <a:cubicBezTo>
                    <a:pt x="112" y="49"/>
                    <a:pt x="101" y="47"/>
                    <a:pt x="102" y="46"/>
                  </a:cubicBezTo>
                  <a:cubicBezTo>
                    <a:pt x="102" y="44"/>
                    <a:pt x="109" y="46"/>
                    <a:pt x="109" y="46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37"/>
                    <a:pt x="105" y="35"/>
                    <a:pt x="106" y="33"/>
                  </a:cubicBezTo>
                  <a:cubicBezTo>
                    <a:pt x="107" y="30"/>
                    <a:pt x="104" y="30"/>
                    <a:pt x="102" y="28"/>
                  </a:cubicBezTo>
                  <a:cubicBezTo>
                    <a:pt x="101" y="26"/>
                    <a:pt x="104" y="23"/>
                    <a:pt x="104" y="23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9" y="17"/>
                    <a:pt x="100" y="16"/>
                  </a:cubicBezTo>
                  <a:cubicBezTo>
                    <a:pt x="102" y="14"/>
                    <a:pt x="98" y="12"/>
                    <a:pt x="98" y="12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3" y="5"/>
                    <a:pt x="81" y="5"/>
                  </a:cubicBezTo>
                  <a:cubicBezTo>
                    <a:pt x="80" y="6"/>
                    <a:pt x="79" y="3"/>
                    <a:pt x="79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7" y="6"/>
                    <a:pt x="80" y="8"/>
                  </a:cubicBezTo>
                  <a:cubicBezTo>
                    <a:pt x="83" y="11"/>
                    <a:pt x="87" y="8"/>
                    <a:pt x="87" y="8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2" y="19"/>
                    <a:pt x="91" y="18"/>
                  </a:cubicBezTo>
                  <a:cubicBezTo>
                    <a:pt x="89" y="17"/>
                    <a:pt x="87" y="17"/>
                    <a:pt x="85" y="15"/>
                  </a:cubicBezTo>
                  <a:cubicBezTo>
                    <a:pt x="84" y="13"/>
                    <a:pt x="81" y="13"/>
                    <a:pt x="79" y="14"/>
                  </a:cubicBezTo>
                  <a:cubicBezTo>
                    <a:pt x="76" y="16"/>
                    <a:pt x="81" y="22"/>
                    <a:pt x="82" y="23"/>
                  </a:cubicBezTo>
                  <a:cubicBezTo>
                    <a:pt x="83" y="24"/>
                    <a:pt x="87" y="29"/>
                    <a:pt x="87" y="29"/>
                  </a:cubicBezTo>
                  <a:cubicBezTo>
                    <a:pt x="87" y="29"/>
                    <a:pt x="84" y="30"/>
                    <a:pt x="83" y="31"/>
                  </a:cubicBezTo>
                  <a:cubicBezTo>
                    <a:pt x="82" y="32"/>
                    <a:pt x="83" y="34"/>
                    <a:pt x="82" y="37"/>
                  </a:cubicBezTo>
                  <a:cubicBezTo>
                    <a:pt x="82" y="41"/>
                    <a:pt x="78" y="43"/>
                    <a:pt x="78" y="43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80" y="38"/>
                    <a:pt x="80" y="34"/>
                  </a:cubicBezTo>
                  <a:cubicBezTo>
                    <a:pt x="80" y="31"/>
                    <a:pt x="75" y="38"/>
                    <a:pt x="75" y="38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69" y="22"/>
                    <a:pt x="68" y="21"/>
                  </a:cubicBezTo>
                  <a:cubicBezTo>
                    <a:pt x="68" y="20"/>
                    <a:pt x="72" y="19"/>
                    <a:pt x="72" y="19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68" y="10"/>
                    <a:pt x="64" y="10"/>
                  </a:cubicBezTo>
                  <a:cubicBezTo>
                    <a:pt x="60" y="11"/>
                    <a:pt x="65" y="14"/>
                    <a:pt x="65" y="14"/>
                  </a:cubicBezTo>
                  <a:cubicBezTo>
                    <a:pt x="65" y="14"/>
                    <a:pt x="63" y="13"/>
                    <a:pt x="61" y="13"/>
                  </a:cubicBezTo>
                  <a:cubicBezTo>
                    <a:pt x="60" y="13"/>
                    <a:pt x="59" y="13"/>
                    <a:pt x="61" y="16"/>
                  </a:cubicBezTo>
                  <a:cubicBezTo>
                    <a:pt x="62" y="20"/>
                    <a:pt x="63" y="21"/>
                    <a:pt x="62" y="21"/>
                  </a:cubicBezTo>
                  <a:cubicBezTo>
                    <a:pt x="61" y="22"/>
                    <a:pt x="60" y="20"/>
                    <a:pt x="59" y="18"/>
                  </a:cubicBezTo>
                  <a:cubicBezTo>
                    <a:pt x="58" y="15"/>
                    <a:pt x="56" y="13"/>
                    <a:pt x="53" y="14"/>
                  </a:cubicBezTo>
                  <a:cubicBezTo>
                    <a:pt x="50" y="16"/>
                    <a:pt x="53" y="21"/>
                    <a:pt x="53" y="22"/>
                  </a:cubicBezTo>
                  <a:cubicBezTo>
                    <a:pt x="55" y="24"/>
                    <a:pt x="52" y="24"/>
                    <a:pt x="52" y="24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0" y="23"/>
                    <a:pt x="47" y="21"/>
                  </a:cubicBezTo>
                  <a:cubicBezTo>
                    <a:pt x="45" y="20"/>
                    <a:pt x="45" y="29"/>
                    <a:pt x="48" y="32"/>
                  </a:cubicBezTo>
                  <a:cubicBezTo>
                    <a:pt x="51" y="36"/>
                    <a:pt x="58" y="36"/>
                    <a:pt x="58" y="36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5" y="41"/>
                    <a:pt x="46" y="37"/>
                  </a:cubicBezTo>
                  <a:cubicBezTo>
                    <a:pt x="46" y="34"/>
                    <a:pt x="38" y="23"/>
                    <a:pt x="38" y="23"/>
                  </a:cubicBezTo>
                  <a:cubicBezTo>
                    <a:pt x="38" y="23"/>
                    <a:pt x="35" y="26"/>
                    <a:pt x="35" y="29"/>
                  </a:cubicBezTo>
                  <a:cubicBezTo>
                    <a:pt x="35" y="32"/>
                    <a:pt x="38" y="37"/>
                    <a:pt x="38" y="3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41"/>
                    <a:pt x="36" y="43"/>
                    <a:pt x="36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3"/>
                    <a:pt x="32" y="39"/>
                    <a:pt x="32" y="38"/>
                  </a:cubicBezTo>
                  <a:cubicBezTo>
                    <a:pt x="32" y="37"/>
                    <a:pt x="30" y="38"/>
                    <a:pt x="30" y="36"/>
                  </a:cubicBezTo>
                  <a:cubicBezTo>
                    <a:pt x="30" y="34"/>
                    <a:pt x="30" y="31"/>
                    <a:pt x="27" y="30"/>
                  </a:cubicBezTo>
                  <a:cubicBezTo>
                    <a:pt x="24" y="29"/>
                    <a:pt x="23" y="33"/>
                    <a:pt x="22" y="34"/>
                  </a:cubicBezTo>
                  <a:cubicBezTo>
                    <a:pt x="20" y="35"/>
                    <a:pt x="18" y="35"/>
                    <a:pt x="17" y="36"/>
                  </a:cubicBezTo>
                  <a:cubicBezTo>
                    <a:pt x="16" y="37"/>
                    <a:pt x="19" y="37"/>
                    <a:pt x="23" y="38"/>
                  </a:cubicBezTo>
                  <a:cubicBezTo>
                    <a:pt x="25" y="38"/>
                    <a:pt x="25" y="41"/>
                    <a:pt x="26" y="42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6" y="48"/>
                    <a:pt x="30" y="49"/>
                  </a:cubicBezTo>
                  <a:cubicBezTo>
                    <a:pt x="33" y="51"/>
                    <a:pt x="36" y="48"/>
                    <a:pt x="41" y="49"/>
                  </a:cubicBezTo>
                  <a:cubicBezTo>
                    <a:pt x="45" y="50"/>
                    <a:pt x="46" y="52"/>
                    <a:pt x="48" y="52"/>
                  </a:cubicBezTo>
                  <a:cubicBezTo>
                    <a:pt x="49" y="52"/>
                    <a:pt x="51" y="48"/>
                    <a:pt x="51" y="48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6" y="66"/>
                    <a:pt x="77" y="68"/>
                  </a:cubicBezTo>
                  <a:cubicBezTo>
                    <a:pt x="78" y="70"/>
                    <a:pt x="77" y="71"/>
                    <a:pt x="77" y="7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64" y="75"/>
                    <a:pt x="58" y="76"/>
                  </a:cubicBezTo>
                  <a:cubicBezTo>
                    <a:pt x="50" y="76"/>
                    <a:pt x="56" y="79"/>
                    <a:pt x="56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8" y="86"/>
                    <a:pt x="60" y="85"/>
                    <a:pt x="60" y="85"/>
                  </a:cubicBezTo>
                  <a:cubicBezTo>
                    <a:pt x="60" y="85"/>
                    <a:pt x="61" y="90"/>
                    <a:pt x="62" y="90"/>
                  </a:cubicBezTo>
                  <a:cubicBezTo>
                    <a:pt x="64" y="90"/>
                    <a:pt x="69" y="87"/>
                    <a:pt x="69" y="87"/>
                  </a:cubicBezTo>
                  <a:cubicBezTo>
                    <a:pt x="69" y="87"/>
                    <a:pt x="72" y="86"/>
                    <a:pt x="73" y="89"/>
                  </a:cubicBezTo>
                  <a:cubicBezTo>
                    <a:pt x="74" y="92"/>
                    <a:pt x="66" y="93"/>
                    <a:pt x="66" y="93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0" y="96"/>
                    <a:pt x="59" y="92"/>
                    <a:pt x="59" y="92"/>
                  </a:cubicBezTo>
                  <a:cubicBezTo>
                    <a:pt x="59" y="92"/>
                    <a:pt x="58" y="91"/>
                    <a:pt x="57" y="92"/>
                  </a:cubicBezTo>
                  <a:cubicBezTo>
                    <a:pt x="55" y="92"/>
                    <a:pt x="55" y="89"/>
                    <a:pt x="51" y="86"/>
                  </a:cubicBezTo>
                  <a:cubicBezTo>
                    <a:pt x="48" y="84"/>
                    <a:pt x="45" y="87"/>
                    <a:pt x="45" y="87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0" y="85"/>
                    <a:pt x="38" y="85"/>
                  </a:cubicBezTo>
                  <a:cubicBezTo>
                    <a:pt x="36" y="85"/>
                    <a:pt x="36" y="84"/>
                    <a:pt x="35" y="82"/>
                  </a:cubicBezTo>
                  <a:cubicBezTo>
                    <a:pt x="34" y="81"/>
                    <a:pt x="33" y="83"/>
                    <a:pt x="31" y="85"/>
                  </a:cubicBezTo>
                  <a:cubicBezTo>
                    <a:pt x="29" y="87"/>
                    <a:pt x="30" y="83"/>
                    <a:pt x="31" y="83"/>
                  </a:cubicBezTo>
                  <a:cubicBezTo>
                    <a:pt x="32" y="82"/>
                    <a:pt x="32" y="80"/>
                    <a:pt x="30" y="80"/>
                  </a:cubicBezTo>
                  <a:cubicBezTo>
                    <a:pt x="28" y="79"/>
                    <a:pt x="28" y="83"/>
                    <a:pt x="26" y="83"/>
                  </a:cubicBezTo>
                  <a:cubicBezTo>
                    <a:pt x="24" y="83"/>
                    <a:pt x="25" y="81"/>
                    <a:pt x="25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16" y="81"/>
                    <a:pt x="14" y="81"/>
                  </a:cubicBezTo>
                  <a:cubicBezTo>
                    <a:pt x="12" y="80"/>
                    <a:pt x="13" y="76"/>
                    <a:pt x="9" y="76"/>
                  </a:cubicBezTo>
                  <a:cubicBezTo>
                    <a:pt x="4" y="76"/>
                    <a:pt x="3" y="81"/>
                    <a:pt x="4" y="84"/>
                  </a:cubicBezTo>
                  <a:cubicBezTo>
                    <a:pt x="4" y="89"/>
                    <a:pt x="8" y="90"/>
                    <a:pt x="10" y="90"/>
                  </a:cubicBezTo>
                  <a:cubicBezTo>
                    <a:pt x="12" y="90"/>
                    <a:pt x="11" y="87"/>
                    <a:pt x="13" y="86"/>
                  </a:cubicBezTo>
                  <a:cubicBezTo>
                    <a:pt x="15" y="86"/>
                    <a:pt x="16" y="89"/>
                    <a:pt x="17" y="90"/>
                  </a:cubicBezTo>
                  <a:cubicBezTo>
                    <a:pt x="18" y="90"/>
                    <a:pt x="19" y="89"/>
                    <a:pt x="19" y="89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3" y="98"/>
                    <a:pt x="33" y="97"/>
                    <a:pt x="34" y="97"/>
                  </a:cubicBezTo>
                  <a:cubicBezTo>
                    <a:pt x="36" y="98"/>
                    <a:pt x="35" y="99"/>
                    <a:pt x="36" y="100"/>
                  </a:cubicBezTo>
                  <a:cubicBezTo>
                    <a:pt x="38" y="101"/>
                    <a:pt x="40" y="99"/>
                    <a:pt x="41" y="100"/>
                  </a:cubicBezTo>
                  <a:cubicBezTo>
                    <a:pt x="43" y="102"/>
                    <a:pt x="41" y="103"/>
                    <a:pt x="41" y="103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36" y="122"/>
                    <a:pt x="36" y="124"/>
                    <a:pt x="39" y="124"/>
                  </a:cubicBezTo>
                  <a:cubicBezTo>
                    <a:pt x="40" y="124"/>
                    <a:pt x="42" y="122"/>
                    <a:pt x="42" y="122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8" y="125"/>
                    <a:pt x="48" y="125"/>
                    <a:pt x="48" y="125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2" y="125"/>
                    <a:pt x="38" y="128"/>
                    <a:pt x="38" y="128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3" y="134"/>
                    <a:pt x="33" y="134"/>
                    <a:pt x="33" y="134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3" y="136"/>
                    <a:pt x="45" y="133"/>
                    <a:pt x="49" y="136"/>
                  </a:cubicBezTo>
                  <a:cubicBezTo>
                    <a:pt x="52" y="137"/>
                    <a:pt x="50" y="140"/>
                    <a:pt x="50" y="140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7" y="137"/>
                    <a:pt x="44" y="138"/>
                    <a:pt x="41" y="138"/>
                  </a:cubicBezTo>
                  <a:cubicBezTo>
                    <a:pt x="38" y="138"/>
                    <a:pt x="36" y="138"/>
                    <a:pt x="36" y="141"/>
                  </a:cubicBezTo>
                  <a:cubicBezTo>
                    <a:pt x="35" y="143"/>
                    <a:pt x="38" y="147"/>
                    <a:pt x="38" y="147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27" y="146"/>
                    <a:pt x="27" y="146"/>
                    <a:pt x="27" y="146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0"/>
                    <a:pt x="22" y="149"/>
                    <a:pt x="19" y="149"/>
                  </a:cubicBezTo>
                  <a:cubicBezTo>
                    <a:pt x="17" y="148"/>
                    <a:pt x="15" y="149"/>
                    <a:pt x="14" y="149"/>
                  </a:cubicBezTo>
                  <a:cubicBezTo>
                    <a:pt x="12" y="149"/>
                    <a:pt x="10" y="147"/>
                    <a:pt x="10" y="147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9" y="140"/>
                    <a:pt x="9" y="140"/>
                    <a:pt x="9" y="140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2" y="159"/>
                    <a:pt x="13" y="160"/>
                  </a:cubicBezTo>
                  <a:cubicBezTo>
                    <a:pt x="14" y="161"/>
                    <a:pt x="19" y="163"/>
                    <a:pt x="19" y="163"/>
                  </a:cubicBezTo>
                  <a:cubicBezTo>
                    <a:pt x="19" y="163"/>
                    <a:pt x="24" y="163"/>
                    <a:pt x="26" y="164"/>
                  </a:cubicBezTo>
                  <a:cubicBezTo>
                    <a:pt x="28" y="165"/>
                    <a:pt x="28" y="168"/>
                    <a:pt x="28" y="168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42" y="165"/>
                    <a:pt x="44" y="166"/>
                  </a:cubicBezTo>
                  <a:cubicBezTo>
                    <a:pt x="46" y="168"/>
                    <a:pt x="41" y="169"/>
                    <a:pt x="41" y="169"/>
                  </a:cubicBezTo>
                  <a:cubicBezTo>
                    <a:pt x="41" y="169"/>
                    <a:pt x="42" y="170"/>
                    <a:pt x="43" y="172"/>
                  </a:cubicBezTo>
                  <a:cubicBezTo>
                    <a:pt x="43" y="174"/>
                    <a:pt x="43" y="175"/>
                    <a:pt x="45" y="177"/>
                  </a:cubicBezTo>
                  <a:cubicBezTo>
                    <a:pt x="47" y="178"/>
                    <a:pt x="47" y="181"/>
                    <a:pt x="47" y="181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1" y="183"/>
                    <a:pt x="50" y="183"/>
                  </a:cubicBezTo>
                  <a:cubicBezTo>
                    <a:pt x="49" y="184"/>
                    <a:pt x="49" y="184"/>
                    <a:pt x="49" y="184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1" y="189"/>
                    <a:pt x="51" y="189"/>
                    <a:pt x="51" y="189"/>
                  </a:cubicBezTo>
                  <a:cubicBezTo>
                    <a:pt x="51" y="194"/>
                    <a:pt x="51" y="194"/>
                    <a:pt x="51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53" y="196"/>
                    <a:pt x="53" y="196"/>
                    <a:pt x="53" y="196"/>
                  </a:cubicBezTo>
                  <a:cubicBezTo>
                    <a:pt x="53" y="196"/>
                    <a:pt x="55" y="202"/>
                    <a:pt x="56" y="204"/>
                  </a:cubicBezTo>
                  <a:cubicBezTo>
                    <a:pt x="58" y="206"/>
                    <a:pt x="60" y="205"/>
                    <a:pt x="61" y="205"/>
                  </a:cubicBezTo>
                  <a:cubicBezTo>
                    <a:pt x="62" y="205"/>
                    <a:pt x="64" y="208"/>
                    <a:pt x="65" y="208"/>
                  </a:cubicBezTo>
                  <a:cubicBezTo>
                    <a:pt x="66" y="209"/>
                    <a:pt x="67" y="208"/>
                    <a:pt x="67" y="208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7" y="211"/>
                    <a:pt x="72" y="216"/>
                    <a:pt x="74" y="218"/>
                  </a:cubicBezTo>
                  <a:cubicBezTo>
                    <a:pt x="76" y="220"/>
                    <a:pt x="79" y="224"/>
                    <a:pt x="79" y="224"/>
                  </a:cubicBezTo>
                  <a:cubicBezTo>
                    <a:pt x="79" y="224"/>
                    <a:pt x="83" y="224"/>
                    <a:pt x="85" y="226"/>
                  </a:cubicBezTo>
                  <a:cubicBezTo>
                    <a:pt x="89" y="229"/>
                    <a:pt x="91" y="229"/>
                    <a:pt x="91" y="229"/>
                  </a:cubicBezTo>
                  <a:cubicBezTo>
                    <a:pt x="91" y="229"/>
                    <a:pt x="99" y="232"/>
                    <a:pt x="106" y="233"/>
                  </a:cubicBezTo>
                  <a:cubicBezTo>
                    <a:pt x="112" y="235"/>
                    <a:pt x="118" y="227"/>
                    <a:pt x="118" y="227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0" y="224"/>
                    <a:pt x="120" y="224"/>
                    <a:pt x="120" y="224"/>
                  </a:cubicBezTo>
                  <a:cubicBezTo>
                    <a:pt x="120" y="224"/>
                    <a:pt x="120" y="221"/>
                    <a:pt x="123" y="221"/>
                  </a:cubicBezTo>
                  <a:cubicBezTo>
                    <a:pt x="127" y="221"/>
                    <a:pt x="126" y="224"/>
                    <a:pt x="126" y="224"/>
                  </a:cubicBezTo>
                  <a:cubicBezTo>
                    <a:pt x="133" y="223"/>
                    <a:pt x="133" y="223"/>
                    <a:pt x="133" y="223"/>
                  </a:cubicBezTo>
                  <a:cubicBezTo>
                    <a:pt x="133" y="225"/>
                    <a:pt x="133" y="225"/>
                    <a:pt x="133" y="225"/>
                  </a:cubicBezTo>
                  <a:cubicBezTo>
                    <a:pt x="142" y="225"/>
                    <a:pt x="142" y="225"/>
                    <a:pt x="142" y="225"/>
                  </a:cubicBezTo>
                  <a:cubicBezTo>
                    <a:pt x="144" y="225"/>
                    <a:pt x="148" y="228"/>
                    <a:pt x="148" y="228"/>
                  </a:cubicBezTo>
                  <a:cubicBezTo>
                    <a:pt x="153" y="224"/>
                    <a:pt x="153" y="224"/>
                    <a:pt x="153" y="224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61" y="226"/>
                    <a:pt x="161" y="226"/>
                    <a:pt x="161" y="22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9"/>
                    <a:pt x="172" y="222"/>
                    <a:pt x="177" y="220"/>
                  </a:cubicBezTo>
                  <a:cubicBezTo>
                    <a:pt x="181" y="219"/>
                    <a:pt x="193" y="218"/>
                    <a:pt x="193" y="218"/>
                  </a:cubicBezTo>
                  <a:cubicBezTo>
                    <a:pt x="192" y="216"/>
                    <a:pt x="192" y="216"/>
                    <a:pt x="192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195" y="217"/>
                    <a:pt x="195" y="217"/>
                    <a:pt x="195" y="217"/>
                  </a:cubicBezTo>
                  <a:cubicBezTo>
                    <a:pt x="200" y="217"/>
                    <a:pt x="200" y="217"/>
                    <a:pt x="200" y="217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7" y="219"/>
                    <a:pt x="207" y="219"/>
                    <a:pt x="207" y="219"/>
                  </a:cubicBezTo>
                  <a:cubicBezTo>
                    <a:pt x="203" y="216"/>
                    <a:pt x="203" y="216"/>
                    <a:pt x="203" y="216"/>
                  </a:cubicBezTo>
                  <a:cubicBezTo>
                    <a:pt x="206" y="211"/>
                    <a:pt x="206" y="211"/>
                    <a:pt x="206" y="211"/>
                  </a:cubicBezTo>
                  <a:cubicBezTo>
                    <a:pt x="206" y="211"/>
                    <a:pt x="207" y="215"/>
                    <a:pt x="209" y="216"/>
                  </a:cubicBezTo>
                  <a:cubicBezTo>
                    <a:pt x="210" y="217"/>
                    <a:pt x="208" y="218"/>
                    <a:pt x="208" y="218"/>
                  </a:cubicBezTo>
                  <a:cubicBezTo>
                    <a:pt x="208" y="218"/>
                    <a:pt x="210" y="217"/>
                    <a:pt x="212" y="218"/>
                  </a:cubicBezTo>
                  <a:cubicBezTo>
                    <a:pt x="213" y="219"/>
                    <a:pt x="212" y="222"/>
                    <a:pt x="212" y="222"/>
                  </a:cubicBezTo>
                  <a:cubicBezTo>
                    <a:pt x="214" y="222"/>
                    <a:pt x="214" y="222"/>
                    <a:pt x="214" y="222"/>
                  </a:cubicBezTo>
                  <a:cubicBezTo>
                    <a:pt x="216" y="221"/>
                    <a:pt x="216" y="219"/>
                    <a:pt x="216" y="219"/>
                  </a:cubicBezTo>
                  <a:cubicBezTo>
                    <a:pt x="216" y="219"/>
                    <a:pt x="221" y="218"/>
                    <a:pt x="223" y="217"/>
                  </a:cubicBezTo>
                  <a:cubicBezTo>
                    <a:pt x="225" y="216"/>
                    <a:pt x="226" y="212"/>
                    <a:pt x="228" y="213"/>
                  </a:cubicBezTo>
                  <a:cubicBezTo>
                    <a:pt x="229" y="213"/>
                    <a:pt x="227" y="216"/>
                    <a:pt x="227" y="216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40" y="207"/>
                    <a:pt x="240" y="207"/>
                    <a:pt x="240" y="207"/>
                  </a:cubicBezTo>
                  <a:cubicBezTo>
                    <a:pt x="236" y="208"/>
                    <a:pt x="236" y="208"/>
                    <a:pt x="236" y="208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3" y="206"/>
                    <a:pt x="243" y="206"/>
                    <a:pt x="243" y="206"/>
                  </a:cubicBezTo>
                  <a:cubicBezTo>
                    <a:pt x="245" y="204"/>
                    <a:pt x="245" y="204"/>
                    <a:pt x="245" y="204"/>
                  </a:cubicBezTo>
                  <a:cubicBezTo>
                    <a:pt x="243" y="201"/>
                    <a:pt x="243" y="201"/>
                    <a:pt x="243" y="201"/>
                  </a:cubicBezTo>
                  <a:cubicBezTo>
                    <a:pt x="243" y="201"/>
                    <a:pt x="242" y="193"/>
                    <a:pt x="243" y="194"/>
                  </a:cubicBezTo>
                  <a:cubicBezTo>
                    <a:pt x="244" y="194"/>
                    <a:pt x="244" y="199"/>
                    <a:pt x="245" y="201"/>
                  </a:cubicBezTo>
                  <a:cubicBezTo>
                    <a:pt x="245" y="204"/>
                    <a:pt x="254" y="202"/>
                    <a:pt x="254" y="202"/>
                  </a:cubicBezTo>
                  <a:cubicBezTo>
                    <a:pt x="254" y="200"/>
                    <a:pt x="254" y="200"/>
                    <a:pt x="254" y="200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258" y="195"/>
                    <a:pt x="258" y="195"/>
                    <a:pt x="258" y="195"/>
                  </a:cubicBezTo>
                  <a:cubicBezTo>
                    <a:pt x="262" y="197"/>
                    <a:pt x="262" y="197"/>
                    <a:pt x="262" y="197"/>
                  </a:cubicBezTo>
                  <a:cubicBezTo>
                    <a:pt x="264" y="195"/>
                    <a:pt x="264" y="195"/>
                    <a:pt x="264" y="195"/>
                  </a:cubicBezTo>
                  <a:cubicBezTo>
                    <a:pt x="258" y="190"/>
                    <a:pt x="258" y="190"/>
                    <a:pt x="258" y="190"/>
                  </a:cubicBezTo>
                  <a:cubicBezTo>
                    <a:pt x="259" y="189"/>
                    <a:pt x="261" y="191"/>
                    <a:pt x="262" y="192"/>
                  </a:cubicBezTo>
                  <a:cubicBezTo>
                    <a:pt x="263" y="193"/>
                    <a:pt x="268" y="193"/>
                    <a:pt x="268" y="193"/>
                  </a:cubicBezTo>
                  <a:cubicBezTo>
                    <a:pt x="268" y="191"/>
                    <a:pt x="268" y="191"/>
                    <a:pt x="268" y="191"/>
                  </a:cubicBezTo>
                  <a:cubicBezTo>
                    <a:pt x="268" y="191"/>
                    <a:pt x="265" y="191"/>
                    <a:pt x="264" y="190"/>
                  </a:cubicBezTo>
                  <a:cubicBezTo>
                    <a:pt x="263" y="190"/>
                    <a:pt x="264" y="189"/>
                    <a:pt x="263" y="187"/>
                  </a:cubicBezTo>
                  <a:cubicBezTo>
                    <a:pt x="263" y="186"/>
                    <a:pt x="257" y="181"/>
                    <a:pt x="257" y="181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63" y="183"/>
                    <a:pt x="263" y="183"/>
                    <a:pt x="263" y="183"/>
                  </a:cubicBezTo>
                  <a:cubicBezTo>
                    <a:pt x="263" y="183"/>
                    <a:pt x="265" y="189"/>
                    <a:pt x="269" y="190"/>
                  </a:cubicBezTo>
                  <a:cubicBezTo>
                    <a:pt x="273" y="191"/>
                    <a:pt x="273" y="187"/>
                    <a:pt x="273" y="187"/>
                  </a:cubicBezTo>
                  <a:cubicBezTo>
                    <a:pt x="276" y="187"/>
                    <a:pt x="276" y="187"/>
                    <a:pt x="276" y="187"/>
                  </a:cubicBezTo>
                  <a:cubicBezTo>
                    <a:pt x="276" y="184"/>
                    <a:pt x="276" y="184"/>
                    <a:pt x="276" y="184"/>
                  </a:cubicBezTo>
                  <a:cubicBezTo>
                    <a:pt x="278" y="181"/>
                    <a:pt x="278" y="181"/>
                    <a:pt x="278" y="181"/>
                  </a:cubicBezTo>
                  <a:cubicBezTo>
                    <a:pt x="277" y="180"/>
                    <a:pt x="277" y="180"/>
                    <a:pt x="277" y="180"/>
                  </a:cubicBezTo>
                  <a:cubicBezTo>
                    <a:pt x="273" y="184"/>
                    <a:pt x="273" y="184"/>
                    <a:pt x="273" y="184"/>
                  </a:cubicBezTo>
                  <a:cubicBezTo>
                    <a:pt x="272" y="183"/>
                    <a:pt x="272" y="183"/>
                    <a:pt x="272" y="183"/>
                  </a:cubicBezTo>
                  <a:cubicBezTo>
                    <a:pt x="273" y="181"/>
                    <a:pt x="273" y="181"/>
                    <a:pt x="273" y="181"/>
                  </a:cubicBezTo>
                  <a:cubicBezTo>
                    <a:pt x="272" y="180"/>
                    <a:pt x="272" y="180"/>
                    <a:pt x="272" y="180"/>
                  </a:cubicBezTo>
                  <a:cubicBezTo>
                    <a:pt x="276" y="178"/>
                    <a:pt x="276" y="178"/>
                    <a:pt x="276" y="178"/>
                  </a:cubicBezTo>
                  <a:cubicBezTo>
                    <a:pt x="276" y="177"/>
                    <a:pt x="276" y="177"/>
                    <a:pt x="276" y="177"/>
                  </a:cubicBezTo>
                  <a:cubicBezTo>
                    <a:pt x="271" y="177"/>
                    <a:pt x="271" y="177"/>
                    <a:pt x="271" y="177"/>
                  </a:cubicBezTo>
                  <a:cubicBezTo>
                    <a:pt x="269" y="174"/>
                    <a:pt x="269" y="174"/>
                    <a:pt x="269" y="174"/>
                  </a:cubicBezTo>
                  <a:cubicBezTo>
                    <a:pt x="274" y="175"/>
                    <a:pt x="274" y="175"/>
                    <a:pt x="274" y="175"/>
                  </a:cubicBezTo>
                  <a:cubicBezTo>
                    <a:pt x="274" y="175"/>
                    <a:pt x="278" y="176"/>
                    <a:pt x="278" y="173"/>
                  </a:cubicBezTo>
                  <a:cubicBezTo>
                    <a:pt x="279" y="170"/>
                    <a:pt x="269" y="170"/>
                    <a:pt x="269" y="170"/>
                  </a:cubicBezTo>
                  <a:cubicBezTo>
                    <a:pt x="268" y="169"/>
                    <a:pt x="268" y="169"/>
                    <a:pt x="268" y="169"/>
                  </a:cubicBezTo>
                  <a:cubicBezTo>
                    <a:pt x="274" y="169"/>
                    <a:pt x="274" y="169"/>
                    <a:pt x="274" y="169"/>
                  </a:cubicBezTo>
                  <a:cubicBezTo>
                    <a:pt x="276" y="169"/>
                    <a:pt x="275" y="165"/>
                    <a:pt x="275" y="165"/>
                  </a:cubicBezTo>
                  <a:cubicBezTo>
                    <a:pt x="275" y="165"/>
                    <a:pt x="277" y="166"/>
                    <a:pt x="279" y="166"/>
                  </a:cubicBezTo>
                  <a:cubicBezTo>
                    <a:pt x="281" y="166"/>
                    <a:pt x="281" y="162"/>
                    <a:pt x="281" y="162"/>
                  </a:cubicBezTo>
                  <a:cubicBezTo>
                    <a:pt x="284" y="160"/>
                    <a:pt x="284" y="160"/>
                    <a:pt x="284" y="160"/>
                  </a:cubicBezTo>
                  <a:cubicBezTo>
                    <a:pt x="285" y="160"/>
                    <a:pt x="284" y="155"/>
                    <a:pt x="284" y="155"/>
                  </a:cubicBezTo>
                  <a:close/>
                  <a:moveTo>
                    <a:pt x="61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1" y="51"/>
                  </a:lnTo>
                  <a:close/>
                  <a:moveTo>
                    <a:pt x="48" y="210"/>
                  </a:moveTo>
                  <a:cubicBezTo>
                    <a:pt x="52" y="208"/>
                    <a:pt x="52" y="208"/>
                    <a:pt x="52" y="208"/>
                  </a:cubicBezTo>
                  <a:cubicBezTo>
                    <a:pt x="50" y="205"/>
                    <a:pt x="50" y="205"/>
                    <a:pt x="50" y="205"/>
                  </a:cubicBezTo>
                  <a:lnTo>
                    <a:pt x="48" y="210"/>
                  </a:lnTo>
                  <a:close/>
                  <a:moveTo>
                    <a:pt x="122" y="222"/>
                  </a:moveTo>
                  <a:cubicBezTo>
                    <a:pt x="122" y="222"/>
                    <a:pt x="121" y="225"/>
                    <a:pt x="124" y="224"/>
                  </a:cubicBezTo>
                  <a:cubicBezTo>
                    <a:pt x="126" y="224"/>
                    <a:pt x="125" y="221"/>
                    <a:pt x="122" y="2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Färöer" descr="© INSCALE GmbH, 05.05.2010&#10;http://www.presentationload.com/">
              <a:extLst>
                <a:ext uri="{FF2B5EF4-FFF2-40B4-BE49-F238E27FC236}">
                  <a16:creationId xmlns:a16="http://schemas.microsoft.com/office/drawing/2014/main" id="{C77D21BE-99F6-E342-B64C-CD873B8C1C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13677" y="2531052"/>
              <a:ext cx="123768" cy="146871"/>
            </a:xfrm>
            <a:custGeom>
              <a:avLst/>
              <a:gdLst/>
              <a:ahLst/>
              <a:cxnLst>
                <a:cxn ang="0">
                  <a:pos x="7" y="13"/>
                </a:cxn>
                <a:cxn ang="0">
                  <a:pos x="0" y="11"/>
                </a:cxn>
                <a:cxn ang="0">
                  <a:pos x="32" y="30"/>
                </a:cxn>
                <a:cxn ang="0">
                  <a:pos x="29" y="30"/>
                </a:cxn>
                <a:cxn ang="0">
                  <a:pos x="21" y="22"/>
                </a:cxn>
                <a:cxn ang="0">
                  <a:pos x="21" y="26"/>
                </a:cxn>
                <a:cxn ang="0">
                  <a:pos x="19" y="40"/>
                </a:cxn>
                <a:cxn ang="0">
                  <a:pos x="21" y="37"/>
                </a:cxn>
                <a:cxn ang="0">
                  <a:pos x="20" y="30"/>
                </a:cxn>
                <a:cxn ang="0">
                  <a:pos x="23" y="34"/>
                </a:cxn>
                <a:cxn ang="0">
                  <a:pos x="28" y="36"/>
                </a:cxn>
                <a:cxn ang="0">
                  <a:pos x="20" y="30"/>
                </a:cxn>
                <a:cxn ang="0">
                  <a:pos x="19" y="16"/>
                </a:cxn>
                <a:cxn ang="0">
                  <a:pos x="14" y="13"/>
                </a:cxn>
                <a:cxn ang="0">
                  <a:pos x="10" y="11"/>
                </a:cxn>
                <a:cxn ang="0">
                  <a:pos x="11" y="17"/>
                </a:cxn>
                <a:cxn ang="0">
                  <a:pos x="27" y="21"/>
                </a:cxn>
                <a:cxn ang="0">
                  <a:pos x="23" y="11"/>
                </a:cxn>
                <a:cxn ang="0">
                  <a:pos x="19" y="6"/>
                </a:cxn>
                <a:cxn ang="0">
                  <a:pos x="22" y="16"/>
                </a:cxn>
                <a:cxn ang="0">
                  <a:pos x="27" y="30"/>
                </a:cxn>
                <a:cxn ang="0">
                  <a:pos x="27" y="21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4" y="14"/>
                </a:cxn>
                <a:cxn ang="0">
                  <a:pos x="32" y="9"/>
                </a:cxn>
                <a:cxn ang="0">
                  <a:pos x="28" y="6"/>
                </a:cxn>
                <a:cxn ang="0">
                  <a:pos x="29" y="2"/>
                </a:cxn>
                <a:cxn ang="0">
                  <a:pos x="24" y="10"/>
                </a:cxn>
                <a:cxn ang="0">
                  <a:pos x="31" y="14"/>
                </a:cxn>
                <a:cxn ang="0">
                  <a:pos x="30" y="20"/>
                </a:cxn>
                <a:cxn ang="0">
                  <a:pos x="35" y="18"/>
                </a:cxn>
                <a:cxn ang="0">
                  <a:pos x="31" y="14"/>
                </a:cxn>
                <a:cxn ang="0">
                  <a:pos x="38" y="10"/>
                </a:cxn>
                <a:cxn ang="0">
                  <a:pos x="37" y="14"/>
                </a:cxn>
                <a:cxn ang="0">
                  <a:pos x="42" y="13"/>
                </a:cxn>
                <a:cxn ang="0">
                  <a:pos x="38" y="5"/>
                </a:cxn>
                <a:cxn ang="0">
                  <a:pos x="44" y="9"/>
                </a:cxn>
                <a:cxn ang="0">
                  <a:pos x="42" y="1"/>
                </a:cxn>
                <a:cxn ang="0">
                  <a:pos x="38" y="1"/>
                </a:cxn>
                <a:cxn ang="0">
                  <a:pos x="36" y="8"/>
                </a:cxn>
                <a:cxn ang="0">
                  <a:pos x="38" y="1"/>
                </a:cxn>
                <a:cxn ang="0">
                  <a:pos x="32" y="2"/>
                </a:cxn>
                <a:cxn ang="0">
                  <a:pos x="34" y="2"/>
                </a:cxn>
                <a:cxn ang="0">
                  <a:pos x="45" y="14"/>
                </a:cxn>
                <a:cxn ang="0">
                  <a:pos x="47" y="11"/>
                </a:cxn>
                <a:cxn ang="0">
                  <a:pos x="48" y="9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16" y="49"/>
                </a:cxn>
                <a:cxn ang="0">
                  <a:pos x="14" y="45"/>
                </a:cxn>
                <a:cxn ang="0">
                  <a:pos x="13" y="55"/>
                </a:cxn>
                <a:cxn ang="0">
                  <a:pos x="18" y="62"/>
                </a:cxn>
                <a:cxn ang="0">
                  <a:pos x="17" y="57"/>
                </a:cxn>
                <a:cxn ang="0">
                  <a:pos x="19" y="53"/>
                </a:cxn>
              </a:cxnLst>
              <a:rect l="0" t="0" r="r" b="b"/>
              <a:pathLst>
                <a:path w="51" h="62">
                  <a:moveTo>
                    <a:pt x="0" y="11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1"/>
                  </a:lnTo>
                  <a:close/>
                  <a:moveTo>
                    <a:pt x="29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30"/>
                  </a:lnTo>
                  <a:close/>
                  <a:moveTo>
                    <a:pt x="22" y="27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2" y="27"/>
                  </a:lnTo>
                  <a:close/>
                  <a:moveTo>
                    <a:pt x="19" y="40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7"/>
                    <a:pt x="21" y="37"/>
                    <a:pt x="21" y="37"/>
                  </a:cubicBezTo>
                  <a:lnTo>
                    <a:pt x="19" y="40"/>
                  </a:lnTo>
                  <a:close/>
                  <a:moveTo>
                    <a:pt x="20" y="30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7" y="34"/>
                    <a:pt x="24" y="32"/>
                  </a:cubicBezTo>
                  <a:cubicBezTo>
                    <a:pt x="23" y="31"/>
                    <a:pt x="20" y="30"/>
                    <a:pt x="20" y="30"/>
                  </a:cubicBezTo>
                  <a:close/>
                  <a:moveTo>
                    <a:pt x="15" y="20"/>
                  </a:moveTo>
                  <a:cubicBezTo>
                    <a:pt x="18" y="19"/>
                    <a:pt x="19" y="16"/>
                    <a:pt x="19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2" y="13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2" y="20"/>
                    <a:pt x="15" y="20"/>
                  </a:cubicBezTo>
                  <a:close/>
                  <a:moveTo>
                    <a:pt x="27" y="21"/>
                  </a:moveTo>
                  <a:cubicBezTo>
                    <a:pt x="27" y="21"/>
                    <a:pt x="28" y="19"/>
                    <a:pt x="27" y="18"/>
                  </a:cubicBezTo>
                  <a:cubicBezTo>
                    <a:pt x="26" y="17"/>
                    <a:pt x="23" y="11"/>
                    <a:pt x="23" y="11"/>
                  </a:cubicBezTo>
                  <a:cubicBezTo>
                    <a:pt x="23" y="11"/>
                    <a:pt x="23" y="3"/>
                    <a:pt x="21" y="3"/>
                  </a:cubicBezTo>
                  <a:cubicBezTo>
                    <a:pt x="20" y="3"/>
                    <a:pt x="19" y="6"/>
                    <a:pt x="19" y="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4"/>
                    <a:pt x="22" y="13"/>
                    <a:pt x="22" y="16"/>
                  </a:cubicBezTo>
                  <a:cubicBezTo>
                    <a:pt x="22" y="19"/>
                    <a:pt x="23" y="25"/>
                    <a:pt x="24" y="26"/>
                  </a:cubicBezTo>
                  <a:cubicBezTo>
                    <a:pt x="26" y="26"/>
                    <a:pt x="27" y="30"/>
                    <a:pt x="27" y="30"/>
                  </a:cubicBezTo>
                  <a:cubicBezTo>
                    <a:pt x="27" y="30"/>
                    <a:pt x="29" y="26"/>
                    <a:pt x="29" y="24"/>
                  </a:cubicBezTo>
                  <a:cubicBezTo>
                    <a:pt x="28" y="22"/>
                    <a:pt x="27" y="21"/>
                    <a:pt x="27" y="21"/>
                  </a:cubicBezTo>
                  <a:close/>
                  <a:moveTo>
                    <a:pt x="28" y="13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28" y="13"/>
                  </a:lnTo>
                  <a:close/>
                  <a:moveTo>
                    <a:pt x="31" y="14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1" y="14"/>
                  </a:lnTo>
                  <a:close/>
                  <a:moveTo>
                    <a:pt x="38" y="5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9" y="5"/>
                    <a:pt x="39" y="5"/>
                    <a:pt x="39" y="5"/>
                  </a:cubicBezTo>
                  <a:lnTo>
                    <a:pt x="38" y="5"/>
                  </a:lnTo>
                  <a:close/>
                  <a:moveTo>
                    <a:pt x="43" y="8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1"/>
                    <a:pt x="42" y="1"/>
                    <a:pt x="42" y="1"/>
                  </a:cubicBezTo>
                  <a:lnTo>
                    <a:pt x="43" y="8"/>
                  </a:lnTo>
                  <a:close/>
                  <a:moveTo>
                    <a:pt x="38" y="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8" y="1"/>
                  </a:lnTo>
                  <a:close/>
                  <a:moveTo>
                    <a:pt x="34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4" y="9"/>
                    <a:pt x="34" y="9"/>
                    <a:pt x="34" y="9"/>
                  </a:cubicBezTo>
                  <a:lnTo>
                    <a:pt x="34" y="2"/>
                  </a:lnTo>
                  <a:close/>
                  <a:moveTo>
                    <a:pt x="45" y="11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45" y="11"/>
                  </a:lnTo>
                  <a:close/>
                  <a:moveTo>
                    <a:pt x="48" y="5"/>
                  </a:moveTo>
                  <a:cubicBezTo>
                    <a:pt x="45" y="6"/>
                    <a:pt x="48" y="7"/>
                    <a:pt x="48" y="7"/>
                  </a:cubicBezTo>
                  <a:cubicBezTo>
                    <a:pt x="50" y="7"/>
                    <a:pt x="51" y="4"/>
                    <a:pt x="48" y="5"/>
                  </a:cubicBezTo>
                  <a:close/>
                  <a:moveTo>
                    <a:pt x="20" y="51"/>
                  </a:moveTo>
                  <a:cubicBezTo>
                    <a:pt x="18" y="50"/>
                    <a:pt x="16" y="50"/>
                    <a:pt x="16" y="49"/>
                  </a:cubicBezTo>
                  <a:cubicBezTo>
                    <a:pt x="16" y="48"/>
                    <a:pt x="17" y="47"/>
                    <a:pt x="17" y="46"/>
                  </a:cubicBezTo>
                  <a:cubicBezTo>
                    <a:pt x="17" y="45"/>
                    <a:pt x="15" y="42"/>
                    <a:pt x="14" y="45"/>
                  </a:cubicBezTo>
                  <a:cubicBezTo>
                    <a:pt x="13" y="47"/>
                    <a:pt x="14" y="53"/>
                    <a:pt x="14" y="53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1" y="53"/>
                    <a:pt x="20" y="5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" name="Georgien" descr="© INSCALE GmbH, 05.05.2010&#10;http://www.presentationload.com/">
              <a:extLst>
                <a:ext uri="{FF2B5EF4-FFF2-40B4-BE49-F238E27FC236}">
                  <a16:creationId xmlns:a16="http://schemas.microsoft.com/office/drawing/2014/main" id="{956358CE-417E-9643-A5AF-F3643670F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1069" y="4836447"/>
              <a:ext cx="872980" cy="364705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" name="Armenien" descr="© INSCALE GmbH, 05.05.2010&#10;http://www.presentationload.com/">
              <a:extLst>
                <a:ext uri="{FF2B5EF4-FFF2-40B4-BE49-F238E27FC236}">
                  <a16:creationId xmlns:a16="http://schemas.microsoft.com/office/drawing/2014/main" id="{57C09820-4D4F-3E41-AF2B-78E21DF7BB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44295" y="5046029"/>
              <a:ext cx="506627" cy="282191"/>
            </a:xfrm>
            <a:custGeom>
              <a:avLst/>
              <a:gdLst/>
              <a:ahLst/>
              <a:cxnLst>
                <a:cxn ang="0">
                  <a:pos x="103" y="103"/>
                </a:cxn>
                <a:cxn ang="0">
                  <a:pos x="0" y="47"/>
                </a:cxn>
                <a:cxn ang="0">
                  <a:pos x="207" y="104"/>
                </a:cxn>
                <a:cxn ang="0">
                  <a:pos x="196" y="91"/>
                </a:cxn>
                <a:cxn ang="0">
                  <a:pos x="198" y="83"/>
                </a:cxn>
                <a:cxn ang="0">
                  <a:pos x="190" y="74"/>
                </a:cxn>
                <a:cxn ang="0">
                  <a:pos x="174" y="74"/>
                </a:cxn>
                <a:cxn ang="0">
                  <a:pos x="149" y="70"/>
                </a:cxn>
                <a:cxn ang="0">
                  <a:pos x="133" y="66"/>
                </a:cxn>
                <a:cxn ang="0">
                  <a:pos x="142" y="41"/>
                </a:cxn>
                <a:cxn ang="0">
                  <a:pos x="104" y="35"/>
                </a:cxn>
                <a:cxn ang="0">
                  <a:pos x="109" y="13"/>
                </a:cxn>
                <a:cxn ang="0">
                  <a:pos x="96" y="9"/>
                </a:cxn>
                <a:cxn ang="0">
                  <a:pos x="88" y="13"/>
                </a:cxn>
                <a:cxn ang="0">
                  <a:pos x="82" y="11"/>
                </a:cxn>
                <a:cxn ang="0">
                  <a:pos x="81" y="5"/>
                </a:cxn>
                <a:cxn ang="0">
                  <a:pos x="66" y="5"/>
                </a:cxn>
                <a:cxn ang="0">
                  <a:pos x="57" y="8"/>
                </a:cxn>
                <a:cxn ang="0">
                  <a:pos x="43" y="24"/>
                </a:cxn>
                <a:cxn ang="0">
                  <a:pos x="28" y="29"/>
                </a:cxn>
                <a:cxn ang="0">
                  <a:pos x="16" y="40"/>
                </a:cxn>
                <a:cxn ang="0">
                  <a:pos x="1" y="49"/>
                </a:cxn>
                <a:cxn ang="0">
                  <a:pos x="22" y="60"/>
                </a:cxn>
                <a:cxn ang="0">
                  <a:pos x="59" y="103"/>
                </a:cxn>
                <a:cxn ang="0">
                  <a:pos x="103" y="103"/>
                </a:cxn>
                <a:cxn ang="0">
                  <a:pos x="125" y="101"/>
                </a:cxn>
                <a:cxn ang="0">
                  <a:pos x="130" y="97"/>
                </a:cxn>
                <a:cxn ang="0">
                  <a:pos x="144" y="97"/>
                </a:cxn>
                <a:cxn ang="0">
                  <a:pos x="161" y="99"/>
                </a:cxn>
                <a:cxn ang="0">
                  <a:pos x="177" y="105"/>
                </a:cxn>
                <a:cxn ang="0">
                  <a:pos x="201" y="112"/>
                </a:cxn>
                <a:cxn ang="0">
                  <a:pos x="212" y="106"/>
                </a:cxn>
              </a:cxnLst>
              <a:rect l="0" t="0" r="r" b="b"/>
              <a:pathLst>
                <a:path w="212" h="119">
                  <a:moveTo>
                    <a:pt x="103" y="103"/>
                  </a:moveTo>
                  <a:cubicBezTo>
                    <a:pt x="103" y="103"/>
                    <a:pt x="103" y="103"/>
                    <a:pt x="103" y="103"/>
                  </a:cubicBezTo>
                  <a:moveTo>
                    <a:pt x="1" y="49"/>
                  </a:moveTo>
                  <a:cubicBezTo>
                    <a:pt x="1" y="48"/>
                    <a:pt x="1" y="48"/>
                    <a:pt x="0" y="47"/>
                  </a:cubicBezTo>
                  <a:cubicBezTo>
                    <a:pt x="1" y="48"/>
                    <a:pt x="1" y="48"/>
                    <a:pt x="1" y="49"/>
                  </a:cubicBezTo>
                  <a:close/>
                  <a:moveTo>
                    <a:pt x="207" y="104"/>
                  </a:moveTo>
                  <a:cubicBezTo>
                    <a:pt x="207" y="104"/>
                    <a:pt x="206" y="99"/>
                    <a:pt x="205" y="96"/>
                  </a:cubicBezTo>
                  <a:cubicBezTo>
                    <a:pt x="205" y="92"/>
                    <a:pt x="196" y="94"/>
                    <a:pt x="196" y="91"/>
                  </a:cubicBezTo>
                  <a:cubicBezTo>
                    <a:pt x="196" y="88"/>
                    <a:pt x="200" y="90"/>
                    <a:pt x="203" y="88"/>
                  </a:cubicBezTo>
                  <a:cubicBezTo>
                    <a:pt x="207" y="86"/>
                    <a:pt x="203" y="85"/>
                    <a:pt x="198" y="83"/>
                  </a:cubicBezTo>
                  <a:cubicBezTo>
                    <a:pt x="193" y="82"/>
                    <a:pt x="189" y="83"/>
                    <a:pt x="186" y="81"/>
                  </a:cubicBezTo>
                  <a:cubicBezTo>
                    <a:pt x="185" y="77"/>
                    <a:pt x="188" y="75"/>
                    <a:pt x="190" y="74"/>
                  </a:cubicBezTo>
                  <a:cubicBezTo>
                    <a:pt x="192" y="73"/>
                    <a:pt x="191" y="69"/>
                    <a:pt x="183" y="69"/>
                  </a:cubicBezTo>
                  <a:cubicBezTo>
                    <a:pt x="176" y="69"/>
                    <a:pt x="176" y="73"/>
                    <a:pt x="174" y="74"/>
                  </a:cubicBezTo>
                  <a:cubicBezTo>
                    <a:pt x="170" y="75"/>
                    <a:pt x="163" y="70"/>
                    <a:pt x="160" y="68"/>
                  </a:cubicBezTo>
                  <a:cubicBezTo>
                    <a:pt x="157" y="67"/>
                    <a:pt x="151" y="70"/>
                    <a:pt x="149" y="70"/>
                  </a:cubicBezTo>
                  <a:cubicBezTo>
                    <a:pt x="147" y="70"/>
                    <a:pt x="148" y="67"/>
                    <a:pt x="146" y="66"/>
                  </a:cubicBezTo>
                  <a:cubicBezTo>
                    <a:pt x="144" y="65"/>
                    <a:pt x="136" y="68"/>
                    <a:pt x="133" y="66"/>
                  </a:cubicBezTo>
                  <a:cubicBezTo>
                    <a:pt x="130" y="64"/>
                    <a:pt x="144" y="59"/>
                    <a:pt x="146" y="56"/>
                  </a:cubicBezTo>
                  <a:cubicBezTo>
                    <a:pt x="148" y="53"/>
                    <a:pt x="146" y="43"/>
                    <a:pt x="142" y="41"/>
                  </a:cubicBezTo>
                  <a:cubicBezTo>
                    <a:pt x="139" y="38"/>
                    <a:pt x="131" y="43"/>
                    <a:pt x="123" y="41"/>
                  </a:cubicBezTo>
                  <a:cubicBezTo>
                    <a:pt x="114" y="39"/>
                    <a:pt x="104" y="35"/>
                    <a:pt x="104" y="35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4" y="23"/>
                    <a:pt x="111" y="20"/>
                    <a:pt x="109" y="13"/>
                  </a:cubicBezTo>
                  <a:cubicBezTo>
                    <a:pt x="107" y="8"/>
                    <a:pt x="96" y="13"/>
                    <a:pt x="96" y="1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12"/>
                    <a:pt x="88" y="13"/>
                  </a:cubicBezTo>
                  <a:cubicBezTo>
                    <a:pt x="84" y="13"/>
                    <a:pt x="87" y="19"/>
                    <a:pt x="84" y="19"/>
                  </a:cubicBezTo>
                  <a:cubicBezTo>
                    <a:pt x="81" y="19"/>
                    <a:pt x="84" y="12"/>
                    <a:pt x="82" y="11"/>
                  </a:cubicBezTo>
                  <a:cubicBezTo>
                    <a:pt x="80" y="10"/>
                    <a:pt x="77" y="17"/>
                    <a:pt x="74" y="17"/>
                  </a:cubicBezTo>
                  <a:cubicBezTo>
                    <a:pt x="70" y="16"/>
                    <a:pt x="82" y="10"/>
                    <a:pt x="81" y="5"/>
                  </a:cubicBezTo>
                  <a:cubicBezTo>
                    <a:pt x="80" y="0"/>
                    <a:pt x="74" y="5"/>
                    <a:pt x="71" y="6"/>
                  </a:cubicBezTo>
                  <a:cubicBezTo>
                    <a:pt x="70" y="6"/>
                    <a:pt x="68" y="5"/>
                    <a:pt x="66" y="5"/>
                  </a:cubicBezTo>
                  <a:cubicBezTo>
                    <a:pt x="66" y="6"/>
                    <a:pt x="66" y="6"/>
                    <a:pt x="65" y="7"/>
                  </a:cubicBezTo>
                  <a:cubicBezTo>
                    <a:pt x="62" y="10"/>
                    <a:pt x="57" y="8"/>
                    <a:pt x="57" y="8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48" y="22"/>
                    <a:pt x="43" y="24"/>
                  </a:cubicBezTo>
                  <a:cubicBezTo>
                    <a:pt x="36" y="27"/>
                    <a:pt x="31" y="22"/>
                    <a:pt x="31" y="22"/>
                  </a:cubicBezTo>
                  <a:cubicBezTo>
                    <a:pt x="31" y="22"/>
                    <a:pt x="30" y="27"/>
                    <a:pt x="28" y="29"/>
                  </a:cubicBezTo>
                  <a:cubicBezTo>
                    <a:pt x="26" y="31"/>
                    <a:pt x="17" y="36"/>
                    <a:pt x="17" y="36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0" y="43"/>
                    <a:pt x="6" y="43"/>
                  </a:cubicBezTo>
                  <a:cubicBezTo>
                    <a:pt x="5" y="43"/>
                    <a:pt x="3" y="45"/>
                    <a:pt x="1" y="49"/>
                  </a:cubicBezTo>
                  <a:cubicBezTo>
                    <a:pt x="1" y="50"/>
                    <a:pt x="1" y="52"/>
                    <a:pt x="4" y="52"/>
                  </a:cubicBezTo>
                  <a:cubicBezTo>
                    <a:pt x="10" y="52"/>
                    <a:pt x="19" y="51"/>
                    <a:pt x="22" y="60"/>
                  </a:cubicBezTo>
                  <a:cubicBezTo>
                    <a:pt x="25" y="71"/>
                    <a:pt x="22" y="84"/>
                    <a:pt x="32" y="94"/>
                  </a:cubicBezTo>
                  <a:cubicBezTo>
                    <a:pt x="43" y="103"/>
                    <a:pt x="51" y="108"/>
                    <a:pt x="59" y="103"/>
                  </a:cubicBezTo>
                  <a:cubicBezTo>
                    <a:pt x="67" y="97"/>
                    <a:pt x="71" y="90"/>
                    <a:pt x="83" y="94"/>
                  </a:cubicBezTo>
                  <a:cubicBezTo>
                    <a:pt x="95" y="96"/>
                    <a:pt x="103" y="103"/>
                    <a:pt x="103" y="103"/>
                  </a:cubicBezTo>
                  <a:cubicBezTo>
                    <a:pt x="103" y="103"/>
                    <a:pt x="110" y="91"/>
                    <a:pt x="115" y="90"/>
                  </a:cubicBezTo>
                  <a:cubicBezTo>
                    <a:pt x="121" y="89"/>
                    <a:pt x="125" y="101"/>
                    <a:pt x="125" y="101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4" y="97"/>
                    <a:pt x="150" y="86"/>
                    <a:pt x="155" y="86"/>
                  </a:cubicBezTo>
                  <a:cubicBezTo>
                    <a:pt x="160" y="86"/>
                    <a:pt x="161" y="99"/>
                    <a:pt x="161" y="99"/>
                  </a:cubicBezTo>
                  <a:cubicBezTo>
                    <a:pt x="161" y="99"/>
                    <a:pt x="169" y="97"/>
                    <a:pt x="173" y="97"/>
                  </a:cubicBezTo>
                  <a:cubicBezTo>
                    <a:pt x="177" y="98"/>
                    <a:pt x="177" y="105"/>
                    <a:pt x="177" y="105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01" y="112"/>
                    <a:pt x="201" y="112"/>
                    <a:pt x="201" y="112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12" y="106"/>
                    <a:pt x="212" y="106"/>
                    <a:pt x="212" y="106"/>
                  </a:cubicBezTo>
                  <a:lnTo>
                    <a:pt x="207" y="1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" name="Türkei" descr="© INSCALE GmbH, 05.05.2010&#10;http://www.presentationload.com/">
              <a:extLst>
                <a:ext uri="{FF2B5EF4-FFF2-40B4-BE49-F238E27FC236}">
                  <a16:creationId xmlns:a16="http://schemas.microsoft.com/office/drawing/2014/main" id="{B45B3F96-2873-B042-BF63-AC5FC2A442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39245" y="5128541"/>
              <a:ext cx="2440715" cy="1366405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" name="Li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051CAE99-3A6A-294A-8FCF-1890FAB22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4370" y="6452040"/>
              <a:ext cx="151823" cy="306945"/>
            </a:xfrm>
            <a:custGeom>
              <a:avLst/>
              <a:gdLst/>
              <a:ahLst/>
              <a:cxnLst>
                <a:cxn ang="0">
                  <a:pos x="26" y="106"/>
                </a:cxn>
                <a:cxn ang="0">
                  <a:pos x="37" y="87"/>
                </a:cxn>
                <a:cxn ang="0">
                  <a:pos x="36" y="83"/>
                </a:cxn>
                <a:cxn ang="0">
                  <a:pos x="43" y="75"/>
                </a:cxn>
                <a:cxn ang="0">
                  <a:pos x="29" y="74"/>
                </a:cxn>
                <a:cxn ang="0">
                  <a:pos x="31" y="67"/>
                </a:cxn>
                <a:cxn ang="0">
                  <a:pos x="35" y="64"/>
                </a:cxn>
                <a:cxn ang="0">
                  <a:pos x="54" y="56"/>
                </a:cxn>
                <a:cxn ang="0">
                  <a:pos x="48" y="51"/>
                </a:cxn>
                <a:cxn ang="0">
                  <a:pos x="46" y="47"/>
                </a:cxn>
                <a:cxn ang="0">
                  <a:pos x="58" y="45"/>
                </a:cxn>
                <a:cxn ang="0">
                  <a:pos x="48" y="42"/>
                </a:cxn>
                <a:cxn ang="0">
                  <a:pos x="61" y="27"/>
                </a:cxn>
                <a:cxn ang="0">
                  <a:pos x="48" y="17"/>
                </a:cxn>
                <a:cxn ang="0">
                  <a:pos x="48" y="11"/>
                </a:cxn>
                <a:cxn ang="0">
                  <a:pos x="35" y="10"/>
                </a:cxn>
                <a:cxn ang="0">
                  <a:pos x="38" y="0"/>
                </a:cxn>
                <a:cxn ang="0">
                  <a:pos x="29" y="1"/>
                </a:cxn>
                <a:cxn ang="0">
                  <a:pos x="28" y="6"/>
                </a:cxn>
                <a:cxn ang="0">
                  <a:pos x="20" y="7"/>
                </a:cxn>
                <a:cxn ang="0">
                  <a:pos x="14" y="12"/>
                </a:cxn>
                <a:cxn ang="0">
                  <a:pos x="15" y="20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1" y="38"/>
                </a:cxn>
                <a:cxn ang="0">
                  <a:pos x="2" y="49"/>
                </a:cxn>
                <a:cxn ang="0">
                  <a:pos x="10" y="56"/>
                </a:cxn>
                <a:cxn ang="0">
                  <a:pos x="6" y="63"/>
                </a:cxn>
                <a:cxn ang="0">
                  <a:pos x="3" y="77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3" y="109"/>
                </a:cxn>
                <a:cxn ang="0">
                  <a:pos x="0" y="112"/>
                </a:cxn>
                <a:cxn ang="0">
                  <a:pos x="0" y="115"/>
                </a:cxn>
                <a:cxn ang="0">
                  <a:pos x="3" y="115"/>
                </a:cxn>
                <a:cxn ang="0">
                  <a:pos x="2" y="126"/>
                </a:cxn>
                <a:cxn ang="0">
                  <a:pos x="8" y="125"/>
                </a:cxn>
                <a:cxn ang="0">
                  <a:pos x="12" y="121"/>
                </a:cxn>
                <a:cxn ang="0">
                  <a:pos x="19" y="122"/>
                </a:cxn>
                <a:cxn ang="0">
                  <a:pos x="19" y="112"/>
                </a:cxn>
                <a:cxn ang="0">
                  <a:pos x="19" y="106"/>
                </a:cxn>
                <a:cxn ang="0">
                  <a:pos x="26" y="106"/>
                </a:cxn>
              </a:cxnLst>
              <a:rect l="0" t="0" r="r" b="b"/>
              <a:pathLst>
                <a:path w="63" h="129">
                  <a:moveTo>
                    <a:pt x="26" y="106"/>
                  </a:moveTo>
                  <a:cubicBezTo>
                    <a:pt x="37" y="87"/>
                    <a:pt x="37" y="87"/>
                    <a:pt x="37" y="87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3"/>
                    <a:pt x="43" y="79"/>
                    <a:pt x="43" y="75"/>
                  </a:cubicBezTo>
                  <a:cubicBezTo>
                    <a:pt x="44" y="72"/>
                    <a:pt x="29" y="74"/>
                    <a:pt x="29" y="74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5" y="66"/>
                    <a:pt x="35" y="64"/>
                  </a:cubicBezTo>
                  <a:cubicBezTo>
                    <a:pt x="35" y="61"/>
                    <a:pt x="54" y="56"/>
                    <a:pt x="54" y="56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58" y="32"/>
                    <a:pt x="61" y="27"/>
                  </a:cubicBezTo>
                  <a:cubicBezTo>
                    <a:pt x="63" y="22"/>
                    <a:pt x="48" y="17"/>
                    <a:pt x="48" y="1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9" y="24"/>
                    <a:pt x="6" y="28"/>
                  </a:cubicBezTo>
                  <a:cubicBezTo>
                    <a:pt x="4" y="31"/>
                    <a:pt x="6" y="33"/>
                    <a:pt x="5" y="36"/>
                  </a:cubicBezTo>
                  <a:cubicBezTo>
                    <a:pt x="3" y="38"/>
                    <a:pt x="1" y="38"/>
                    <a:pt x="1" y="3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0" y="52"/>
                    <a:pt x="10" y="56"/>
                  </a:cubicBezTo>
                  <a:cubicBezTo>
                    <a:pt x="10" y="60"/>
                    <a:pt x="6" y="63"/>
                    <a:pt x="6" y="63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5"/>
                    <a:pt x="3" y="115"/>
                    <a:pt x="3" y="115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2" y="126"/>
                    <a:pt x="5" y="126"/>
                    <a:pt x="8" y="125"/>
                  </a:cubicBezTo>
                  <a:cubicBezTo>
                    <a:pt x="10" y="123"/>
                    <a:pt x="12" y="121"/>
                    <a:pt x="12" y="121"/>
                  </a:cubicBezTo>
                  <a:cubicBezTo>
                    <a:pt x="12" y="121"/>
                    <a:pt x="15" y="129"/>
                    <a:pt x="19" y="122"/>
                  </a:cubicBezTo>
                  <a:cubicBezTo>
                    <a:pt x="25" y="115"/>
                    <a:pt x="19" y="112"/>
                    <a:pt x="19" y="112"/>
                  </a:cubicBezTo>
                  <a:cubicBezTo>
                    <a:pt x="19" y="106"/>
                    <a:pt x="19" y="106"/>
                    <a:pt x="19" y="106"/>
                  </a:cubicBezTo>
                  <a:lnTo>
                    <a:pt x="26" y="10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" name="Syrien" descr="© INSCALE GmbH, 05.05.2010&#10;http://www.presentationload.com/">
              <a:extLst>
                <a:ext uri="{FF2B5EF4-FFF2-40B4-BE49-F238E27FC236}">
                  <a16:creationId xmlns:a16="http://schemas.microsoft.com/office/drawing/2014/main" id="{00529286-D76C-1F42-B6E2-D487CC64237A}"/>
                </a:ext>
              </a:extLst>
            </p:cNvPr>
            <p:cNvSpPr>
              <a:spLocks/>
            </p:cNvSpPr>
            <p:nvPr/>
          </p:nvSpPr>
          <p:spPr bwMode="gray">
            <a:xfrm>
              <a:off x="7879910" y="5773786"/>
              <a:ext cx="736010" cy="1028105"/>
            </a:xfrm>
            <a:custGeom>
              <a:avLst/>
              <a:gdLst/>
              <a:ahLst/>
              <a:cxnLst>
                <a:cxn ang="0">
                  <a:pos x="294" y="149"/>
                </a:cxn>
                <a:cxn ang="0">
                  <a:pos x="274" y="96"/>
                </a:cxn>
                <a:cxn ang="0">
                  <a:pos x="287" y="50"/>
                </a:cxn>
                <a:cxn ang="0">
                  <a:pos x="302" y="18"/>
                </a:cxn>
                <a:cxn ang="0">
                  <a:pos x="297" y="1"/>
                </a:cxn>
                <a:cxn ang="0">
                  <a:pos x="262" y="26"/>
                </a:cxn>
                <a:cxn ang="0">
                  <a:pos x="178" y="89"/>
                </a:cxn>
                <a:cxn ang="0">
                  <a:pos x="129" y="111"/>
                </a:cxn>
                <a:cxn ang="0">
                  <a:pos x="81" y="127"/>
                </a:cxn>
                <a:cxn ang="0">
                  <a:pos x="72" y="136"/>
                </a:cxn>
                <a:cxn ang="0">
                  <a:pos x="42" y="142"/>
                </a:cxn>
                <a:cxn ang="0">
                  <a:pos x="22" y="168"/>
                </a:cxn>
                <a:cxn ang="0">
                  <a:pos x="21" y="188"/>
                </a:cxn>
                <a:cxn ang="0">
                  <a:pos x="20" y="218"/>
                </a:cxn>
                <a:cxn ang="0">
                  <a:pos x="0" y="224"/>
                </a:cxn>
                <a:cxn ang="0">
                  <a:pos x="4" y="236"/>
                </a:cxn>
                <a:cxn ang="0">
                  <a:pos x="3" y="243"/>
                </a:cxn>
                <a:cxn ang="0">
                  <a:pos x="16" y="254"/>
                </a:cxn>
                <a:cxn ang="0">
                  <a:pos x="22" y="280"/>
                </a:cxn>
                <a:cxn ang="0">
                  <a:pos x="34" y="297"/>
                </a:cxn>
                <a:cxn ang="0">
                  <a:pos x="51" y="290"/>
                </a:cxn>
                <a:cxn ang="0">
                  <a:pos x="61" y="284"/>
                </a:cxn>
                <a:cxn ang="0">
                  <a:pos x="71" y="295"/>
                </a:cxn>
                <a:cxn ang="0">
                  <a:pos x="84" y="311"/>
                </a:cxn>
                <a:cxn ang="0">
                  <a:pos x="81" y="329"/>
                </a:cxn>
                <a:cxn ang="0">
                  <a:pos x="71" y="335"/>
                </a:cxn>
                <a:cxn ang="0">
                  <a:pos x="58" y="348"/>
                </a:cxn>
                <a:cxn ang="0">
                  <a:pos x="52" y="358"/>
                </a:cxn>
                <a:cxn ang="0">
                  <a:pos x="59" y="367"/>
                </a:cxn>
                <a:cxn ang="0">
                  <a:pos x="49" y="390"/>
                </a:cxn>
                <a:cxn ang="0">
                  <a:pos x="54" y="409"/>
                </a:cxn>
                <a:cxn ang="0">
                  <a:pos x="77" y="419"/>
                </a:cxn>
                <a:cxn ang="0">
                  <a:pos x="93" y="429"/>
                </a:cxn>
                <a:cxn ang="0">
                  <a:pos x="108" y="430"/>
                </a:cxn>
                <a:cxn ang="0">
                  <a:pos x="304" y="206"/>
                </a:cxn>
                <a:cxn ang="0">
                  <a:pos x="305" y="189"/>
                </a:cxn>
                <a:cxn ang="0">
                  <a:pos x="307" y="175"/>
                </a:cxn>
              </a:cxnLst>
              <a:rect l="0" t="0" r="r" b="b"/>
              <a:pathLst>
                <a:path w="308" h="430">
                  <a:moveTo>
                    <a:pt x="307" y="175"/>
                  </a:moveTo>
                  <a:cubicBezTo>
                    <a:pt x="307" y="175"/>
                    <a:pt x="297" y="164"/>
                    <a:pt x="294" y="149"/>
                  </a:cubicBezTo>
                  <a:cubicBezTo>
                    <a:pt x="290" y="133"/>
                    <a:pt x="295" y="121"/>
                    <a:pt x="289" y="113"/>
                  </a:cubicBezTo>
                  <a:cubicBezTo>
                    <a:pt x="285" y="105"/>
                    <a:pt x="278" y="106"/>
                    <a:pt x="274" y="96"/>
                  </a:cubicBezTo>
                  <a:cubicBezTo>
                    <a:pt x="270" y="88"/>
                    <a:pt x="264" y="74"/>
                    <a:pt x="268" y="66"/>
                  </a:cubicBezTo>
                  <a:cubicBezTo>
                    <a:pt x="273" y="60"/>
                    <a:pt x="282" y="62"/>
                    <a:pt x="287" y="50"/>
                  </a:cubicBezTo>
                  <a:cubicBezTo>
                    <a:pt x="294" y="39"/>
                    <a:pt x="296" y="26"/>
                    <a:pt x="296" y="26"/>
                  </a:cubicBezTo>
                  <a:cubicBezTo>
                    <a:pt x="296" y="26"/>
                    <a:pt x="302" y="21"/>
                    <a:pt x="302" y="18"/>
                  </a:cubicBezTo>
                  <a:cubicBezTo>
                    <a:pt x="302" y="14"/>
                    <a:pt x="301" y="5"/>
                    <a:pt x="301" y="5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2" y="17"/>
                    <a:pt x="262" y="26"/>
                  </a:cubicBezTo>
                  <a:cubicBezTo>
                    <a:pt x="242" y="34"/>
                    <a:pt x="222" y="42"/>
                    <a:pt x="222" y="42"/>
                  </a:cubicBezTo>
                  <a:cubicBezTo>
                    <a:pt x="222" y="42"/>
                    <a:pt x="193" y="77"/>
                    <a:pt x="178" y="89"/>
                  </a:cubicBezTo>
                  <a:cubicBezTo>
                    <a:pt x="163" y="100"/>
                    <a:pt x="148" y="102"/>
                    <a:pt x="148" y="102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11" y="101"/>
                    <a:pt x="104" y="106"/>
                  </a:cubicBezTo>
                  <a:cubicBezTo>
                    <a:pt x="95" y="109"/>
                    <a:pt x="81" y="127"/>
                    <a:pt x="81" y="127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2" y="142"/>
                    <a:pt x="42" y="142"/>
                    <a:pt x="42" y="142"/>
                  </a:cubicBezTo>
                  <a:cubicBezTo>
                    <a:pt x="42" y="142"/>
                    <a:pt x="23" y="139"/>
                    <a:pt x="23" y="145"/>
                  </a:cubicBezTo>
                  <a:cubicBezTo>
                    <a:pt x="22" y="152"/>
                    <a:pt x="22" y="168"/>
                    <a:pt x="22" y="168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" y="225"/>
                    <a:pt x="6" y="225"/>
                    <a:pt x="6" y="225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3" y="243"/>
                    <a:pt x="3" y="243"/>
                    <a:pt x="3" y="243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248"/>
                    <a:pt x="12" y="250"/>
                    <a:pt x="16" y="254"/>
                  </a:cubicBezTo>
                  <a:cubicBezTo>
                    <a:pt x="18" y="258"/>
                    <a:pt x="22" y="259"/>
                    <a:pt x="22" y="264"/>
                  </a:cubicBezTo>
                  <a:cubicBezTo>
                    <a:pt x="22" y="280"/>
                    <a:pt x="22" y="280"/>
                    <a:pt x="22" y="280"/>
                  </a:cubicBezTo>
                  <a:cubicBezTo>
                    <a:pt x="28" y="283"/>
                    <a:pt x="28" y="283"/>
                    <a:pt x="28" y="283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1" y="290"/>
                    <a:pt x="51" y="290"/>
                    <a:pt x="51" y="290"/>
                  </a:cubicBezTo>
                  <a:cubicBezTo>
                    <a:pt x="52" y="285"/>
                    <a:pt x="52" y="285"/>
                    <a:pt x="52" y="285"/>
                  </a:cubicBezTo>
                  <a:cubicBezTo>
                    <a:pt x="61" y="284"/>
                    <a:pt x="61" y="284"/>
                    <a:pt x="61" y="284"/>
                  </a:cubicBezTo>
                  <a:cubicBezTo>
                    <a:pt x="58" y="294"/>
                    <a:pt x="58" y="294"/>
                    <a:pt x="58" y="294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86" y="306"/>
                    <a:pt x="84" y="311"/>
                  </a:cubicBezTo>
                  <a:cubicBezTo>
                    <a:pt x="81" y="316"/>
                    <a:pt x="71" y="326"/>
                    <a:pt x="71" y="326"/>
                  </a:cubicBezTo>
                  <a:cubicBezTo>
                    <a:pt x="81" y="329"/>
                    <a:pt x="81" y="329"/>
                    <a:pt x="81" y="329"/>
                  </a:cubicBezTo>
                  <a:cubicBezTo>
                    <a:pt x="69" y="331"/>
                    <a:pt x="69" y="331"/>
                    <a:pt x="69" y="331"/>
                  </a:cubicBezTo>
                  <a:cubicBezTo>
                    <a:pt x="71" y="335"/>
                    <a:pt x="71" y="335"/>
                    <a:pt x="71" y="335"/>
                  </a:cubicBezTo>
                  <a:cubicBezTo>
                    <a:pt x="77" y="340"/>
                    <a:pt x="77" y="340"/>
                    <a:pt x="77" y="340"/>
                  </a:cubicBezTo>
                  <a:cubicBezTo>
                    <a:pt x="77" y="340"/>
                    <a:pt x="58" y="345"/>
                    <a:pt x="58" y="348"/>
                  </a:cubicBezTo>
                  <a:cubicBezTo>
                    <a:pt x="58" y="350"/>
                    <a:pt x="54" y="351"/>
                    <a:pt x="54" y="351"/>
                  </a:cubicBezTo>
                  <a:cubicBezTo>
                    <a:pt x="52" y="358"/>
                    <a:pt x="52" y="358"/>
                    <a:pt x="52" y="358"/>
                  </a:cubicBezTo>
                  <a:cubicBezTo>
                    <a:pt x="52" y="358"/>
                    <a:pt x="67" y="356"/>
                    <a:pt x="66" y="359"/>
                  </a:cubicBezTo>
                  <a:cubicBezTo>
                    <a:pt x="66" y="363"/>
                    <a:pt x="59" y="367"/>
                    <a:pt x="59" y="367"/>
                  </a:cubicBezTo>
                  <a:cubicBezTo>
                    <a:pt x="60" y="371"/>
                    <a:pt x="60" y="371"/>
                    <a:pt x="60" y="371"/>
                  </a:cubicBezTo>
                  <a:cubicBezTo>
                    <a:pt x="49" y="390"/>
                    <a:pt x="49" y="390"/>
                    <a:pt x="49" y="390"/>
                  </a:cubicBezTo>
                  <a:cubicBezTo>
                    <a:pt x="54" y="392"/>
                    <a:pt x="54" y="392"/>
                    <a:pt x="54" y="392"/>
                  </a:cubicBezTo>
                  <a:cubicBezTo>
                    <a:pt x="54" y="409"/>
                    <a:pt x="54" y="409"/>
                    <a:pt x="54" y="409"/>
                  </a:cubicBezTo>
                  <a:cubicBezTo>
                    <a:pt x="64" y="427"/>
                    <a:pt x="64" y="427"/>
                    <a:pt x="64" y="427"/>
                  </a:cubicBezTo>
                  <a:cubicBezTo>
                    <a:pt x="64" y="427"/>
                    <a:pt x="69" y="419"/>
                    <a:pt x="77" y="419"/>
                  </a:cubicBezTo>
                  <a:cubicBezTo>
                    <a:pt x="85" y="420"/>
                    <a:pt x="89" y="429"/>
                    <a:pt x="89" y="429"/>
                  </a:cubicBezTo>
                  <a:cubicBezTo>
                    <a:pt x="93" y="429"/>
                    <a:pt x="93" y="429"/>
                    <a:pt x="93" y="429"/>
                  </a:cubicBezTo>
                  <a:cubicBezTo>
                    <a:pt x="93" y="429"/>
                    <a:pt x="94" y="425"/>
                    <a:pt x="101" y="425"/>
                  </a:cubicBezTo>
                  <a:cubicBezTo>
                    <a:pt x="107" y="426"/>
                    <a:pt x="108" y="430"/>
                    <a:pt x="108" y="430"/>
                  </a:cubicBezTo>
                  <a:cubicBezTo>
                    <a:pt x="135" y="429"/>
                    <a:pt x="135" y="429"/>
                    <a:pt x="135" y="429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6" y="205"/>
                    <a:pt x="306" y="205"/>
                    <a:pt x="306" y="205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7" y="17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8" name="Kasac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11672C6-B181-004B-91A4-67E75729AB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168705" y="2215855"/>
              <a:ext cx="975295" cy="2222884"/>
            </a:xfrm>
            <a:custGeom>
              <a:avLst/>
              <a:gdLst/>
              <a:ahLst/>
              <a:cxnLst>
                <a:cxn ang="0">
                  <a:pos x="291" y="856"/>
                </a:cxn>
                <a:cxn ang="0">
                  <a:pos x="395" y="19"/>
                </a:cxn>
                <a:cxn ang="0">
                  <a:pos x="377" y="43"/>
                </a:cxn>
                <a:cxn ang="0">
                  <a:pos x="362" y="71"/>
                </a:cxn>
                <a:cxn ang="0">
                  <a:pos x="341" y="94"/>
                </a:cxn>
                <a:cxn ang="0">
                  <a:pos x="322" y="113"/>
                </a:cxn>
                <a:cxn ang="0">
                  <a:pos x="342" y="125"/>
                </a:cxn>
                <a:cxn ang="0">
                  <a:pos x="358" y="139"/>
                </a:cxn>
                <a:cxn ang="0">
                  <a:pos x="393" y="125"/>
                </a:cxn>
                <a:cxn ang="0">
                  <a:pos x="372" y="151"/>
                </a:cxn>
                <a:cxn ang="0">
                  <a:pos x="378" y="186"/>
                </a:cxn>
                <a:cxn ang="0">
                  <a:pos x="385" y="211"/>
                </a:cxn>
                <a:cxn ang="0">
                  <a:pos x="398" y="240"/>
                </a:cxn>
                <a:cxn ang="0">
                  <a:pos x="379" y="327"/>
                </a:cxn>
                <a:cxn ang="0">
                  <a:pos x="336" y="337"/>
                </a:cxn>
                <a:cxn ang="0">
                  <a:pos x="318" y="353"/>
                </a:cxn>
                <a:cxn ang="0">
                  <a:pos x="297" y="382"/>
                </a:cxn>
                <a:cxn ang="0">
                  <a:pos x="258" y="417"/>
                </a:cxn>
                <a:cxn ang="0">
                  <a:pos x="234" y="423"/>
                </a:cxn>
                <a:cxn ang="0">
                  <a:pos x="239" y="433"/>
                </a:cxn>
                <a:cxn ang="0">
                  <a:pos x="194" y="426"/>
                </a:cxn>
                <a:cxn ang="0">
                  <a:pos x="151" y="437"/>
                </a:cxn>
                <a:cxn ang="0">
                  <a:pos x="116" y="441"/>
                </a:cxn>
                <a:cxn ang="0">
                  <a:pos x="102" y="454"/>
                </a:cxn>
                <a:cxn ang="0">
                  <a:pos x="77" y="471"/>
                </a:cxn>
                <a:cxn ang="0">
                  <a:pos x="65" y="507"/>
                </a:cxn>
                <a:cxn ang="0">
                  <a:pos x="59" y="537"/>
                </a:cxn>
                <a:cxn ang="0">
                  <a:pos x="35" y="572"/>
                </a:cxn>
                <a:cxn ang="0">
                  <a:pos x="67" y="596"/>
                </a:cxn>
                <a:cxn ang="0">
                  <a:pos x="1" y="614"/>
                </a:cxn>
                <a:cxn ang="0">
                  <a:pos x="25" y="685"/>
                </a:cxn>
                <a:cxn ang="0">
                  <a:pos x="60" y="742"/>
                </a:cxn>
                <a:cxn ang="0">
                  <a:pos x="82" y="754"/>
                </a:cxn>
                <a:cxn ang="0">
                  <a:pos x="139" y="754"/>
                </a:cxn>
                <a:cxn ang="0">
                  <a:pos x="166" y="801"/>
                </a:cxn>
                <a:cxn ang="0">
                  <a:pos x="202" y="791"/>
                </a:cxn>
                <a:cxn ang="0">
                  <a:pos x="195" y="782"/>
                </a:cxn>
                <a:cxn ang="0">
                  <a:pos x="209" y="778"/>
                </a:cxn>
                <a:cxn ang="0">
                  <a:pos x="224" y="756"/>
                </a:cxn>
                <a:cxn ang="0">
                  <a:pos x="235" y="733"/>
                </a:cxn>
                <a:cxn ang="0">
                  <a:pos x="266" y="705"/>
                </a:cxn>
                <a:cxn ang="0">
                  <a:pos x="281" y="707"/>
                </a:cxn>
                <a:cxn ang="0">
                  <a:pos x="296" y="707"/>
                </a:cxn>
                <a:cxn ang="0">
                  <a:pos x="309" y="688"/>
                </a:cxn>
                <a:cxn ang="0">
                  <a:pos x="332" y="678"/>
                </a:cxn>
                <a:cxn ang="0">
                  <a:pos x="338" y="696"/>
                </a:cxn>
                <a:cxn ang="0">
                  <a:pos x="352" y="706"/>
                </a:cxn>
                <a:cxn ang="0">
                  <a:pos x="359" y="718"/>
                </a:cxn>
                <a:cxn ang="0">
                  <a:pos x="391" y="756"/>
                </a:cxn>
                <a:cxn ang="0">
                  <a:pos x="331" y="789"/>
                </a:cxn>
                <a:cxn ang="0">
                  <a:pos x="326" y="823"/>
                </a:cxn>
                <a:cxn ang="0">
                  <a:pos x="314" y="838"/>
                </a:cxn>
                <a:cxn ang="0">
                  <a:pos x="328" y="842"/>
                </a:cxn>
                <a:cxn ang="0">
                  <a:pos x="345" y="850"/>
                </a:cxn>
                <a:cxn ang="0">
                  <a:pos x="301" y="879"/>
                </a:cxn>
                <a:cxn ang="0">
                  <a:pos x="385" y="913"/>
                </a:cxn>
                <a:cxn ang="0">
                  <a:pos x="402" y="925"/>
                </a:cxn>
                <a:cxn ang="0">
                  <a:pos x="379" y="327"/>
                </a:cxn>
              </a:cxnLst>
              <a:rect l="0" t="0" r="r" b="b"/>
              <a:pathLst>
                <a:path w="408" h="931">
                  <a:moveTo>
                    <a:pt x="290" y="844"/>
                  </a:moveTo>
                  <a:cubicBezTo>
                    <a:pt x="285" y="844"/>
                    <a:pt x="285" y="844"/>
                    <a:pt x="285" y="844"/>
                  </a:cubicBezTo>
                  <a:cubicBezTo>
                    <a:pt x="287" y="851"/>
                    <a:pt x="287" y="851"/>
                    <a:pt x="287" y="851"/>
                  </a:cubicBezTo>
                  <a:cubicBezTo>
                    <a:pt x="291" y="856"/>
                    <a:pt x="291" y="856"/>
                    <a:pt x="291" y="856"/>
                  </a:cubicBezTo>
                  <a:cubicBezTo>
                    <a:pt x="293" y="855"/>
                    <a:pt x="293" y="855"/>
                    <a:pt x="293" y="855"/>
                  </a:cubicBezTo>
                  <a:cubicBezTo>
                    <a:pt x="291" y="851"/>
                    <a:pt x="291" y="851"/>
                    <a:pt x="291" y="851"/>
                  </a:cubicBezTo>
                  <a:lnTo>
                    <a:pt x="290" y="844"/>
                  </a:lnTo>
                  <a:close/>
                  <a:moveTo>
                    <a:pt x="395" y="19"/>
                  </a:moveTo>
                  <a:cubicBezTo>
                    <a:pt x="395" y="19"/>
                    <a:pt x="400" y="22"/>
                    <a:pt x="398" y="25"/>
                  </a:cubicBezTo>
                  <a:cubicBezTo>
                    <a:pt x="397" y="28"/>
                    <a:pt x="391" y="28"/>
                    <a:pt x="391" y="28"/>
                  </a:cubicBezTo>
                  <a:cubicBezTo>
                    <a:pt x="385" y="40"/>
                    <a:pt x="385" y="40"/>
                    <a:pt x="385" y="40"/>
                  </a:cubicBezTo>
                  <a:cubicBezTo>
                    <a:pt x="377" y="43"/>
                    <a:pt x="377" y="43"/>
                    <a:pt x="377" y="43"/>
                  </a:cubicBezTo>
                  <a:cubicBezTo>
                    <a:pt x="381" y="50"/>
                    <a:pt x="381" y="50"/>
                    <a:pt x="381" y="50"/>
                  </a:cubicBezTo>
                  <a:cubicBezTo>
                    <a:pt x="366" y="63"/>
                    <a:pt x="366" y="63"/>
                    <a:pt x="366" y="63"/>
                  </a:cubicBezTo>
                  <a:cubicBezTo>
                    <a:pt x="366" y="63"/>
                    <a:pt x="376" y="75"/>
                    <a:pt x="371" y="77"/>
                  </a:cubicBezTo>
                  <a:cubicBezTo>
                    <a:pt x="365" y="80"/>
                    <a:pt x="362" y="71"/>
                    <a:pt x="362" y="7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2" y="90"/>
                    <a:pt x="352" y="90"/>
                    <a:pt x="352" y="90"/>
                  </a:cubicBezTo>
                  <a:cubicBezTo>
                    <a:pt x="343" y="88"/>
                    <a:pt x="343" y="88"/>
                    <a:pt x="343" y="88"/>
                  </a:cubicBezTo>
                  <a:cubicBezTo>
                    <a:pt x="341" y="94"/>
                    <a:pt x="341" y="94"/>
                    <a:pt x="341" y="94"/>
                  </a:cubicBezTo>
                  <a:cubicBezTo>
                    <a:pt x="328" y="94"/>
                    <a:pt x="328" y="94"/>
                    <a:pt x="328" y="94"/>
                  </a:cubicBezTo>
                  <a:cubicBezTo>
                    <a:pt x="327" y="102"/>
                    <a:pt x="327" y="102"/>
                    <a:pt x="327" y="102"/>
                  </a:cubicBezTo>
                  <a:cubicBezTo>
                    <a:pt x="331" y="104"/>
                    <a:pt x="331" y="104"/>
                    <a:pt x="331" y="104"/>
                  </a:cubicBezTo>
                  <a:cubicBezTo>
                    <a:pt x="322" y="113"/>
                    <a:pt x="322" y="113"/>
                    <a:pt x="322" y="113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6" y="123"/>
                    <a:pt x="336" y="123"/>
                    <a:pt x="336" y="123"/>
                  </a:cubicBezTo>
                  <a:cubicBezTo>
                    <a:pt x="333" y="129"/>
                    <a:pt x="333" y="129"/>
                    <a:pt x="333" y="129"/>
                  </a:cubicBezTo>
                  <a:cubicBezTo>
                    <a:pt x="342" y="125"/>
                    <a:pt x="342" y="125"/>
                    <a:pt x="342" y="125"/>
                  </a:cubicBezTo>
                  <a:cubicBezTo>
                    <a:pt x="348" y="126"/>
                    <a:pt x="348" y="126"/>
                    <a:pt x="348" y="126"/>
                  </a:cubicBezTo>
                  <a:cubicBezTo>
                    <a:pt x="348" y="126"/>
                    <a:pt x="354" y="114"/>
                    <a:pt x="359" y="118"/>
                  </a:cubicBezTo>
                  <a:cubicBezTo>
                    <a:pt x="364" y="121"/>
                    <a:pt x="354" y="126"/>
                    <a:pt x="354" y="126"/>
                  </a:cubicBezTo>
                  <a:cubicBezTo>
                    <a:pt x="358" y="139"/>
                    <a:pt x="358" y="139"/>
                    <a:pt x="358" y="139"/>
                  </a:cubicBezTo>
                  <a:cubicBezTo>
                    <a:pt x="374" y="134"/>
                    <a:pt x="374" y="134"/>
                    <a:pt x="374" y="134"/>
                  </a:cubicBezTo>
                  <a:cubicBezTo>
                    <a:pt x="373" y="130"/>
                    <a:pt x="373" y="130"/>
                    <a:pt x="373" y="130"/>
                  </a:cubicBezTo>
                  <a:cubicBezTo>
                    <a:pt x="373" y="130"/>
                    <a:pt x="379" y="130"/>
                    <a:pt x="382" y="129"/>
                  </a:cubicBezTo>
                  <a:cubicBezTo>
                    <a:pt x="387" y="127"/>
                    <a:pt x="389" y="121"/>
                    <a:pt x="393" y="125"/>
                  </a:cubicBezTo>
                  <a:cubicBezTo>
                    <a:pt x="398" y="129"/>
                    <a:pt x="400" y="132"/>
                    <a:pt x="396" y="134"/>
                  </a:cubicBezTo>
                  <a:cubicBezTo>
                    <a:pt x="392" y="136"/>
                    <a:pt x="386" y="145"/>
                    <a:pt x="386" y="145"/>
                  </a:cubicBezTo>
                  <a:cubicBezTo>
                    <a:pt x="377" y="146"/>
                    <a:pt x="377" y="146"/>
                    <a:pt x="377" y="146"/>
                  </a:cubicBezTo>
                  <a:cubicBezTo>
                    <a:pt x="372" y="151"/>
                    <a:pt x="372" y="151"/>
                    <a:pt x="372" y="151"/>
                  </a:cubicBezTo>
                  <a:cubicBezTo>
                    <a:pt x="361" y="159"/>
                    <a:pt x="361" y="159"/>
                    <a:pt x="361" y="159"/>
                  </a:cubicBezTo>
                  <a:cubicBezTo>
                    <a:pt x="361" y="159"/>
                    <a:pt x="367" y="161"/>
                    <a:pt x="367" y="162"/>
                  </a:cubicBezTo>
                  <a:cubicBezTo>
                    <a:pt x="367" y="164"/>
                    <a:pt x="364" y="181"/>
                    <a:pt x="364" y="181"/>
                  </a:cubicBezTo>
                  <a:cubicBezTo>
                    <a:pt x="378" y="186"/>
                    <a:pt x="378" y="186"/>
                    <a:pt x="378" y="186"/>
                  </a:cubicBezTo>
                  <a:cubicBezTo>
                    <a:pt x="383" y="184"/>
                    <a:pt x="383" y="184"/>
                    <a:pt x="383" y="184"/>
                  </a:cubicBezTo>
                  <a:cubicBezTo>
                    <a:pt x="393" y="187"/>
                    <a:pt x="393" y="187"/>
                    <a:pt x="393" y="187"/>
                  </a:cubicBezTo>
                  <a:cubicBezTo>
                    <a:pt x="391" y="209"/>
                    <a:pt x="391" y="209"/>
                    <a:pt x="391" y="209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77" y="234"/>
                    <a:pt x="377" y="234"/>
                    <a:pt x="377" y="234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80" y="239"/>
                    <a:pt x="396" y="229"/>
                    <a:pt x="398" y="232"/>
                  </a:cubicBezTo>
                  <a:cubicBezTo>
                    <a:pt x="402" y="236"/>
                    <a:pt x="398" y="240"/>
                    <a:pt x="398" y="240"/>
                  </a:cubicBezTo>
                  <a:cubicBezTo>
                    <a:pt x="408" y="239"/>
                    <a:pt x="408" y="239"/>
                    <a:pt x="408" y="23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395" y="19"/>
                  </a:lnTo>
                  <a:close/>
                  <a:moveTo>
                    <a:pt x="379" y="327"/>
                  </a:moveTo>
                  <a:cubicBezTo>
                    <a:pt x="370" y="322"/>
                    <a:pt x="370" y="316"/>
                    <a:pt x="364" y="316"/>
                  </a:cubicBezTo>
                  <a:cubicBezTo>
                    <a:pt x="359" y="318"/>
                    <a:pt x="354" y="319"/>
                    <a:pt x="354" y="319"/>
                  </a:cubicBezTo>
                  <a:cubicBezTo>
                    <a:pt x="354" y="319"/>
                    <a:pt x="358" y="326"/>
                    <a:pt x="355" y="328"/>
                  </a:cubicBezTo>
                  <a:cubicBezTo>
                    <a:pt x="353" y="330"/>
                    <a:pt x="336" y="337"/>
                    <a:pt x="336" y="337"/>
                  </a:cubicBezTo>
                  <a:cubicBezTo>
                    <a:pt x="345" y="346"/>
                    <a:pt x="345" y="346"/>
                    <a:pt x="345" y="346"/>
                  </a:cubicBezTo>
                  <a:cubicBezTo>
                    <a:pt x="345" y="346"/>
                    <a:pt x="338" y="346"/>
                    <a:pt x="337" y="347"/>
                  </a:cubicBezTo>
                  <a:cubicBezTo>
                    <a:pt x="336" y="350"/>
                    <a:pt x="340" y="354"/>
                    <a:pt x="337" y="356"/>
                  </a:cubicBezTo>
                  <a:cubicBezTo>
                    <a:pt x="332" y="358"/>
                    <a:pt x="318" y="353"/>
                    <a:pt x="318" y="353"/>
                  </a:cubicBezTo>
                  <a:cubicBezTo>
                    <a:pt x="306" y="362"/>
                    <a:pt x="306" y="362"/>
                    <a:pt x="306" y="362"/>
                  </a:cubicBezTo>
                  <a:cubicBezTo>
                    <a:pt x="306" y="362"/>
                    <a:pt x="311" y="370"/>
                    <a:pt x="307" y="371"/>
                  </a:cubicBezTo>
                  <a:cubicBezTo>
                    <a:pt x="303" y="371"/>
                    <a:pt x="296" y="367"/>
                    <a:pt x="296" y="367"/>
                  </a:cubicBezTo>
                  <a:cubicBezTo>
                    <a:pt x="297" y="382"/>
                    <a:pt x="297" y="382"/>
                    <a:pt x="297" y="382"/>
                  </a:cubicBezTo>
                  <a:cubicBezTo>
                    <a:pt x="292" y="384"/>
                    <a:pt x="292" y="384"/>
                    <a:pt x="292" y="384"/>
                  </a:cubicBezTo>
                  <a:cubicBezTo>
                    <a:pt x="292" y="384"/>
                    <a:pt x="298" y="390"/>
                    <a:pt x="296" y="397"/>
                  </a:cubicBezTo>
                  <a:cubicBezTo>
                    <a:pt x="294" y="402"/>
                    <a:pt x="290" y="414"/>
                    <a:pt x="290" y="414"/>
                  </a:cubicBezTo>
                  <a:cubicBezTo>
                    <a:pt x="258" y="417"/>
                    <a:pt x="258" y="417"/>
                    <a:pt x="258" y="417"/>
                  </a:cubicBezTo>
                  <a:cubicBezTo>
                    <a:pt x="258" y="417"/>
                    <a:pt x="258" y="414"/>
                    <a:pt x="255" y="413"/>
                  </a:cubicBezTo>
                  <a:cubicBezTo>
                    <a:pt x="251" y="413"/>
                    <a:pt x="248" y="415"/>
                    <a:pt x="248" y="415"/>
                  </a:cubicBezTo>
                  <a:cubicBezTo>
                    <a:pt x="248" y="415"/>
                    <a:pt x="236" y="410"/>
                    <a:pt x="234" y="415"/>
                  </a:cubicBezTo>
                  <a:cubicBezTo>
                    <a:pt x="232" y="419"/>
                    <a:pt x="232" y="422"/>
                    <a:pt x="234" y="423"/>
                  </a:cubicBezTo>
                  <a:cubicBezTo>
                    <a:pt x="238" y="423"/>
                    <a:pt x="243" y="422"/>
                    <a:pt x="245" y="428"/>
                  </a:cubicBezTo>
                  <a:cubicBezTo>
                    <a:pt x="247" y="432"/>
                    <a:pt x="255" y="432"/>
                    <a:pt x="254" y="436"/>
                  </a:cubicBezTo>
                  <a:cubicBezTo>
                    <a:pt x="252" y="440"/>
                    <a:pt x="251" y="448"/>
                    <a:pt x="246" y="445"/>
                  </a:cubicBezTo>
                  <a:cubicBezTo>
                    <a:pt x="242" y="442"/>
                    <a:pt x="239" y="436"/>
                    <a:pt x="239" y="433"/>
                  </a:cubicBezTo>
                  <a:cubicBezTo>
                    <a:pt x="239" y="429"/>
                    <a:pt x="238" y="428"/>
                    <a:pt x="232" y="428"/>
                  </a:cubicBezTo>
                  <a:cubicBezTo>
                    <a:pt x="227" y="428"/>
                    <a:pt x="221" y="429"/>
                    <a:pt x="215" y="424"/>
                  </a:cubicBezTo>
                  <a:cubicBezTo>
                    <a:pt x="210" y="420"/>
                    <a:pt x="205" y="419"/>
                    <a:pt x="202" y="422"/>
                  </a:cubicBezTo>
                  <a:cubicBezTo>
                    <a:pt x="199" y="426"/>
                    <a:pt x="198" y="428"/>
                    <a:pt x="194" y="426"/>
                  </a:cubicBezTo>
                  <a:cubicBezTo>
                    <a:pt x="189" y="425"/>
                    <a:pt x="191" y="417"/>
                    <a:pt x="182" y="418"/>
                  </a:cubicBezTo>
                  <a:cubicBezTo>
                    <a:pt x="174" y="419"/>
                    <a:pt x="161" y="431"/>
                    <a:pt x="161" y="431"/>
                  </a:cubicBezTo>
                  <a:cubicBezTo>
                    <a:pt x="153" y="431"/>
                    <a:pt x="153" y="431"/>
                    <a:pt x="153" y="431"/>
                  </a:cubicBezTo>
                  <a:cubicBezTo>
                    <a:pt x="153" y="431"/>
                    <a:pt x="157" y="437"/>
                    <a:pt x="151" y="437"/>
                  </a:cubicBezTo>
                  <a:cubicBezTo>
                    <a:pt x="145" y="438"/>
                    <a:pt x="129" y="428"/>
                    <a:pt x="129" y="428"/>
                  </a:cubicBezTo>
                  <a:cubicBezTo>
                    <a:pt x="125" y="430"/>
                    <a:pt x="125" y="430"/>
                    <a:pt x="125" y="430"/>
                  </a:cubicBezTo>
                  <a:cubicBezTo>
                    <a:pt x="127" y="437"/>
                    <a:pt x="127" y="437"/>
                    <a:pt x="127" y="437"/>
                  </a:cubicBezTo>
                  <a:cubicBezTo>
                    <a:pt x="127" y="437"/>
                    <a:pt x="118" y="437"/>
                    <a:pt x="116" y="441"/>
                  </a:cubicBezTo>
                  <a:cubicBezTo>
                    <a:pt x="114" y="446"/>
                    <a:pt x="123" y="452"/>
                    <a:pt x="119" y="454"/>
                  </a:cubicBezTo>
                  <a:cubicBezTo>
                    <a:pt x="116" y="456"/>
                    <a:pt x="111" y="455"/>
                    <a:pt x="111" y="455"/>
                  </a:cubicBezTo>
                  <a:cubicBezTo>
                    <a:pt x="111" y="455"/>
                    <a:pt x="110" y="468"/>
                    <a:pt x="104" y="466"/>
                  </a:cubicBezTo>
                  <a:cubicBezTo>
                    <a:pt x="99" y="465"/>
                    <a:pt x="105" y="455"/>
                    <a:pt x="102" y="454"/>
                  </a:cubicBezTo>
                  <a:cubicBezTo>
                    <a:pt x="99" y="453"/>
                    <a:pt x="88" y="460"/>
                    <a:pt x="88" y="460"/>
                  </a:cubicBezTo>
                  <a:cubicBezTo>
                    <a:pt x="77" y="460"/>
                    <a:pt x="77" y="460"/>
                    <a:pt x="77" y="460"/>
                  </a:cubicBezTo>
                  <a:cubicBezTo>
                    <a:pt x="84" y="466"/>
                    <a:pt x="84" y="466"/>
                    <a:pt x="84" y="466"/>
                  </a:cubicBezTo>
                  <a:cubicBezTo>
                    <a:pt x="84" y="466"/>
                    <a:pt x="79" y="469"/>
                    <a:pt x="77" y="471"/>
                  </a:cubicBezTo>
                  <a:cubicBezTo>
                    <a:pt x="75" y="473"/>
                    <a:pt x="80" y="480"/>
                    <a:pt x="80" y="482"/>
                  </a:cubicBezTo>
                  <a:cubicBezTo>
                    <a:pt x="80" y="485"/>
                    <a:pt x="70" y="487"/>
                    <a:pt x="71" y="489"/>
                  </a:cubicBezTo>
                  <a:cubicBezTo>
                    <a:pt x="72" y="493"/>
                    <a:pt x="79" y="492"/>
                    <a:pt x="78" y="496"/>
                  </a:cubicBezTo>
                  <a:cubicBezTo>
                    <a:pt x="78" y="499"/>
                    <a:pt x="65" y="507"/>
                    <a:pt x="65" y="507"/>
                  </a:cubicBezTo>
                  <a:cubicBezTo>
                    <a:pt x="59" y="518"/>
                    <a:pt x="59" y="518"/>
                    <a:pt x="59" y="518"/>
                  </a:cubicBezTo>
                  <a:cubicBezTo>
                    <a:pt x="49" y="524"/>
                    <a:pt x="49" y="524"/>
                    <a:pt x="49" y="524"/>
                  </a:cubicBezTo>
                  <a:cubicBezTo>
                    <a:pt x="51" y="534"/>
                    <a:pt x="51" y="534"/>
                    <a:pt x="51" y="534"/>
                  </a:cubicBezTo>
                  <a:cubicBezTo>
                    <a:pt x="51" y="534"/>
                    <a:pt x="61" y="533"/>
                    <a:pt x="59" y="537"/>
                  </a:cubicBezTo>
                  <a:cubicBezTo>
                    <a:pt x="58" y="543"/>
                    <a:pt x="51" y="548"/>
                    <a:pt x="51" y="548"/>
                  </a:cubicBezTo>
                  <a:cubicBezTo>
                    <a:pt x="51" y="548"/>
                    <a:pt x="53" y="564"/>
                    <a:pt x="47" y="565"/>
                  </a:cubicBezTo>
                  <a:cubicBezTo>
                    <a:pt x="41" y="566"/>
                    <a:pt x="36" y="568"/>
                    <a:pt x="36" y="568"/>
                  </a:cubicBezTo>
                  <a:cubicBezTo>
                    <a:pt x="35" y="572"/>
                    <a:pt x="35" y="572"/>
                    <a:pt x="35" y="572"/>
                  </a:cubicBezTo>
                  <a:cubicBezTo>
                    <a:pt x="39" y="572"/>
                    <a:pt x="39" y="572"/>
                    <a:pt x="39" y="572"/>
                  </a:cubicBezTo>
                  <a:cubicBezTo>
                    <a:pt x="39" y="572"/>
                    <a:pt x="49" y="584"/>
                    <a:pt x="53" y="588"/>
                  </a:cubicBezTo>
                  <a:cubicBezTo>
                    <a:pt x="58" y="590"/>
                    <a:pt x="61" y="595"/>
                    <a:pt x="61" y="595"/>
                  </a:cubicBezTo>
                  <a:cubicBezTo>
                    <a:pt x="61" y="595"/>
                    <a:pt x="68" y="587"/>
                    <a:pt x="67" y="596"/>
                  </a:cubicBezTo>
                  <a:cubicBezTo>
                    <a:pt x="66" y="606"/>
                    <a:pt x="60" y="620"/>
                    <a:pt x="54" y="620"/>
                  </a:cubicBezTo>
                  <a:cubicBezTo>
                    <a:pt x="48" y="620"/>
                    <a:pt x="41" y="621"/>
                    <a:pt x="37" y="614"/>
                  </a:cubicBezTo>
                  <a:cubicBezTo>
                    <a:pt x="34" y="609"/>
                    <a:pt x="22" y="600"/>
                    <a:pt x="14" y="600"/>
                  </a:cubicBezTo>
                  <a:cubicBezTo>
                    <a:pt x="4" y="600"/>
                    <a:pt x="0" y="607"/>
                    <a:pt x="1" y="614"/>
                  </a:cubicBezTo>
                  <a:cubicBezTo>
                    <a:pt x="1" y="622"/>
                    <a:pt x="10" y="623"/>
                    <a:pt x="9" y="628"/>
                  </a:cubicBezTo>
                  <a:cubicBezTo>
                    <a:pt x="0" y="643"/>
                    <a:pt x="0" y="643"/>
                    <a:pt x="0" y="643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22" y="676"/>
                    <a:pt x="25" y="685"/>
                  </a:cubicBezTo>
                  <a:cubicBezTo>
                    <a:pt x="28" y="693"/>
                    <a:pt x="22" y="703"/>
                    <a:pt x="22" y="703"/>
                  </a:cubicBezTo>
                  <a:cubicBezTo>
                    <a:pt x="28" y="742"/>
                    <a:pt x="28" y="742"/>
                    <a:pt x="28" y="742"/>
                  </a:cubicBezTo>
                  <a:cubicBezTo>
                    <a:pt x="57" y="736"/>
                    <a:pt x="57" y="736"/>
                    <a:pt x="57" y="736"/>
                  </a:cubicBezTo>
                  <a:cubicBezTo>
                    <a:pt x="57" y="736"/>
                    <a:pt x="57" y="740"/>
                    <a:pt x="60" y="742"/>
                  </a:cubicBezTo>
                  <a:cubicBezTo>
                    <a:pt x="62" y="745"/>
                    <a:pt x="67" y="747"/>
                    <a:pt x="65" y="750"/>
                  </a:cubicBezTo>
                  <a:cubicBezTo>
                    <a:pt x="64" y="752"/>
                    <a:pt x="63" y="759"/>
                    <a:pt x="68" y="760"/>
                  </a:cubicBezTo>
                  <a:cubicBezTo>
                    <a:pt x="74" y="762"/>
                    <a:pt x="86" y="762"/>
                    <a:pt x="86" y="762"/>
                  </a:cubicBezTo>
                  <a:cubicBezTo>
                    <a:pt x="82" y="754"/>
                    <a:pt x="82" y="754"/>
                    <a:pt x="82" y="754"/>
                  </a:cubicBezTo>
                  <a:cubicBezTo>
                    <a:pt x="82" y="754"/>
                    <a:pt x="87" y="755"/>
                    <a:pt x="94" y="753"/>
                  </a:cubicBezTo>
                  <a:cubicBezTo>
                    <a:pt x="101" y="751"/>
                    <a:pt x="98" y="739"/>
                    <a:pt x="108" y="742"/>
                  </a:cubicBezTo>
                  <a:cubicBezTo>
                    <a:pt x="117" y="745"/>
                    <a:pt x="118" y="756"/>
                    <a:pt x="125" y="756"/>
                  </a:cubicBezTo>
                  <a:cubicBezTo>
                    <a:pt x="132" y="756"/>
                    <a:pt x="133" y="752"/>
                    <a:pt x="139" y="754"/>
                  </a:cubicBezTo>
                  <a:cubicBezTo>
                    <a:pt x="144" y="757"/>
                    <a:pt x="149" y="768"/>
                    <a:pt x="157" y="770"/>
                  </a:cubicBezTo>
                  <a:cubicBezTo>
                    <a:pt x="164" y="772"/>
                    <a:pt x="183" y="779"/>
                    <a:pt x="178" y="784"/>
                  </a:cubicBezTo>
                  <a:cubicBezTo>
                    <a:pt x="174" y="788"/>
                    <a:pt x="164" y="782"/>
                    <a:pt x="160" y="787"/>
                  </a:cubicBezTo>
                  <a:cubicBezTo>
                    <a:pt x="156" y="794"/>
                    <a:pt x="157" y="800"/>
                    <a:pt x="166" y="801"/>
                  </a:cubicBezTo>
                  <a:cubicBezTo>
                    <a:pt x="177" y="802"/>
                    <a:pt x="200" y="798"/>
                    <a:pt x="200" y="798"/>
                  </a:cubicBezTo>
                  <a:cubicBezTo>
                    <a:pt x="199" y="794"/>
                    <a:pt x="199" y="794"/>
                    <a:pt x="199" y="794"/>
                  </a:cubicBezTo>
                  <a:cubicBezTo>
                    <a:pt x="196" y="793"/>
                    <a:pt x="196" y="793"/>
                    <a:pt x="196" y="793"/>
                  </a:cubicBezTo>
                  <a:cubicBezTo>
                    <a:pt x="202" y="791"/>
                    <a:pt x="202" y="791"/>
                    <a:pt x="202" y="791"/>
                  </a:cubicBezTo>
                  <a:cubicBezTo>
                    <a:pt x="202" y="788"/>
                    <a:pt x="202" y="788"/>
                    <a:pt x="202" y="788"/>
                  </a:cubicBezTo>
                  <a:cubicBezTo>
                    <a:pt x="198" y="789"/>
                    <a:pt x="198" y="789"/>
                    <a:pt x="198" y="789"/>
                  </a:cubicBezTo>
                  <a:cubicBezTo>
                    <a:pt x="198" y="785"/>
                    <a:pt x="198" y="785"/>
                    <a:pt x="198" y="785"/>
                  </a:cubicBezTo>
                  <a:cubicBezTo>
                    <a:pt x="195" y="782"/>
                    <a:pt x="195" y="782"/>
                    <a:pt x="195" y="782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5" y="779"/>
                    <a:pt x="205" y="779"/>
                    <a:pt x="205" y="779"/>
                  </a:cubicBezTo>
                  <a:cubicBezTo>
                    <a:pt x="209" y="784"/>
                    <a:pt x="209" y="784"/>
                    <a:pt x="209" y="784"/>
                  </a:cubicBezTo>
                  <a:cubicBezTo>
                    <a:pt x="209" y="778"/>
                    <a:pt x="209" y="778"/>
                    <a:pt x="209" y="778"/>
                  </a:cubicBezTo>
                  <a:cubicBezTo>
                    <a:pt x="209" y="778"/>
                    <a:pt x="212" y="780"/>
                    <a:pt x="215" y="775"/>
                  </a:cubicBezTo>
                  <a:cubicBezTo>
                    <a:pt x="219" y="770"/>
                    <a:pt x="218" y="765"/>
                    <a:pt x="218" y="765"/>
                  </a:cubicBezTo>
                  <a:cubicBezTo>
                    <a:pt x="218" y="765"/>
                    <a:pt x="222" y="768"/>
                    <a:pt x="223" y="765"/>
                  </a:cubicBezTo>
                  <a:cubicBezTo>
                    <a:pt x="225" y="763"/>
                    <a:pt x="224" y="756"/>
                    <a:pt x="224" y="756"/>
                  </a:cubicBezTo>
                  <a:cubicBezTo>
                    <a:pt x="228" y="754"/>
                    <a:pt x="228" y="754"/>
                    <a:pt x="228" y="754"/>
                  </a:cubicBezTo>
                  <a:cubicBezTo>
                    <a:pt x="228" y="740"/>
                    <a:pt x="228" y="740"/>
                    <a:pt x="228" y="740"/>
                  </a:cubicBezTo>
                  <a:cubicBezTo>
                    <a:pt x="236" y="740"/>
                    <a:pt x="236" y="740"/>
                    <a:pt x="236" y="740"/>
                  </a:cubicBezTo>
                  <a:cubicBezTo>
                    <a:pt x="235" y="733"/>
                    <a:pt x="235" y="733"/>
                    <a:pt x="235" y="733"/>
                  </a:cubicBezTo>
                  <a:cubicBezTo>
                    <a:pt x="243" y="732"/>
                    <a:pt x="243" y="732"/>
                    <a:pt x="243" y="732"/>
                  </a:cubicBezTo>
                  <a:cubicBezTo>
                    <a:pt x="243" y="732"/>
                    <a:pt x="239" y="722"/>
                    <a:pt x="247" y="714"/>
                  </a:cubicBezTo>
                  <a:cubicBezTo>
                    <a:pt x="256" y="705"/>
                    <a:pt x="262" y="707"/>
                    <a:pt x="262" y="707"/>
                  </a:cubicBezTo>
                  <a:cubicBezTo>
                    <a:pt x="266" y="705"/>
                    <a:pt x="266" y="705"/>
                    <a:pt x="266" y="705"/>
                  </a:cubicBezTo>
                  <a:cubicBezTo>
                    <a:pt x="268" y="707"/>
                    <a:pt x="268" y="707"/>
                    <a:pt x="268" y="707"/>
                  </a:cubicBezTo>
                  <a:cubicBezTo>
                    <a:pt x="270" y="703"/>
                    <a:pt x="270" y="703"/>
                    <a:pt x="270" y="703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81" y="707"/>
                    <a:pt x="281" y="707"/>
                    <a:pt x="281" y="707"/>
                  </a:cubicBezTo>
                  <a:cubicBezTo>
                    <a:pt x="283" y="702"/>
                    <a:pt x="283" y="702"/>
                    <a:pt x="283" y="702"/>
                  </a:cubicBezTo>
                  <a:cubicBezTo>
                    <a:pt x="285" y="708"/>
                    <a:pt x="285" y="708"/>
                    <a:pt x="285" y="708"/>
                  </a:cubicBezTo>
                  <a:cubicBezTo>
                    <a:pt x="290" y="703"/>
                    <a:pt x="290" y="703"/>
                    <a:pt x="290" y="703"/>
                  </a:cubicBezTo>
                  <a:cubicBezTo>
                    <a:pt x="290" y="703"/>
                    <a:pt x="293" y="708"/>
                    <a:pt x="296" y="707"/>
                  </a:cubicBezTo>
                  <a:cubicBezTo>
                    <a:pt x="299" y="706"/>
                    <a:pt x="298" y="699"/>
                    <a:pt x="298" y="699"/>
                  </a:cubicBezTo>
                  <a:cubicBezTo>
                    <a:pt x="304" y="696"/>
                    <a:pt x="304" y="696"/>
                    <a:pt x="304" y="696"/>
                  </a:cubicBezTo>
                  <a:cubicBezTo>
                    <a:pt x="304" y="696"/>
                    <a:pt x="301" y="687"/>
                    <a:pt x="304" y="685"/>
                  </a:cubicBezTo>
                  <a:cubicBezTo>
                    <a:pt x="307" y="683"/>
                    <a:pt x="309" y="688"/>
                    <a:pt x="309" y="688"/>
                  </a:cubicBezTo>
                  <a:cubicBezTo>
                    <a:pt x="318" y="683"/>
                    <a:pt x="318" y="683"/>
                    <a:pt x="318" y="683"/>
                  </a:cubicBezTo>
                  <a:cubicBezTo>
                    <a:pt x="318" y="683"/>
                    <a:pt x="318" y="677"/>
                    <a:pt x="322" y="677"/>
                  </a:cubicBezTo>
                  <a:cubicBezTo>
                    <a:pt x="326" y="677"/>
                    <a:pt x="326" y="679"/>
                    <a:pt x="326" y="679"/>
                  </a:cubicBezTo>
                  <a:cubicBezTo>
                    <a:pt x="332" y="678"/>
                    <a:pt x="332" y="678"/>
                    <a:pt x="332" y="678"/>
                  </a:cubicBezTo>
                  <a:cubicBezTo>
                    <a:pt x="332" y="678"/>
                    <a:pt x="333" y="684"/>
                    <a:pt x="337" y="685"/>
                  </a:cubicBezTo>
                  <a:cubicBezTo>
                    <a:pt x="340" y="685"/>
                    <a:pt x="345" y="682"/>
                    <a:pt x="345" y="685"/>
                  </a:cubicBezTo>
                  <a:cubicBezTo>
                    <a:pt x="345" y="689"/>
                    <a:pt x="337" y="691"/>
                    <a:pt x="337" y="691"/>
                  </a:cubicBezTo>
                  <a:cubicBezTo>
                    <a:pt x="338" y="696"/>
                    <a:pt x="338" y="696"/>
                    <a:pt x="338" y="696"/>
                  </a:cubicBezTo>
                  <a:cubicBezTo>
                    <a:pt x="341" y="694"/>
                    <a:pt x="341" y="694"/>
                    <a:pt x="341" y="694"/>
                  </a:cubicBezTo>
                  <a:cubicBezTo>
                    <a:pt x="342" y="701"/>
                    <a:pt x="342" y="701"/>
                    <a:pt x="342" y="701"/>
                  </a:cubicBezTo>
                  <a:cubicBezTo>
                    <a:pt x="352" y="703"/>
                    <a:pt x="352" y="703"/>
                    <a:pt x="352" y="703"/>
                  </a:cubicBezTo>
                  <a:cubicBezTo>
                    <a:pt x="352" y="706"/>
                    <a:pt x="352" y="706"/>
                    <a:pt x="352" y="706"/>
                  </a:cubicBezTo>
                  <a:cubicBezTo>
                    <a:pt x="346" y="706"/>
                    <a:pt x="346" y="706"/>
                    <a:pt x="346" y="706"/>
                  </a:cubicBezTo>
                  <a:cubicBezTo>
                    <a:pt x="348" y="713"/>
                    <a:pt x="348" y="713"/>
                    <a:pt x="348" y="713"/>
                  </a:cubicBezTo>
                  <a:cubicBezTo>
                    <a:pt x="357" y="709"/>
                    <a:pt x="357" y="709"/>
                    <a:pt x="357" y="709"/>
                  </a:cubicBezTo>
                  <a:cubicBezTo>
                    <a:pt x="357" y="709"/>
                    <a:pt x="357" y="716"/>
                    <a:pt x="359" y="718"/>
                  </a:cubicBezTo>
                  <a:cubicBezTo>
                    <a:pt x="361" y="720"/>
                    <a:pt x="364" y="725"/>
                    <a:pt x="363" y="732"/>
                  </a:cubicBezTo>
                  <a:cubicBezTo>
                    <a:pt x="363" y="738"/>
                    <a:pt x="361" y="741"/>
                    <a:pt x="361" y="748"/>
                  </a:cubicBezTo>
                  <a:cubicBezTo>
                    <a:pt x="361" y="753"/>
                    <a:pt x="367" y="760"/>
                    <a:pt x="367" y="760"/>
                  </a:cubicBezTo>
                  <a:cubicBezTo>
                    <a:pt x="391" y="756"/>
                    <a:pt x="391" y="756"/>
                    <a:pt x="391" y="756"/>
                  </a:cubicBezTo>
                  <a:cubicBezTo>
                    <a:pt x="391" y="756"/>
                    <a:pt x="388" y="767"/>
                    <a:pt x="381" y="768"/>
                  </a:cubicBezTo>
                  <a:cubicBezTo>
                    <a:pt x="374" y="770"/>
                    <a:pt x="366" y="769"/>
                    <a:pt x="362" y="772"/>
                  </a:cubicBezTo>
                  <a:cubicBezTo>
                    <a:pt x="358" y="776"/>
                    <a:pt x="350" y="784"/>
                    <a:pt x="346" y="786"/>
                  </a:cubicBezTo>
                  <a:cubicBezTo>
                    <a:pt x="342" y="788"/>
                    <a:pt x="331" y="789"/>
                    <a:pt x="331" y="789"/>
                  </a:cubicBezTo>
                  <a:cubicBezTo>
                    <a:pt x="330" y="799"/>
                    <a:pt x="330" y="799"/>
                    <a:pt x="330" y="799"/>
                  </a:cubicBezTo>
                  <a:cubicBezTo>
                    <a:pt x="323" y="801"/>
                    <a:pt x="323" y="801"/>
                    <a:pt x="323" y="801"/>
                  </a:cubicBezTo>
                  <a:cubicBezTo>
                    <a:pt x="323" y="801"/>
                    <a:pt x="321" y="810"/>
                    <a:pt x="321" y="814"/>
                  </a:cubicBezTo>
                  <a:cubicBezTo>
                    <a:pt x="321" y="818"/>
                    <a:pt x="326" y="823"/>
                    <a:pt x="326" y="823"/>
                  </a:cubicBezTo>
                  <a:cubicBezTo>
                    <a:pt x="326" y="823"/>
                    <a:pt x="323" y="823"/>
                    <a:pt x="321" y="825"/>
                  </a:cubicBezTo>
                  <a:cubicBezTo>
                    <a:pt x="318" y="827"/>
                    <a:pt x="317" y="831"/>
                    <a:pt x="317" y="831"/>
                  </a:cubicBezTo>
                  <a:cubicBezTo>
                    <a:pt x="313" y="834"/>
                    <a:pt x="313" y="834"/>
                    <a:pt x="313" y="834"/>
                  </a:cubicBezTo>
                  <a:cubicBezTo>
                    <a:pt x="314" y="838"/>
                    <a:pt x="314" y="838"/>
                    <a:pt x="314" y="838"/>
                  </a:cubicBezTo>
                  <a:cubicBezTo>
                    <a:pt x="322" y="836"/>
                    <a:pt x="322" y="836"/>
                    <a:pt x="322" y="836"/>
                  </a:cubicBezTo>
                  <a:cubicBezTo>
                    <a:pt x="321" y="842"/>
                    <a:pt x="321" y="842"/>
                    <a:pt x="321" y="842"/>
                  </a:cubicBezTo>
                  <a:cubicBezTo>
                    <a:pt x="327" y="840"/>
                    <a:pt x="327" y="840"/>
                    <a:pt x="327" y="840"/>
                  </a:cubicBezTo>
                  <a:cubicBezTo>
                    <a:pt x="328" y="842"/>
                    <a:pt x="328" y="842"/>
                    <a:pt x="328" y="842"/>
                  </a:cubicBezTo>
                  <a:cubicBezTo>
                    <a:pt x="337" y="842"/>
                    <a:pt x="337" y="842"/>
                    <a:pt x="337" y="842"/>
                  </a:cubicBezTo>
                  <a:cubicBezTo>
                    <a:pt x="337" y="842"/>
                    <a:pt x="339" y="846"/>
                    <a:pt x="342" y="846"/>
                  </a:cubicBezTo>
                  <a:cubicBezTo>
                    <a:pt x="346" y="845"/>
                    <a:pt x="349" y="840"/>
                    <a:pt x="352" y="843"/>
                  </a:cubicBezTo>
                  <a:cubicBezTo>
                    <a:pt x="355" y="847"/>
                    <a:pt x="345" y="850"/>
                    <a:pt x="345" y="850"/>
                  </a:cubicBezTo>
                  <a:cubicBezTo>
                    <a:pt x="345" y="850"/>
                    <a:pt x="344" y="860"/>
                    <a:pt x="340" y="859"/>
                  </a:cubicBezTo>
                  <a:cubicBezTo>
                    <a:pt x="336" y="858"/>
                    <a:pt x="323" y="857"/>
                    <a:pt x="323" y="857"/>
                  </a:cubicBezTo>
                  <a:cubicBezTo>
                    <a:pt x="323" y="857"/>
                    <a:pt x="316" y="863"/>
                    <a:pt x="312" y="864"/>
                  </a:cubicBezTo>
                  <a:cubicBezTo>
                    <a:pt x="309" y="865"/>
                    <a:pt x="297" y="866"/>
                    <a:pt x="301" y="879"/>
                  </a:cubicBezTo>
                  <a:cubicBezTo>
                    <a:pt x="306" y="891"/>
                    <a:pt x="314" y="889"/>
                    <a:pt x="321" y="886"/>
                  </a:cubicBezTo>
                  <a:cubicBezTo>
                    <a:pt x="328" y="883"/>
                    <a:pt x="336" y="879"/>
                    <a:pt x="341" y="886"/>
                  </a:cubicBezTo>
                  <a:cubicBezTo>
                    <a:pt x="346" y="891"/>
                    <a:pt x="363" y="907"/>
                    <a:pt x="367" y="906"/>
                  </a:cubicBezTo>
                  <a:cubicBezTo>
                    <a:pt x="373" y="906"/>
                    <a:pt x="378" y="904"/>
                    <a:pt x="385" y="913"/>
                  </a:cubicBezTo>
                  <a:cubicBezTo>
                    <a:pt x="391" y="922"/>
                    <a:pt x="390" y="931"/>
                    <a:pt x="390" y="931"/>
                  </a:cubicBezTo>
                  <a:cubicBezTo>
                    <a:pt x="393" y="931"/>
                    <a:pt x="393" y="931"/>
                    <a:pt x="393" y="931"/>
                  </a:cubicBezTo>
                  <a:cubicBezTo>
                    <a:pt x="397" y="925"/>
                    <a:pt x="397" y="925"/>
                    <a:pt x="397" y="925"/>
                  </a:cubicBezTo>
                  <a:cubicBezTo>
                    <a:pt x="402" y="925"/>
                    <a:pt x="402" y="925"/>
                    <a:pt x="402" y="925"/>
                  </a:cubicBezTo>
                  <a:cubicBezTo>
                    <a:pt x="402" y="925"/>
                    <a:pt x="402" y="921"/>
                    <a:pt x="406" y="920"/>
                  </a:cubicBezTo>
                  <a:cubicBezTo>
                    <a:pt x="408" y="920"/>
                    <a:pt x="408" y="920"/>
                    <a:pt x="408" y="920"/>
                  </a:cubicBezTo>
                  <a:cubicBezTo>
                    <a:pt x="408" y="320"/>
                    <a:pt x="408" y="320"/>
                    <a:pt x="408" y="320"/>
                  </a:cubicBezTo>
                  <a:cubicBezTo>
                    <a:pt x="399" y="324"/>
                    <a:pt x="387" y="331"/>
                    <a:pt x="379" y="32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9" name="Aserbaidschan" descr="© INSCALE GmbH, 05.05.2010&#10;http://www.presentationload.com/">
              <a:extLst>
                <a:ext uri="{FF2B5EF4-FFF2-40B4-BE49-F238E27FC236}">
                  <a16:creationId xmlns:a16="http://schemas.microsoft.com/office/drawing/2014/main" id="{5529BB09-426F-5E45-9E22-E62931A758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01070" y="4768787"/>
              <a:ext cx="542930" cy="584187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0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BFDF641-D34A-5444-AC30-FB96ABFD25A0}"/>
                </a:ext>
              </a:extLst>
            </p:cNvPr>
            <p:cNvSpPr>
              <a:spLocks/>
            </p:cNvSpPr>
            <p:nvPr/>
          </p:nvSpPr>
          <p:spPr bwMode="gray">
            <a:xfrm>
              <a:off x="8635723" y="5098836"/>
              <a:ext cx="508277" cy="696405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Irak" descr="© INSCALE GmbH, 05.05.2010&#10;http://www.presentationload.com/">
              <a:extLst>
                <a:ext uri="{FF2B5EF4-FFF2-40B4-BE49-F238E27FC236}">
                  <a16:creationId xmlns:a16="http://schemas.microsoft.com/office/drawing/2014/main" id="{9C4718FA-0804-CE45-8B48-D61ECC20E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98088" y="5654970"/>
              <a:ext cx="745912" cy="1082562"/>
            </a:xfrm>
            <a:custGeom>
              <a:avLst/>
              <a:gdLst/>
              <a:ahLst/>
              <a:cxnLst>
                <a:cxn ang="0">
                  <a:pos x="312" y="46"/>
                </a:cxn>
                <a:cxn ang="0">
                  <a:pos x="312" y="47"/>
                </a:cxn>
                <a:cxn ang="0">
                  <a:pos x="306" y="42"/>
                </a:cxn>
                <a:cxn ang="0">
                  <a:pos x="292" y="55"/>
                </a:cxn>
                <a:cxn ang="0">
                  <a:pos x="276" y="50"/>
                </a:cxn>
                <a:cxn ang="0">
                  <a:pos x="264" y="60"/>
                </a:cxn>
                <a:cxn ang="0">
                  <a:pos x="264" y="49"/>
                </a:cxn>
                <a:cxn ang="0">
                  <a:pos x="253" y="44"/>
                </a:cxn>
                <a:cxn ang="0">
                  <a:pos x="245" y="31"/>
                </a:cxn>
                <a:cxn ang="0">
                  <a:pos x="234" y="35"/>
                </a:cxn>
                <a:cxn ang="0">
                  <a:pos x="227" y="20"/>
                </a:cxn>
                <a:cxn ang="0">
                  <a:pos x="213" y="21"/>
                </a:cxn>
                <a:cxn ang="0">
                  <a:pos x="211" y="18"/>
                </a:cxn>
                <a:cxn ang="0">
                  <a:pos x="214" y="8"/>
                </a:cxn>
                <a:cxn ang="0">
                  <a:pos x="203" y="7"/>
                </a:cxn>
                <a:cxn ang="0">
                  <a:pos x="200" y="2"/>
                </a:cxn>
                <a:cxn ang="0">
                  <a:pos x="191" y="3"/>
                </a:cxn>
                <a:cxn ang="0">
                  <a:pos x="182" y="22"/>
                </a:cxn>
                <a:cxn ang="0">
                  <a:pos x="175" y="20"/>
                </a:cxn>
                <a:cxn ang="0">
                  <a:pos x="168" y="5"/>
                </a:cxn>
                <a:cxn ang="0">
                  <a:pos x="155" y="18"/>
                </a:cxn>
                <a:cxn ang="0">
                  <a:pos x="126" y="22"/>
                </a:cxn>
                <a:cxn ang="0">
                  <a:pos x="126" y="26"/>
                </a:cxn>
                <a:cxn ang="0">
                  <a:pos x="113" y="26"/>
                </a:cxn>
                <a:cxn ang="0">
                  <a:pos x="110" y="33"/>
                </a:cxn>
                <a:cxn ang="0">
                  <a:pos x="90" y="33"/>
                </a:cxn>
                <a:cxn ang="0">
                  <a:pos x="96" y="50"/>
                </a:cxn>
                <a:cxn ang="0">
                  <a:pos x="84" y="56"/>
                </a:cxn>
                <a:cxn ang="0">
                  <a:pos x="85" y="69"/>
                </a:cxn>
                <a:cxn ang="0">
                  <a:pos x="79" y="77"/>
                </a:cxn>
                <a:cxn ang="0">
                  <a:pos x="70" y="101"/>
                </a:cxn>
                <a:cxn ang="0">
                  <a:pos x="51" y="117"/>
                </a:cxn>
                <a:cxn ang="0">
                  <a:pos x="57" y="147"/>
                </a:cxn>
                <a:cxn ang="0">
                  <a:pos x="72" y="164"/>
                </a:cxn>
                <a:cxn ang="0">
                  <a:pos x="77" y="200"/>
                </a:cxn>
                <a:cxn ang="0">
                  <a:pos x="90" y="226"/>
                </a:cxn>
                <a:cxn ang="0">
                  <a:pos x="91" y="239"/>
                </a:cxn>
                <a:cxn ang="0">
                  <a:pos x="88" y="240"/>
                </a:cxn>
                <a:cxn ang="0">
                  <a:pos x="89" y="256"/>
                </a:cxn>
                <a:cxn ang="0">
                  <a:pos x="87" y="257"/>
                </a:cxn>
                <a:cxn ang="0">
                  <a:pos x="0" y="371"/>
                </a:cxn>
                <a:cxn ang="0">
                  <a:pos x="57" y="432"/>
                </a:cxn>
                <a:cxn ang="0">
                  <a:pos x="101" y="425"/>
                </a:cxn>
                <a:cxn ang="0">
                  <a:pos x="203" y="436"/>
                </a:cxn>
                <a:cxn ang="0">
                  <a:pos x="298" y="438"/>
                </a:cxn>
                <a:cxn ang="0">
                  <a:pos x="312" y="455"/>
                </a:cxn>
                <a:cxn ang="0">
                  <a:pos x="312" y="46"/>
                </a:cxn>
              </a:cxnLst>
              <a:rect l="0" t="0" r="r" b="b"/>
              <a:pathLst>
                <a:path w="312" h="455">
                  <a:moveTo>
                    <a:pt x="312" y="46"/>
                  </a:moveTo>
                  <a:cubicBezTo>
                    <a:pt x="312" y="47"/>
                    <a:pt x="312" y="47"/>
                    <a:pt x="312" y="47"/>
                  </a:cubicBezTo>
                  <a:cubicBezTo>
                    <a:pt x="306" y="42"/>
                    <a:pt x="306" y="42"/>
                    <a:pt x="306" y="42"/>
                  </a:cubicBezTo>
                  <a:cubicBezTo>
                    <a:pt x="306" y="42"/>
                    <a:pt x="297" y="52"/>
                    <a:pt x="292" y="55"/>
                  </a:cubicBezTo>
                  <a:cubicBezTo>
                    <a:pt x="286" y="57"/>
                    <a:pt x="281" y="51"/>
                    <a:pt x="276" y="50"/>
                  </a:cubicBezTo>
                  <a:cubicBezTo>
                    <a:pt x="271" y="49"/>
                    <a:pt x="264" y="60"/>
                    <a:pt x="264" y="6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4" y="49"/>
                    <a:pt x="258" y="48"/>
                    <a:pt x="253" y="44"/>
                  </a:cubicBezTo>
                  <a:cubicBezTo>
                    <a:pt x="250" y="39"/>
                    <a:pt x="245" y="31"/>
                    <a:pt x="245" y="31"/>
                  </a:cubicBezTo>
                  <a:cubicBezTo>
                    <a:pt x="245" y="31"/>
                    <a:pt x="242" y="36"/>
                    <a:pt x="234" y="35"/>
                  </a:cubicBezTo>
                  <a:cubicBezTo>
                    <a:pt x="227" y="34"/>
                    <a:pt x="230" y="22"/>
                    <a:pt x="227" y="20"/>
                  </a:cubicBezTo>
                  <a:cubicBezTo>
                    <a:pt x="222" y="18"/>
                    <a:pt x="213" y="21"/>
                    <a:pt x="213" y="21"/>
                  </a:cubicBezTo>
                  <a:cubicBezTo>
                    <a:pt x="211" y="18"/>
                    <a:pt x="211" y="18"/>
                    <a:pt x="211" y="18"/>
                  </a:cubicBezTo>
                  <a:cubicBezTo>
                    <a:pt x="211" y="18"/>
                    <a:pt x="214" y="14"/>
                    <a:pt x="214" y="8"/>
                  </a:cubicBezTo>
                  <a:cubicBezTo>
                    <a:pt x="213" y="4"/>
                    <a:pt x="203" y="7"/>
                    <a:pt x="203" y="7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2"/>
                    <a:pt x="193" y="0"/>
                    <a:pt x="191" y="3"/>
                  </a:cubicBezTo>
                  <a:cubicBezTo>
                    <a:pt x="188" y="7"/>
                    <a:pt x="182" y="22"/>
                    <a:pt x="182" y="22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75" y="20"/>
                    <a:pt x="180" y="5"/>
                    <a:pt x="168" y="5"/>
                  </a:cubicBezTo>
                  <a:cubicBezTo>
                    <a:pt x="156" y="5"/>
                    <a:pt x="155" y="18"/>
                    <a:pt x="155" y="18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5" y="65"/>
                    <a:pt x="85" y="69"/>
                  </a:cubicBezTo>
                  <a:cubicBezTo>
                    <a:pt x="85" y="72"/>
                    <a:pt x="79" y="77"/>
                    <a:pt x="79" y="77"/>
                  </a:cubicBezTo>
                  <a:cubicBezTo>
                    <a:pt x="79" y="77"/>
                    <a:pt x="77" y="90"/>
                    <a:pt x="70" y="101"/>
                  </a:cubicBezTo>
                  <a:cubicBezTo>
                    <a:pt x="65" y="113"/>
                    <a:pt x="56" y="111"/>
                    <a:pt x="51" y="117"/>
                  </a:cubicBezTo>
                  <a:cubicBezTo>
                    <a:pt x="47" y="125"/>
                    <a:pt x="53" y="139"/>
                    <a:pt x="57" y="147"/>
                  </a:cubicBezTo>
                  <a:cubicBezTo>
                    <a:pt x="61" y="157"/>
                    <a:pt x="68" y="156"/>
                    <a:pt x="72" y="164"/>
                  </a:cubicBezTo>
                  <a:cubicBezTo>
                    <a:pt x="78" y="172"/>
                    <a:pt x="73" y="184"/>
                    <a:pt x="77" y="200"/>
                  </a:cubicBezTo>
                  <a:cubicBezTo>
                    <a:pt x="80" y="215"/>
                    <a:pt x="90" y="226"/>
                    <a:pt x="90" y="226"/>
                  </a:cubicBezTo>
                  <a:cubicBezTo>
                    <a:pt x="91" y="239"/>
                    <a:pt x="91" y="239"/>
                    <a:pt x="91" y="239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57" y="432"/>
                    <a:pt x="57" y="432"/>
                    <a:pt x="57" y="432"/>
                  </a:cubicBezTo>
                  <a:cubicBezTo>
                    <a:pt x="57" y="432"/>
                    <a:pt x="87" y="425"/>
                    <a:pt x="101" y="425"/>
                  </a:cubicBezTo>
                  <a:cubicBezTo>
                    <a:pt x="114" y="425"/>
                    <a:pt x="176" y="436"/>
                    <a:pt x="203" y="436"/>
                  </a:cubicBezTo>
                  <a:cubicBezTo>
                    <a:pt x="230" y="438"/>
                    <a:pt x="298" y="438"/>
                    <a:pt x="298" y="438"/>
                  </a:cubicBezTo>
                  <a:cubicBezTo>
                    <a:pt x="312" y="455"/>
                    <a:pt x="312" y="455"/>
                    <a:pt x="312" y="455"/>
                  </a:cubicBezTo>
                  <a:lnTo>
                    <a:pt x="312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2" name="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34E1E18-0A34-5041-93BF-BF8328D2C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85402" y="889056"/>
              <a:ext cx="3658598" cy="4107465"/>
            </a:xfrm>
            <a:custGeom>
              <a:avLst/>
              <a:gdLst/>
              <a:ahLst/>
              <a:cxnLst>
                <a:cxn ang="0">
                  <a:pos x="24" y="1219"/>
                </a:cxn>
                <a:cxn ang="0">
                  <a:pos x="8" y="1240"/>
                </a:cxn>
                <a:cxn ang="0">
                  <a:pos x="229" y="230"/>
                </a:cxn>
                <a:cxn ang="0">
                  <a:pos x="352" y="472"/>
                </a:cxn>
                <a:cxn ang="0">
                  <a:pos x="677" y="24"/>
                </a:cxn>
                <a:cxn ang="0">
                  <a:pos x="626" y="78"/>
                </a:cxn>
                <a:cxn ang="0">
                  <a:pos x="603" y="203"/>
                </a:cxn>
                <a:cxn ang="0">
                  <a:pos x="448" y="151"/>
                </a:cxn>
                <a:cxn ang="0">
                  <a:pos x="531" y="298"/>
                </a:cxn>
                <a:cxn ang="0">
                  <a:pos x="472" y="442"/>
                </a:cxn>
                <a:cxn ang="0">
                  <a:pos x="434" y="468"/>
                </a:cxn>
                <a:cxn ang="0">
                  <a:pos x="423" y="504"/>
                </a:cxn>
                <a:cxn ang="0">
                  <a:pos x="396" y="529"/>
                </a:cxn>
                <a:cxn ang="0">
                  <a:pos x="342" y="498"/>
                </a:cxn>
                <a:cxn ang="0">
                  <a:pos x="275" y="414"/>
                </a:cxn>
                <a:cxn ang="0">
                  <a:pos x="257" y="401"/>
                </a:cxn>
                <a:cxn ang="0">
                  <a:pos x="215" y="380"/>
                </a:cxn>
                <a:cxn ang="0">
                  <a:pos x="297" y="390"/>
                </a:cxn>
                <a:cxn ang="0">
                  <a:pos x="444" y="343"/>
                </a:cxn>
                <a:cxn ang="0">
                  <a:pos x="386" y="262"/>
                </a:cxn>
                <a:cxn ang="0">
                  <a:pos x="269" y="230"/>
                </a:cxn>
                <a:cxn ang="0">
                  <a:pos x="212" y="247"/>
                </a:cxn>
                <a:cxn ang="0">
                  <a:pos x="186" y="232"/>
                </a:cxn>
                <a:cxn ang="0">
                  <a:pos x="188" y="225"/>
                </a:cxn>
                <a:cxn ang="0">
                  <a:pos x="143" y="237"/>
                </a:cxn>
                <a:cxn ang="0">
                  <a:pos x="160" y="363"/>
                </a:cxn>
                <a:cxn ang="0">
                  <a:pos x="216" y="541"/>
                </a:cxn>
                <a:cxn ang="0">
                  <a:pos x="237" y="775"/>
                </a:cxn>
                <a:cxn ang="0">
                  <a:pos x="246" y="825"/>
                </a:cxn>
                <a:cxn ang="0">
                  <a:pos x="239" y="876"/>
                </a:cxn>
                <a:cxn ang="0">
                  <a:pos x="242" y="1006"/>
                </a:cxn>
                <a:cxn ang="0">
                  <a:pos x="289" y="1074"/>
                </a:cxn>
                <a:cxn ang="0">
                  <a:pos x="413" y="1136"/>
                </a:cxn>
                <a:cxn ang="0">
                  <a:pos x="490" y="1247"/>
                </a:cxn>
                <a:cxn ang="0">
                  <a:pos x="560" y="1265"/>
                </a:cxn>
                <a:cxn ang="0">
                  <a:pos x="648" y="1333"/>
                </a:cxn>
                <a:cxn ang="0">
                  <a:pos x="764" y="1354"/>
                </a:cxn>
                <a:cxn ang="0">
                  <a:pos x="862" y="1350"/>
                </a:cxn>
                <a:cxn ang="0">
                  <a:pos x="900" y="1455"/>
                </a:cxn>
                <a:cxn ang="0">
                  <a:pos x="871" y="1537"/>
                </a:cxn>
                <a:cxn ang="0">
                  <a:pos x="862" y="1623"/>
                </a:cxn>
                <a:cxn ang="0">
                  <a:pos x="903" y="1684"/>
                </a:cxn>
                <a:cxn ang="0">
                  <a:pos x="1047" y="1703"/>
                </a:cxn>
                <a:cxn ang="0">
                  <a:pos x="1233" y="1674"/>
                </a:cxn>
                <a:cxn ang="0">
                  <a:pos x="1408" y="1689"/>
                </a:cxn>
                <a:cxn ang="0">
                  <a:pos x="1341" y="1543"/>
                </a:cxn>
                <a:cxn ang="0">
                  <a:pos x="1283" y="1465"/>
                </a:cxn>
                <a:cxn ang="0">
                  <a:pos x="1320" y="1398"/>
                </a:cxn>
                <a:cxn ang="0">
                  <a:pos x="1281" y="1326"/>
                </a:cxn>
                <a:cxn ang="0">
                  <a:pos x="1133" y="1184"/>
                </a:cxn>
                <a:cxn ang="0">
                  <a:pos x="1183" y="1074"/>
                </a:cxn>
                <a:cxn ang="0">
                  <a:pos x="1253" y="984"/>
                </a:cxn>
                <a:cxn ang="0">
                  <a:pos x="1379" y="969"/>
                </a:cxn>
                <a:cxn ang="0">
                  <a:pos x="1488" y="872"/>
                </a:cxn>
                <a:cxn ang="0">
                  <a:pos x="1496" y="707"/>
                </a:cxn>
                <a:cxn ang="0">
                  <a:pos x="1446" y="669"/>
                </a:cxn>
                <a:cxn ang="0">
                  <a:pos x="1519" y="575"/>
                </a:cxn>
                <a:cxn ang="0">
                  <a:pos x="266" y="764"/>
                </a:cxn>
                <a:cxn ang="0">
                  <a:pos x="356" y="755"/>
                </a:cxn>
                <a:cxn ang="0">
                  <a:pos x="381" y="658"/>
                </a:cxn>
                <a:cxn ang="0">
                  <a:pos x="422" y="650"/>
                </a:cxn>
                <a:cxn ang="0">
                  <a:pos x="464" y="712"/>
                </a:cxn>
              </a:cxnLst>
              <a:rect l="0" t="0" r="r" b="b"/>
              <a:pathLst>
                <a:path w="1532" h="1721">
                  <a:moveTo>
                    <a:pt x="113" y="1210"/>
                  </a:moveTo>
                  <a:cubicBezTo>
                    <a:pt x="110" y="1208"/>
                    <a:pt x="101" y="1201"/>
                    <a:pt x="101" y="1201"/>
                  </a:cubicBezTo>
                  <a:cubicBezTo>
                    <a:pt x="90" y="1201"/>
                    <a:pt x="90" y="1201"/>
                    <a:pt x="90" y="1201"/>
                  </a:cubicBezTo>
                  <a:cubicBezTo>
                    <a:pt x="80" y="1205"/>
                    <a:pt x="80" y="1205"/>
                    <a:pt x="80" y="1205"/>
                  </a:cubicBezTo>
                  <a:cubicBezTo>
                    <a:pt x="79" y="1201"/>
                    <a:pt x="79" y="1201"/>
                    <a:pt x="79" y="1201"/>
                  </a:cubicBezTo>
                  <a:cubicBezTo>
                    <a:pt x="79" y="1201"/>
                    <a:pt x="73" y="1203"/>
                    <a:pt x="69" y="1200"/>
                  </a:cubicBezTo>
                  <a:cubicBezTo>
                    <a:pt x="64" y="1198"/>
                    <a:pt x="62" y="1197"/>
                    <a:pt x="62" y="1197"/>
                  </a:cubicBezTo>
                  <a:cubicBezTo>
                    <a:pt x="56" y="1198"/>
                    <a:pt x="56" y="1198"/>
                    <a:pt x="56" y="1198"/>
                  </a:cubicBezTo>
                  <a:cubicBezTo>
                    <a:pt x="51" y="1194"/>
                    <a:pt x="51" y="1194"/>
                    <a:pt x="51" y="1194"/>
                  </a:cubicBezTo>
                  <a:cubicBezTo>
                    <a:pt x="49" y="1199"/>
                    <a:pt x="49" y="1199"/>
                    <a:pt x="49" y="1199"/>
                  </a:cubicBezTo>
                  <a:cubicBezTo>
                    <a:pt x="46" y="1199"/>
                    <a:pt x="46" y="1199"/>
                    <a:pt x="46" y="1199"/>
                  </a:cubicBezTo>
                  <a:cubicBezTo>
                    <a:pt x="51" y="1215"/>
                    <a:pt x="51" y="1215"/>
                    <a:pt x="51" y="1215"/>
                  </a:cubicBezTo>
                  <a:cubicBezTo>
                    <a:pt x="44" y="1219"/>
                    <a:pt x="44" y="1219"/>
                    <a:pt x="44" y="1219"/>
                  </a:cubicBezTo>
                  <a:cubicBezTo>
                    <a:pt x="37" y="1219"/>
                    <a:pt x="37" y="1219"/>
                    <a:pt x="37" y="1219"/>
                  </a:cubicBezTo>
                  <a:cubicBezTo>
                    <a:pt x="37" y="1219"/>
                    <a:pt x="33" y="1218"/>
                    <a:pt x="32" y="1218"/>
                  </a:cubicBezTo>
                  <a:cubicBezTo>
                    <a:pt x="31" y="1218"/>
                    <a:pt x="24" y="1219"/>
                    <a:pt x="24" y="1219"/>
                  </a:cubicBezTo>
                  <a:cubicBezTo>
                    <a:pt x="36" y="1202"/>
                    <a:pt x="36" y="1202"/>
                    <a:pt x="36" y="1202"/>
                  </a:cubicBezTo>
                  <a:cubicBezTo>
                    <a:pt x="36" y="1198"/>
                    <a:pt x="36" y="1198"/>
                    <a:pt x="36" y="1198"/>
                  </a:cubicBezTo>
                  <a:cubicBezTo>
                    <a:pt x="41" y="1193"/>
                    <a:pt x="41" y="1193"/>
                    <a:pt x="41" y="1193"/>
                  </a:cubicBezTo>
                  <a:cubicBezTo>
                    <a:pt x="39" y="1191"/>
                    <a:pt x="39" y="1191"/>
                    <a:pt x="39" y="1191"/>
                  </a:cubicBezTo>
                  <a:cubicBezTo>
                    <a:pt x="37" y="1192"/>
                    <a:pt x="37" y="1192"/>
                    <a:pt x="37" y="1192"/>
                  </a:cubicBezTo>
                  <a:cubicBezTo>
                    <a:pt x="32" y="1202"/>
                    <a:pt x="32" y="1202"/>
                    <a:pt x="32" y="1202"/>
                  </a:cubicBezTo>
                  <a:cubicBezTo>
                    <a:pt x="23" y="1215"/>
                    <a:pt x="23" y="1215"/>
                    <a:pt x="23" y="1215"/>
                  </a:cubicBezTo>
                  <a:cubicBezTo>
                    <a:pt x="20" y="1218"/>
                    <a:pt x="20" y="1218"/>
                    <a:pt x="20" y="1218"/>
                  </a:cubicBezTo>
                  <a:cubicBezTo>
                    <a:pt x="2" y="1221"/>
                    <a:pt x="2" y="1221"/>
                    <a:pt x="2" y="1221"/>
                  </a:cubicBezTo>
                  <a:cubicBezTo>
                    <a:pt x="0" y="1226"/>
                    <a:pt x="0" y="1226"/>
                    <a:pt x="0" y="1226"/>
                  </a:cubicBezTo>
                  <a:cubicBezTo>
                    <a:pt x="3" y="1230"/>
                    <a:pt x="3" y="1230"/>
                    <a:pt x="3" y="1230"/>
                  </a:cubicBezTo>
                  <a:cubicBezTo>
                    <a:pt x="0" y="1241"/>
                    <a:pt x="0" y="1241"/>
                    <a:pt x="0" y="1241"/>
                  </a:cubicBezTo>
                  <a:cubicBezTo>
                    <a:pt x="3" y="1242"/>
                    <a:pt x="3" y="1242"/>
                    <a:pt x="3" y="1242"/>
                  </a:cubicBezTo>
                  <a:cubicBezTo>
                    <a:pt x="4" y="1239"/>
                    <a:pt x="4" y="1239"/>
                    <a:pt x="4" y="1239"/>
                  </a:cubicBezTo>
                  <a:cubicBezTo>
                    <a:pt x="6" y="1237"/>
                    <a:pt x="6" y="1237"/>
                    <a:pt x="6" y="1237"/>
                  </a:cubicBezTo>
                  <a:cubicBezTo>
                    <a:pt x="8" y="1240"/>
                    <a:pt x="8" y="1240"/>
                    <a:pt x="8" y="1240"/>
                  </a:cubicBezTo>
                  <a:cubicBezTo>
                    <a:pt x="13" y="1235"/>
                    <a:pt x="13" y="1235"/>
                    <a:pt x="13" y="1235"/>
                  </a:cubicBezTo>
                  <a:cubicBezTo>
                    <a:pt x="21" y="1237"/>
                    <a:pt x="21" y="1237"/>
                    <a:pt x="21" y="1237"/>
                  </a:cubicBezTo>
                  <a:cubicBezTo>
                    <a:pt x="16" y="1239"/>
                    <a:pt x="16" y="1239"/>
                    <a:pt x="16" y="1239"/>
                  </a:cubicBezTo>
                  <a:cubicBezTo>
                    <a:pt x="16" y="1241"/>
                    <a:pt x="16" y="1241"/>
                    <a:pt x="16" y="1241"/>
                  </a:cubicBezTo>
                  <a:cubicBezTo>
                    <a:pt x="8" y="1246"/>
                    <a:pt x="8" y="1246"/>
                    <a:pt x="8" y="1246"/>
                  </a:cubicBezTo>
                  <a:cubicBezTo>
                    <a:pt x="6" y="1245"/>
                    <a:pt x="6" y="1245"/>
                    <a:pt x="6" y="1245"/>
                  </a:cubicBezTo>
                  <a:cubicBezTo>
                    <a:pt x="3" y="1253"/>
                    <a:pt x="3" y="1253"/>
                    <a:pt x="3" y="1253"/>
                  </a:cubicBezTo>
                  <a:cubicBezTo>
                    <a:pt x="11" y="1253"/>
                    <a:pt x="45" y="1255"/>
                    <a:pt x="58" y="1254"/>
                  </a:cubicBezTo>
                  <a:cubicBezTo>
                    <a:pt x="74" y="1254"/>
                    <a:pt x="113" y="1244"/>
                    <a:pt x="113" y="1244"/>
                  </a:cubicBezTo>
                  <a:cubicBezTo>
                    <a:pt x="113" y="1244"/>
                    <a:pt x="106" y="1237"/>
                    <a:pt x="107" y="1229"/>
                  </a:cubicBezTo>
                  <a:cubicBezTo>
                    <a:pt x="107" y="1223"/>
                    <a:pt x="109" y="1218"/>
                    <a:pt x="109" y="1218"/>
                  </a:cubicBezTo>
                  <a:cubicBezTo>
                    <a:pt x="109" y="1218"/>
                    <a:pt x="117" y="1213"/>
                    <a:pt x="113" y="1210"/>
                  </a:cubicBezTo>
                  <a:close/>
                  <a:moveTo>
                    <a:pt x="229" y="228"/>
                  </a:moveTo>
                  <a:cubicBezTo>
                    <a:pt x="222" y="228"/>
                    <a:pt x="222" y="228"/>
                    <a:pt x="222" y="228"/>
                  </a:cubicBezTo>
                  <a:cubicBezTo>
                    <a:pt x="219" y="232"/>
                    <a:pt x="219" y="232"/>
                    <a:pt x="219" y="232"/>
                  </a:cubicBezTo>
                  <a:cubicBezTo>
                    <a:pt x="229" y="230"/>
                    <a:pt x="229" y="230"/>
                    <a:pt x="229" y="230"/>
                  </a:cubicBezTo>
                  <a:lnTo>
                    <a:pt x="229" y="228"/>
                  </a:lnTo>
                  <a:close/>
                  <a:moveTo>
                    <a:pt x="246" y="829"/>
                  </a:moveTo>
                  <a:cubicBezTo>
                    <a:pt x="238" y="825"/>
                    <a:pt x="238" y="825"/>
                    <a:pt x="238" y="825"/>
                  </a:cubicBezTo>
                  <a:cubicBezTo>
                    <a:pt x="239" y="830"/>
                    <a:pt x="239" y="830"/>
                    <a:pt x="239" y="830"/>
                  </a:cubicBezTo>
                  <a:cubicBezTo>
                    <a:pt x="244" y="832"/>
                    <a:pt x="244" y="832"/>
                    <a:pt x="244" y="832"/>
                  </a:cubicBezTo>
                  <a:lnTo>
                    <a:pt x="246" y="829"/>
                  </a:lnTo>
                  <a:close/>
                  <a:moveTo>
                    <a:pt x="363" y="466"/>
                  </a:moveTo>
                  <a:cubicBezTo>
                    <a:pt x="365" y="470"/>
                    <a:pt x="365" y="470"/>
                    <a:pt x="365" y="470"/>
                  </a:cubicBezTo>
                  <a:cubicBezTo>
                    <a:pt x="372" y="462"/>
                    <a:pt x="372" y="462"/>
                    <a:pt x="372" y="462"/>
                  </a:cubicBezTo>
                  <a:lnTo>
                    <a:pt x="363" y="466"/>
                  </a:lnTo>
                  <a:close/>
                  <a:moveTo>
                    <a:pt x="352" y="472"/>
                  </a:moveTo>
                  <a:cubicBezTo>
                    <a:pt x="351" y="476"/>
                    <a:pt x="351" y="476"/>
                    <a:pt x="351" y="476"/>
                  </a:cubicBezTo>
                  <a:cubicBezTo>
                    <a:pt x="356" y="478"/>
                    <a:pt x="356" y="478"/>
                    <a:pt x="356" y="478"/>
                  </a:cubicBezTo>
                  <a:cubicBezTo>
                    <a:pt x="363" y="473"/>
                    <a:pt x="363" y="473"/>
                    <a:pt x="363" y="473"/>
                  </a:cubicBezTo>
                  <a:cubicBezTo>
                    <a:pt x="357" y="468"/>
                    <a:pt x="357" y="468"/>
                    <a:pt x="357" y="468"/>
                  </a:cubicBezTo>
                  <a:lnTo>
                    <a:pt x="352" y="472"/>
                  </a:lnTo>
                  <a:close/>
                  <a:moveTo>
                    <a:pt x="365" y="482"/>
                  </a:moveTo>
                  <a:cubicBezTo>
                    <a:pt x="369" y="478"/>
                    <a:pt x="367" y="475"/>
                    <a:pt x="360" y="480"/>
                  </a:cubicBezTo>
                  <a:cubicBezTo>
                    <a:pt x="360" y="480"/>
                    <a:pt x="362" y="485"/>
                    <a:pt x="365" y="482"/>
                  </a:cubicBezTo>
                  <a:close/>
                  <a:moveTo>
                    <a:pt x="1532" y="0"/>
                  </a:moveTo>
                  <a:cubicBezTo>
                    <a:pt x="716" y="0"/>
                    <a:pt x="716" y="0"/>
                    <a:pt x="716" y="0"/>
                  </a:cubicBezTo>
                  <a:cubicBezTo>
                    <a:pt x="712" y="19"/>
                    <a:pt x="712" y="19"/>
                    <a:pt x="712" y="19"/>
                  </a:cubicBezTo>
                  <a:cubicBezTo>
                    <a:pt x="712" y="19"/>
                    <a:pt x="721" y="31"/>
                    <a:pt x="720" y="35"/>
                  </a:cubicBezTo>
                  <a:cubicBezTo>
                    <a:pt x="719" y="39"/>
                    <a:pt x="708" y="33"/>
                    <a:pt x="708" y="33"/>
                  </a:cubicBezTo>
                  <a:cubicBezTo>
                    <a:pt x="699" y="34"/>
                    <a:pt x="699" y="34"/>
                    <a:pt x="699" y="34"/>
                  </a:cubicBezTo>
                  <a:cubicBezTo>
                    <a:pt x="699" y="34"/>
                    <a:pt x="698" y="39"/>
                    <a:pt x="698" y="42"/>
                  </a:cubicBezTo>
                  <a:cubicBezTo>
                    <a:pt x="698" y="46"/>
                    <a:pt x="694" y="46"/>
                    <a:pt x="690" y="46"/>
                  </a:cubicBezTo>
                  <a:cubicBezTo>
                    <a:pt x="684" y="47"/>
                    <a:pt x="681" y="55"/>
                    <a:pt x="681" y="55"/>
                  </a:cubicBezTo>
                  <a:cubicBezTo>
                    <a:pt x="681" y="55"/>
                    <a:pt x="678" y="50"/>
                    <a:pt x="679" y="46"/>
                  </a:cubicBezTo>
                  <a:cubicBezTo>
                    <a:pt x="681" y="41"/>
                    <a:pt x="693" y="39"/>
                    <a:pt x="693" y="39"/>
                  </a:cubicBezTo>
                  <a:cubicBezTo>
                    <a:pt x="693" y="39"/>
                    <a:pt x="691" y="30"/>
                    <a:pt x="686" y="29"/>
                  </a:cubicBezTo>
                  <a:cubicBezTo>
                    <a:pt x="683" y="28"/>
                    <a:pt x="677" y="24"/>
                    <a:pt x="677" y="24"/>
                  </a:cubicBezTo>
                  <a:cubicBezTo>
                    <a:pt x="677" y="16"/>
                    <a:pt x="677" y="16"/>
                    <a:pt x="677" y="16"/>
                  </a:cubicBezTo>
                  <a:cubicBezTo>
                    <a:pt x="675" y="15"/>
                    <a:pt x="675" y="15"/>
                    <a:pt x="675" y="15"/>
                  </a:cubicBezTo>
                  <a:cubicBezTo>
                    <a:pt x="675" y="15"/>
                    <a:pt x="676" y="9"/>
                    <a:pt x="672" y="9"/>
                  </a:cubicBezTo>
                  <a:cubicBezTo>
                    <a:pt x="669" y="9"/>
                    <a:pt x="667" y="14"/>
                    <a:pt x="667" y="14"/>
                  </a:cubicBezTo>
                  <a:cubicBezTo>
                    <a:pt x="667" y="14"/>
                    <a:pt x="665" y="10"/>
                    <a:pt x="663" y="10"/>
                  </a:cubicBezTo>
                  <a:cubicBezTo>
                    <a:pt x="661" y="10"/>
                    <a:pt x="654" y="18"/>
                    <a:pt x="652" y="27"/>
                  </a:cubicBezTo>
                  <a:cubicBezTo>
                    <a:pt x="650" y="34"/>
                    <a:pt x="651" y="41"/>
                    <a:pt x="651" y="41"/>
                  </a:cubicBezTo>
                  <a:cubicBezTo>
                    <a:pt x="651" y="41"/>
                    <a:pt x="655" y="43"/>
                    <a:pt x="660" y="47"/>
                  </a:cubicBezTo>
                  <a:cubicBezTo>
                    <a:pt x="664" y="50"/>
                    <a:pt x="664" y="57"/>
                    <a:pt x="660" y="62"/>
                  </a:cubicBezTo>
                  <a:cubicBezTo>
                    <a:pt x="657" y="67"/>
                    <a:pt x="651" y="53"/>
                    <a:pt x="651" y="53"/>
                  </a:cubicBezTo>
                  <a:cubicBezTo>
                    <a:pt x="647" y="53"/>
                    <a:pt x="647" y="53"/>
                    <a:pt x="647" y="53"/>
                  </a:cubicBezTo>
                  <a:cubicBezTo>
                    <a:pt x="649" y="45"/>
                    <a:pt x="649" y="45"/>
                    <a:pt x="649" y="45"/>
                  </a:cubicBezTo>
                  <a:cubicBezTo>
                    <a:pt x="649" y="45"/>
                    <a:pt x="644" y="51"/>
                    <a:pt x="643" y="55"/>
                  </a:cubicBezTo>
                  <a:cubicBezTo>
                    <a:pt x="642" y="58"/>
                    <a:pt x="637" y="62"/>
                    <a:pt x="632" y="63"/>
                  </a:cubicBezTo>
                  <a:cubicBezTo>
                    <a:pt x="627" y="63"/>
                    <a:pt x="625" y="71"/>
                    <a:pt x="625" y="71"/>
                  </a:cubicBezTo>
                  <a:cubicBezTo>
                    <a:pt x="626" y="78"/>
                    <a:pt x="626" y="78"/>
                    <a:pt x="626" y="78"/>
                  </a:cubicBezTo>
                  <a:cubicBezTo>
                    <a:pt x="626" y="78"/>
                    <a:pt x="627" y="72"/>
                    <a:pt x="630" y="70"/>
                  </a:cubicBezTo>
                  <a:cubicBezTo>
                    <a:pt x="633" y="67"/>
                    <a:pt x="635" y="65"/>
                    <a:pt x="637" y="66"/>
                  </a:cubicBezTo>
                  <a:cubicBezTo>
                    <a:pt x="641" y="66"/>
                    <a:pt x="637" y="71"/>
                    <a:pt x="634" y="74"/>
                  </a:cubicBezTo>
                  <a:cubicBezTo>
                    <a:pt x="630" y="77"/>
                    <a:pt x="623" y="81"/>
                    <a:pt x="620" y="89"/>
                  </a:cubicBezTo>
                  <a:cubicBezTo>
                    <a:pt x="618" y="96"/>
                    <a:pt x="619" y="112"/>
                    <a:pt x="619" y="112"/>
                  </a:cubicBezTo>
                  <a:cubicBezTo>
                    <a:pt x="615" y="113"/>
                    <a:pt x="615" y="113"/>
                    <a:pt x="615" y="113"/>
                  </a:cubicBezTo>
                  <a:cubicBezTo>
                    <a:pt x="602" y="133"/>
                    <a:pt x="602" y="133"/>
                    <a:pt x="602" y="133"/>
                  </a:cubicBezTo>
                  <a:cubicBezTo>
                    <a:pt x="593" y="135"/>
                    <a:pt x="593" y="135"/>
                    <a:pt x="593" y="135"/>
                  </a:cubicBezTo>
                  <a:cubicBezTo>
                    <a:pt x="602" y="143"/>
                    <a:pt x="602" y="143"/>
                    <a:pt x="602" y="143"/>
                  </a:cubicBezTo>
                  <a:cubicBezTo>
                    <a:pt x="609" y="142"/>
                    <a:pt x="609" y="142"/>
                    <a:pt x="609" y="142"/>
                  </a:cubicBezTo>
                  <a:cubicBezTo>
                    <a:pt x="612" y="146"/>
                    <a:pt x="612" y="146"/>
                    <a:pt x="612" y="146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47"/>
                    <a:pt x="587" y="155"/>
                    <a:pt x="586" y="161"/>
                  </a:cubicBezTo>
                  <a:cubicBezTo>
                    <a:pt x="584" y="168"/>
                    <a:pt x="596" y="184"/>
                    <a:pt x="596" y="184"/>
                  </a:cubicBezTo>
                  <a:cubicBezTo>
                    <a:pt x="594" y="187"/>
                    <a:pt x="594" y="187"/>
                    <a:pt x="594" y="187"/>
                  </a:cubicBezTo>
                  <a:cubicBezTo>
                    <a:pt x="594" y="187"/>
                    <a:pt x="604" y="198"/>
                    <a:pt x="603" y="203"/>
                  </a:cubicBezTo>
                  <a:cubicBezTo>
                    <a:pt x="602" y="209"/>
                    <a:pt x="596" y="208"/>
                    <a:pt x="596" y="208"/>
                  </a:cubicBezTo>
                  <a:cubicBezTo>
                    <a:pt x="596" y="208"/>
                    <a:pt x="593" y="215"/>
                    <a:pt x="590" y="218"/>
                  </a:cubicBezTo>
                  <a:cubicBezTo>
                    <a:pt x="588" y="221"/>
                    <a:pt x="576" y="224"/>
                    <a:pt x="576" y="224"/>
                  </a:cubicBezTo>
                  <a:cubicBezTo>
                    <a:pt x="576" y="224"/>
                    <a:pt x="571" y="232"/>
                    <a:pt x="566" y="232"/>
                  </a:cubicBezTo>
                  <a:cubicBezTo>
                    <a:pt x="561" y="233"/>
                    <a:pt x="547" y="216"/>
                    <a:pt x="547" y="216"/>
                  </a:cubicBezTo>
                  <a:cubicBezTo>
                    <a:pt x="526" y="214"/>
                    <a:pt x="526" y="214"/>
                    <a:pt x="526" y="214"/>
                  </a:cubicBezTo>
                  <a:cubicBezTo>
                    <a:pt x="528" y="192"/>
                    <a:pt x="528" y="192"/>
                    <a:pt x="528" y="192"/>
                  </a:cubicBezTo>
                  <a:cubicBezTo>
                    <a:pt x="521" y="186"/>
                    <a:pt x="521" y="186"/>
                    <a:pt x="521" y="186"/>
                  </a:cubicBezTo>
                  <a:cubicBezTo>
                    <a:pt x="535" y="174"/>
                    <a:pt x="535" y="174"/>
                    <a:pt x="535" y="174"/>
                  </a:cubicBezTo>
                  <a:cubicBezTo>
                    <a:pt x="551" y="162"/>
                    <a:pt x="551" y="162"/>
                    <a:pt x="551" y="162"/>
                  </a:cubicBezTo>
                  <a:cubicBezTo>
                    <a:pt x="551" y="162"/>
                    <a:pt x="543" y="150"/>
                    <a:pt x="538" y="146"/>
                  </a:cubicBezTo>
                  <a:cubicBezTo>
                    <a:pt x="534" y="144"/>
                    <a:pt x="517" y="140"/>
                    <a:pt x="517" y="140"/>
                  </a:cubicBezTo>
                  <a:cubicBezTo>
                    <a:pt x="511" y="133"/>
                    <a:pt x="511" y="133"/>
                    <a:pt x="511" y="133"/>
                  </a:cubicBezTo>
                  <a:cubicBezTo>
                    <a:pt x="511" y="133"/>
                    <a:pt x="499" y="136"/>
                    <a:pt x="490" y="138"/>
                  </a:cubicBezTo>
                  <a:cubicBezTo>
                    <a:pt x="481" y="141"/>
                    <a:pt x="473" y="150"/>
                    <a:pt x="473" y="150"/>
                  </a:cubicBezTo>
                  <a:cubicBezTo>
                    <a:pt x="448" y="151"/>
                    <a:pt x="448" y="151"/>
                    <a:pt x="448" y="151"/>
                  </a:cubicBezTo>
                  <a:cubicBezTo>
                    <a:pt x="448" y="151"/>
                    <a:pt x="452" y="154"/>
                    <a:pt x="457" y="156"/>
                  </a:cubicBezTo>
                  <a:cubicBezTo>
                    <a:pt x="463" y="157"/>
                    <a:pt x="471" y="158"/>
                    <a:pt x="471" y="158"/>
                  </a:cubicBezTo>
                  <a:cubicBezTo>
                    <a:pt x="482" y="168"/>
                    <a:pt x="482" y="168"/>
                    <a:pt x="482" y="168"/>
                  </a:cubicBezTo>
                  <a:cubicBezTo>
                    <a:pt x="482" y="172"/>
                    <a:pt x="482" y="172"/>
                    <a:pt x="482" y="172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91" y="188"/>
                    <a:pt x="491" y="188"/>
                    <a:pt x="491" y="188"/>
                  </a:cubicBezTo>
                  <a:cubicBezTo>
                    <a:pt x="490" y="192"/>
                    <a:pt x="490" y="192"/>
                    <a:pt x="490" y="192"/>
                  </a:cubicBezTo>
                  <a:cubicBezTo>
                    <a:pt x="497" y="204"/>
                    <a:pt x="497" y="204"/>
                    <a:pt x="497" y="204"/>
                  </a:cubicBezTo>
                  <a:cubicBezTo>
                    <a:pt x="497" y="204"/>
                    <a:pt x="498" y="235"/>
                    <a:pt x="503" y="240"/>
                  </a:cubicBezTo>
                  <a:cubicBezTo>
                    <a:pt x="508" y="246"/>
                    <a:pt x="522" y="240"/>
                    <a:pt x="522" y="240"/>
                  </a:cubicBezTo>
                  <a:cubicBezTo>
                    <a:pt x="531" y="249"/>
                    <a:pt x="531" y="249"/>
                    <a:pt x="531" y="249"/>
                  </a:cubicBezTo>
                  <a:cubicBezTo>
                    <a:pt x="529" y="252"/>
                    <a:pt x="529" y="252"/>
                    <a:pt x="529" y="252"/>
                  </a:cubicBezTo>
                  <a:cubicBezTo>
                    <a:pt x="537" y="262"/>
                    <a:pt x="537" y="262"/>
                    <a:pt x="537" y="262"/>
                  </a:cubicBezTo>
                  <a:cubicBezTo>
                    <a:pt x="538" y="292"/>
                    <a:pt x="538" y="292"/>
                    <a:pt x="538" y="292"/>
                  </a:cubicBezTo>
                  <a:cubicBezTo>
                    <a:pt x="538" y="292"/>
                    <a:pt x="549" y="305"/>
                    <a:pt x="547" y="308"/>
                  </a:cubicBezTo>
                  <a:cubicBezTo>
                    <a:pt x="546" y="311"/>
                    <a:pt x="533" y="297"/>
                    <a:pt x="531" y="298"/>
                  </a:cubicBezTo>
                  <a:cubicBezTo>
                    <a:pt x="528" y="298"/>
                    <a:pt x="523" y="311"/>
                    <a:pt x="523" y="311"/>
                  </a:cubicBezTo>
                  <a:cubicBezTo>
                    <a:pt x="526" y="299"/>
                    <a:pt x="526" y="299"/>
                    <a:pt x="526" y="299"/>
                  </a:cubicBezTo>
                  <a:cubicBezTo>
                    <a:pt x="526" y="299"/>
                    <a:pt x="522" y="296"/>
                    <a:pt x="514" y="296"/>
                  </a:cubicBezTo>
                  <a:cubicBezTo>
                    <a:pt x="504" y="295"/>
                    <a:pt x="499" y="303"/>
                    <a:pt x="499" y="303"/>
                  </a:cubicBezTo>
                  <a:cubicBezTo>
                    <a:pt x="499" y="303"/>
                    <a:pt x="494" y="299"/>
                    <a:pt x="488" y="298"/>
                  </a:cubicBezTo>
                  <a:cubicBezTo>
                    <a:pt x="483" y="298"/>
                    <a:pt x="478" y="308"/>
                    <a:pt x="478" y="308"/>
                  </a:cubicBezTo>
                  <a:cubicBezTo>
                    <a:pt x="478" y="308"/>
                    <a:pt x="480" y="325"/>
                    <a:pt x="474" y="334"/>
                  </a:cubicBezTo>
                  <a:cubicBezTo>
                    <a:pt x="468" y="343"/>
                    <a:pt x="459" y="343"/>
                    <a:pt x="459" y="343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59" y="356"/>
                    <a:pt x="457" y="363"/>
                  </a:cubicBezTo>
                  <a:cubicBezTo>
                    <a:pt x="455" y="371"/>
                    <a:pt x="446" y="381"/>
                    <a:pt x="447" y="383"/>
                  </a:cubicBezTo>
                  <a:cubicBezTo>
                    <a:pt x="447" y="387"/>
                    <a:pt x="451" y="383"/>
                    <a:pt x="451" y="383"/>
                  </a:cubicBezTo>
                  <a:cubicBezTo>
                    <a:pt x="451" y="383"/>
                    <a:pt x="452" y="386"/>
                    <a:pt x="452" y="394"/>
                  </a:cubicBezTo>
                  <a:cubicBezTo>
                    <a:pt x="452" y="403"/>
                    <a:pt x="475" y="409"/>
                    <a:pt x="484" y="418"/>
                  </a:cubicBezTo>
                  <a:cubicBezTo>
                    <a:pt x="493" y="426"/>
                    <a:pt x="488" y="426"/>
                    <a:pt x="479" y="427"/>
                  </a:cubicBezTo>
                  <a:cubicBezTo>
                    <a:pt x="470" y="428"/>
                    <a:pt x="472" y="442"/>
                    <a:pt x="472" y="442"/>
                  </a:cubicBezTo>
                  <a:cubicBezTo>
                    <a:pt x="472" y="442"/>
                    <a:pt x="475" y="454"/>
                    <a:pt x="475" y="458"/>
                  </a:cubicBezTo>
                  <a:cubicBezTo>
                    <a:pt x="475" y="462"/>
                    <a:pt x="459" y="462"/>
                    <a:pt x="459" y="462"/>
                  </a:cubicBezTo>
                  <a:cubicBezTo>
                    <a:pt x="451" y="462"/>
                    <a:pt x="451" y="462"/>
                    <a:pt x="451" y="462"/>
                  </a:cubicBezTo>
                  <a:cubicBezTo>
                    <a:pt x="445" y="462"/>
                    <a:pt x="446" y="464"/>
                    <a:pt x="446" y="464"/>
                  </a:cubicBezTo>
                  <a:cubicBezTo>
                    <a:pt x="446" y="464"/>
                    <a:pt x="440" y="462"/>
                    <a:pt x="440" y="464"/>
                  </a:cubicBezTo>
                  <a:cubicBezTo>
                    <a:pt x="439" y="465"/>
                    <a:pt x="442" y="467"/>
                    <a:pt x="442" y="467"/>
                  </a:cubicBezTo>
                  <a:cubicBezTo>
                    <a:pt x="442" y="467"/>
                    <a:pt x="439" y="469"/>
                    <a:pt x="437" y="470"/>
                  </a:cubicBezTo>
                  <a:cubicBezTo>
                    <a:pt x="435" y="471"/>
                    <a:pt x="436" y="475"/>
                    <a:pt x="436" y="475"/>
                  </a:cubicBezTo>
                  <a:cubicBezTo>
                    <a:pt x="436" y="475"/>
                    <a:pt x="437" y="481"/>
                    <a:pt x="435" y="480"/>
                  </a:cubicBezTo>
                  <a:cubicBezTo>
                    <a:pt x="433" y="480"/>
                    <a:pt x="434" y="475"/>
                    <a:pt x="434" y="475"/>
                  </a:cubicBezTo>
                  <a:cubicBezTo>
                    <a:pt x="434" y="475"/>
                    <a:pt x="431" y="472"/>
                    <a:pt x="429" y="471"/>
                  </a:cubicBezTo>
                  <a:cubicBezTo>
                    <a:pt x="428" y="469"/>
                    <a:pt x="432" y="468"/>
                    <a:pt x="432" y="468"/>
                  </a:cubicBezTo>
                  <a:cubicBezTo>
                    <a:pt x="429" y="468"/>
                    <a:pt x="429" y="468"/>
                    <a:pt x="429" y="468"/>
                  </a:cubicBezTo>
                  <a:cubicBezTo>
                    <a:pt x="429" y="467"/>
                    <a:pt x="429" y="467"/>
                    <a:pt x="429" y="467"/>
                  </a:cubicBezTo>
                  <a:cubicBezTo>
                    <a:pt x="429" y="467"/>
                    <a:pt x="430" y="466"/>
                    <a:pt x="432" y="466"/>
                  </a:cubicBezTo>
                  <a:cubicBezTo>
                    <a:pt x="433" y="466"/>
                    <a:pt x="434" y="468"/>
                    <a:pt x="434" y="468"/>
                  </a:cubicBezTo>
                  <a:cubicBezTo>
                    <a:pt x="436" y="467"/>
                    <a:pt x="436" y="467"/>
                    <a:pt x="436" y="467"/>
                  </a:cubicBezTo>
                  <a:cubicBezTo>
                    <a:pt x="435" y="465"/>
                    <a:pt x="435" y="465"/>
                    <a:pt x="435" y="465"/>
                  </a:cubicBezTo>
                  <a:cubicBezTo>
                    <a:pt x="438" y="465"/>
                    <a:pt x="438" y="465"/>
                    <a:pt x="438" y="465"/>
                  </a:cubicBezTo>
                  <a:cubicBezTo>
                    <a:pt x="437" y="461"/>
                    <a:pt x="437" y="461"/>
                    <a:pt x="437" y="461"/>
                  </a:cubicBezTo>
                  <a:cubicBezTo>
                    <a:pt x="437" y="461"/>
                    <a:pt x="425" y="464"/>
                    <a:pt x="422" y="464"/>
                  </a:cubicBezTo>
                  <a:cubicBezTo>
                    <a:pt x="418" y="462"/>
                    <a:pt x="416" y="458"/>
                    <a:pt x="416" y="458"/>
                  </a:cubicBezTo>
                  <a:cubicBezTo>
                    <a:pt x="416" y="458"/>
                    <a:pt x="393" y="456"/>
                    <a:pt x="390" y="458"/>
                  </a:cubicBezTo>
                  <a:cubicBezTo>
                    <a:pt x="387" y="460"/>
                    <a:pt x="393" y="465"/>
                    <a:pt x="393" y="469"/>
                  </a:cubicBezTo>
                  <a:cubicBezTo>
                    <a:pt x="395" y="472"/>
                    <a:pt x="389" y="474"/>
                    <a:pt x="389" y="474"/>
                  </a:cubicBezTo>
                  <a:cubicBezTo>
                    <a:pt x="389" y="476"/>
                    <a:pt x="389" y="476"/>
                    <a:pt x="389" y="476"/>
                  </a:cubicBezTo>
                  <a:cubicBezTo>
                    <a:pt x="389" y="476"/>
                    <a:pt x="386" y="475"/>
                    <a:pt x="385" y="477"/>
                  </a:cubicBezTo>
                  <a:cubicBezTo>
                    <a:pt x="384" y="480"/>
                    <a:pt x="389" y="483"/>
                    <a:pt x="389" y="483"/>
                  </a:cubicBezTo>
                  <a:cubicBezTo>
                    <a:pt x="392" y="487"/>
                    <a:pt x="392" y="487"/>
                    <a:pt x="392" y="487"/>
                  </a:cubicBezTo>
                  <a:cubicBezTo>
                    <a:pt x="392" y="487"/>
                    <a:pt x="395" y="486"/>
                    <a:pt x="397" y="487"/>
                  </a:cubicBezTo>
                  <a:cubicBezTo>
                    <a:pt x="399" y="487"/>
                    <a:pt x="403" y="491"/>
                    <a:pt x="408" y="494"/>
                  </a:cubicBezTo>
                  <a:cubicBezTo>
                    <a:pt x="413" y="499"/>
                    <a:pt x="423" y="504"/>
                    <a:pt x="423" y="504"/>
                  </a:cubicBezTo>
                  <a:cubicBezTo>
                    <a:pt x="425" y="498"/>
                    <a:pt x="425" y="498"/>
                    <a:pt x="425" y="498"/>
                  </a:cubicBezTo>
                  <a:cubicBezTo>
                    <a:pt x="430" y="498"/>
                    <a:pt x="430" y="498"/>
                    <a:pt x="430" y="498"/>
                  </a:cubicBezTo>
                  <a:cubicBezTo>
                    <a:pt x="430" y="498"/>
                    <a:pt x="428" y="496"/>
                    <a:pt x="429" y="494"/>
                  </a:cubicBezTo>
                  <a:cubicBezTo>
                    <a:pt x="429" y="492"/>
                    <a:pt x="433" y="491"/>
                    <a:pt x="433" y="491"/>
                  </a:cubicBezTo>
                  <a:cubicBezTo>
                    <a:pt x="433" y="496"/>
                    <a:pt x="433" y="496"/>
                    <a:pt x="433" y="496"/>
                  </a:cubicBezTo>
                  <a:cubicBezTo>
                    <a:pt x="439" y="496"/>
                    <a:pt x="439" y="496"/>
                    <a:pt x="439" y="496"/>
                  </a:cubicBezTo>
                  <a:cubicBezTo>
                    <a:pt x="442" y="496"/>
                    <a:pt x="441" y="499"/>
                    <a:pt x="441" y="499"/>
                  </a:cubicBezTo>
                  <a:cubicBezTo>
                    <a:pt x="441" y="505"/>
                    <a:pt x="441" y="505"/>
                    <a:pt x="441" y="505"/>
                  </a:cubicBezTo>
                  <a:cubicBezTo>
                    <a:pt x="441" y="505"/>
                    <a:pt x="449" y="508"/>
                    <a:pt x="451" y="516"/>
                  </a:cubicBezTo>
                  <a:cubicBezTo>
                    <a:pt x="454" y="523"/>
                    <a:pt x="444" y="525"/>
                    <a:pt x="444" y="525"/>
                  </a:cubicBezTo>
                  <a:cubicBezTo>
                    <a:pt x="444" y="525"/>
                    <a:pt x="444" y="531"/>
                    <a:pt x="439" y="534"/>
                  </a:cubicBezTo>
                  <a:cubicBezTo>
                    <a:pt x="435" y="537"/>
                    <a:pt x="433" y="532"/>
                    <a:pt x="429" y="531"/>
                  </a:cubicBezTo>
                  <a:cubicBezTo>
                    <a:pt x="425" y="531"/>
                    <a:pt x="422" y="534"/>
                    <a:pt x="420" y="534"/>
                  </a:cubicBezTo>
                  <a:cubicBezTo>
                    <a:pt x="419" y="534"/>
                    <a:pt x="416" y="534"/>
                    <a:pt x="413" y="533"/>
                  </a:cubicBezTo>
                  <a:cubicBezTo>
                    <a:pt x="409" y="533"/>
                    <a:pt x="412" y="535"/>
                    <a:pt x="404" y="534"/>
                  </a:cubicBezTo>
                  <a:cubicBezTo>
                    <a:pt x="396" y="534"/>
                    <a:pt x="396" y="529"/>
                    <a:pt x="396" y="529"/>
                  </a:cubicBezTo>
                  <a:cubicBezTo>
                    <a:pt x="397" y="524"/>
                    <a:pt x="397" y="524"/>
                    <a:pt x="397" y="524"/>
                  </a:cubicBezTo>
                  <a:cubicBezTo>
                    <a:pt x="388" y="523"/>
                    <a:pt x="388" y="523"/>
                    <a:pt x="388" y="523"/>
                  </a:cubicBezTo>
                  <a:cubicBezTo>
                    <a:pt x="388" y="523"/>
                    <a:pt x="386" y="525"/>
                    <a:pt x="384" y="523"/>
                  </a:cubicBezTo>
                  <a:cubicBezTo>
                    <a:pt x="382" y="522"/>
                    <a:pt x="382" y="520"/>
                    <a:pt x="379" y="518"/>
                  </a:cubicBezTo>
                  <a:cubicBezTo>
                    <a:pt x="374" y="515"/>
                    <a:pt x="370" y="518"/>
                    <a:pt x="370" y="518"/>
                  </a:cubicBezTo>
                  <a:cubicBezTo>
                    <a:pt x="370" y="518"/>
                    <a:pt x="371" y="521"/>
                    <a:pt x="370" y="523"/>
                  </a:cubicBezTo>
                  <a:cubicBezTo>
                    <a:pt x="368" y="525"/>
                    <a:pt x="365" y="525"/>
                    <a:pt x="365" y="525"/>
                  </a:cubicBezTo>
                  <a:cubicBezTo>
                    <a:pt x="364" y="523"/>
                    <a:pt x="364" y="523"/>
                    <a:pt x="364" y="523"/>
                  </a:cubicBezTo>
                  <a:cubicBezTo>
                    <a:pt x="360" y="523"/>
                    <a:pt x="360" y="523"/>
                    <a:pt x="360" y="523"/>
                  </a:cubicBezTo>
                  <a:cubicBezTo>
                    <a:pt x="360" y="525"/>
                    <a:pt x="360" y="525"/>
                    <a:pt x="360" y="525"/>
                  </a:cubicBezTo>
                  <a:cubicBezTo>
                    <a:pt x="355" y="519"/>
                    <a:pt x="355" y="519"/>
                    <a:pt x="355" y="519"/>
                  </a:cubicBezTo>
                  <a:cubicBezTo>
                    <a:pt x="354" y="522"/>
                    <a:pt x="354" y="522"/>
                    <a:pt x="354" y="522"/>
                  </a:cubicBezTo>
                  <a:cubicBezTo>
                    <a:pt x="344" y="516"/>
                    <a:pt x="344" y="516"/>
                    <a:pt x="344" y="516"/>
                  </a:cubicBezTo>
                  <a:cubicBezTo>
                    <a:pt x="344" y="516"/>
                    <a:pt x="347" y="512"/>
                    <a:pt x="346" y="509"/>
                  </a:cubicBezTo>
                  <a:cubicBezTo>
                    <a:pt x="344" y="506"/>
                    <a:pt x="340" y="502"/>
                    <a:pt x="340" y="502"/>
                  </a:cubicBezTo>
                  <a:cubicBezTo>
                    <a:pt x="342" y="498"/>
                    <a:pt x="342" y="498"/>
                    <a:pt x="342" y="498"/>
                  </a:cubicBezTo>
                  <a:cubicBezTo>
                    <a:pt x="339" y="492"/>
                    <a:pt x="339" y="492"/>
                    <a:pt x="339" y="492"/>
                  </a:cubicBezTo>
                  <a:cubicBezTo>
                    <a:pt x="333" y="490"/>
                    <a:pt x="333" y="490"/>
                    <a:pt x="333" y="490"/>
                  </a:cubicBezTo>
                  <a:cubicBezTo>
                    <a:pt x="333" y="490"/>
                    <a:pt x="336" y="487"/>
                    <a:pt x="334" y="483"/>
                  </a:cubicBezTo>
                  <a:cubicBezTo>
                    <a:pt x="331" y="478"/>
                    <a:pt x="314" y="469"/>
                    <a:pt x="314" y="469"/>
                  </a:cubicBezTo>
                  <a:cubicBezTo>
                    <a:pt x="314" y="469"/>
                    <a:pt x="321" y="460"/>
                    <a:pt x="321" y="456"/>
                  </a:cubicBezTo>
                  <a:cubicBezTo>
                    <a:pt x="322" y="451"/>
                    <a:pt x="313" y="439"/>
                    <a:pt x="313" y="439"/>
                  </a:cubicBezTo>
                  <a:cubicBezTo>
                    <a:pt x="313" y="439"/>
                    <a:pt x="315" y="438"/>
                    <a:pt x="315" y="437"/>
                  </a:cubicBezTo>
                  <a:cubicBezTo>
                    <a:pt x="316" y="436"/>
                    <a:pt x="317" y="433"/>
                    <a:pt x="317" y="433"/>
                  </a:cubicBezTo>
                  <a:cubicBezTo>
                    <a:pt x="317" y="433"/>
                    <a:pt x="314" y="434"/>
                    <a:pt x="313" y="434"/>
                  </a:cubicBezTo>
                  <a:cubicBezTo>
                    <a:pt x="310" y="433"/>
                    <a:pt x="311" y="427"/>
                    <a:pt x="311" y="427"/>
                  </a:cubicBezTo>
                  <a:cubicBezTo>
                    <a:pt x="311" y="427"/>
                    <a:pt x="293" y="420"/>
                    <a:pt x="290" y="419"/>
                  </a:cubicBezTo>
                  <a:cubicBezTo>
                    <a:pt x="286" y="418"/>
                    <a:pt x="285" y="421"/>
                    <a:pt x="285" y="421"/>
                  </a:cubicBezTo>
                  <a:cubicBezTo>
                    <a:pt x="285" y="421"/>
                    <a:pt x="274" y="419"/>
                    <a:pt x="271" y="419"/>
                  </a:cubicBezTo>
                  <a:cubicBezTo>
                    <a:pt x="268" y="419"/>
                    <a:pt x="264" y="423"/>
                    <a:pt x="264" y="423"/>
                  </a:cubicBezTo>
                  <a:cubicBezTo>
                    <a:pt x="264" y="420"/>
                    <a:pt x="264" y="420"/>
                    <a:pt x="264" y="420"/>
                  </a:cubicBezTo>
                  <a:cubicBezTo>
                    <a:pt x="275" y="414"/>
                    <a:pt x="275" y="414"/>
                    <a:pt x="275" y="414"/>
                  </a:cubicBezTo>
                  <a:cubicBezTo>
                    <a:pt x="270" y="413"/>
                    <a:pt x="270" y="413"/>
                    <a:pt x="270" y="413"/>
                  </a:cubicBezTo>
                  <a:cubicBezTo>
                    <a:pt x="274" y="411"/>
                    <a:pt x="274" y="411"/>
                    <a:pt x="274" y="411"/>
                  </a:cubicBezTo>
                  <a:cubicBezTo>
                    <a:pt x="274" y="409"/>
                    <a:pt x="274" y="409"/>
                    <a:pt x="274" y="409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72" y="406"/>
                    <a:pt x="272" y="406"/>
                    <a:pt x="272" y="406"/>
                  </a:cubicBezTo>
                  <a:cubicBezTo>
                    <a:pt x="270" y="406"/>
                    <a:pt x="270" y="406"/>
                    <a:pt x="270" y="406"/>
                  </a:cubicBezTo>
                  <a:cubicBezTo>
                    <a:pt x="269" y="410"/>
                    <a:pt x="269" y="410"/>
                    <a:pt x="269" y="410"/>
                  </a:cubicBezTo>
                  <a:cubicBezTo>
                    <a:pt x="262" y="411"/>
                    <a:pt x="262" y="411"/>
                    <a:pt x="262" y="411"/>
                  </a:cubicBezTo>
                  <a:cubicBezTo>
                    <a:pt x="259" y="407"/>
                    <a:pt x="259" y="407"/>
                    <a:pt x="259" y="407"/>
                  </a:cubicBezTo>
                  <a:cubicBezTo>
                    <a:pt x="258" y="410"/>
                    <a:pt x="258" y="410"/>
                    <a:pt x="258" y="410"/>
                  </a:cubicBezTo>
                  <a:cubicBezTo>
                    <a:pt x="254" y="409"/>
                    <a:pt x="254" y="409"/>
                    <a:pt x="254" y="409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56" y="406"/>
                    <a:pt x="249" y="406"/>
                    <a:pt x="249" y="405"/>
                  </a:cubicBezTo>
                  <a:cubicBezTo>
                    <a:pt x="249" y="404"/>
                    <a:pt x="254" y="405"/>
                    <a:pt x="254" y="40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1" y="402"/>
                    <a:pt x="261" y="402"/>
                    <a:pt x="261" y="402"/>
                  </a:cubicBezTo>
                  <a:cubicBezTo>
                    <a:pt x="261" y="399"/>
                    <a:pt x="261" y="399"/>
                    <a:pt x="261" y="399"/>
                  </a:cubicBezTo>
                  <a:cubicBezTo>
                    <a:pt x="251" y="399"/>
                    <a:pt x="251" y="399"/>
                    <a:pt x="251" y="399"/>
                  </a:cubicBezTo>
                  <a:cubicBezTo>
                    <a:pt x="248" y="401"/>
                    <a:pt x="244" y="398"/>
                    <a:pt x="244" y="398"/>
                  </a:cubicBezTo>
                  <a:cubicBezTo>
                    <a:pt x="244" y="397"/>
                    <a:pt x="244" y="397"/>
                    <a:pt x="244" y="397"/>
                  </a:cubicBezTo>
                  <a:cubicBezTo>
                    <a:pt x="244" y="396"/>
                    <a:pt x="244" y="396"/>
                    <a:pt x="244" y="396"/>
                  </a:cubicBezTo>
                  <a:cubicBezTo>
                    <a:pt x="246" y="398"/>
                    <a:pt x="246" y="398"/>
                    <a:pt x="246" y="398"/>
                  </a:cubicBezTo>
                  <a:cubicBezTo>
                    <a:pt x="250" y="396"/>
                    <a:pt x="250" y="396"/>
                    <a:pt x="250" y="396"/>
                  </a:cubicBezTo>
                  <a:cubicBezTo>
                    <a:pt x="241" y="394"/>
                    <a:pt x="241" y="394"/>
                    <a:pt x="241" y="394"/>
                  </a:cubicBezTo>
                  <a:cubicBezTo>
                    <a:pt x="234" y="393"/>
                    <a:pt x="234" y="393"/>
                    <a:pt x="234" y="393"/>
                  </a:cubicBezTo>
                  <a:cubicBezTo>
                    <a:pt x="234" y="393"/>
                    <a:pt x="236" y="386"/>
                    <a:pt x="235" y="383"/>
                  </a:cubicBezTo>
                  <a:cubicBezTo>
                    <a:pt x="235" y="382"/>
                    <a:pt x="226" y="382"/>
                    <a:pt x="226" y="382"/>
                  </a:cubicBezTo>
                  <a:cubicBezTo>
                    <a:pt x="226" y="380"/>
                    <a:pt x="226" y="380"/>
                    <a:pt x="226" y="380"/>
                  </a:cubicBezTo>
                  <a:cubicBezTo>
                    <a:pt x="223" y="379"/>
                    <a:pt x="223" y="379"/>
                    <a:pt x="223" y="379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15" y="380"/>
                    <a:pt x="215" y="380"/>
                    <a:pt x="215" y="380"/>
                  </a:cubicBezTo>
                  <a:cubicBezTo>
                    <a:pt x="221" y="378"/>
                    <a:pt x="221" y="378"/>
                    <a:pt x="221" y="378"/>
                  </a:cubicBezTo>
                  <a:cubicBezTo>
                    <a:pt x="221" y="378"/>
                    <a:pt x="221" y="376"/>
                    <a:pt x="227" y="376"/>
                  </a:cubicBezTo>
                  <a:cubicBezTo>
                    <a:pt x="233" y="375"/>
                    <a:pt x="240" y="377"/>
                    <a:pt x="240" y="377"/>
                  </a:cubicBezTo>
                  <a:cubicBezTo>
                    <a:pt x="239" y="381"/>
                    <a:pt x="239" y="381"/>
                    <a:pt x="239" y="381"/>
                  </a:cubicBezTo>
                  <a:cubicBezTo>
                    <a:pt x="239" y="381"/>
                    <a:pt x="244" y="384"/>
                    <a:pt x="251" y="388"/>
                  </a:cubicBezTo>
                  <a:cubicBezTo>
                    <a:pt x="256" y="391"/>
                    <a:pt x="265" y="393"/>
                    <a:pt x="265" y="393"/>
                  </a:cubicBezTo>
                  <a:cubicBezTo>
                    <a:pt x="262" y="387"/>
                    <a:pt x="262" y="387"/>
                    <a:pt x="262" y="387"/>
                  </a:cubicBezTo>
                  <a:cubicBezTo>
                    <a:pt x="264" y="386"/>
                    <a:pt x="264" y="386"/>
                    <a:pt x="264" y="386"/>
                  </a:cubicBezTo>
                  <a:cubicBezTo>
                    <a:pt x="264" y="386"/>
                    <a:pt x="270" y="391"/>
                    <a:pt x="273" y="392"/>
                  </a:cubicBezTo>
                  <a:cubicBezTo>
                    <a:pt x="276" y="393"/>
                    <a:pt x="279" y="390"/>
                    <a:pt x="279" y="390"/>
                  </a:cubicBezTo>
                  <a:cubicBezTo>
                    <a:pt x="281" y="384"/>
                    <a:pt x="281" y="384"/>
                    <a:pt x="281" y="384"/>
                  </a:cubicBezTo>
                  <a:cubicBezTo>
                    <a:pt x="281" y="390"/>
                    <a:pt x="281" y="390"/>
                    <a:pt x="281" y="390"/>
                  </a:cubicBezTo>
                  <a:cubicBezTo>
                    <a:pt x="288" y="390"/>
                    <a:pt x="288" y="390"/>
                    <a:pt x="288" y="390"/>
                  </a:cubicBezTo>
                  <a:cubicBezTo>
                    <a:pt x="288" y="390"/>
                    <a:pt x="288" y="391"/>
                    <a:pt x="289" y="393"/>
                  </a:cubicBezTo>
                  <a:cubicBezTo>
                    <a:pt x="291" y="395"/>
                    <a:pt x="292" y="395"/>
                    <a:pt x="292" y="395"/>
                  </a:cubicBezTo>
                  <a:cubicBezTo>
                    <a:pt x="297" y="390"/>
                    <a:pt x="297" y="390"/>
                    <a:pt x="297" y="39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304" y="391"/>
                    <a:pt x="311" y="394"/>
                    <a:pt x="311" y="394"/>
                  </a:cubicBezTo>
                  <a:cubicBezTo>
                    <a:pt x="314" y="393"/>
                    <a:pt x="314" y="393"/>
                    <a:pt x="314" y="393"/>
                  </a:cubicBezTo>
                  <a:cubicBezTo>
                    <a:pt x="316" y="395"/>
                    <a:pt x="316" y="395"/>
                    <a:pt x="316" y="395"/>
                  </a:cubicBezTo>
                  <a:cubicBezTo>
                    <a:pt x="335" y="395"/>
                    <a:pt x="335" y="395"/>
                    <a:pt x="335" y="395"/>
                  </a:cubicBezTo>
                  <a:cubicBezTo>
                    <a:pt x="349" y="395"/>
                    <a:pt x="355" y="390"/>
                    <a:pt x="364" y="390"/>
                  </a:cubicBezTo>
                  <a:cubicBezTo>
                    <a:pt x="371" y="390"/>
                    <a:pt x="383" y="395"/>
                    <a:pt x="383" y="395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91" y="393"/>
                    <a:pt x="400" y="392"/>
                  </a:cubicBezTo>
                  <a:cubicBezTo>
                    <a:pt x="408" y="391"/>
                    <a:pt x="413" y="381"/>
                    <a:pt x="413" y="381"/>
                  </a:cubicBezTo>
                  <a:cubicBezTo>
                    <a:pt x="417" y="381"/>
                    <a:pt x="417" y="381"/>
                    <a:pt x="417" y="381"/>
                  </a:cubicBezTo>
                  <a:cubicBezTo>
                    <a:pt x="419" y="381"/>
                    <a:pt x="420" y="377"/>
                    <a:pt x="420" y="377"/>
                  </a:cubicBezTo>
                  <a:cubicBezTo>
                    <a:pt x="420" y="377"/>
                    <a:pt x="428" y="371"/>
                    <a:pt x="430" y="368"/>
                  </a:cubicBezTo>
                  <a:cubicBezTo>
                    <a:pt x="432" y="366"/>
                    <a:pt x="439" y="351"/>
                    <a:pt x="439" y="351"/>
                  </a:cubicBezTo>
                  <a:cubicBezTo>
                    <a:pt x="439" y="351"/>
                    <a:pt x="441" y="351"/>
                    <a:pt x="444" y="349"/>
                  </a:cubicBezTo>
                  <a:cubicBezTo>
                    <a:pt x="445" y="346"/>
                    <a:pt x="444" y="343"/>
                    <a:pt x="444" y="343"/>
                  </a:cubicBezTo>
                  <a:cubicBezTo>
                    <a:pt x="444" y="343"/>
                    <a:pt x="444" y="340"/>
                    <a:pt x="446" y="334"/>
                  </a:cubicBezTo>
                  <a:cubicBezTo>
                    <a:pt x="447" y="329"/>
                    <a:pt x="448" y="304"/>
                    <a:pt x="448" y="304"/>
                  </a:cubicBezTo>
                  <a:cubicBezTo>
                    <a:pt x="444" y="300"/>
                    <a:pt x="444" y="300"/>
                    <a:pt x="444" y="300"/>
                  </a:cubicBezTo>
                  <a:cubicBezTo>
                    <a:pt x="439" y="294"/>
                    <a:pt x="439" y="294"/>
                    <a:pt x="439" y="294"/>
                  </a:cubicBezTo>
                  <a:cubicBezTo>
                    <a:pt x="439" y="294"/>
                    <a:pt x="435" y="295"/>
                    <a:pt x="433" y="294"/>
                  </a:cubicBezTo>
                  <a:cubicBezTo>
                    <a:pt x="430" y="293"/>
                    <a:pt x="428" y="283"/>
                    <a:pt x="428" y="283"/>
                  </a:cubicBezTo>
                  <a:cubicBezTo>
                    <a:pt x="424" y="283"/>
                    <a:pt x="424" y="283"/>
                    <a:pt x="424" y="283"/>
                  </a:cubicBezTo>
                  <a:cubicBezTo>
                    <a:pt x="422" y="278"/>
                    <a:pt x="422" y="278"/>
                    <a:pt x="422" y="278"/>
                  </a:cubicBezTo>
                  <a:cubicBezTo>
                    <a:pt x="423" y="275"/>
                    <a:pt x="423" y="275"/>
                    <a:pt x="423" y="275"/>
                  </a:cubicBezTo>
                  <a:cubicBezTo>
                    <a:pt x="415" y="268"/>
                    <a:pt x="415" y="268"/>
                    <a:pt x="415" y="268"/>
                  </a:cubicBezTo>
                  <a:cubicBezTo>
                    <a:pt x="413" y="270"/>
                    <a:pt x="413" y="270"/>
                    <a:pt x="413" y="270"/>
                  </a:cubicBezTo>
                  <a:cubicBezTo>
                    <a:pt x="407" y="268"/>
                    <a:pt x="407" y="268"/>
                    <a:pt x="407" y="268"/>
                  </a:cubicBezTo>
                  <a:cubicBezTo>
                    <a:pt x="407" y="268"/>
                    <a:pt x="407" y="272"/>
                    <a:pt x="405" y="272"/>
                  </a:cubicBezTo>
                  <a:cubicBezTo>
                    <a:pt x="403" y="272"/>
                    <a:pt x="400" y="269"/>
                    <a:pt x="400" y="269"/>
                  </a:cubicBezTo>
                  <a:cubicBezTo>
                    <a:pt x="399" y="265"/>
                    <a:pt x="399" y="265"/>
                    <a:pt x="399" y="265"/>
                  </a:cubicBezTo>
                  <a:cubicBezTo>
                    <a:pt x="386" y="262"/>
                    <a:pt x="386" y="262"/>
                    <a:pt x="386" y="262"/>
                  </a:cubicBezTo>
                  <a:cubicBezTo>
                    <a:pt x="380" y="256"/>
                    <a:pt x="380" y="256"/>
                    <a:pt x="380" y="256"/>
                  </a:cubicBezTo>
                  <a:cubicBezTo>
                    <a:pt x="379" y="257"/>
                    <a:pt x="379" y="257"/>
                    <a:pt x="379" y="257"/>
                  </a:cubicBezTo>
                  <a:cubicBezTo>
                    <a:pt x="379" y="257"/>
                    <a:pt x="384" y="261"/>
                    <a:pt x="381" y="263"/>
                  </a:cubicBezTo>
                  <a:cubicBezTo>
                    <a:pt x="377" y="264"/>
                    <a:pt x="364" y="257"/>
                    <a:pt x="364" y="257"/>
                  </a:cubicBezTo>
                  <a:cubicBezTo>
                    <a:pt x="363" y="260"/>
                    <a:pt x="363" y="260"/>
                    <a:pt x="363" y="260"/>
                  </a:cubicBezTo>
                  <a:cubicBezTo>
                    <a:pt x="356" y="256"/>
                    <a:pt x="356" y="256"/>
                    <a:pt x="356" y="256"/>
                  </a:cubicBezTo>
                  <a:cubicBezTo>
                    <a:pt x="356" y="256"/>
                    <a:pt x="357" y="254"/>
                    <a:pt x="355" y="254"/>
                  </a:cubicBezTo>
                  <a:cubicBezTo>
                    <a:pt x="353" y="254"/>
                    <a:pt x="347" y="253"/>
                    <a:pt x="347" y="253"/>
                  </a:cubicBezTo>
                  <a:cubicBezTo>
                    <a:pt x="348" y="255"/>
                    <a:pt x="348" y="255"/>
                    <a:pt x="348" y="255"/>
                  </a:cubicBezTo>
                  <a:cubicBezTo>
                    <a:pt x="348" y="255"/>
                    <a:pt x="353" y="257"/>
                    <a:pt x="352" y="259"/>
                  </a:cubicBezTo>
                  <a:cubicBezTo>
                    <a:pt x="352" y="261"/>
                    <a:pt x="344" y="257"/>
                    <a:pt x="344" y="257"/>
                  </a:cubicBezTo>
                  <a:cubicBezTo>
                    <a:pt x="344" y="257"/>
                    <a:pt x="331" y="250"/>
                    <a:pt x="325" y="247"/>
                  </a:cubicBezTo>
                  <a:cubicBezTo>
                    <a:pt x="321" y="244"/>
                    <a:pt x="310" y="241"/>
                    <a:pt x="306" y="240"/>
                  </a:cubicBezTo>
                  <a:cubicBezTo>
                    <a:pt x="302" y="239"/>
                    <a:pt x="295" y="235"/>
                    <a:pt x="289" y="233"/>
                  </a:cubicBezTo>
                  <a:cubicBezTo>
                    <a:pt x="282" y="230"/>
                    <a:pt x="270" y="230"/>
                    <a:pt x="270" y="230"/>
                  </a:cubicBezTo>
                  <a:cubicBezTo>
                    <a:pt x="269" y="230"/>
                    <a:pt x="269" y="230"/>
                    <a:pt x="269" y="230"/>
                  </a:cubicBezTo>
                  <a:cubicBezTo>
                    <a:pt x="269" y="230"/>
                    <a:pt x="266" y="228"/>
                    <a:pt x="265" y="226"/>
                  </a:cubicBezTo>
                  <a:cubicBezTo>
                    <a:pt x="264" y="226"/>
                    <a:pt x="262" y="229"/>
                    <a:pt x="262" y="229"/>
                  </a:cubicBezTo>
                  <a:cubicBezTo>
                    <a:pt x="256" y="229"/>
                    <a:pt x="256" y="229"/>
                    <a:pt x="256" y="229"/>
                  </a:cubicBezTo>
                  <a:cubicBezTo>
                    <a:pt x="256" y="228"/>
                    <a:pt x="256" y="228"/>
                    <a:pt x="256" y="228"/>
                  </a:cubicBezTo>
                  <a:cubicBezTo>
                    <a:pt x="248" y="230"/>
                    <a:pt x="248" y="230"/>
                    <a:pt x="248" y="230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8" y="233"/>
                    <a:pt x="246" y="233"/>
                  </a:cubicBezTo>
                  <a:cubicBezTo>
                    <a:pt x="244" y="233"/>
                    <a:pt x="244" y="235"/>
                    <a:pt x="244" y="235"/>
                  </a:cubicBezTo>
                  <a:cubicBezTo>
                    <a:pt x="244" y="235"/>
                    <a:pt x="242" y="234"/>
                    <a:pt x="240" y="233"/>
                  </a:cubicBezTo>
                  <a:cubicBezTo>
                    <a:pt x="238" y="233"/>
                    <a:pt x="231" y="234"/>
                    <a:pt x="231" y="234"/>
                  </a:cubicBezTo>
                  <a:cubicBezTo>
                    <a:pt x="229" y="232"/>
                    <a:pt x="229" y="232"/>
                    <a:pt x="229" y="232"/>
                  </a:cubicBezTo>
                  <a:cubicBezTo>
                    <a:pt x="217" y="234"/>
                    <a:pt x="217" y="234"/>
                    <a:pt x="217" y="234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7" y="236"/>
                    <a:pt x="211" y="234"/>
                    <a:pt x="210" y="236"/>
                  </a:cubicBezTo>
                  <a:cubicBezTo>
                    <a:pt x="209" y="239"/>
                    <a:pt x="212" y="247"/>
                    <a:pt x="212" y="247"/>
                  </a:cubicBezTo>
                  <a:cubicBezTo>
                    <a:pt x="212" y="247"/>
                    <a:pt x="211" y="250"/>
                    <a:pt x="209" y="251"/>
                  </a:cubicBezTo>
                  <a:cubicBezTo>
                    <a:pt x="208" y="253"/>
                    <a:pt x="205" y="255"/>
                    <a:pt x="203" y="254"/>
                  </a:cubicBezTo>
                  <a:cubicBezTo>
                    <a:pt x="202" y="253"/>
                    <a:pt x="207" y="249"/>
                    <a:pt x="208" y="247"/>
                  </a:cubicBezTo>
                  <a:cubicBezTo>
                    <a:pt x="210" y="246"/>
                    <a:pt x="210" y="244"/>
                    <a:pt x="210" y="244"/>
                  </a:cubicBezTo>
                  <a:cubicBezTo>
                    <a:pt x="206" y="241"/>
                    <a:pt x="206" y="241"/>
                    <a:pt x="206" y="241"/>
                  </a:cubicBezTo>
                  <a:cubicBezTo>
                    <a:pt x="207" y="239"/>
                    <a:pt x="207" y="239"/>
                    <a:pt x="207" y="239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241"/>
                    <a:pt x="208" y="234"/>
                    <a:pt x="205" y="231"/>
                  </a:cubicBezTo>
                  <a:cubicBezTo>
                    <a:pt x="201" y="228"/>
                    <a:pt x="194" y="236"/>
                    <a:pt x="194" y="236"/>
                  </a:cubicBezTo>
                  <a:cubicBezTo>
                    <a:pt x="193" y="240"/>
                    <a:pt x="193" y="240"/>
                    <a:pt x="193" y="240"/>
                  </a:cubicBezTo>
                  <a:cubicBezTo>
                    <a:pt x="190" y="240"/>
                    <a:pt x="190" y="240"/>
                    <a:pt x="190" y="240"/>
                  </a:cubicBezTo>
                  <a:cubicBezTo>
                    <a:pt x="193" y="236"/>
                    <a:pt x="193" y="236"/>
                    <a:pt x="193" y="236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1" y="234"/>
                    <a:pt x="191" y="234"/>
                    <a:pt x="191" y="234"/>
                  </a:cubicBezTo>
                  <a:cubicBezTo>
                    <a:pt x="190" y="232"/>
                    <a:pt x="190" y="232"/>
                    <a:pt x="190" y="232"/>
                  </a:cubicBezTo>
                  <a:cubicBezTo>
                    <a:pt x="186" y="232"/>
                    <a:pt x="186" y="232"/>
                    <a:pt x="186" y="232"/>
                  </a:cubicBezTo>
                  <a:cubicBezTo>
                    <a:pt x="186" y="234"/>
                    <a:pt x="186" y="234"/>
                    <a:pt x="186" y="234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6"/>
                    <a:pt x="182" y="236"/>
                    <a:pt x="182" y="236"/>
                  </a:cubicBezTo>
                  <a:cubicBezTo>
                    <a:pt x="177" y="237"/>
                    <a:pt x="177" y="237"/>
                    <a:pt x="177" y="237"/>
                  </a:cubicBezTo>
                  <a:cubicBezTo>
                    <a:pt x="180" y="231"/>
                    <a:pt x="180" y="231"/>
                    <a:pt x="180" y="231"/>
                  </a:cubicBezTo>
                  <a:cubicBezTo>
                    <a:pt x="178" y="231"/>
                    <a:pt x="178" y="231"/>
                    <a:pt x="178" y="231"/>
                  </a:cubicBezTo>
                  <a:cubicBezTo>
                    <a:pt x="178" y="231"/>
                    <a:pt x="178" y="229"/>
                    <a:pt x="175" y="229"/>
                  </a:cubicBezTo>
                  <a:cubicBezTo>
                    <a:pt x="172" y="229"/>
                    <a:pt x="169" y="232"/>
                    <a:pt x="169" y="232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6" y="226"/>
                    <a:pt x="166" y="226"/>
                    <a:pt x="166" y="226"/>
                  </a:cubicBezTo>
                  <a:cubicBezTo>
                    <a:pt x="168" y="223"/>
                    <a:pt x="168" y="223"/>
                    <a:pt x="168" y="223"/>
                  </a:cubicBezTo>
                  <a:cubicBezTo>
                    <a:pt x="167" y="222"/>
                    <a:pt x="167" y="222"/>
                    <a:pt x="167" y="222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71" y="222"/>
                    <a:pt x="169" y="223"/>
                    <a:pt x="171" y="225"/>
                  </a:cubicBezTo>
                  <a:cubicBezTo>
                    <a:pt x="174" y="228"/>
                    <a:pt x="188" y="225"/>
                    <a:pt x="188" y="225"/>
                  </a:cubicBezTo>
                  <a:cubicBezTo>
                    <a:pt x="188" y="225"/>
                    <a:pt x="190" y="223"/>
                    <a:pt x="190" y="221"/>
                  </a:cubicBezTo>
                  <a:cubicBezTo>
                    <a:pt x="190" y="213"/>
                    <a:pt x="190" y="213"/>
                    <a:pt x="190" y="213"/>
                  </a:cubicBezTo>
                  <a:cubicBezTo>
                    <a:pt x="190" y="213"/>
                    <a:pt x="177" y="215"/>
                    <a:pt x="175" y="213"/>
                  </a:cubicBezTo>
                  <a:cubicBezTo>
                    <a:pt x="173" y="212"/>
                    <a:pt x="161" y="207"/>
                    <a:pt x="159" y="208"/>
                  </a:cubicBezTo>
                  <a:cubicBezTo>
                    <a:pt x="158" y="210"/>
                    <a:pt x="161" y="213"/>
                    <a:pt x="161" y="213"/>
                  </a:cubicBezTo>
                  <a:cubicBezTo>
                    <a:pt x="161" y="215"/>
                    <a:pt x="161" y="215"/>
                    <a:pt x="161" y="215"/>
                  </a:cubicBezTo>
                  <a:cubicBezTo>
                    <a:pt x="161" y="215"/>
                    <a:pt x="167" y="217"/>
                    <a:pt x="166" y="219"/>
                  </a:cubicBezTo>
                  <a:cubicBezTo>
                    <a:pt x="164" y="220"/>
                    <a:pt x="160" y="216"/>
                    <a:pt x="157" y="217"/>
                  </a:cubicBezTo>
                  <a:cubicBezTo>
                    <a:pt x="155" y="219"/>
                    <a:pt x="158" y="224"/>
                    <a:pt x="158" y="224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60" y="225"/>
                    <a:pt x="158" y="226"/>
                    <a:pt x="155" y="228"/>
                  </a:cubicBezTo>
                  <a:cubicBezTo>
                    <a:pt x="153" y="228"/>
                    <a:pt x="153" y="231"/>
                    <a:pt x="153" y="231"/>
                  </a:cubicBezTo>
                  <a:cubicBezTo>
                    <a:pt x="153" y="231"/>
                    <a:pt x="151" y="225"/>
                    <a:pt x="145" y="224"/>
                  </a:cubicBezTo>
                  <a:cubicBezTo>
                    <a:pt x="144" y="224"/>
                    <a:pt x="142" y="224"/>
                    <a:pt x="141" y="225"/>
                  </a:cubicBezTo>
                  <a:cubicBezTo>
                    <a:pt x="141" y="228"/>
                    <a:pt x="141" y="228"/>
                    <a:pt x="141" y="228"/>
                  </a:cubicBezTo>
                  <a:cubicBezTo>
                    <a:pt x="141" y="228"/>
                    <a:pt x="146" y="231"/>
                    <a:pt x="143" y="237"/>
                  </a:cubicBezTo>
                  <a:cubicBezTo>
                    <a:pt x="141" y="244"/>
                    <a:pt x="134" y="236"/>
                    <a:pt x="131" y="236"/>
                  </a:cubicBezTo>
                  <a:cubicBezTo>
                    <a:pt x="129" y="235"/>
                    <a:pt x="125" y="235"/>
                    <a:pt x="125" y="235"/>
                  </a:cubicBezTo>
                  <a:cubicBezTo>
                    <a:pt x="125" y="235"/>
                    <a:pt x="130" y="242"/>
                    <a:pt x="130" y="247"/>
                  </a:cubicBezTo>
                  <a:cubicBezTo>
                    <a:pt x="130" y="251"/>
                    <a:pt x="124" y="249"/>
                    <a:pt x="122" y="250"/>
                  </a:cubicBezTo>
                  <a:cubicBezTo>
                    <a:pt x="121" y="250"/>
                    <a:pt x="122" y="255"/>
                    <a:pt x="119" y="257"/>
                  </a:cubicBezTo>
                  <a:cubicBezTo>
                    <a:pt x="117" y="259"/>
                    <a:pt x="113" y="259"/>
                    <a:pt x="112" y="262"/>
                  </a:cubicBezTo>
                  <a:cubicBezTo>
                    <a:pt x="111" y="265"/>
                    <a:pt x="114" y="264"/>
                    <a:pt x="114" y="264"/>
                  </a:cubicBezTo>
                  <a:cubicBezTo>
                    <a:pt x="114" y="264"/>
                    <a:pt x="115" y="278"/>
                    <a:pt x="112" y="280"/>
                  </a:cubicBezTo>
                  <a:cubicBezTo>
                    <a:pt x="110" y="282"/>
                    <a:pt x="106" y="278"/>
                    <a:pt x="106" y="278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108" y="291"/>
                    <a:pt x="108" y="291"/>
                    <a:pt x="108" y="291"/>
                  </a:cubicBezTo>
                  <a:cubicBezTo>
                    <a:pt x="105" y="311"/>
                    <a:pt x="105" y="311"/>
                    <a:pt x="105" y="311"/>
                  </a:cubicBezTo>
                  <a:cubicBezTo>
                    <a:pt x="114" y="334"/>
                    <a:pt x="114" y="334"/>
                    <a:pt x="114" y="334"/>
                  </a:cubicBezTo>
                  <a:cubicBezTo>
                    <a:pt x="135" y="338"/>
                    <a:pt x="135" y="338"/>
                    <a:pt x="135" y="338"/>
                  </a:cubicBezTo>
                  <a:cubicBezTo>
                    <a:pt x="147" y="354"/>
                    <a:pt x="147" y="354"/>
                    <a:pt x="147" y="354"/>
                  </a:cubicBezTo>
                  <a:cubicBezTo>
                    <a:pt x="147" y="354"/>
                    <a:pt x="159" y="354"/>
                    <a:pt x="160" y="363"/>
                  </a:cubicBezTo>
                  <a:cubicBezTo>
                    <a:pt x="161" y="373"/>
                    <a:pt x="146" y="408"/>
                    <a:pt x="146" y="408"/>
                  </a:cubicBezTo>
                  <a:cubicBezTo>
                    <a:pt x="146" y="408"/>
                    <a:pt x="157" y="425"/>
                    <a:pt x="163" y="429"/>
                  </a:cubicBezTo>
                  <a:cubicBezTo>
                    <a:pt x="171" y="435"/>
                    <a:pt x="170" y="444"/>
                    <a:pt x="173" y="446"/>
                  </a:cubicBezTo>
                  <a:cubicBezTo>
                    <a:pt x="173" y="446"/>
                    <a:pt x="186" y="453"/>
                    <a:pt x="190" y="461"/>
                  </a:cubicBezTo>
                  <a:cubicBezTo>
                    <a:pt x="195" y="470"/>
                    <a:pt x="197" y="480"/>
                    <a:pt x="197" y="480"/>
                  </a:cubicBezTo>
                  <a:cubicBezTo>
                    <a:pt x="186" y="486"/>
                    <a:pt x="186" y="486"/>
                    <a:pt x="186" y="486"/>
                  </a:cubicBezTo>
                  <a:cubicBezTo>
                    <a:pt x="193" y="488"/>
                    <a:pt x="193" y="488"/>
                    <a:pt x="193" y="488"/>
                  </a:cubicBezTo>
                  <a:cubicBezTo>
                    <a:pt x="189" y="493"/>
                    <a:pt x="189" y="493"/>
                    <a:pt x="189" y="493"/>
                  </a:cubicBezTo>
                  <a:cubicBezTo>
                    <a:pt x="192" y="502"/>
                    <a:pt x="192" y="502"/>
                    <a:pt x="192" y="502"/>
                  </a:cubicBezTo>
                  <a:cubicBezTo>
                    <a:pt x="189" y="514"/>
                    <a:pt x="189" y="514"/>
                    <a:pt x="189" y="514"/>
                  </a:cubicBezTo>
                  <a:cubicBezTo>
                    <a:pt x="200" y="512"/>
                    <a:pt x="200" y="512"/>
                    <a:pt x="200" y="512"/>
                  </a:cubicBezTo>
                  <a:cubicBezTo>
                    <a:pt x="201" y="517"/>
                    <a:pt x="201" y="517"/>
                    <a:pt x="201" y="517"/>
                  </a:cubicBezTo>
                  <a:cubicBezTo>
                    <a:pt x="194" y="522"/>
                    <a:pt x="194" y="522"/>
                    <a:pt x="194" y="522"/>
                  </a:cubicBezTo>
                  <a:cubicBezTo>
                    <a:pt x="201" y="538"/>
                    <a:pt x="201" y="538"/>
                    <a:pt x="201" y="538"/>
                  </a:cubicBezTo>
                  <a:cubicBezTo>
                    <a:pt x="211" y="533"/>
                    <a:pt x="211" y="533"/>
                    <a:pt x="211" y="533"/>
                  </a:cubicBezTo>
                  <a:cubicBezTo>
                    <a:pt x="216" y="541"/>
                    <a:pt x="216" y="541"/>
                    <a:pt x="216" y="541"/>
                  </a:cubicBezTo>
                  <a:cubicBezTo>
                    <a:pt x="216" y="541"/>
                    <a:pt x="210" y="547"/>
                    <a:pt x="217" y="556"/>
                  </a:cubicBezTo>
                  <a:cubicBezTo>
                    <a:pt x="222" y="565"/>
                    <a:pt x="232" y="559"/>
                    <a:pt x="236" y="567"/>
                  </a:cubicBezTo>
                  <a:cubicBezTo>
                    <a:pt x="240" y="576"/>
                    <a:pt x="235" y="591"/>
                    <a:pt x="235" y="591"/>
                  </a:cubicBezTo>
                  <a:cubicBezTo>
                    <a:pt x="236" y="595"/>
                    <a:pt x="236" y="595"/>
                    <a:pt x="236" y="595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48" y="615"/>
                    <a:pt x="248" y="615"/>
                    <a:pt x="248" y="615"/>
                  </a:cubicBezTo>
                  <a:cubicBezTo>
                    <a:pt x="259" y="617"/>
                    <a:pt x="259" y="617"/>
                    <a:pt x="259" y="617"/>
                  </a:cubicBezTo>
                  <a:cubicBezTo>
                    <a:pt x="275" y="625"/>
                    <a:pt x="275" y="625"/>
                    <a:pt x="275" y="625"/>
                  </a:cubicBezTo>
                  <a:cubicBezTo>
                    <a:pt x="278" y="633"/>
                    <a:pt x="278" y="633"/>
                    <a:pt x="278" y="633"/>
                  </a:cubicBezTo>
                  <a:cubicBezTo>
                    <a:pt x="278" y="633"/>
                    <a:pt x="290" y="633"/>
                    <a:pt x="291" y="639"/>
                  </a:cubicBezTo>
                  <a:cubicBezTo>
                    <a:pt x="291" y="645"/>
                    <a:pt x="289" y="669"/>
                    <a:pt x="287" y="673"/>
                  </a:cubicBezTo>
                  <a:cubicBezTo>
                    <a:pt x="284" y="681"/>
                    <a:pt x="284" y="681"/>
                    <a:pt x="284" y="681"/>
                  </a:cubicBezTo>
                  <a:cubicBezTo>
                    <a:pt x="284" y="681"/>
                    <a:pt x="275" y="694"/>
                    <a:pt x="272" y="706"/>
                  </a:cubicBezTo>
                  <a:cubicBezTo>
                    <a:pt x="269" y="717"/>
                    <a:pt x="261" y="737"/>
                    <a:pt x="258" y="742"/>
                  </a:cubicBezTo>
                  <a:cubicBezTo>
                    <a:pt x="255" y="748"/>
                    <a:pt x="250" y="761"/>
                    <a:pt x="250" y="761"/>
                  </a:cubicBezTo>
                  <a:cubicBezTo>
                    <a:pt x="237" y="775"/>
                    <a:pt x="237" y="775"/>
                    <a:pt x="237" y="775"/>
                  </a:cubicBezTo>
                  <a:cubicBezTo>
                    <a:pt x="236" y="784"/>
                    <a:pt x="236" y="784"/>
                    <a:pt x="236" y="784"/>
                  </a:cubicBezTo>
                  <a:cubicBezTo>
                    <a:pt x="232" y="787"/>
                    <a:pt x="232" y="787"/>
                    <a:pt x="232" y="787"/>
                  </a:cubicBezTo>
                  <a:cubicBezTo>
                    <a:pt x="221" y="802"/>
                    <a:pt x="221" y="802"/>
                    <a:pt x="221" y="802"/>
                  </a:cubicBezTo>
                  <a:cubicBezTo>
                    <a:pt x="213" y="818"/>
                    <a:pt x="213" y="818"/>
                    <a:pt x="213" y="818"/>
                  </a:cubicBezTo>
                  <a:cubicBezTo>
                    <a:pt x="213" y="819"/>
                    <a:pt x="213" y="819"/>
                    <a:pt x="213" y="819"/>
                  </a:cubicBezTo>
                  <a:cubicBezTo>
                    <a:pt x="216" y="820"/>
                    <a:pt x="216" y="820"/>
                    <a:pt x="216" y="820"/>
                  </a:cubicBezTo>
                  <a:cubicBezTo>
                    <a:pt x="225" y="818"/>
                    <a:pt x="225" y="818"/>
                    <a:pt x="225" y="818"/>
                  </a:cubicBezTo>
                  <a:cubicBezTo>
                    <a:pt x="231" y="809"/>
                    <a:pt x="231" y="809"/>
                    <a:pt x="231" y="809"/>
                  </a:cubicBezTo>
                  <a:cubicBezTo>
                    <a:pt x="235" y="805"/>
                    <a:pt x="235" y="805"/>
                    <a:pt x="235" y="805"/>
                  </a:cubicBezTo>
                  <a:cubicBezTo>
                    <a:pt x="235" y="805"/>
                    <a:pt x="236" y="800"/>
                    <a:pt x="238" y="801"/>
                  </a:cubicBezTo>
                  <a:cubicBezTo>
                    <a:pt x="241" y="802"/>
                    <a:pt x="239" y="805"/>
                    <a:pt x="239" y="805"/>
                  </a:cubicBezTo>
                  <a:cubicBezTo>
                    <a:pt x="242" y="819"/>
                    <a:pt x="242" y="819"/>
                    <a:pt x="242" y="819"/>
                  </a:cubicBezTo>
                  <a:cubicBezTo>
                    <a:pt x="235" y="814"/>
                    <a:pt x="235" y="814"/>
                    <a:pt x="235" y="814"/>
                  </a:cubicBezTo>
                  <a:cubicBezTo>
                    <a:pt x="234" y="815"/>
                    <a:pt x="234" y="815"/>
                    <a:pt x="234" y="815"/>
                  </a:cubicBezTo>
                  <a:cubicBezTo>
                    <a:pt x="241" y="823"/>
                    <a:pt x="241" y="823"/>
                    <a:pt x="241" y="823"/>
                  </a:cubicBezTo>
                  <a:cubicBezTo>
                    <a:pt x="246" y="825"/>
                    <a:pt x="246" y="825"/>
                    <a:pt x="246" y="825"/>
                  </a:cubicBezTo>
                  <a:cubicBezTo>
                    <a:pt x="256" y="833"/>
                    <a:pt x="256" y="833"/>
                    <a:pt x="256" y="833"/>
                  </a:cubicBezTo>
                  <a:cubicBezTo>
                    <a:pt x="256" y="833"/>
                    <a:pt x="260" y="835"/>
                    <a:pt x="269" y="832"/>
                  </a:cubicBezTo>
                  <a:cubicBezTo>
                    <a:pt x="276" y="828"/>
                    <a:pt x="281" y="823"/>
                    <a:pt x="286" y="827"/>
                  </a:cubicBezTo>
                  <a:cubicBezTo>
                    <a:pt x="291" y="831"/>
                    <a:pt x="292" y="835"/>
                    <a:pt x="292" y="835"/>
                  </a:cubicBezTo>
                  <a:cubicBezTo>
                    <a:pt x="301" y="836"/>
                    <a:pt x="301" y="836"/>
                    <a:pt x="301" y="836"/>
                  </a:cubicBezTo>
                  <a:cubicBezTo>
                    <a:pt x="299" y="844"/>
                    <a:pt x="299" y="844"/>
                    <a:pt x="299" y="844"/>
                  </a:cubicBezTo>
                  <a:cubicBezTo>
                    <a:pt x="267" y="841"/>
                    <a:pt x="267" y="841"/>
                    <a:pt x="267" y="841"/>
                  </a:cubicBezTo>
                  <a:cubicBezTo>
                    <a:pt x="261" y="847"/>
                    <a:pt x="261" y="847"/>
                    <a:pt x="261" y="847"/>
                  </a:cubicBezTo>
                  <a:cubicBezTo>
                    <a:pt x="261" y="847"/>
                    <a:pt x="270" y="853"/>
                    <a:pt x="262" y="856"/>
                  </a:cubicBezTo>
                  <a:cubicBezTo>
                    <a:pt x="255" y="860"/>
                    <a:pt x="249" y="856"/>
                    <a:pt x="249" y="856"/>
                  </a:cubicBezTo>
                  <a:cubicBezTo>
                    <a:pt x="243" y="860"/>
                    <a:pt x="243" y="860"/>
                    <a:pt x="243" y="860"/>
                  </a:cubicBezTo>
                  <a:cubicBezTo>
                    <a:pt x="243" y="860"/>
                    <a:pt x="251" y="866"/>
                    <a:pt x="245" y="868"/>
                  </a:cubicBezTo>
                  <a:cubicBezTo>
                    <a:pt x="240" y="869"/>
                    <a:pt x="236" y="862"/>
                    <a:pt x="236" y="862"/>
                  </a:cubicBezTo>
                  <a:cubicBezTo>
                    <a:pt x="234" y="865"/>
                    <a:pt x="234" y="865"/>
                    <a:pt x="234" y="865"/>
                  </a:cubicBezTo>
                  <a:cubicBezTo>
                    <a:pt x="234" y="870"/>
                    <a:pt x="234" y="870"/>
                    <a:pt x="234" y="870"/>
                  </a:cubicBezTo>
                  <a:cubicBezTo>
                    <a:pt x="239" y="876"/>
                    <a:pt x="239" y="876"/>
                    <a:pt x="239" y="876"/>
                  </a:cubicBezTo>
                  <a:cubicBezTo>
                    <a:pt x="238" y="883"/>
                    <a:pt x="238" y="883"/>
                    <a:pt x="238" y="883"/>
                  </a:cubicBezTo>
                  <a:cubicBezTo>
                    <a:pt x="244" y="888"/>
                    <a:pt x="244" y="888"/>
                    <a:pt x="244" y="888"/>
                  </a:cubicBezTo>
                  <a:cubicBezTo>
                    <a:pt x="244" y="888"/>
                    <a:pt x="238" y="892"/>
                    <a:pt x="238" y="894"/>
                  </a:cubicBezTo>
                  <a:cubicBezTo>
                    <a:pt x="238" y="895"/>
                    <a:pt x="240" y="897"/>
                    <a:pt x="240" y="897"/>
                  </a:cubicBezTo>
                  <a:cubicBezTo>
                    <a:pt x="237" y="913"/>
                    <a:pt x="237" y="913"/>
                    <a:pt x="237" y="913"/>
                  </a:cubicBezTo>
                  <a:cubicBezTo>
                    <a:pt x="237" y="913"/>
                    <a:pt x="233" y="923"/>
                    <a:pt x="232" y="925"/>
                  </a:cubicBezTo>
                  <a:cubicBezTo>
                    <a:pt x="229" y="927"/>
                    <a:pt x="226" y="930"/>
                    <a:pt x="226" y="930"/>
                  </a:cubicBezTo>
                  <a:cubicBezTo>
                    <a:pt x="226" y="930"/>
                    <a:pt x="232" y="942"/>
                    <a:pt x="235" y="948"/>
                  </a:cubicBezTo>
                  <a:cubicBezTo>
                    <a:pt x="238" y="955"/>
                    <a:pt x="239" y="965"/>
                    <a:pt x="239" y="965"/>
                  </a:cubicBezTo>
                  <a:cubicBezTo>
                    <a:pt x="239" y="965"/>
                    <a:pt x="244" y="969"/>
                    <a:pt x="244" y="972"/>
                  </a:cubicBezTo>
                  <a:cubicBezTo>
                    <a:pt x="245" y="976"/>
                    <a:pt x="245" y="979"/>
                    <a:pt x="245" y="979"/>
                  </a:cubicBezTo>
                  <a:cubicBezTo>
                    <a:pt x="245" y="979"/>
                    <a:pt x="255" y="985"/>
                    <a:pt x="255" y="987"/>
                  </a:cubicBezTo>
                  <a:cubicBezTo>
                    <a:pt x="254" y="989"/>
                    <a:pt x="245" y="991"/>
                    <a:pt x="245" y="991"/>
                  </a:cubicBezTo>
                  <a:cubicBezTo>
                    <a:pt x="245" y="991"/>
                    <a:pt x="248" y="995"/>
                    <a:pt x="248" y="997"/>
                  </a:cubicBezTo>
                  <a:cubicBezTo>
                    <a:pt x="246" y="1000"/>
                    <a:pt x="243" y="1000"/>
                    <a:pt x="243" y="1000"/>
                  </a:cubicBezTo>
                  <a:cubicBezTo>
                    <a:pt x="242" y="1006"/>
                    <a:pt x="242" y="1006"/>
                    <a:pt x="242" y="1006"/>
                  </a:cubicBezTo>
                  <a:cubicBezTo>
                    <a:pt x="243" y="1010"/>
                    <a:pt x="243" y="1010"/>
                    <a:pt x="243" y="1010"/>
                  </a:cubicBezTo>
                  <a:cubicBezTo>
                    <a:pt x="246" y="1009"/>
                    <a:pt x="250" y="1009"/>
                    <a:pt x="250" y="1009"/>
                  </a:cubicBezTo>
                  <a:cubicBezTo>
                    <a:pt x="252" y="1016"/>
                    <a:pt x="252" y="1016"/>
                    <a:pt x="252" y="1016"/>
                  </a:cubicBezTo>
                  <a:cubicBezTo>
                    <a:pt x="252" y="1016"/>
                    <a:pt x="259" y="1017"/>
                    <a:pt x="261" y="1018"/>
                  </a:cubicBezTo>
                  <a:cubicBezTo>
                    <a:pt x="264" y="1019"/>
                    <a:pt x="267" y="1022"/>
                    <a:pt x="267" y="1022"/>
                  </a:cubicBezTo>
                  <a:cubicBezTo>
                    <a:pt x="267" y="1033"/>
                    <a:pt x="267" y="1033"/>
                    <a:pt x="267" y="1033"/>
                  </a:cubicBezTo>
                  <a:cubicBezTo>
                    <a:pt x="264" y="1037"/>
                    <a:pt x="264" y="1037"/>
                    <a:pt x="264" y="1037"/>
                  </a:cubicBezTo>
                  <a:cubicBezTo>
                    <a:pt x="266" y="1041"/>
                    <a:pt x="266" y="1041"/>
                    <a:pt x="266" y="1041"/>
                  </a:cubicBezTo>
                  <a:cubicBezTo>
                    <a:pt x="264" y="1052"/>
                    <a:pt x="264" y="1052"/>
                    <a:pt x="264" y="1052"/>
                  </a:cubicBezTo>
                  <a:cubicBezTo>
                    <a:pt x="264" y="1052"/>
                    <a:pt x="269" y="1049"/>
                    <a:pt x="272" y="1049"/>
                  </a:cubicBezTo>
                  <a:cubicBezTo>
                    <a:pt x="274" y="1049"/>
                    <a:pt x="276" y="1052"/>
                    <a:pt x="276" y="1052"/>
                  </a:cubicBezTo>
                  <a:cubicBezTo>
                    <a:pt x="274" y="1057"/>
                    <a:pt x="274" y="1057"/>
                    <a:pt x="274" y="1057"/>
                  </a:cubicBezTo>
                  <a:cubicBezTo>
                    <a:pt x="282" y="1059"/>
                    <a:pt x="282" y="1059"/>
                    <a:pt x="282" y="1059"/>
                  </a:cubicBezTo>
                  <a:cubicBezTo>
                    <a:pt x="283" y="1064"/>
                    <a:pt x="283" y="1064"/>
                    <a:pt x="283" y="1064"/>
                  </a:cubicBezTo>
                  <a:cubicBezTo>
                    <a:pt x="286" y="1065"/>
                    <a:pt x="286" y="1065"/>
                    <a:pt x="286" y="1065"/>
                  </a:cubicBezTo>
                  <a:cubicBezTo>
                    <a:pt x="289" y="1074"/>
                    <a:pt x="289" y="1074"/>
                    <a:pt x="289" y="1074"/>
                  </a:cubicBezTo>
                  <a:cubicBezTo>
                    <a:pt x="291" y="1080"/>
                    <a:pt x="291" y="1080"/>
                    <a:pt x="291" y="1080"/>
                  </a:cubicBezTo>
                  <a:cubicBezTo>
                    <a:pt x="293" y="1081"/>
                    <a:pt x="293" y="1081"/>
                    <a:pt x="293" y="1081"/>
                  </a:cubicBezTo>
                  <a:cubicBezTo>
                    <a:pt x="293" y="1081"/>
                    <a:pt x="294" y="1088"/>
                    <a:pt x="292" y="1092"/>
                  </a:cubicBezTo>
                  <a:cubicBezTo>
                    <a:pt x="291" y="1092"/>
                    <a:pt x="291" y="1092"/>
                    <a:pt x="291" y="1093"/>
                  </a:cubicBezTo>
                  <a:cubicBezTo>
                    <a:pt x="293" y="1093"/>
                    <a:pt x="295" y="1095"/>
                    <a:pt x="298" y="1095"/>
                  </a:cubicBezTo>
                  <a:cubicBezTo>
                    <a:pt x="301" y="1095"/>
                    <a:pt x="307" y="1090"/>
                    <a:pt x="313" y="1091"/>
                  </a:cubicBezTo>
                  <a:cubicBezTo>
                    <a:pt x="318" y="1092"/>
                    <a:pt x="310" y="1100"/>
                    <a:pt x="317" y="1101"/>
                  </a:cubicBezTo>
                  <a:cubicBezTo>
                    <a:pt x="322" y="1102"/>
                    <a:pt x="321" y="1096"/>
                    <a:pt x="323" y="1095"/>
                  </a:cubicBezTo>
                  <a:cubicBezTo>
                    <a:pt x="324" y="1092"/>
                    <a:pt x="338" y="1090"/>
                    <a:pt x="343" y="1095"/>
                  </a:cubicBezTo>
                  <a:cubicBezTo>
                    <a:pt x="349" y="1099"/>
                    <a:pt x="337" y="1108"/>
                    <a:pt x="348" y="1110"/>
                  </a:cubicBezTo>
                  <a:cubicBezTo>
                    <a:pt x="357" y="1110"/>
                    <a:pt x="351" y="1102"/>
                    <a:pt x="351" y="1102"/>
                  </a:cubicBezTo>
                  <a:cubicBezTo>
                    <a:pt x="351" y="1102"/>
                    <a:pt x="357" y="1100"/>
                    <a:pt x="365" y="1097"/>
                  </a:cubicBezTo>
                  <a:cubicBezTo>
                    <a:pt x="371" y="1093"/>
                    <a:pt x="379" y="1093"/>
                    <a:pt x="384" y="1098"/>
                  </a:cubicBezTo>
                  <a:cubicBezTo>
                    <a:pt x="390" y="1101"/>
                    <a:pt x="396" y="1098"/>
                    <a:pt x="402" y="1104"/>
                  </a:cubicBezTo>
                  <a:cubicBezTo>
                    <a:pt x="409" y="1111"/>
                    <a:pt x="401" y="1120"/>
                    <a:pt x="401" y="1120"/>
                  </a:cubicBezTo>
                  <a:cubicBezTo>
                    <a:pt x="413" y="1136"/>
                    <a:pt x="413" y="1136"/>
                    <a:pt x="413" y="1136"/>
                  </a:cubicBezTo>
                  <a:cubicBezTo>
                    <a:pt x="411" y="1154"/>
                    <a:pt x="411" y="1154"/>
                    <a:pt x="411" y="1154"/>
                  </a:cubicBezTo>
                  <a:cubicBezTo>
                    <a:pt x="411" y="1154"/>
                    <a:pt x="422" y="1156"/>
                    <a:pt x="429" y="1160"/>
                  </a:cubicBezTo>
                  <a:cubicBezTo>
                    <a:pt x="435" y="1163"/>
                    <a:pt x="426" y="1170"/>
                    <a:pt x="426" y="1170"/>
                  </a:cubicBezTo>
                  <a:cubicBezTo>
                    <a:pt x="434" y="1172"/>
                    <a:pt x="434" y="1172"/>
                    <a:pt x="434" y="1172"/>
                  </a:cubicBezTo>
                  <a:cubicBezTo>
                    <a:pt x="434" y="1172"/>
                    <a:pt x="435" y="1177"/>
                    <a:pt x="437" y="1181"/>
                  </a:cubicBezTo>
                  <a:cubicBezTo>
                    <a:pt x="438" y="1185"/>
                    <a:pt x="456" y="1186"/>
                    <a:pt x="456" y="1186"/>
                  </a:cubicBezTo>
                  <a:cubicBezTo>
                    <a:pt x="456" y="1186"/>
                    <a:pt x="462" y="1187"/>
                    <a:pt x="465" y="1191"/>
                  </a:cubicBezTo>
                  <a:cubicBezTo>
                    <a:pt x="468" y="1194"/>
                    <a:pt x="466" y="1207"/>
                    <a:pt x="466" y="1207"/>
                  </a:cubicBezTo>
                  <a:cubicBezTo>
                    <a:pt x="479" y="1203"/>
                    <a:pt x="479" y="1203"/>
                    <a:pt x="479" y="1203"/>
                  </a:cubicBezTo>
                  <a:cubicBezTo>
                    <a:pt x="495" y="1205"/>
                    <a:pt x="495" y="1205"/>
                    <a:pt x="495" y="1205"/>
                  </a:cubicBezTo>
                  <a:cubicBezTo>
                    <a:pt x="490" y="1212"/>
                    <a:pt x="490" y="1212"/>
                    <a:pt x="490" y="1212"/>
                  </a:cubicBezTo>
                  <a:cubicBezTo>
                    <a:pt x="510" y="1221"/>
                    <a:pt x="510" y="1221"/>
                    <a:pt x="510" y="1221"/>
                  </a:cubicBezTo>
                  <a:cubicBezTo>
                    <a:pt x="511" y="1226"/>
                    <a:pt x="511" y="1226"/>
                    <a:pt x="511" y="1226"/>
                  </a:cubicBezTo>
                  <a:cubicBezTo>
                    <a:pt x="500" y="1230"/>
                    <a:pt x="500" y="1230"/>
                    <a:pt x="500" y="1230"/>
                  </a:cubicBezTo>
                  <a:cubicBezTo>
                    <a:pt x="502" y="1235"/>
                    <a:pt x="502" y="1235"/>
                    <a:pt x="502" y="1235"/>
                  </a:cubicBezTo>
                  <a:cubicBezTo>
                    <a:pt x="502" y="1235"/>
                    <a:pt x="499" y="1243"/>
                    <a:pt x="490" y="1247"/>
                  </a:cubicBezTo>
                  <a:cubicBezTo>
                    <a:pt x="481" y="1253"/>
                    <a:pt x="472" y="1245"/>
                    <a:pt x="472" y="1245"/>
                  </a:cubicBezTo>
                  <a:cubicBezTo>
                    <a:pt x="461" y="1248"/>
                    <a:pt x="461" y="1248"/>
                    <a:pt x="461" y="1248"/>
                  </a:cubicBezTo>
                  <a:cubicBezTo>
                    <a:pt x="462" y="1256"/>
                    <a:pt x="462" y="1256"/>
                    <a:pt x="462" y="1256"/>
                  </a:cubicBezTo>
                  <a:cubicBezTo>
                    <a:pt x="459" y="1263"/>
                    <a:pt x="459" y="1263"/>
                    <a:pt x="459" y="1263"/>
                  </a:cubicBezTo>
                  <a:cubicBezTo>
                    <a:pt x="459" y="1263"/>
                    <a:pt x="467" y="1265"/>
                    <a:pt x="472" y="1270"/>
                  </a:cubicBezTo>
                  <a:cubicBezTo>
                    <a:pt x="479" y="1275"/>
                    <a:pt x="477" y="1281"/>
                    <a:pt x="477" y="1281"/>
                  </a:cubicBezTo>
                  <a:cubicBezTo>
                    <a:pt x="477" y="1281"/>
                    <a:pt x="479" y="1282"/>
                    <a:pt x="481" y="1286"/>
                  </a:cubicBezTo>
                  <a:cubicBezTo>
                    <a:pt x="484" y="1290"/>
                    <a:pt x="485" y="1302"/>
                    <a:pt x="485" y="1302"/>
                  </a:cubicBezTo>
                  <a:cubicBezTo>
                    <a:pt x="489" y="1305"/>
                    <a:pt x="489" y="1305"/>
                    <a:pt x="489" y="1305"/>
                  </a:cubicBezTo>
                  <a:cubicBezTo>
                    <a:pt x="493" y="1305"/>
                    <a:pt x="500" y="1306"/>
                    <a:pt x="503" y="1303"/>
                  </a:cubicBezTo>
                  <a:cubicBezTo>
                    <a:pt x="508" y="1300"/>
                    <a:pt x="507" y="1285"/>
                    <a:pt x="507" y="1285"/>
                  </a:cubicBezTo>
                  <a:cubicBezTo>
                    <a:pt x="526" y="1285"/>
                    <a:pt x="526" y="1285"/>
                    <a:pt x="526" y="1285"/>
                  </a:cubicBezTo>
                  <a:cubicBezTo>
                    <a:pt x="529" y="1285"/>
                    <a:pt x="529" y="1285"/>
                    <a:pt x="529" y="1285"/>
                  </a:cubicBezTo>
                  <a:cubicBezTo>
                    <a:pt x="533" y="1284"/>
                    <a:pt x="539" y="1272"/>
                    <a:pt x="539" y="1272"/>
                  </a:cubicBezTo>
                  <a:cubicBezTo>
                    <a:pt x="552" y="1272"/>
                    <a:pt x="552" y="1272"/>
                    <a:pt x="552" y="1272"/>
                  </a:cubicBezTo>
                  <a:cubicBezTo>
                    <a:pt x="552" y="1272"/>
                    <a:pt x="552" y="1266"/>
                    <a:pt x="560" y="1265"/>
                  </a:cubicBezTo>
                  <a:cubicBezTo>
                    <a:pt x="568" y="1265"/>
                    <a:pt x="567" y="1271"/>
                    <a:pt x="567" y="1271"/>
                  </a:cubicBezTo>
                  <a:cubicBezTo>
                    <a:pt x="576" y="1272"/>
                    <a:pt x="576" y="1272"/>
                    <a:pt x="576" y="1272"/>
                  </a:cubicBezTo>
                  <a:cubicBezTo>
                    <a:pt x="576" y="1272"/>
                    <a:pt x="576" y="1279"/>
                    <a:pt x="580" y="1285"/>
                  </a:cubicBezTo>
                  <a:cubicBezTo>
                    <a:pt x="584" y="1290"/>
                    <a:pt x="596" y="1291"/>
                    <a:pt x="599" y="1295"/>
                  </a:cubicBezTo>
                  <a:cubicBezTo>
                    <a:pt x="602" y="1301"/>
                    <a:pt x="584" y="1305"/>
                    <a:pt x="584" y="1305"/>
                  </a:cubicBezTo>
                  <a:cubicBezTo>
                    <a:pt x="584" y="1305"/>
                    <a:pt x="587" y="1306"/>
                    <a:pt x="592" y="1310"/>
                  </a:cubicBezTo>
                  <a:cubicBezTo>
                    <a:pt x="597" y="1313"/>
                    <a:pt x="595" y="1321"/>
                    <a:pt x="595" y="1321"/>
                  </a:cubicBezTo>
                  <a:cubicBezTo>
                    <a:pt x="600" y="1321"/>
                    <a:pt x="600" y="1321"/>
                    <a:pt x="600" y="1321"/>
                  </a:cubicBezTo>
                  <a:cubicBezTo>
                    <a:pt x="599" y="1328"/>
                    <a:pt x="599" y="1328"/>
                    <a:pt x="599" y="1328"/>
                  </a:cubicBezTo>
                  <a:cubicBezTo>
                    <a:pt x="613" y="1325"/>
                    <a:pt x="613" y="1325"/>
                    <a:pt x="613" y="1325"/>
                  </a:cubicBezTo>
                  <a:cubicBezTo>
                    <a:pt x="619" y="1329"/>
                    <a:pt x="619" y="1329"/>
                    <a:pt x="619" y="1329"/>
                  </a:cubicBezTo>
                  <a:cubicBezTo>
                    <a:pt x="619" y="1329"/>
                    <a:pt x="629" y="1319"/>
                    <a:pt x="634" y="1319"/>
                  </a:cubicBezTo>
                  <a:cubicBezTo>
                    <a:pt x="639" y="1319"/>
                    <a:pt x="639" y="1328"/>
                    <a:pt x="639" y="1328"/>
                  </a:cubicBezTo>
                  <a:cubicBezTo>
                    <a:pt x="645" y="1324"/>
                    <a:pt x="645" y="1324"/>
                    <a:pt x="645" y="1324"/>
                  </a:cubicBezTo>
                  <a:cubicBezTo>
                    <a:pt x="645" y="1324"/>
                    <a:pt x="649" y="1325"/>
                    <a:pt x="650" y="1325"/>
                  </a:cubicBezTo>
                  <a:cubicBezTo>
                    <a:pt x="651" y="1325"/>
                    <a:pt x="648" y="1333"/>
                    <a:pt x="648" y="1333"/>
                  </a:cubicBezTo>
                  <a:cubicBezTo>
                    <a:pt x="661" y="1349"/>
                    <a:pt x="661" y="1349"/>
                    <a:pt x="661" y="1349"/>
                  </a:cubicBezTo>
                  <a:cubicBezTo>
                    <a:pt x="659" y="1354"/>
                    <a:pt x="659" y="1354"/>
                    <a:pt x="659" y="1354"/>
                  </a:cubicBezTo>
                  <a:cubicBezTo>
                    <a:pt x="659" y="1354"/>
                    <a:pt x="675" y="1366"/>
                    <a:pt x="680" y="1361"/>
                  </a:cubicBezTo>
                  <a:cubicBezTo>
                    <a:pt x="686" y="1357"/>
                    <a:pt x="687" y="1355"/>
                    <a:pt x="693" y="1354"/>
                  </a:cubicBezTo>
                  <a:cubicBezTo>
                    <a:pt x="698" y="1353"/>
                    <a:pt x="698" y="1360"/>
                    <a:pt x="701" y="1360"/>
                  </a:cubicBezTo>
                  <a:cubicBezTo>
                    <a:pt x="704" y="1360"/>
                    <a:pt x="704" y="1356"/>
                    <a:pt x="704" y="1356"/>
                  </a:cubicBezTo>
                  <a:cubicBezTo>
                    <a:pt x="711" y="1356"/>
                    <a:pt x="711" y="1356"/>
                    <a:pt x="711" y="1356"/>
                  </a:cubicBezTo>
                  <a:cubicBezTo>
                    <a:pt x="712" y="1361"/>
                    <a:pt x="712" y="1361"/>
                    <a:pt x="712" y="1361"/>
                  </a:cubicBezTo>
                  <a:cubicBezTo>
                    <a:pt x="717" y="1363"/>
                    <a:pt x="717" y="1363"/>
                    <a:pt x="717" y="1363"/>
                  </a:cubicBezTo>
                  <a:cubicBezTo>
                    <a:pt x="717" y="1363"/>
                    <a:pt x="720" y="1356"/>
                    <a:pt x="721" y="1352"/>
                  </a:cubicBezTo>
                  <a:cubicBezTo>
                    <a:pt x="723" y="1349"/>
                    <a:pt x="734" y="1345"/>
                    <a:pt x="734" y="1345"/>
                  </a:cubicBezTo>
                  <a:cubicBezTo>
                    <a:pt x="744" y="1334"/>
                    <a:pt x="744" y="1334"/>
                    <a:pt x="744" y="1334"/>
                  </a:cubicBezTo>
                  <a:cubicBezTo>
                    <a:pt x="748" y="1339"/>
                    <a:pt x="748" y="1339"/>
                    <a:pt x="748" y="1339"/>
                  </a:cubicBezTo>
                  <a:cubicBezTo>
                    <a:pt x="753" y="1340"/>
                    <a:pt x="753" y="1340"/>
                    <a:pt x="753" y="1340"/>
                  </a:cubicBezTo>
                  <a:cubicBezTo>
                    <a:pt x="754" y="1344"/>
                    <a:pt x="754" y="1344"/>
                    <a:pt x="754" y="1344"/>
                  </a:cubicBezTo>
                  <a:cubicBezTo>
                    <a:pt x="764" y="1354"/>
                    <a:pt x="764" y="1354"/>
                    <a:pt x="764" y="1354"/>
                  </a:cubicBezTo>
                  <a:cubicBezTo>
                    <a:pt x="774" y="1354"/>
                    <a:pt x="774" y="1354"/>
                    <a:pt x="774" y="1354"/>
                  </a:cubicBezTo>
                  <a:cubicBezTo>
                    <a:pt x="779" y="1357"/>
                    <a:pt x="779" y="1357"/>
                    <a:pt x="779" y="1357"/>
                  </a:cubicBezTo>
                  <a:cubicBezTo>
                    <a:pt x="782" y="1354"/>
                    <a:pt x="782" y="1354"/>
                    <a:pt x="782" y="1354"/>
                  </a:cubicBezTo>
                  <a:cubicBezTo>
                    <a:pt x="782" y="1344"/>
                    <a:pt x="782" y="1344"/>
                    <a:pt x="782" y="1344"/>
                  </a:cubicBezTo>
                  <a:cubicBezTo>
                    <a:pt x="797" y="1349"/>
                    <a:pt x="797" y="1349"/>
                    <a:pt x="797" y="1349"/>
                  </a:cubicBezTo>
                  <a:cubicBezTo>
                    <a:pt x="801" y="1343"/>
                    <a:pt x="801" y="1343"/>
                    <a:pt x="801" y="1343"/>
                  </a:cubicBezTo>
                  <a:cubicBezTo>
                    <a:pt x="811" y="1349"/>
                    <a:pt x="811" y="1349"/>
                    <a:pt x="811" y="1349"/>
                  </a:cubicBezTo>
                  <a:cubicBezTo>
                    <a:pt x="819" y="1349"/>
                    <a:pt x="819" y="1349"/>
                    <a:pt x="819" y="1349"/>
                  </a:cubicBezTo>
                  <a:cubicBezTo>
                    <a:pt x="821" y="1341"/>
                    <a:pt x="821" y="1341"/>
                    <a:pt x="821" y="1341"/>
                  </a:cubicBezTo>
                  <a:cubicBezTo>
                    <a:pt x="826" y="1340"/>
                    <a:pt x="826" y="1340"/>
                    <a:pt x="826" y="1340"/>
                  </a:cubicBezTo>
                  <a:cubicBezTo>
                    <a:pt x="826" y="1340"/>
                    <a:pt x="829" y="1344"/>
                    <a:pt x="830" y="1347"/>
                  </a:cubicBezTo>
                  <a:cubicBezTo>
                    <a:pt x="831" y="1349"/>
                    <a:pt x="836" y="1348"/>
                    <a:pt x="836" y="1348"/>
                  </a:cubicBezTo>
                  <a:cubicBezTo>
                    <a:pt x="838" y="1344"/>
                    <a:pt x="838" y="1344"/>
                    <a:pt x="838" y="1344"/>
                  </a:cubicBezTo>
                  <a:cubicBezTo>
                    <a:pt x="845" y="1344"/>
                    <a:pt x="845" y="1344"/>
                    <a:pt x="845" y="1344"/>
                  </a:cubicBezTo>
                  <a:cubicBezTo>
                    <a:pt x="845" y="1344"/>
                    <a:pt x="847" y="1348"/>
                    <a:pt x="851" y="1350"/>
                  </a:cubicBezTo>
                  <a:cubicBezTo>
                    <a:pt x="856" y="1352"/>
                    <a:pt x="862" y="1350"/>
                    <a:pt x="862" y="1350"/>
                  </a:cubicBezTo>
                  <a:cubicBezTo>
                    <a:pt x="864" y="1343"/>
                    <a:pt x="864" y="1343"/>
                    <a:pt x="864" y="1343"/>
                  </a:cubicBezTo>
                  <a:cubicBezTo>
                    <a:pt x="870" y="1343"/>
                    <a:pt x="870" y="1343"/>
                    <a:pt x="870" y="1343"/>
                  </a:cubicBezTo>
                  <a:cubicBezTo>
                    <a:pt x="870" y="1354"/>
                    <a:pt x="870" y="1354"/>
                    <a:pt x="870" y="1354"/>
                  </a:cubicBezTo>
                  <a:cubicBezTo>
                    <a:pt x="870" y="1354"/>
                    <a:pt x="876" y="1357"/>
                    <a:pt x="879" y="1366"/>
                  </a:cubicBezTo>
                  <a:cubicBezTo>
                    <a:pt x="881" y="1374"/>
                    <a:pt x="868" y="1384"/>
                    <a:pt x="868" y="1384"/>
                  </a:cubicBezTo>
                  <a:cubicBezTo>
                    <a:pt x="868" y="1390"/>
                    <a:pt x="868" y="1390"/>
                    <a:pt x="868" y="1390"/>
                  </a:cubicBezTo>
                  <a:cubicBezTo>
                    <a:pt x="885" y="1389"/>
                    <a:pt x="885" y="1389"/>
                    <a:pt x="885" y="1389"/>
                  </a:cubicBezTo>
                  <a:cubicBezTo>
                    <a:pt x="885" y="1394"/>
                    <a:pt x="885" y="1394"/>
                    <a:pt x="885" y="1394"/>
                  </a:cubicBezTo>
                  <a:cubicBezTo>
                    <a:pt x="876" y="1397"/>
                    <a:pt x="876" y="1397"/>
                    <a:pt x="876" y="1397"/>
                  </a:cubicBezTo>
                  <a:cubicBezTo>
                    <a:pt x="876" y="1412"/>
                    <a:pt x="876" y="1412"/>
                    <a:pt x="876" y="1412"/>
                  </a:cubicBezTo>
                  <a:cubicBezTo>
                    <a:pt x="876" y="1412"/>
                    <a:pt x="882" y="1411"/>
                    <a:pt x="889" y="1415"/>
                  </a:cubicBezTo>
                  <a:cubicBezTo>
                    <a:pt x="896" y="1419"/>
                    <a:pt x="892" y="1427"/>
                    <a:pt x="892" y="1427"/>
                  </a:cubicBezTo>
                  <a:cubicBezTo>
                    <a:pt x="897" y="1428"/>
                    <a:pt x="897" y="1428"/>
                    <a:pt x="897" y="1428"/>
                  </a:cubicBezTo>
                  <a:cubicBezTo>
                    <a:pt x="898" y="1442"/>
                    <a:pt x="898" y="1442"/>
                    <a:pt x="898" y="1442"/>
                  </a:cubicBezTo>
                  <a:cubicBezTo>
                    <a:pt x="895" y="1445"/>
                    <a:pt x="895" y="1445"/>
                    <a:pt x="895" y="1445"/>
                  </a:cubicBezTo>
                  <a:cubicBezTo>
                    <a:pt x="895" y="1445"/>
                    <a:pt x="900" y="1449"/>
                    <a:pt x="900" y="1455"/>
                  </a:cubicBezTo>
                  <a:cubicBezTo>
                    <a:pt x="901" y="1462"/>
                    <a:pt x="874" y="1465"/>
                    <a:pt x="866" y="1467"/>
                  </a:cubicBezTo>
                  <a:cubicBezTo>
                    <a:pt x="859" y="1470"/>
                    <a:pt x="860" y="1475"/>
                    <a:pt x="861" y="1479"/>
                  </a:cubicBezTo>
                  <a:cubicBezTo>
                    <a:pt x="861" y="1482"/>
                    <a:pt x="856" y="1485"/>
                    <a:pt x="849" y="1489"/>
                  </a:cubicBezTo>
                  <a:cubicBezTo>
                    <a:pt x="843" y="1492"/>
                    <a:pt x="843" y="1505"/>
                    <a:pt x="847" y="1511"/>
                  </a:cubicBezTo>
                  <a:cubicBezTo>
                    <a:pt x="850" y="1516"/>
                    <a:pt x="852" y="1521"/>
                    <a:pt x="852" y="1524"/>
                  </a:cubicBezTo>
                  <a:cubicBezTo>
                    <a:pt x="870" y="1520"/>
                    <a:pt x="870" y="1520"/>
                    <a:pt x="870" y="1520"/>
                  </a:cubicBezTo>
                  <a:cubicBezTo>
                    <a:pt x="870" y="1511"/>
                    <a:pt x="870" y="1511"/>
                    <a:pt x="870" y="1511"/>
                  </a:cubicBezTo>
                  <a:cubicBezTo>
                    <a:pt x="881" y="1511"/>
                    <a:pt x="881" y="1511"/>
                    <a:pt x="881" y="1511"/>
                  </a:cubicBezTo>
                  <a:cubicBezTo>
                    <a:pt x="880" y="1506"/>
                    <a:pt x="880" y="1506"/>
                    <a:pt x="880" y="1506"/>
                  </a:cubicBezTo>
                  <a:cubicBezTo>
                    <a:pt x="884" y="1500"/>
                    <a:pt x="884" y="1500"/>
                    <a:pt x="884" y="1500"/>
                  </a:cubicBezTo>
                  <a:cubicBezTo>
                    <a:pt x="894" y="1500"/>
                    <a:pt x="894" y="1500"/>
                    <a:pt x="894" y="1500"/>
                  </a:cubicBezTo>
                  <a:cubicBezTo>
                    <a:pt x="893" y="1506"/>
                    <a:pt x="893" y="1506"/>
                    <a:pt x="893" y="1506"/>
                  </a:cubicBezTo>
                  <a:cubicBezTo>
                    <a:pt x="900" y="1515"/>
                    <a:pt x="900" y="1515"/>
                    <a:pt x="900" y="1515"/>
                  </a:cubicBezTo>
                  <a:cubicBezTo>
                    <a:pt x="891" y="1514"/>
                    <a:pt x="891" y="1514"/>
                    <a:pt x="891" y="1514"/>
                  </a:cubicBezTo>
                  <a:cubicBezTo>
                    <a:pt x="891" y="1514"/>
                    <a:pt x="887" y="1521"/>
                    <a:pt x="883" y="1530"/>
                  </a:cubicBezTo>
                  <a:cubicBezTo>
                    <a:pt x="880" y="1540"/>
                    <a:pt x="871" y="1537"/>
                    <a:pt x="871" y="1537"/>
                  </a:cubicBezTo>
                  <a:cubicBezTo>
                    <a:pt x="870" y="1544"/>
                    <a:pt x="870" y="1544"/>
                    <a:pt x="870" y="1544"/>
                  </a:cubicBezTo>
                  <a:cubicBezTo>
                    <a:pt x="878" y="1543"/>
                    <a:pt x="878" y="1543"/>
                    <a:pt x="878" y="1543"/>
                  </a:cubicBezTo>
                  <a:cubicBezTo>
                    <a:pt x="876" y="1549"/>
                    <a:pt x="876" y="1549"/>
                    <a:pt x="876" y="1549"/>
                  </a:cubicBezTo>
                  <a:cubicBezTo>
                    <a:pt x="866" y="1549"/>
                    <a:pt x="866" y="1549"/>
                    <a:pt x="866" y="1549"/>
                  </a:cubicBezTo>
                  <a:cubicBezTo>
                    <a:pt x="858" y="1558"/>
                    <a:pt x="858" y="1558"/>
                    <a:pt x="858" y="1558"/>
                  </a:cubicBezTo>
                  <a:cubicBezTo>
                    <a:pt x="843" y="1558"/>
                    <a:pt x="843" y="1558"/>
                    <a:pt x="843" y="1558"/>
                  </a:cubicBezTo>
                  <a:cubicBezTo>
                    <a:pt x="855" y="1575"/>
                    <a:pt x="855" y="1575"/>
                    <a:pt x="855" y="1575"/>
                  </a:cubicBezTo>
                  <a:cubicBezTo>
                    <a:pt x="855" y="1575"/>
                    <a:pt x="862" y="1571"/>
                    <a:pt x="867" y="1571"/>
                  </a:cubicBezTo>
                  <a:cubicBezTo>
                    <a:pt x="874" y="1571"/>
                    <a:pt x="876" y="1580"/>
                    <a:pt x="876" y="1580"/>
                  </a:cubicBezTo>
                  <a:cubicBezTo>
                    <a:pt x="876" y="1580"/>
                    <a:pt x="893" y="1578"/>
                    <a:pt x="894" y="1586"/>
                  </a:cubicBezTo>
                  <a:cubicBezTo>
                    <a:pt x="895" y="1592"/>
                    <a:pt x="880" y="1585"/>
                    <a:pt x="880" y="1585"/>
                  </a:cubicBezTo>
                  <a:cubicBezTo>
                    <a:pt x="877" y="1599"/>
                    <a:pt x="877" y="1599"/>
                    <a:pt x="877" y="1599"/>
                  </a:cubicBezTo>
                  <a:cubicBezTo>
                    <a:pt x="873" y="1591"/>
                    <a:pt x="873" y="1591"/>
                    <a:pt x="873" y="1591"/>
                  </a:cubicBezTo>
                  <a:cubicBezTo>
                    <a:pt x="867" y="1594"/>
                    <a:pt x="867" y="1594"/>
                    <a:pt x="867" y="1594"/>
                  </a:cubicBezTo>
                  <a:cubicBezTo>
                    <a:pt x="867" y="1594"/>
                    <a:pt x="871" y="1610"/>
                    <a:pt x="871" y="1615"/>
                  </a:cubicBezTo>
                  <a:cubicBezTo>
                    <a:pt x="871" y="1619"/>
                    <a:pt x="865" y="1619"/>
                    <a:pt x="862" y="1623"/>
                  </a:cubicBezTo>
                  <a:cubicBezTo>
                    <a:pt x="859" y="1626"/>
                    <a:pt x="868" y="1634"/>
                    <a:pt x="866" y="1639"/>
                  </a:cubicBezTo>
                  <a:cubicBezTo>
                    <a:pt x="864" y="1646"/>
                    <a:pt x="859" y="1657"/>
                    <a:pt x="852" y="1658"/>
                  </a:cubicBezTo>
                  <a:cubicBezTo>
                    <a:pt x="846" y="1658"/>
                    <a:pt x="844" y="1650"/>
                    <a:pt x="844" y="1650"/>
                  </a:cubicBezTo>
                  <a:cubicBezTo>
                    <a:pt x="830" y="1651"/>
                    <a:pt x="830" y="1651"/>
                    <a:pt x="830" y="1651"/>
                  </a:cubicBezTo>
                  <a:cubicBezTo>
                    <a:pt x="831" y="1656"/>
                    <a:pt x="831" y="1656"/>
                    <a:pt x="831" y="1656"/>
                  </a:cubicBezTo>
                  <a:cubicBezTo>
                    <a:pt x="831" y="1656"/>
                    <a:pt x="841" y="1657"/>
                    <a:pt x="842" y="1659"/>
                  </a:cubicBezTo>
                  <a:cubicBezTo>
                    <a:pt x="842" y="1662"/>
                    <a:pt x="830" y="1669"/>
                    <a:pt x="830" y="1669"/>
                  </a:cubicBezTo>
                  <a:cubicBezTo>
                    <a:pt x="833" y="1674"/>
                    <a:pt x="833" y="1674"/>
                    <a:pt x="833" y="1674"/>
                  </a:cubicBezTo>
                  <a:cubicBezTo>
                    <a:pt x="847" y="1669"/>
                    <a:pt x="847" y="1669"/>
                    <a:pt x="847" y="1669"/>
                  </a:cubicBezTo>
                  <a:cubicBezTo>
                    <a:pt x="847" y="1669"/>
                    <a:pt x="841" y="1664"/>
                    <a:pt x="851" y="1663"/>
                  </a:cubicBezTo>
                  <a:cubicBezTo>
                    <a:pt x="862" y="1663"/>
                    <a:pt x="852" y="1670"/>
                    <a:pt x="852" y="1670"/>
                  </a:cubicBezTo>
                  <a:cubicBezTo>
                    <a:pt x="865" y="1673"/>
                    <a:pt x="865" y="1673"/>
                    <a:pt x="865" y="1673"/>
                  </a:cubicBezTo>
                  <a:cubicBezTo>
                    <a:pt x="873" y="1686"/>
                    <a:pt x="873" y="1686"/>
                    <a:pt x="873" y="1686"/>
                  </a:cubicBezTo>
                  <a:cubicBezTo>
                    <a:pt x="894" y="1684"/>
                    <a:pt x="894" y="1684"/>
                    <a:pt x="894" y="1684"/>
                  </a:cubicBezTo>
                  <a:cubicBezTo>
                    <a:pt x="895" y="1678"/>
                    <a:pt x="895" y="1678"/>
                    <a:pt x="895" y="1678"/>
                  </a:cubicBezTo>
                  <a:cubicBezTo>
                    <a:pt x="903" y="1684"/>
                    <a:pt x="903" y="1684"/>
                    <a:pt x="903" y="1684"/>
                  </a:cubicBezTo>
                  <a:cubicBezTo>
                    <a:pt x="908" y="1684"/>
                    <a:pt x="908" y="1684"/>
                    <a:pt x="908" y="1684"/>
                  </a:cubicBezTo>
                  <a:cubicBezTo>
                    <a:pt x="911" y="1689"/>
                    <a:pt x="911" y="1689"/>
                    <a:pt x="911" y="1689"/>
                  </a:cubicBezTo>
                  <a:cubicBezTo>
                    <a:pt x="917" y="1688"/>
                    <a:pt x="917" y="1688"/>
                    <a:pt x="917" y="1688"/>
                  </a:cubicBezTo>
                  <a:cubicBezTo>
                    <a:pt x="926" y="1691"/>
                    <a:pt x="926" y="1691"/>
                    <a:pt x="926" y="1691"/>
                  </a:cubicBezTo>
                  <a:cubicBezTo>
                    <a:pt x="929" y="1688"/>
                    <a:pt x="929" y="1688"/>
                    <a:pt x="929" y="1688"/>
                  </a:cubicBezTo>
                  <a:cubicBezTo>
                    <a:pt x="943" y="1687"/>
                    <a:pt x="943" y="1687"/>
                    <a:pt x="943" y="1687"/>
                  </a:cubicBezTo>
                  <a:cubicBezTo>
                    <a:pt x="949" y="1694"/>
                    <a:pt x="949" y="1694"/>
                    <a:pt x="949" y="1694"/>
                  </a:cubicBezTo>
                  <a:cubicBezTo>
                    <a:pt x="949" y="1694"/>
                    <a:pt x="970" y="1696"/>
                    <a:pt x="976" y="1699"/>
                  </a:cubicBezTo>
                  <a:cubicBezTo>
                    <a:pt x="982" y="1702"/>
                    <a:pt x="998" y="1713"/>
                    <a:pt x="998" y="1713"/>
                  </a:cubicBezTo>
                  <a:cubicBezTo>
                    <a:pt x="1003" y="1712"/>
                    <a:pt x="1003" y="1712"/>
                    <a:pt x="1003" y="1712"/>
                  </a:cubicBezTo>
                  <a:cubicBezTo>
                    <a:pt x="1007" y="1716"/>
                    <a:pt x="1007" y="1716"/>
                    <a:pt x="1007" y="1716"/>
                  </a:cubicBezTo>
                  <a:cubicBezTo>
                    <a:pt x="1016" y="1717"/>
                    <a:pt x="1016" y="1717"/>
                    <a:pt x="1016" y="1717"/>
                  </a:cubicBezTo>
                  <a:cubicBezTo>
                    <a:pt x="1019" y="1721"/>
                    <a:pt x="1019" y="1721"/>
                    <a:pt x="1019" y="1721"/>
                  </a:cubicBezTo>
                  <a:cubicBezTo>
                    <a:pt x="1024" y="1720"/>
                    <a:pt x="1024" y="1720"/>
                    <a:pt x="1024" y="1720"/>
                  </a:cubicBezTo>
                  <a:cubicBezTo>
                    <a:pt x="1024" y="1720"/>
                    <a:pt x="1024" y="1710"/>
                    <a:pt x="1028" y="1705"/>
                  </a:cubicBezTo>
                  <a:cubicBezTo>
                    <a:pt x="1031" y="1701"/>
                    <a:pt x="1047" y="1703"/>
                    <a:pt x="1047" y="1703"/>
                  </a:cubicBezTo>
                  <a:cubicBezTo>
                    <a:pt x="1050" y="1698"/>
                    <a:pt x="1050" y="1698"/>
                    <a:pt x="1050" y="1698"/>
                  </a:cubicBezTo>
                  <a:cubicBezTo>
                    <a:pt x="1072" y="1701"/>
                    <a:pt x="1072" y="1701"/>
                    <a:pt x="1072" y="1701"/>
                  </a:cubicBezTo>
                  <a:cubicBezTo>
                    <a:pt x="1073" y="1700"/>
                    <a:pt x="1073" y="1700"/>
                    <a:pt x="1073" y="1700"/>
                  </a:cubicBezTo>
                  <a:cubicBezTo>
                    <a:pt x="1080" y="1700"/>
                    <a:pt x="1080" y="1700"/>
                    <a:pt x="1080" y="1700"/>
                  </a:cubicBezTo>
                  <a:cubicBezTo>
                    <a:pt x="1085" y="1696"/>
                    <a:pt x="1085" y="1696"/>
                    <a:pt x="1085" y="1696"/>
                  </a:cubicBezTo>
                  <a:cubicBezTo>
                    <a:pt x="1085" y="1696"/>
                    <a:pt x="1095" y="1702"/>
                    <a:pt x="1107" y="1699"/>
                  </a:cubicBezTo>
                  <a:cubicBezTo>
                    <a:pt x="1120" y="1697"/>
                    <a:pt x="1137" y="1683"/>
                    <a:pt x="1137" y="1683"/>
                  </a:cubicBezTo>
                  <a:cubicBezTo>
                    <a:pt x="1143" y="1684"/>
                    <a:pt x="1143" y="1684"/>
                    <a:pt x="1143" y="1684"/>
                  </a:cubicBezTo>
                  <a:cubicBezTo>
                    <a:pt x="1143" y="1684"/>
                    <a:pt x="1146" y="1679"/>
                    <a:pt x="1154" y="1679"/>
                  </a:cubicBezTo>
                  <a:cubicBezTo>
                    <a:pt x="1161" y="1678"/>
                    <a:pt x="1162" y="1683"/>
                    <a:pt x="1169" y="1685"/>
                  </a:cubicBezTo>
                  <a:cubicBezTo>
                    <a:pt x="1175" y="1688"/>
                    <a:pt x="1192" y="1683"/>
                    <a:pt x="1192" y="1683"/>
                  </a:cubicBezTo>
                  <a:cubicBezTo>
                    <a:pt x="1210" y="1683"/>
                    <a:pt x="1210" y="1683"/>
                    <a:pt x="1210" y="1683"/>
                  </a:cubicBezTo>
                  <a:cubicBezTo>
                    <a:pt x="1208" y="1689"/>
                    <a:pt x="1208" y="1689"/>
                    <a:pt x="1208" y="1689"/>
                  </a:cubicBezTo>
                  <a:cubicBezTo>
                    <a:pt x="1208" y="1689"/>
                    <a:pt x="1215" y="1691"/>
                    <a:pt x="1221" y="1690"/>
                  </a:cubicBezTo>
                  <a:cubicBezTo>
                    <a:pt x="1227" y="1690"/>
                    <a:pt x="1233" y="1681"/>
                    <a:pt x="1233" y="1681"/>
                  </a:cubicBezTo>
                  <a:cubicBezTo>
                    <a:pt x="1233" y="1674"/>
                    <a:pt x="1233" y="1674"/>
                    <a:pt x="1233" y="1674"/>
                  </a:cubicBezTo>
                  <a:cubicBezTo>
                    <a:pt x="1233" y="1674"/>
                    <a:pt x="1239" y="1669"/>
                    <a:pt x="1243" y="1666"/>
                  </a:cubicBezTo>
                  <a:cubicBezTo>
                    <a:pt x="1248" y="1664"/>
                    <a:pt x="1259" y="1669"/>
                    <a:pt x="1259" y="1669"/>
                  </a:cubicBezTo>
                  <a:cubicBezTo>
                    <a:pt x="1259" y="1659"/>
                    <a:pt x="1259" y="1659"/>
                    <a:pt x="1259" y="1659"/>
                  </a:cubicBezTo>
                  <a:cubicBezTo>
                    <a:pt x="1266" y="1660"/>
                    <a:pt x="1266" y="1660"/>
                    <a:pt x="1266" y="1660"/>
                  </a:cubicBezTo>
                  <a:cubicBezTo>
                    <a:pt x="1274" y="1656"/>
                    <a:pt x="1274" y="1656"/>
                    <a:pt x="1274" y="1656"/>
                  </a:cubicBezTo>
                  <a:cubicBezTo>
                    <a:pt x="1285" y="1663"/>
                    <a:pt x="1285" y="1663"/>
                    <a:pt x="1285" y="1663"/>
                  </a:cubicBezTo>
                  <a:cubicBezTo>
                    <a:pt x="1291" y="1657"/>
                    <a:pt x="1291" y="1657"/>
                    <a:pt x="1291" y="1657"/>
                  </a:cubicBezTo>
                  <a:cubicBezTo>
                    <a:pt x="1302" y="1654"/>
                    <a:pt x="1302" y="1654"/>
                    <a:pt x="1302" y="1654"/>
                  </a:cubicBezTo>
                  <a:cubicBezTo>
                    <a:pt x="1302" y="1654"/>
                    <a:pt x="1305" y="1671"/>
                    <a:pt x="1309" y="1675"/>
                  </a:cubicBezTo>
                  <a:cubicBezTo>
                    <a:pt x="1315" y="1679"/>
                    <a:pt x="1337" y="1674"/>
                    <a:pt x="1347" y="1674"/>
                  </a:cubicBezTo>
                  <a:cubicBezTo>
                    <a:pt x="1357" y="1673"/>
                    <a:pt x="1359" y="1675"/>
                    <a:pt x="1359" y="1675"/>
                  </a:cubicBezTo>
                  <a:cubicBezTo>
                    <a:pt x="1367" y="1671"/>
                    <a:pt x="1367" y="1671"/>
                    <a:pt x="1367" y="1671"/>
                  </a:cubicBezTo>
                  <a:cubicBezTo>
                    <a:pt x="1367" y="1671"/>
                    <a:pt x="1371" y="1672"/>
                    <a:pt x="1378" y="1672"/>
                  </a:cubicBezTo>
                  <a:cubicBezTo>
                    <a:pt x="1383" y="1672"/>
                    <a:pt x="1388" y="1681"/>
                    <a:pt x="1388" y="1681"/>
                  </a:cubicBezTo>
                  <a:cubicBezTo>
                    <a:pt x="1390" y="1678"/>
                    <a:pt x="1390" y="1678"/>
                    <a:pt x="1390" y="1678"/>
                  </a:cubicBezTo>
                  <a:cubicBezTo>
                    <a:pt x="1390" y="1678"/>
                    <a:pt x="1407" y="1689"/>
                    <a:pt x="1408" y="1689"/>
                  </a:cubicBezTo>
                  <a:cubicBezTo>
                    <a:pt x="1411" y="1689"/>
                    <a:pt x="1417" y="1687"/>
                    <a:pt x="1429" y="1686"/>
                  </a:cubicBezTo>
                  <a:cubicBezTo>
                    <a:pt x="1440" y="1685"/>
                    <a:pt x="1435" y="1674"/>
                    <a:pt x="1435" y="1674"/>
                  </a:cubicBezTo>
                  <a:cubicBezTo>
                    <a:pt x="1438" y="1668"/>
                    <a:pt x="1438" y="1668"/>
                    <a:pt x="1438" y="1668"/>
                  </a:cubicBezTo>
                  <a:cubicBezTo>
                    <a:pt x="1437" y="1657"/>
                    <a:pt x="1437" y="1657"/>
                    <a:pt x="1437" y="1657"/>
                  </a:cubicBezTo>
                  <a:cubicBezTo>
                    <a:pt x="1446" y="1644"/>
                    <a:pt x="1446" y="1644"/>
                    <a:pt x="1446" y="1644"/>
                  </a:cubicBezTo>
                  <a:cubicBezTo>
                    <a:pt x="1445" y="1626"/>
                    <a:pt x="1445" y="1626"/>
                    <a:pt x="1445" y="1626"/>
                  </a:cubicBezTo>
                  <a:cubicBezTo>
                    <a:pt x="1434" y="1626"/>
                    <a:pt x="1434" y="1626"/>
                    <a:pt x="1434" y="1626"/>
                  </a:cubicBezTo>
                  <a:cubicBezTo>
                    <a:pt x="1417" y="1613"/>
                    <a:pt x="1417" y="1613"/>
                    <a:pt x="1417" y="1613"/>
                  </a:cubicBezTo>
                  <a:cubicBezTo>
                    <a:pt x="1417" y="1613"/>
                    <a:pt x="1406" y="1612"/>
                    <a:pt x="1404" y="1611"/>
                  </a:cubicBezTo>
                  <a:cubicBezTo>
                    <a:pt x="1402" y="1611"/>
                    <a:pt x="1391" y="1604"/>
                    <a:pt x="1391" y="1604"/>
                  </a:cubicBezTo>
                  <a:cubicBezTo>
                    <a:pt x="1391" y="1604"/>
                    <a:pt x="1387" y="1604"/>
                    <a:pt x="1382" y="1602"/>
                  </a:cubicBezTo>
                  <a:cubicBezTo>
                    <a:pt x="1378" y="1601"/>
                    <a:pt x="1380" y="1599"/>
                    <a:pt x="1376" y="1592"/>
                  </a:cubicBezTo>
                  <a:cubicBezTo>
                    <a:pt x="1372" y="1586"/>
                    <a:pt x="1365" y="1590"/>
                    <a:pt x="1358" y="1584"/>
                  </a:cubicBezTo>
                  <a:cubicBezTo>
                    <a:pt x="1352" y="1578"/>
                    <a:pt x="1356" y="1565"/>
                    <a:pt x="1356" y="1565"/>
                  </a:cubicBezTo>
                  <a:cubicBezTo>
                    <a:pt x="1350" y="1565"/>
                    <a:pt x="1350" y="1565"/>
                    <a:pt x="1350" y="1565"/>
                  </a:cubicBezTo>
                  <a:cubicBezTo>
                    <a:pt x="1341" y="1543"/>
                    <a:pt x="1341" y="1543"/>
                    <a:pt x="1341" y="1543"/>
                  </a:cubicBezTo>
                  <a:cubicBezTo>
                    <a:pt x="1341" y="1530"/>
                    <a:pt x="1341" y="1530"/>
                    <a:pt x="1341" y="1530"/>
                  </a:cubicBezTo>
                  <a:cubicBezTo>
                    <a:pt x="1343" y="1527"/>
                    <a:pt x="1343" y="1527"/>
                    <a:pt x="1343" y="1527"/>
                  </a:cubicBezTo>
                  <a:cubicBezTo>
                    <a:pt x="1343" y="1527"/>
                    <a:pt x="1342" y="1525"/>
                    <a:pt x="1339" y="1525"/>
                  </a:cubicBezTo>
                  <a:cubicBezTo>
                    <a:pt x="1335" y="1526"/>
                    <a:pt x="1338" y="1538"/>
                    <a:pt x="1338" y="1538"/>
                  </a:cubicBezTo>
                  <a:cubicBezTo>
                    <a:pt x="1342" y="1559"/>
                    <a:pt x="1342" y="1559"/>
                    <a:pt x="1342" y="1559"/>
                  </a:cubicBezTo>
                  <a:cubicBezTo>
                    <a:pt x="1339" y="1558"/>
                    <a:pt x="1339" y="1558"/>
                    <a:pt x="1339" y="1558"/>
                  </a:cubicBezTo>
                  <a:cubicBezTo>
                    <a:pt x="1337" y="1540"/>
                    <a:pt x="1337" y="1540"/>
                    <a:pt x="1337" y="1540"/>
                  </a:cubicBezTo>
                  <a:cubicBezTo>
                    <a:pt x="1333" y="1539"/>
                    <a:pt x="1333" y="1539"/>
                    <a:pt x="1333" y="1539"/>
                  </a:cubicBezTo>
                  <a:cubicBezTo>
                    <a:pt x="1313" y="1523"/>
                    <a:pt x="1313" y="1523"/>
                    <a:pt x="1313" y="1523"/>
                  </a:cubicBezTo>
                  <a:cubicBezTo>
                    <a:pt x="1313" y="1523"/>
                    <a:pt x="1310" y="1526"/>
                    <a:pt x="1308" y="1526"/>
                  </a:cubicBezTo>
                  <a:cubicBezTo>
                    <a:pt x="1306" y="1526"/>
                    <a:pt x="1304" y="1521"/>
                    <a:pt x="1301" y="1518"/>
                  </a:cubicBezTo>
                  <a:cubicBezTo>
                    <a:pt x="1297" y="1516"/>
                    <a:pt x="1286" y="1522"/>
                    <a:pt x="1286" y="1522"/>
                  </a:cubicBezTo>
                  <a:cubicBezTo>
                    <a:pt x="1286" y="1522"/>
                    <a:pt x="1277" y="1512"/>
                    <a:pt x="1275" y="1508"/>
                  </a:cubicBezTo>
                  <a:cubicBezTo>
                    <a:pt x="1273" y="1502"/>
                    <a:pt x="1281" y="1496"/>
                    <a:pt x="1285" y="1490"/>
                  </a:cubicBezTo>
                  <a:cubicBezTo>
                    <a:pt x="1290" y="1483"/>
                    <a:pt x="1287" y="1468"/>
                    <a:pt x="1287" y="1468"/>
                  </a:cubicBezTo>
                  <a:cubicBezTo>
                    <a:pt x="1283" y="1465"/>
                    <a:pt x="1283" y="1465"/>
                    <a:pt x="1283" y="1465"/>
                  </a:cubicBezTo>
                  <a:cubicBezTo>
                    <a:pt x="1287" y="1460"/>
                    <a:pt x="1287" y="1460"/>
                    <a:pt x="1287" y="1460"/>
                  </a:cubicBezTo>
                  <a:cubicBezTo>
                    <a:pt x="1284" y="1459"/>
                    <a:pt x="1284" y="1459"/>
                    <a:pt x="1284" y="1459"/>
                  </a:cubicBezTo>
                  <a:cubicBezTo>
                    <a:pt x="1283" y="1443"/>
                    <a:pt x="1283" y="1443"/>
                    <a:pt x="1283" y="1443"/>
                  </a:cubicBezTo>
                  <a:cubicBezTo>
                    <a:pt x="1286" y="1436"/>
                    <a:pt x="1286" y="1436"/>
                    <a:pt x="1286" y="1436"/>
                  </a:cubicBezTo>
                  <a:cubicBezTo>
                    <a:pt x="1286" y="1436"/>
                    <a:pt x="1280" y="1431"/>
                    <a:pt x="1281" y="1428"/>
                  </a:cubicBezTo>
                  <a:cubicBezTo>
                    <a:pt x="1282" y="1424"/>
                    <a:pt x="1291" y="1430"/>
                    <a:pt x="1296" y="1431"/>
                  </a:cubicBezTo>
                  <a:cubicBezTo>
                    <a:pt x="1300" y="1431"/>
                    <a:pt x="1299" y="1428"/>
                    <a:pt x="1299" y="1428"/>
                  </a:cubicBezTo>
                  <a:cubicBezTo>
                    <a:pt x="1299" y="1428"/>
                    <a:pt x="1291" y="1422"/>
                    <a:pt x="1293" y="1419"/>
                  </a:cubicBezTo>
                  <a:cubicBezTo>
                    <a:pt x="1296" y="1416"/>
                    <a:pt x="1306" y="1410"/>
                    <a:pt x="1306" y="1410"/>
                  </a:cubicBezTo>
                  <a:cubicBezTo>
                    <a:pt x="1313" y="1412"/>
                    <a:pt x="1313" y="1412"/>
                    <a:pt x="1313" y="1412"/>
                  </a:cubicBezTo>
                  <a:cubicBezTo>
                    <a:pt x="1317" y="1411"/>
                    <a:pt x="1317" y="1411"/>
                    <a:pt x="1317" y="1411"/>
                  </a:cubicBezTo>
                  <a:cubicBezTo>
                    <a:pt x="1305" y="1402"/>
                    <a:pt x="1305" y="1402"/>
                    <a:pt x="1305" y="1402"/>
                  </a:cubicBezTo>
                  <a:cubicBezTo>
                    <a:pt x="1308" y="1397"/>
                    <a:pt x="1308" y="1397"/>
                    <a:pt x="1308" y="1397"/>
                  </a:cubicBezTo>
                  <a:cubicBezTo>
                    <a:pt x="1322" y="1404"/>
                    <a:pt x="1322" y="1404"/>
                    <a:pt x="1322" y="1404"/>
                  </a:cubicBezTo>
                  <a:cubicBezTo>
                    <a:pt x="1327" y="1402"/>
                    <a:pt x="1327" y="1402"/>
                    <a:pt x="1327" y="1402"/>
                  </a:cubicBezTo>
                  <a:cubicBezTo>
                    <a:pt x="1320" y="1398"/>
                    <a:pt x="1320" y="1398"/>
                    <a:pt x="1320" y="1398"/>
                  </a:cubicBezTo>
                  <a:cubicBezTo>
                    <a:pt x="1323" y="1391"/>
                    <a:pt x="1323" y="1391"/>
                    <a:pt x="1323" y="1391"/>
                  </a:cubicBezTo>
                  <a:cubicBezTo>
                    <a:pt x="1313" y="1386"/>
                    <a:pt x="1313" y="1386"/>
                    <a:pt x="1313" y="1386"/>
                  </a:cubicBezTo>
                  <a:cubicBezTo>
                    <a:pt x="1314" y="1381"/>
                    <a:pt x="1314" y="1381"/>
                    <a:pt x="1314" y="1381"/>
                  </a:cubicBezTo>
                  <a:cubicBezTo>
                    <a:pt x="1322" y="1383"/>
                    <a:pt x="1322" y="1383"/>
                    <a:pt x="1322" y="1383"/>
                  </a:cubicBezTo>
                  <a:cubicBezTo>
                    <a:pt x="1325" y="1383"/>
                    <a:pt x="1325" y="1383"/>
                    <a:pt x="1325" y="1383"/>
                  </a:cubicBezTo>
                  <a:cubicBezTo>
                    <a:pt x="1318" y="1378"/>
                    <a:pt x="1318" y="1378"/>
                    <a:pt x="1318" y="1378"/>
                  </a:cubicBezTo>
                  <a:cubicBezTo>
                    <a:pt x="1323" y="1375"/>
                    <a:pt x="1323" y="1375"/>
                    <a:pt x="1323" y="1375"/>
                  </a:cubicBezTo>
                  <a:cubicBezTo>
                    <a:pt x="1331" y="1379"/>
                    <a:pt x="1331" y="1379"/>
                    <a:pt x="1331" y="1379"/>
                  </a:cubicBezTo>
                  <a:cubicBezTo>
                    <a:pt x="1331" y="1379"/>
                    <a:pt x="1331" y="1372"/>
                    <a:pt x="1329" y="1369"/>
                  </a:cubicBezTo>
                  <a:cubicBezTo>
                    <a:pt x="1326" y="1366"/>
                    <a:pt x="1319" y="1367"/>
                    <a:pt x="1320" y="1363"/>
                  </a:cubicBezTo>
                  <a:cubicBezTo>
                    <a:pt x="1321" y="1357"/>
                    <a:pt x="1332" y="1358"/>
                    <a:pt x="1332" y="1358"/>
                  </a:cubicBezTo>
                  <a:cubicBezTo>
                    <a:pt x="1324" y="1354"/>
                    <a:pt x="1324" y="1354"/>
                    <a:pt x="1324" y="1354"/>
                  </a:cubicBezTo>
                  <a:cubicBezTo>
                    <a:pt x="1324" y="1354"/>
                    <a:pt x="1301" y="1358"/>
                    <a:pt x="1290" y="1357"/>
                  </a:cubicBezTo>
                  <a:cubicBezTo>
                    <a:pt x="1281" y="1356"/>
                    <a:pt x="1280" y="1350"/>
                    <a:pt x="1284" y="1343"/>
                  </a:cubicBezTo>
                  <a:cubicBezTo>
                    <a:pt x="1288" y="1338"/>
                    <a:pt x="1298" y="1344"/>
                    <a:pt x="1302" y="1340"/>
                  </a:cubicBezTo>
                  <a:cubicBezTo>
                    <a:pt x="1307" y="1335"/>
                    <a:pt x="1288" y="1328"/>
                    <a:pt x="1281" y="1326"/>
                  </a:cubicBezTo>
                  <a:cubicBezTo>
                    <a:pt x="1273" y="1324"/>
                    <a:pt x="1268" y="1313"/>
                    <a:pt x="1263" y="1310"/>
                  </a:cubicBezTo>
                  <a:cubicBezTo>
                    <a:pt x="1257" y="1308"/>
                    <a:pt x="1256" y="1312"/>
                    <a:pt x="1249" y="1312"/>
                  </a:cubicBezTo>
                  <a:cubicBezTo>
                    <a:pt x="1242" y="1312"/>
                    <a:pt x="1241" y="1301"/>
                    <a:pt x="1232" y="1298"/>
                  </a:cubicBezTo>
                  <a:cubicBezTo>
                    <a:pt x="1222" y="1295"/>
                    <a:pt x="1225" y="1307"/>
                    <a:pt x="1218" y="1309"/>
                  </a:cubicBezTo>
                  <a:cubicBezTo>
                    <a:pt x="1211" y="1311"/>
                    <a:pt x="1206" y="1310"/>
                    <a:pt x="1206" y="1310"/>
                  </a:cubicBezTo>
                  <a:cubicBezTo>
                    <a:pt x="1210" y="1318"/>
                    <a:pt x="1210" y="1318"/>
                    <a:pt x="1210" y="1318"/>
                  </a:cubicBezTo>
                  <a:cubicBezTo>
                    <a:pt x="1210" y="1318"/>
                    <a:pt x="1198" y="1318"/>
                    <a:pt x="1192" y="1316"/>
                  </a:cubicBezTo>
                  <a:cubicBezTo>
                    <a:pt x="1187" y="1315"/>
                    <a:pt x="1188" y="1308"/>
                    <a:pt x="1189" y="1306"/>
                  </a:cubicBezTo>
                  <a:cubicBezTo>
                    <a:pt x="1191" y="1303"/>
                    <a:pt x="1186" y="1301"/>
                    <a:pt x="1184" y="1298"/>
                  </a:cubicBezTo>
                  <a:cubicBezTo>
                    <a:pt x="1181" y="1296"/>
                    <a:pt x="1181" y="1292"/>
                    <a:pt x="1181" y="1292"/>
                  </a:cubicBezTo>
                  <a:cubicBezTo>
                    <a:pt x="1152" y="1298"/>
                    <a:pt x="1152" y="1298"/>
                    <a:pt x="1152" y="1298"/>
                  </a:cubicBezTo>
                  <a:cubicBezTo>
                    <a:pt x="1146" y="1259"/>
                    <a:pt x="1146" y="1259"/>
                    <a:pt x="1146" y="1259"/>
                  </a:cubicBezTo>
                  <a:cubicBezTo>
                    <a:pt x="1146" y="1259"/>
                    <a:pt x="1152" y="1249"/>
                    <a:pt x="1149" y="1241"/>
                  </a:cubicBezTo>
                  <a:cubicBezTo>
                    <a:pt x="1146" y="1232"/>
                    <a:pt x="1136" y="1234"/>
                    <a:pt x="1136" y="1234"/>
                  </a:cubicBezTo>
                  <a:cubicBezTo>
                    <a:pt x="1124" y="1199"/>
                    <a:pt x="1124" y="1199"/>
                    <a:pt x="1124" y="1199"/>
                  </a:cubicBezTo>
                  <a:cubicBezTo>
                    <a:pt x="1133" y="1184"/>
                    <a:pt x="1133" y="1184"/>
                    <a:pt x="1133" y="1184"/>
                  </a:cubicBezTo>
                  <a:cubicBezTo>
                    <a:pt x="1134" y="1179"/>
                    <a:pt x="1125" y="1178"/>
                    <a:pt x="1125" y="1170"/>
                  </a:cubicBezTo>
                  <a:cubicBezTo>
                    <a:pt x="1124" y="1163"/>
                    <a:pt x="1128" y="1156"/>
                    <a:pt x="1138" y="1156"/>
                  </a:cubicBezTo>
                  <a:cubicBezTo>
                    <a:pt x="1146" y="1156"/>
                    <a:pt x="1158" y="1165"/>
                    <a:pt x="1161" y="1170"/>
                  </a:cubicBezTo>
                  <a:cubicBezTo>
                    <a:pt x="1165" y="1177"/>
                    <a:pt x="1172" y="1176"/>
                    <a:pt x="1178" y="1176"/>
                  </a:cubicBezTo>
                  <a:cubicBezTo>
                    <a:pt x="1184" y="1176"/>
                    <a:pt x="1190" y="1162"/>
                    <a:pt x="1191" y="1152"/>
                  </a:cubicBezTo>
                  <a:cubicBezTo>
                    <a:pt x="1192" y="1143"/>
                    <a:pt x="1185" y="1151"/>
                    <a:pt x="1185" y="1151"/>
                  </a:cubicBezTo>
                  <a:cubicBezTo>
                    <a:pt x="1185" y="1151"/>
                    <a:pt x="1182" y="1146"/>
                    <a:pt x="1177" y="1144"/>
                  </a:cubicBezTo>
                  <a:cubicBezTo>
                    <a:pt x="1173" y="1140"/>
                    <a:pt x="1163" y="1128"/>
                    <a:pt x="1163" y="1128"/>
                  </a:cubicBezTo>
                  <a:cubicBezTo>
                    <a:pt x="1159" y="1128"/>
                    <a:pt x="1159" y="1128"/>
                    <a:pt x="1159" y="1128"/>
                  </a:cubicBezTo>
                  <a:cubicBezTo>
                    <a:pt x="1160" y="1124"/>
                    <a:pt x="1160" y="1124"/>
                    <a:pt x="1160" y="1124"/>
                  </a:cubicBezTo>
                  <a:cubicBezTo>
                    <a:pt x="1160" y="1124"/>
                    <a:pt x="1165" y="1122"/>
                    <a:pt x="1171" y="1121"/>
                  </a:cubicBezTo>
                  <a:cubicBezTo>
                    <a:pt x="1177" y="1120"/>
                    <a:pt x="1175" y="1104"/>
                    <a:pt x="1175" y="1104"/>
                  </a:cubicBezTo>
                  <a:cubicBezTo>
                    <a:pt x="1175" y="1104"/>
                    <a:pt x="1182" y="1099"/>
                    <a:pt x="1183" y="1093"/>
                  </a:cubicBezTo>
                  <a:cubicBezTo>
                    <a:pt x="1185" y="1089"/>
                    <a:pt x="1175" y="1090"/>
                    <a:pt x="1175" y="1090"/>
                  </a:cubicBezTo>
                  <a:cubicBezTo>
                    <a:pt x="1173" y="1080"/>
                    <a:pt x="1173" y="1080"/>
                    <a:pt x="1173" y="1080"/>
                  </a:cubicBezTo>
                  <a:cubicBezTo>
                    <a:pt x="1183" y="1074"/>
                    <a:pt x="1183" y="1074"/>
                    <a:pt x="1183" y="1074"/>
                  </a:cubicBezTo>
                  <a:cubicBezTo>
                    <a:pt x="1189" y="1063"/>
                    <a:pt x="1189" y="1063"/>
                    <a:pt x="1189" y="1063"/>
                  </a:cubicBezTo>
                  <a:cubicBezTo>
                    <a:pt x="1189" y="1063"/>
                    <a:pt x="1202" y="1055"/>
                    <a:pt x="1202" y="1052"/>
                  </a:cubicBezTo>
                  <a:cubicBezTo>
                    <a:pt x="1203" y="1048"/>
                    <a:pt x="1196" y="1049"/>
                    <a:pt x="1195" y="1045"/>
                  </a:cubicBezTo>
                  <a:cubicBezTo>
                    <a:pt x="1194" y="1043"/>
                    <a:pt x="1204" y="1041"/>
                    <a:pt x="1204" y="1038"/>
                  </a:cubicBezTo>
                  <a:cubicBezTo>
                    <a:pt x="1204" y="1036"/>
                    <a:pt x="1199" y="1029"/>
                    <a:pt x="1201" y="1027"/>
                  </a:cubicBezTo>
                  <a:cubicBezTo>
                    <a:pt x="1203" y="1025"/>
                    <a:pt x="1208" y="1022"/>
                    <a:pt x="1208" y="1022"/>
                  </a:cubicBezTo>
                  <a:cubicBezTo>
                    <a:pt x="1201" y="1016"/>
                    <a:pt x="1201" y="1016"/>
                    <a:pt x="1201" y="1016"/>
                  </a:cubicBezTo>
                  <a:cubicBezTo>
                    <a:pt x="1212" y="1016"/>
                    <a:pt x="1212" y="1016"/>
                    <a:pt x="1212" y="1016"/>
                  </a:cubicBezTo>
                  <a:cubicBezTo>
                    <a:pt x="1212" y="1016"/>
                    <a:pt x="1223" y="1009"/>
                    <a:pt x="1226" y="1010"/>
                  </a:cubicBezTo>
                  <a:cubicBezTo>
                    <a:pt x="1229" y="1011"/>
                    <a:pt x="1223" y="1021"/>
                    <a:pt x="1228" y="1022"/>
                  </a:cubicBezTo>
                  <a:cubicBezTo>
                    <a:pt x="1234" y="1024"/>
                    <a:pt x="1235" y="1011"/>
                    <a:pt x="1235" y="1011"/>
                  </a:cubicBezTo>
                  <a:cubicBezTo>
                    <a:pt x="1235" y="1011"/>
                    <a:pt x="1240" y="1012"/>
                    <a:pt x="1243" y="1010"/>
                  </a:cubicBezTo>
                  <a:cubicBezTo>
                    <a:pt x="1247" y="1008"/>
                    <a:pt x="1238" y="1002"/>
                    <a:pt x="1240" y="997"/>
                  </a:cubicBezTo>
                  <a:cubicBezTo>
                    <a:pt x="1242" y="993"/>
                    <a:pt x="1251" y="993"/>
                    <a:pt x="1251" y="993"/>
                  </a:cubicBezTo>
                  <a:cubicBezTo>
                    <a:pt x="1249" y="986"/>
                    <a:pt x="1249" y="986"/>
                    <a:pt x="1249" y="986"/>
                  </a:cubicBezTo>
                  <a:cubicBezTo>
                    <a:pt x="1253" y="984"/>
                    <a:pt x="1253" y="984"/>
                    <a:pt x="1253" y="984"/>
                  </a:cubicBezTo>
                  <a:cubicBezTo>
                    <a:pt x="1253" y="984"/>
                    <a:pt x="1269" y="994"/>
                    <a:pt x="1275" y="993"/>
                  </a:cubicBezTo>
                  <a:cubicBezTo>
                    <a:pt x="1281" y="993"/>
                    <a:pt x="1277" y="987"/>
                    <a:pt x="1277" y="987"/>
                  </a:cubicBezTo>
                  <a:cubicBezTo>
                    <a:pt x="1285" y="987"/>
                    <a:pt x="1285" y="987"/>
                    <a:pt x="1285" y="987"/>
                  </a:cubicBezTo>
                  <a:cubicBezTo>
                    <a:pt x="1285" y="987"/>
                    <a:pt x="1298" y="975"/>
                    <a:pt x="1306" y="974"/>
                  </a:cubicBezTo>
                  <a:cubicBezTo>
                    <a:pt x="1315" y="973"/>
                    <a:pt x="1313" y="981"/>
                    <a:pt x="1318" y="982"/>
                  </a:cubicBezTo>
                  <a:cubicBezTo>
                    <a:pt x="1322" y="984"/>
                    <a:pt x="1323" y="982"/>
                    <a:pt x="1326" y="978"/>
                  </a:cubicBezTo>
                  <a:cubicBezTo>
                    <a:pt x="1329" y="975"/>
                    <a:pt x="1334" y="976"/>
                    <a:pt x="1339" y="980"/>
                  </a:cubicBezTo>
                  <a:cubicBezTo>
                    <a:pt x="1345" y="985"/>
                    <a:pt x="1351" y="984"/>
                    <a:pt x="1356" y="984"/>
                  </a:cubicBezTo>
                  <a:cubicBezTo>
                    <a:pt x="1362" y="984"/>
                    <a:pt x="1363" y="985"/>
                    <a:pt x="1363" y="989"/>
                  </a:cubicBezTo>
                  <a:cubicBezTo>
                    <a:pt x="1363" y="992"/>
                    <a:pt x="1366" y="998"/>
                    <a:pt x="1370" y="1001"/>
                  </a:cubicBezTo>
                  <a:cubicBezTo>
                    <a:pt x="1375" y="1004"/>
                    <a:pt x="1376" y="996"/>
                    <a:pt x="1378" y="992"/>
                  </a:cubicBezTo>
                  <a:cubicBezTo>
                    <a:pt x="1379" y="988"/>
                    <a:pt x="1371" y="988"/>
                    <a:pt x="1369" y="984"/>
                  </a:cubicBezTo>
                  <a:cubicBezTo>
                    <a:pt x="1367" y="978"/>
                    <a:pt x="1362" y="979"/>
                    <a:pt x="1358" y="979"/>
                  </a:cubicBezTo>
                  <a:cubicBezTo>
                    <a:pt x="1356" y="978"/>
                    <a:pt x="1356" y="975"/>
                    <a:pt x="1358" y="971"/>
                  </a:cubicBezTo>
                  <a:cubicBezTo>
                    <a:pt x="1360" y="966"/>
                    <a:pt x="1372" y="971"/>
                    <a:pt x="1372" y="971"/>
                  </a:cubicBezTo>
                  <a:cubicBezTo>
                    <a:pt x="1372" y="971"/>
                    <a:pt x="1375" y="969"/>
                    <a:pt x="1379" y="969"/>
                  </a:cubicBezTo>
                  <a:cubicBezTo>
                    <a:pt x="1382" y="970"/>
                    <a:pt x="1382" y="973"/>
                    <a:pt x="1382" y="973"/>
                  </a:cubicBezTo>
                  <a:cubicBezTo>
                    <a:pt x="1414" y="970"/>
                    <a:pt x="1414" y="970"/>
                    <a:pt x="1414" y="970"/>
                  </a:cubicBezTo>
                  <a:cubicBezTo>
                    <a:pt x="1414" y="970"/>
                    <a:pt x="1418" y="958"/>
                    <a:pt x="1420" y="953"/>
                  </a:cubicBezTo>
                  <a:cubicBezTo>
                    <a:pt x="1422" y="946"/>
                    <a:pt x="1416" y="940"/>
                    <a:pt x="1416" y="940"/>
                  </a:cubicBezTo>
                  <a:cubicBezTo>
                    <a:pt x="1421" y="938"/>
                    <a:pt x="1421" y="938"/>
                    <a:pt x="1421" y="938"/>
                  </a:cubicBezTo>
                  <a:cubicBezTo>
                    <a:pt x="1420" y="923"/>
                    <a:pt x="1420" y="923"/>
                    <a:pt x="1420" y="923"/>
                  </a:cubicBezTo>
                  <a:cubicBezTo>
                    <a:pt x="1420" y="923"/>
                    <a:pt x="1427" y="927"/>
                    <a:pt x="1431" y="927"/>
                  </a:cubicBezTo>
                  <a:cubicBezTo>
                    <a:pt x="1435" y="926"/>
                    <a:pt x="1430" y="918"/>
                    <a:pt x="1430" y="918"/>
                  </a:cubicBezTo>
                  <a:cubicBezTo>
                    <a:pt x="1442" y="909"/>
                    <a:pt x="1442" y="909"/>
                    <a:pt x="1442" y="909"/>
                  </a:cubicBezTo>
                  <a:cubicBezTo>
                    <a:pt x="1442" y="909"/>
                    <a:pt x="1456" y="914"/>
                    <a:pt x="1461" y="912"/>
                  </a:cubicBezTo>
                  <a:cubicBezTo>
                    <a:pt x="1464" y="910"/>
                    <a:pt x="1460" y="906"/>
                    <a:pt x="1461" y="903"/>
                  </a:cubicBezTo>
                  <a:cubicBezTo>
                    <a:pt x="1462" y="902"/>
                    <a:pt x="1469" y="902"/>
                    <a:pt x="1469" y="902"/>
                  </a:cubicBezTo>
                  <a:cubicBezTo>
                    <a:pt x="1460" y="893"/>
                    <a:pt x="1460" y="893"/>
                    <a:pt x="1460" y="893"/>
                  </a:cubicBezTo>
                  <a:cubicBezTo>
                    <a:pt x="1460" y="893"/>
                    <a:pt x="1477" y="886"/>
                    <a:pt x="1479" y="884"/>
                  </a:cubicBezTo>
                  <a:cubicBezTo>
                    <a:pt x="1482" y="882"/>
                    <a:pt x="1478" y="875"/>
                    <a:pt x="1478" y="875"/>
                  </a:cubicBezTo>
                  <a:cubicBezTo>
                    <a:pt x="1478" y="875"/>
                    <a:pt x="1483" y="874"/>
                    <a:pt x="1488" y="872"/>
                  </a:cubicBezTo>
                  <a:cubicBezTo>
                    <a:pt x="1494" y="872"/>
                    <a:pt x="1494" y="878"/>
                    <a:pt x="1503" y="883"/>
                  </a:cubicBezTo>
                  <a:cubicBezTo>
                    <a:pt x="1511" y="887"/>
                    <a:pt x="1523" y="880"/>
                    <a:pt x="1532" y="876"/>
                  </a:cubicBezTo>
                  <a:cubicBezTo>
                    <a:pt x="1532" y="795"/>
                    <a:pt x="1532" y="795"/>
                    <a:pt x="1532" y="795"/>
                  </a:cubicBezTo>
                  <a:cubicBezTo>
                    <a:pt x="1522" y="796"/>
                    <a:pt x="1522" y="796"/>
                    <a:pt x="1522" y="796"/>
                  </a:cubicBezTo>
                  <a:cubicBezTo>
                    <a:pt x="1522" y="796"/>
                    <a:pt x="1526" y="792"/>
                    <a:pt x="1522" y="788"/>
                  </a:cubicBezTo>
                  <a:cubicBezTo>
                    <a:pt x="1520" y="785"/>
                    <a:pt x="1504" y="795"/>
                    <a:pt x="1504" y="795"/>
                  </a:cubicBezTo>
                  <a:cubicBezTo>
                    <a:pt x="1501" y="790"/>
                    <a:pt x="1501" y="790"/>
                    <a:pt x="1501" y="790"/>
                  </a:cubicBezTo>
                  <a:cubicBezTo>
                    <a:pt x="1509" y="767"/>
                    <a:pt x="1509" y="767"/>
                    <a:pt x="1509" y="767"/>
                  </a:cubicBezTo>
                  <a:cubicBezTo>
                    <a:pt x="1515" y="765"/>
                    <a:pt x="1515" y="765"/>
                    <a:pt x="1515" y="765"/>
                  </a:cubicBezTo>
                  <a:cubicBezTo>
                    <a:pt x="1517" y="743"/>
                    <a:pt x="1517" y="743"/>
                    <a:pt x="1517" y="743"/>
                  </a:cubicBezTo>
                  <a:cubicBezTo>
                    <a:pt x="1507" y="740"/>
                    <a:pt x="1507" y="740"/>
                    <a:pt x="1507" y="740"/>
                  </a:cubicBezTo>
                  <a:cubicBezTo>
                    <a:pt x="1502" y="742"/>
                    <a:pt x="1502" y="742"/>
                    <a:pt x="1502" y="742"/>
                  </a:cubicBezTo>
                  <a:cubicBezTo>
                    <a:pt x="1488" y="737"/>
                    <a:pt x="1488" y="737"/>
                    <a:pt x="1488" y="737"/>
                  </a:cubicBezTo>
                  <a:cubicBezTo>
                    <a:pt x="1488" y="737"/>
                    <a:pt x="1491" y="720"/>
                    <a:pt x="1491" y="718"/>
                  </a:cubicBezTo>
                  <a:cubicBezTo>
                    <a:pt x="1491" y="717"/>
                    <a:pt x="1485" y="715"/>
                    <a:pt x="1485" y="715"/>
                  </a:cubicBezTo>
                  <a:cubicBezTo>
                    <a:pt x="1496" y="707"/>
                    <a:pt x="1496" y="707"/>
                    <a:pt x="1496" y="707"/>
                  </a:cubicBezTo>
                  <a:cubicBezTo>
                    <a:pt x="1501" y="702"/>
                    <a:pt x="1501" y="702"/>
                    <a:pt x="1501" y="702"/>
                  </a:cubicBezTo>
                  <a:cubicBezTo>
                    <a:pt x="1510" y="701"/>
                    <a:pt x="1510" y="701"/>
                    <a:pt x="1510" y="701"/>
                  </a:cubicBezTo>
                  <a:cubicBezTo>
                    <a:pt x="1510" y="701"/>
                    <a:pt x="1516" y="692"/>
                    <a:pt x="1520" y="690"/>
                  </a:cubicBezTo>
                  <a:cubicBezTo>
                    <a:pt x="1524" y="688"/>
                    <a:pt x="1522" y="685"/>
                    <a:pt x="1517" y="681"/>
                  </a:cubicBezTo>
                  <a:cubicBezTo>
                    <a:pt x="1513" y="677"/>
                    <a:pt x="1511" y="683"/>
                    <a:pt x="1506" y="685"/>
                  </a:cubicBezTo>
                  <a:cubicBezTo>
                    <a:pt x="1503" y="686"/>
                    <a:pt x="1497" y="686"/>
                    <a:pt x="1497" y="686"/>
                  </a:cubicBezTo>
                  <a:cubicBezTo>
                    <a:pt x="1498" y="690"/>
                    <a:pt x="1498" y="690"/>
                    <a:pt x="1498" y="690"/>
                  </a:cubicBezTo>
                  <a:cubicBezTo>
                    <a:pt x="1482" y="695"/>
                    <a:pt x="1482" y="695"/>
                    <a:pt x="1482" y="695"/>
                  </a:cubicBezTo>
                  <a:cubicBezTo>
                    <a:pt x="1478" y="682"/>
                    <a:pt x="1478" y="682"/>
                    <a:pt x="1478" y="682"/>
                  </a:cubicBezTo>
                  <a:cubicBezTo>
                    <a:pt x="1478" y="682"/>
                    <a:pt x="1488" y="677"/>
                    <a:pt x="1483" y="674"/>
                  </a:cubicBezTo>
                  <a:cubicBezTo>
                    <a:pt x="1478" y="670"/>
                    <a:pt x="1472" y="682"/>
                    <a:pt x="1472" y="682"/>
                  </a:cubicBezTo>
                  <a:cubicBezTo>
                    <a:pt x="1466" y="681"/>
                    <a:pt x="1466" y="681"/>
                    <a:pt x="1466" y="681"/>
                  </a:cubicBezTo>
                  <a:cubicBezTo>
                    <a:pt x="1457" y="685"/>
                    <a:pt x="1457" y="685"/>
                    <a:pt x="1457" y="685"/>
                  </a:cubicBezTo>
                  <a:cubicBezTo>
                    <a:pt x="1460" y="679"/>
                    <a:pt x="1460" y="679"/>
                    <a:pt x="1460" y="679"/>
                  </a:cubicBezTo>
                  <a:cubicBezTo>
                    <a:pt x="1458" y="667"/>
                    <a:pt x="1458" y="667"/>
                    <a:pt x="1458" y="667"/>
                  </a:cubicBezTo>
                  <a:cubicBezTo>
                    <a:pt x="1446" y="669"/>
                    <a:pt x="1446" y="669"/>
                    <a:pt x="1446" y="669"/>
                  </a:cubicBezTo>
                  <a:cubicBezTo>
                    <a:pt x="1455" y="660"/>
                    <a:pt x="1455" y="660"/>
                    <a:pt x="1455" y="660"/>
                  </a:cubicBezTo>
                  <a:cubicBezTo>
                    <a:pt x="1451" y="658"/>
                    <a:pt x="1451" y="658"/>
                    <a:pt x="1451" y="658"/>
                  </a:cubicBezTo>
                  <a:cubicBezTo>
                    <a:pt x="1452" y="650"/>
                    <a:pt x="1452" y="650"/>
                    <a:pt x="1452" y="650"/>
                  </a:cubicBezTo>
                  <a:cubicBezTo>
                    <a:pt x="1465" y="650"/>
                    <a:pt x="1465" y="650"/>
                    <a:pt x="1465" y="650"/>
                  </a:cubicBezTo>
                  <a:cubicBezTo>
                    <a:pt x="1467" y="644"/>
                    <a:pt x="1467" y="644"/>
                    <a:pt x="1467" y="644"/>
                  </a:cubicBezTo>
                  <a:cubicBezTo>
                    <a:pt x="1476" y="646"/>
                    <a:pt x="1476" y="646"/>
                    <a:pt x="1476" y="646"/>
                  </a:cubicBezTo>
                  <a:cubicBezTo>
                    <a:pt x="1478" y="639"/>
                    <a:pt x="1478" y="639"/>
                    <a:pt x="1478" y="639"/>
                  </a:cubicBezTo>
                  <a:cubicBezTo>
                    <a:pt x="1486" y="627"/>
                    <a:pt x="1486" y="627"/>
                    <a:pt x="1486" y="627"/>
                  </a:cubicBezTo>
                  <a:cubicBezTo>
                    <a:pt x="1486" y="627"/>
                    <a:pt x="1489" y="636"/>
                    <a:pt x="1495" y="633"/>
                  </a:cubicBezTo>
                  <a:cubicBezTo>
                    <a:pt x="1500" y="631"/>
                    <a:pt x="1490" y="619"/>
                    <a:pt x="1490" y="619"/>
                  </a:cubicBezTo>
                  <a:cubicBezTo>
                    <a:pt x="1505" y="606"/>
                    <a:pt x="1505" y="606"/>
                    <a:pt x="1505" y="606"/>
                  </a:cubicBezTo>
                  <a:cubicBezTo>
                    <a:pt x="1501" y="599"/>
                    <a:pt x="1501" y="599"/>
                    <a:pt x="1501" y="599"/>
                  </a:cubicBezTo>
                  <a:cubicBezTo>
                    <a:pt x="1509" y="596"/>
                    <a:pt x="1509" y="596"/>
                    <a:pt x="1509" y="596"/>
                  </a:cubicBezTo>
                  <a:cubicBezTo>
                    <a:pt x="1515" y="584"/>
                    <a:pt x="1515" y="584"/>
                    <a:pt x="1515" y="584"/>
                  </a:cubicBezTo>
                  <a:cubicBezTo>
                    <a:pt x="1515" y="584"/>
                    <a:pt x="1521" y="584"/>
                    <a:pt x="1522" y="581"/>
                  </a:cubicBezTo>
                  <a:cubicBezTo>
                    <a:pt x="1524" y="578"/>
                    <a:pt x="1519" y="575"/>
                    <a:pt x="1519" y="575"/>
                  </a:cubicBezTo>
                  <a:cubicBezTo>
                    <a:pt x="1532" y="556"/>
                    <a:pt x="1532" y="556"/>
                    <a:pt x="1532" y="556"/>
                  </a:cubicBezTo>
                  <a:lnTo>
                    <a:pt x="1532" y="0"/>
                  </a:lnTo>
                  <a:close/>
                  <a:moveTo>
                    <a:pt x="375" y="778"/>
                  </a:moveTo>
                  <a:cubicBezTo>
                    <a:pt x="373" y="786"/>
                    <a:pt x="367" y="785"/>
                    <a:pt x="367" y="785"/>
                  </a:cubicBezTo>
                  <a:cubicBezTo>
                    <a:pt x="367" y="785"/>
                    <a:pt x="377" y="803"/>
                    <a:pt x="372" y="806"/>
                  </a:cubicBezTo>
                  <a:cubicBezTo>
                    <a:pt x="366" y="809"/>
                    <a:pt x="357" y="806"/>
                    <a:pt x="357" y="806"/>
                  </a:cubicBezTo>
                  <a:cubicBezTo>
                    <a:pt x="346" y="807"/>
                    <a:pt x="346" y="807"/>
                    <a:pt x="346" y="807"/>
                  </a:cubicBezTo>
                  <a:cubicBezTo>
                    <a:pt x="340" y="816"/>
                    <a:pt x="340" y="816"/>
                    <a:pt x="340" y="816"/>
                  </a:cubicBezTo>
                  <a:cubicBezTo>
                    <a:pt x="340" y="816"/>
                    <a:pt x="350" y="830"/>
                    <a:pt x="341" y="830"/>
                  </a:cubicBezTo>
                  <a:cubicBezTo>
                    <a:pt x="334" y="831"/>
                    <a:pt x="324" y="830"/>
                    <a:pt x="324" y="830"/>
                  </a:cubicBezTo>
                  <a:cubicBezTo>
                    <a:pt x="324" y="818"/>
                    <a:pt x="324" y="818"/>
                    <a:pt x="324" y="818"/>
                  </a:cubicBezTo>
                  <a:cubicBezTo>
                    <a:pt x="316" y="814"/>
                    <a:pt x="316" y="814"/>
                    <a:pt x="316" y="814"/>
                  </a:cubicBezTo>
                  <a:cubicBezTo>
                    <a:pt x="316" y="814"/>
                    <a:pt x="319" y="808"/>
                    <a:pt x="313" y="803"/>
                  </a:cubicBezTo>
                  <a:cubicBezTo>
                    <a:pt x="307" y="798"/>
                    <a:pt x="299" y="792"/>
                    <a:pt x="299" y="792"/>
                  </a:cubicBezTo>
                  <a:cubicBezTo>
                    <a:pt x="299" y="792"/>
                    <a:pt x="299" y="786"/>
                    <a:pt x="295" y="781"/>
                  </a:cubicBezTo>
                  <a:cubicBezTo>
                    <a:pt x="291" y="775"/>
                    <a:pt x="266" y="769"/>
                    <a:pt x="266" y="764"/>
                  </a:cubicBezTo>
                  <a:cubicBezTo>
                    <a:pt x="267" y="758"/>
                    <a:pt x="277" y="754"/>
                    <a:pt x="277" y="754"/>
                  </a:cubicBezTo>
                  <a:cubicBezTo>
                    <a:pt x="275" y="744"/>
                    <a:pt x="275" y="744"/>
                    <a:pt x="275" y="744"/>
                  </a:cubicBezTo>
                  <a:cubicBezTo>
                    <a:pt x="275" y="744"/>
                    <a:pt x="285" y="740"/>
                    <a:pt x="285" y="736"/>
                  </a:cubicBezTo>
                  <a:cubicBezTo>
                    <a:pt x="285" y="730"/>
                    <a:pt x="286" y="722"/>
                    <a:pt x="286" y="722"/>
                  </a:cubicBezTo>
                  <a:cubicBezTo>
                    <a:pt x="291" y="723"/>
                    <a:pt x="297" y="724"/>
                    <a:pt x="297" y="724"/>
                  </a:cubicBezTo>
                  <a:cubicBezTo>
                    <a:pt x="301" y="729"/>
                    <a:pt x="301" y="729"/>
                    <a:pt x="301" y="729"/>
                  </a:cubicBezTo>
                  <a:cubicBezTo>
                    <a:pt x="302" y="726"/>
                    <a:pt x="302" y="726"/>
                    <a:pt x="302" y="726"/>
                  </a:cubicBezTo>
                  <a:cubicBezTo>
                    <a:pt x="310" y="726"/>
                    <a:pt x="310" y="726"/>
                    <a:pt x="310" y="726"/>
                  </a:cubicBezTo>
                  <a:cubicBezTo>
                    <a:pt x="316" y="735"/>
                    <a:pt x="316" y="735"/>
                    <a:pt x="316" y="735"/>
                  </a:cubicBezTo>
                  <a:cubicBezTo>
                    <a:pt x="319" y="732"/>
                    <a:pt x="319" y="732"/>
                    <a:pt x="319" y="732"/>
                  </a:cubicBezTo>
                  <a:cubicBezTo>
                    <a:pt x="325" y="739"/>
                    <a:pt x="325" y="739"/>
                    <a:pt x="325" y="739"/>
                  </a:cubicBezTo>
                  <a:cubicBezTo>
                    <a:pt x="315" y="739"/>
                    <a:pt x="315" y="739"/>
                    <a:pt x="315" y="739"/>
                  </a:cubicBezTo>
                  <a:cubicBezTo>
                    <a:pt x="315" y="739"/>
                    <a:pt x="313" y="742"/>
                    <a:pt x="316" y="743"/>
                  </a:cubicBezTo>
                  <a:cubicBezTo>
                    <a:pt x="319" y="744"/>
                    <a:pt x="321" y="741"/>
                    <a:pt x="321" y="741"/>
                  </a:cubicBezTo>
                  <a:cubicBezTo>
                    <a:pt x="321" y="741"/>
                    <a:pt x="341" y="739"/>
                    <a:pt x="349" y="744"/>
                  </a:cubicBezTo>
                  <a:cubicBezTo>
                    <a:pt x="355" y="751"/>
                    <a:pt x="356" y="755"/>
                    <a:pt x="356" y="755"/>
                  </a:cubicBezTo>
                  <a:cubicBezTo>
                    <a:pt x="366" y="760"/>
                    <a:pt x="366" y="760"/>
                    <a:pt x="366" y="760"/>
                  </a:cubicBezTo>
                  <a:cubicBezTo>
                    <a:pt x="369" y="770"/>
                    <a:pt x="369" y="770"/>
                    <a:pt x="369" y="770"/>
                  </a:cubicBezTo>
                  <a:cubicBezTo>
                    <a:pt x="369" y="770"/>
                    <a:pt x="376" y="771"/>
                    <a:pt x="375" y="778"/>
                  </a:cubicBezTo>
                  <a:close/>
                  <a:moveTo>
                    <a:pt x="464" y="712"/>
                  </a:moveTo>
                  <a:cubicBezTo>
                    <a:pt x="462" y="717"/>
                    <a:pt x="462" y="724"/>
                    <a:pt x="462" y="724"/>
                  </a:cubicBezTo>
                  <a:cubicBezTo>
                    <a:pt x="449" y="726"/>
                    <a:pt x="449" y="726"/>
                    <a:pt x="449" y="726"/>
                  </a:cubicBezTo>
                  <a:cubicBezTo>
                    <a:pt x="449" y="726"/>
                    <a:pt x="454" y="717"/>
                    <a:pt x="446" y="708"/>
                  </a:cubicBezTo>
                  <a:cubicBezTo>
                    <a:pt x="437" y="698"/>
                    <a:pt x="425" y="697"/>
                    <a:pt x="425" y="697"/>
                  </a:cubicBezTo>
                  <a:cubicBezTo>
                    <a:pt x="408" y="694"/>
                    <a:pt x="408" y="694"/>
                    <a:pt x="408" y="694"/>
                  </a:cubicBezTo>
                  <a:cubicBezTo>
                    <a:pt x="388" y="677"/>
                    <a:pt x="388" y="677"/>
                    <a:pt x="388" y="677"/>
                  </a:cubicBezTo>
                  <a:cubicBezTo>
                    <a:pt x="398" y="683"/>
                    <a:pt x="398" y="683"/>
                    <a:pt x="398" y="683"/>
                  </a:cubicBezTo>
                  <a:cubicBezTo>
                    <a:pt x="401" y="683"/>
                    <a:pt x="401" y="683"/>
                    <a:pt x="401" y="683"/>
                  </a:cubicBezTo>
                  <a:cubicBezTo>
                    <a:pt x="401" y="674"/>
                    <a:pt x="401" y="674"/>
                    <a:pt x="401" y="674"/>
                  </a:cubicBezTo>
                  <a:cubicBezTo>
                    <a:pt x="392" y="669"/>
                    <a:pt x="392" y="669"/>
                    <a:pt x="392" y="669"/>
                  </a:cubicBezTo>
                  <a:cubicBezTo>
                    <a:pt x="389" y="667"/>
                    <a:pt x="389" y="667"/>
                    <a:pt x="389" y="667"/>
                  </a:cubicBezTo>
                  <a:cubicBezTo>
                    <a:pt x="381" y="658"/>
                    <a:pt x="381" y="658"/>
                    <a:pt x="381" y="658"/>
                  </a:cubicBezTo>
                  <a:cubicBezTo>
                    <a:pt x="373" y="650"/>
                    <a:pt x="373" y="650"/>
                    <a:pt x="373" y="650"/>
                  </a:cubicBezTo>
                  <a:cubicBezTo>
                    <a:pt x="375" y="650"/>
                    <a:pt x="375" y="650"/>
                    <a:pt x="375" y="650"/>
                  </a:cubicBezTo>
                  <a:cubicBezTo>
                    <a:pt x="384" y="656"/>
                    <a:pt x="384" y="656"/>
                    <a:pt x="384" y="656"/>
                  </a:cubicBezTo>
                  <a:cubicBezTo>
                    <a:pt x="386" y="661"/>
                    <a:pt x="386" y="661"/>
                    <a:pt x="386" y="661"/>
                  </a:cubicBezTo>
                  <a:cubicBezTo>
                    <a:pt x="401" y="669"/>
                    <a:pt x="401" y="669"/>
                    <a:pt x="401" y="669"/>
                  </a:cubicBezTo>
                  <a:cubicBezTo>
                    <a:pt x="401" y="666"/>
                    <a:pt x="401" y="666"/>
                    <a:pt x="401" y="666"/>
                  </a:cubicBezTo>
                  <a:cubicBezTo>
                    <a:pt x="395" y="658"/>
                    <a:pt x="395" y="658"/>
                    <a:pt x="395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85" y="646"/>
                    <a:pt x="385" y="646"/>
                    <a:pt x="385" y="646"/>
                  </a:cubicBezTo>
                  <a:cubicBezTo>
                    <a:pt x="398" y="653"/>
                    <a:pt x="398" y="653"/>
                    <a:pt x="398" y="653"/>
                  </a:cubicBezTo>
                  <a:cubicBezTo>
                    <a:pt x="385" y="638"/>
                    <a:pt x="385" y="638"/>
                    <a:pt x="385" y="638"/>
                  </a:cubicBezTo>
                  <a:cubicBezTo>
                    <a:pt x="385" y="638"/>
                    <a:pt x="401" y="649"/>
                    <a:pt x="402" y="653"/>
                  </a:cubicBezTo>
                  <a:cubicBezTo>
                    <a:pt x="404" y="656"/>
                    <a:pt x="411" y="662"/>
                    <a:pt x="413" y="663"/>
                  </a:cubicBezTo>
                  <a:cubicBezTo>
                    <a:pt x="414" y="663"/>
                    <a:pt x="414" y="660"/>
                    <a:pt x="414" y="660"/>
                  </a:cubicBezTo>
                  <a:cubicBezTo>
                    <a:pt x="414" y="660"/>
                    <a:pt x="407" y="656"/>
                    <a:pt x="408" y="654"/>
                  </a:cubicBezTo>
                  <a:cubicBezTo>
                    <a:pt x="409" y="651"/>
                    <a:pt x="422" y="660"/>
                    <a:pt x="422" y="650"/>
                  </a:cubicBezTo>
                  <a:cubicBezTo>
                    <a:pt x="423" y="641"/>
                    <a:pt x="411" y="632"/>
                    <a:pt x="411" y="632"/>
                  </a:cubicBezTo>
                  <a:cubicBezTo>
                    <a:pt x="405" y="632"/>
                    <a:pt x="405" y="632"/>
                    <a:pt x="405" y="632"/>
                  </a:cubicBezTo>
                  <a:cubicBezTo>
                    <a:pt x="397" y="629"/>
                    <a:pt x="397" y="629"/>
                    <a:pt x="397" y="629"/>
                  </a:cubicBezTo>
                  <a:cubicBezTo>
                    <a:pt x="393" y="629"/>
                    <a:pt x="393" y="629"/>
                    <a:pt x="393" y="629"/>
                  </a:cubicBezTo>
                  <a:cubicBezTo>
                    <a:pt x="404" y="643"/>
                    <a:pt x="404" y="643"/>
                    <a:pt x="404" y="643"/>
                  </a:cubicBezTo>
                  <a:cubicBezTo>
                    <a:pt x="404" y="643"/>
                    <a:pt x="374" y="620"/>
                    <a:pt x="376" y="618"/>
                  </a:cubicBezTo>
                  <a:cubicBezTo>
                    <a:pt x="379" y="615"/>
                    <a:pt x="385" y="620"/>
                    <a:pt x="385" y="620"/>
                  </a:cubicBezTo>
                  <a:cubicBezTo>
                    <a:pt x="385" y="620"/>
                    <a:pt x="390" y="618"/>
                    <a:pt x="393" y="619"/>
                  </a:cubicBezTo>
                  <a:cubicBezTo>
                    <a:pt x="397" y="619"/>
                    <a:pt x="407" y="625"/>
                    <a:pt x="407" y="625"/>
                  </a:cubicBezTo>
                  <a:cubicBezTo>
                    <a:pt x="407" y="625"/>
                    <a:pt x="421" y="622"/>
                    <a:pt x="426" y="632"/>
                  </a:cubicBezTo>
                  <a:cubicBezTo>
                    <a:pt x="433" y="642"/>
                    <a:pt x="424" y="654"/>
                    <a:pt x="429" y="657"/>
                  </a:cubicBezTo>
                  <a:cubicBezTo>
                    <a:pt x="433" y="660"/>
                    <a:pt x="440" y="670"/>
                    <a:pt x="440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8" y="677"/>
                    <a:pt x="448" y="677"/>
                    <a:pt x="448" y="677"/>
                  </a:cubicBezTo>
                  <a:cubicBezTo>
                    <a:pt x="448" y="677"/>
                    <a:pt x="466" y="682"/>
                    <a:pt x="468" y="692"/>
                  </a:cubicBezTo>
                  <a:cubicBezTo>
                    <a:pt x="470" y="702"/>
                    <a:pt x="467" y="707"/>
                    <a:pt x="464" y="71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3" name="Litauen" descr="© INSCALE GmbH, 05.05.2010&#10;http://www.presentationload.com/">
              <a:extLst>
                <a:ext uri="{FF2B5EF4-FFF2-40B4-BE49-F238E27FC236}">
                  <a16:creationId xmlns:a16="http://schemas.microsoft.com/office/drawing/2014/main" id="{41FA55F6-8DB9-EE46-8377-E9170A569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1314" y="3509648"/>
              <a:ext cx="529729" cy="401010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" name="Sp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EFFD3AF0-CFA3-1843-8C92-5D8CC952D9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28478" y="5334821"/>
              <a:ext cx="1506677" cy="1242637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" name="Italien" descr="© INSCALE GmbH, 05.05.2010&#10;http://www.presentationload.com/">
              <a:extLst>
                <a:ext uri="{FF2B5EF4-FFF2-40B4-BE49-F238E27FC236}">
                  <a16:creationId xmlns:a16="http://schemas.microsoft.com/office/drawing/2014/main" id="{43940C29-EB74-654C-AC81-0E5F42E5BE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63553" y="5059231"/>
              <a:ext cx="1407662" cy="1617242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FCE53FAD-B49D-114A-8F48-8D3BBB21AB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529858" y="5691275"/>
              <a:ext cx="47858" cy="41257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" name="Deutsch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8080B04-E69A-C643-A257-81203151C1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50351" y="3808344"/>
              <a:ext cx="909287" cy="1227784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" name="Saudi-Arabien" descr="© INSCALE GmbH, 05.05.2010&#10;http://www.presentationload.com/">
              <a:extLst>
                <a:ext uri="{FF2B5EF4-FFF2-40B4-BE49-F238E27FC236}">
                  <a16:creationId xmlns:a16="http://schemas.microsoft.com/office/drawing/2014/main" id="{40EA2FBF-960D-B249-B720-F96918CB742E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8580" y="6668221"/>
              <a:ext cx="795420" cy="189779"/>
            </a:xfrm>
            <a:custGeom>
              <a:avLst/>
              <a:gdLst/>
              <a:ahLst/>
              <a:cxnLst>
                <a:cxn ang="0">
                  <a:pos x="333" y="80"/>
                </a:cxn>
                <a:cxn ang="0">
                  <a:pos x="333" y="30"/>
                </a:cxn>
                <a:cxn ang="0">
                  <a:pos x="319" y="13"/>
                </a:cxn>
                <a:cxn ang="0">
                  <a:pos x="224" y="11"/>
                </a:cxn>
                <a:cxn ang="0">
                  <a:pos x="122" y="0"/>
                </a:cxn>
                <a:cxn ang="0">
                  <a:pos x="78" y="7"/>
                </a:cxn>
                <a:cxn ang="0">
                  <a:pos x="66" y="29"/>
                </a:cxn>
                <a:cxn ang="0">
                  <a:pos x="15" y="68"/>
                </a:cxn>
                <a:cxn ang="0">
                  <a:pos x="0" y="80"/>
                </a:cxn>
                <a:cxn ang="0">
                  <a:pos x="333" y="80"/>
                </a:cxn>
              </a:cxnLst>
              <a:rect l="0" t="0" r="r" b="b"/>
              <a:pathLst>
                <a:path w="333" h="80">
                  <a:moveTo>
                    <a:pt x="333" y="80"/>
                  </a:moveTo>
                  <a:cubicBezTo>
                    <a:pt x="333" y="30"/>
                    <a:pt x="333" y="30"/>
                    <a:pt x="333" y="30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9" y="13"/>
                    <a:pt x="251" y="13"/>
                    <a:pt x="224" y="11"/>
                  </a:cubicBezTo>
                  <a:cubicBezTo>
                    <a:pt x="197" y="11"/>
                    <a:pt x="135" y="0"/>
                    <a:pt x="122" y="0"/>
                  </a:cubicBezTo>
                  <a:cubicBezTo>
                    <a:pt x="108" y="0"/>
                    <a:pt x="78" y="7"/>
                    <a:pt x="78" y="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25" y="61"/>
                    <a:pt x="15" y="68"/>
                  </a:cubicBezTo>
                  <a:cubicBezTo>
                    <a:pt x="11" y="70"/>
                    <a:pt x="6" y="74"/>
                    <a:pt x="0" y="80"/>
                  </a:cubicBezTo>
                  <a:lnTo>
                    <a:pt x="333" y="8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9" name="Jord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2556CF34-5F6F-8A40-A05E-6560E9DF22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21832" y="6537852"/>
              <a:ext cx="513227" cy="320148"/>
            </a:xfrm>
            <a:custGeom>
              <a:avLst/>
              <a:gdLst/>
              <a:ahLst/>
              <a:cxnLst>
                <a:cxn ang="0">
                  <a:pos x="5" y="128"/>
                </a:cxn>
                <a:cxn ang="0">
                  <a:pos x="7" y="134"/>
                </a:cxn>
                <a:cxn ang="0">
                  <a:pos x="137" y="134"/>
                </a:cxn>
                <a:cxn ang="0">
                  <a:pos x="152" y="122"/>
                </a:cxn>
                <a:cxn ang="0">
                  <a:pos x="203" y="83"/>
                </a:cxn>
                <a:cxn ang="0">
                  <a:pos x="215" y="61"/>
                </a:cxn>
                <a:cxn ang="0">
                  <a:pos x="158" y="0"/>
                </a:cxn>
                <a:cxn ang="0">
                  <a:pos x="76" y="109"/>
                </a:cxn>
                <a:cxn ang="0">
                  <a:pos x="49" y="110"/>
                </a:cxn>
                <a:cxn ang="0">
                  <a:pos x="42" y="105"/>
                </a:cxn>
                <a:cxn ang="0">
                  <a:pos x="34" y="109"/>
                </a:cxn>
                <a:cxn ang="0">
                  <a:pos x="30" y="109"/>
                </a:cxn>
                <a:cxn ang="0">
                  <a:pos x="18" y="99"/>
                </a:cxn>
                <a:cxn ang="0">
                  <a:pos x="5" y="107"/>
                </a:cxn>
                <a:cxn ang="0">
                  <a:pos x="0" y="110"/>
                </a:cxn>
                <a:cxn ang="0">
                  <a:pos x="3" y="120"/>
                </a:cxn>
                <a:cxn ang="0">
                  <a:pos x="5" y="128"/>
                </a:cxn>
              </a:cxnLst>
              <a:rect l="0" t="0" r="r" b="b"/>
              <a:pathLst>
                <a:path w="215" h="134">
                  <a:moveTo>
                    <a:pt x="5" y="128"/>
                  </a:moveTo>
                  <a:cubicBezTo>
                    <a:pt x="7" y="134"/>
                    <a:pt x="7" y="134"/>
                    <a:pt x="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43" y="128"/>
                    <a:pt x="148" y="124"/>
                    <a:pt x="152" y="122"/>
                  </a:cubicBezTo>
                  <a:cubicBezTo>
                    <a:pt x="162" y="115"/>
                    <a:pt x="203" y="83"/>
                    <a:pt x="203" y="83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0"/>
                    <a:pt x="48" y="106"/>
                    <a:pt x="42" y="105"/>
                  </a:cubicBezTo>
                  <a:cubicBezTo>
                    <a:pt x="35" y="105"/>
                    <a:pt x="34" y="109"/>
                    <a:pt x="34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26" y="100"/>
                    <a:pt x="18" y="99"/>
                  </a:cubicBezTo>
                  <a:cubicBezTo>
                    <a:pt x="10" y="99"/>
                    <a:pt x="5" y="107"/>
                    <a:pt x="5" y="10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8"/>
                    <a:pt x="3" y="120"/>
                  </a:cubicBezTo>
                  <a:cubicBezTo>
                    <a:pt x="7" y="123"/>
                    <a:pt x="5" y="128"/>
                    <a:pt x="5" y="12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0" name="Freeform 9" descr="© INSCALE GmbH, 05.05.2010&#10;http://www.presentationload.com/">
              <a:extLst>
                <a:ext uri="{FF2B5EF4-FFF2-40B4-BE49-F238E27FC236}">
                  <a16:creationId xmlns:a16="http://schemas.microsoft.com/office/drawing/2014/main" id="{AF809ACA-1D57-7D48-86F1-A4CAC2CE4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1017" y="5077384"/>
              <a:ext cx="344901" cy="242586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1" name="Freeform 79" descr="© INSCALE GmbH, 05.05.2010&#10;http://www.presentationload.com/">
              <a:extLst>
                <a:ext uri="{FF2B5EF4-FFF2-40B4-BE49-F238E27FC236}">
                  <a16:creationId xmlns:a16="http://schemas.microsoft.com/office/drawing/2014/main" id="{F93E05D2-73D9-D84A-94A9-519D5AB92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3260" y="5561736"/>
              <a:ext cx="207930" cy="26074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9" y="9"/>
                </a:cxn>
                <a:cxn ang="0">
                  <a:pos x="44" y="9"/>
                </a:cxn>
                <a:cxn ang="0">
                  <a:pos x="34" y="2"/>
                </a:cxn>
                <a:cxn ang="0">
                  <a:pos x="32" y="13"/>
                </a:cxn>
                <a:cxn ang="0">
                  <a:pos x="49" y="36"/>
                </a:cxn>
                <a:cxn ang="0">
                  <a:pos x="30" y="32"/>
                </a:cxn>
                <a:cxn ang="0">
                  <a:pos x="13" y="43"/>
                </a:cxn>
                <a:cxn ang="0">
                  <a:pos x="15" y="70"/>
                </a:cxn>
                <a:cxn ang="0">
                  <a:pos x="2" y="78"/>
                </a:cxn>
                <a:cxn ang="0">
                  <a:pos x="3" y="108"/>
                </a:cxn>
                <a:cxn ang="0">
                  <a:pos x="9" y="108"/>
                </a:cxn>
                <a:cxn ang="0">
                  <a:pos x="9" y="127"/>
                </a:cxn>
                <a:cxn ang="0">
                  <a:pos x="0" y="133"/>
                </a:cxn>
                <a:cxn ang="0">
                  <a:pos x="0" y="144"/>
                </a:cxn>
                <a:cxn ang="0">
                  <a:pos x="7" y="148"/>
                </a:cxn>
                <a:cxn ang="0">
                  <a:pos x="19" y="136"/>
                </a:cxn>
                <a:cxn ang="0">
                  <a:pos x="28" y="138"/>
                </a:cxn>
                <a:cxn ang="0">
                  <a:pos x="25" y="159"/>
                </a:cxn>
                <a:cxn ang="0">
                  <a:pos x="34" y="165"/>
                </a:cxn>
                <a:cxn ang="0">
                  <a:pos x="47" y="163"/>
                </a:cxn>
                <a:cxn ang="0">
                  <a:pos x="49" y="170"/>
                </a:cxn>
                <a:cxn ang="0">
                  <a:pos x="72" y="189"/>
                </a:cxn>
                <a:cxn ang="0">
                  <a:pos x="72" y="199"/>
                </a:cxn>
                <a:cxn ang="0">
                  <a:pos x="82" y="205"/>
                </a:cxn>
                <a:cxn ang="0">
                  <a:pos x="93" y="208"/>
                </a:cxn>
                <a:cxn ang="0">
                  <a:pos x="91" y="193"/>
                </a:cxn>
                <a:cxn ang="0">
                  <a:pos x="87" y="174"/>
                </a:cxn>
                <a:cxn ang="0">
                  <a:pos x="82" y="172"/>
                </a:cxn>
                <a:cxn ang="0">
                  <a:pos x="116" y="106"/>
                </a:cxn>
                <a:cxn ang="0">
                  <a:pos x="121" y="108"/>
                </a:cxn>
                <a:cxn ang="0">
                  <a:pos x="121" y="121"/>
                </a:cxn>
                <a:cxn ang="0">
                  <a:pos x="135" y="129"/>
                </a:cxn>
                <a:cxn ang="0">
                  <a:pos x="145" y="122"/>
                </a:cxn>
                <a:cxn ang="0">
                  <a:pos x="140" y="116"/>
                </a:cxn>
                <a:cxn ang="0">
                  <a:pos x="130" y="96"/>
                </a:cxn>
                <a:cxn ang="0">
                  <a:pos x="138" y="90"/>
                </a:cxn>
                <a:cxn ang="0">
                  <a:pos x="146" y="90"/>
                </a:cxn>
                <a:cxn ang="0">
                  <a:pos x="153" y="92"/>
                </a:cxn>
                <a:cxn ang="0">
                  <a:pos x="158" y="83"/>
                </a:cxn>
                <a:cxn ang="0">
                  <a:pos x="164" y="78"/>
                </a:cxn>
                <a:cxn ang="0">
                  <a:pos x="166" y="66"/>
                </a:cxn>
                <a:cxn ang="0">
                  <a:pos x="153" y="63"/>
                </a:cxn>
                <a:cxn ang="0">
                  <a:pos x="120" y="47"/>
                </a:cxn>
                <a:cxn ang="0">
                  <a:pos x="109" y="43"/>
                </a:cxn>
                <a:cxn ang="0">
                  <a:pos x="94" y="30"/>
                </a:cxn>
                <a:cxn ang="0">
                  <a:pos x="78" y="19"/>
                </a:cxn>
                <a:cxn ang="0">
                  <a:pos x="66" y="10"/>
                </a:cxn>
                <a:cxn ang="0">
                  <a:pos x="60" y="0"/>
                </a:cxn>
              </a:cxnLst>
              <a:rect l="0" t="0" r="r" b="b"/>
              <a:pathLst>
                <a:path w="166" h="208">
                  <a:moveTo>
                    <a:pt x="60" y="0"/>
                  </a:moveTo>
                  <a:cubicBezTo>
                    <a:pt x="59" y="9"/>
                    <a:pt x="59" y="9"/>
                    <a:pt x="5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53" y="30"/>
                    <a:pt x="49" y="36"/>
                  </a:cubicBezTo>
                  <a:cubicBezTo>
                    <a:pt x="44" y="42"/>
                    <a:pt x="36" y="32"/>
                    <a:pt x="30" y="32"/>
                  </a:cubicBezTo>
                  <a:cubicBezTo>
                    <a:pt x="21" y="32"/>
                    <a:pt x="15" y="40"/>
                    <a:pt x="13" y="43"/>
                  </a:cubicBezTo>
                  <a:cubicBezTo>
                    <a:pt x="9" y="49"/>
                    <a:pt x="19" y="66"/>
                    <a:pt x="15" y="70"/>
                  </a:cubicBezTo>
                  <a:cubicBezTo>
                    <a:pt x="11" y="72"/>
                    <a:pt x="6" y="72"/>
                    <a:pt x="2" y="78"/>
                  </a:cubicBezTo>
                  <a:cubicBezTo>
                    <a:pt x="0" y="83"/>
                    <a:pt x="3" y="108"/>
                    <a:pt x="3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2" y="199"/>
                    <a:pt x="72" y="199"/>
                    <a:pt x="72" y="199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82" y="172"/>
                    <a:pt x="82" y="172"/>
                    <a:pt x="82" y="172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21" y="108"/>
                    <a:pt x="121" y="108"/>
                    <a:pt x="121" y="108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53" y="63"/>
                    <a:pt x="153" y="63"/>
                    <a:pt x="153" y="63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2" name="Freeform 141" descr="© INSCALE GmbH, 05.05.2010&#10;http://www.presentationload.com/">
              <a:extLst>
                <a:ext uri="{FF2B5EF4-FFF2-40B4-BE49-F238E27FC236}">
                  <a16:creationId xmlns:a16="http://schemas.microsoft.com/office/drawing/2014/main" id="{29987B60-09DE-B649-90F9-CD11C7246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6659" y="5147524"/>
              <a:ext cx="519827" cy="585114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3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F3F863CD-0F50-7045-83C7-04713D0C0D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4838" y="5592658"/>
              <a:ext cx="223776" cy="228166"/>
            </a:xfrm>
            <a:custGeom>
              <a:avLst/>
              <a:gdLst/>
              <a:ahLst/>
              <a:cxnLst>
                <a:cxn ang="0">
                  <a:pos x="63" y="40"/>
                </a:cxn>
                <a:cxn ang="0">
                  <a:pos x="65" y="36"/>
                </a:cxn>
                <a:cxn ang="0">
                  <a:pos x="68" y="29"/>
                </a:cxn>
                <a:cxn ang="0">
                  <a:pos x="66" y="24"/>
                </a:cxn>
                <a:cxn ang="0">
                  <a:pos x="61" y="22"/>
                </a:cxn>
                <a:cxn ang="0">
                  <a:pos x="59" y="21"/>
                </a:cxn>
                <a:cxn ang="0">
                  <a:pos x="54" y="19"/>
                </a:cxn>
                <a:cxn ang="0">
                  <a:pos x="51" y="16"/>
                </a:cxn>
                <a:cxn ang="0">
                  <a:pos x="47" y="15"/>
                </a:cxn>
                <a:cxn ang="0">
                  <a:pos x="44" y="11"/>
                </a:cxn>
                <a:cxn ang="0">
                  <a:pos x="39" y="9"/>
                </a:cxn>
                <a:cxn ang="0">
                  <a:pos x="37" y="8"/>
                </a:cxn>
                <a:cxn ang="0">
                  <a:pos x="34" y="7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1" y="1"/>
                </a:cxn>
                <a:cxn ang="0">
                  <a:pos x="27" y="4"/>
                </a:cxn>
                <a:cxn ang="0">
                  <a:pos x="24" y="9"/>
                </a:cxn>
                <a:cxn ang="0">
                  <a:pos x="25" y="15"/>
                </a:cxn>
                <a:cxn ang="0">
                  <a:pos x="22" y="20"/>
                </a:cxn>
                <a:cxn ang="0">
                  <a:pos x="18" y="24"/>
                </a:cxn>
                <a:cxn ang="0">
                  <a:pos x="10" y="24"/>
                </a:cxn>
                <a:cxn ang="0">
                  <a:pos x="6" y="25"/>
                </a:cxn>
                <a:cxn ang="0">
                  <a:pos x="0" y="27"/>
                </a:cxn>
                <a:cxn ang="0">
                  <a:pos x="5" y="37"/>
                </a:cxn>
                <a:cxn ang="0">
                  <a:pos x="12" y="38"/>
                </a:cxn>
                <a:cxn ang="0">
                  <a:pos x="26" y="48"/>
                </a:cxn>
                <a:cxn ang="0">
                  <a:pos x="29" y="69"/>
                </a:cxn>
                <a:cxn ang="0">
                  <a:pos x="35" y="55"/>
                </a:cxn>
                <a:cxn ang="0">
                  <a:pos x="46" y="47"/>
                </a:cxn>
                <a:cxn ang="0">
                  <a:pos x="58" y="43"/>
                </a:cxn>
                <a:cxn ang="0">
                  <a:pos x="63" y="42"/>
                </a:cxn>
              </a:cxnLst>
              <a:rect l="0" t="0" r="r" b="b"/>
              <a:pathLst>
                <a:path w="68" h="69">
                  <a:moveTo>
                    <a:pt x="63" y="42"/>
                  </a:moveTo>
                  <a:cubicBezTo>
                    <a:pt x="63" y="41"/>
                    <a:pt x="63" y="40"/>
                    <a:pt x="63" y="40"/>
                  </a:cubicBezTo>
                  <a:cubicBezTo>
                    <a:pt x="63" y="40"/>
                    <a:pt x="64" y="39"/>
                    <a:pt x="64" y="38"/>
                  </a:cubicBezTo>
                  <a:cubicBezTo>
                    <a:pt x="64" y="38"/>
                    <a:pt x="65" y="36"/>
                    <a:pt x="65" y="3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8" y="30"/>
                    <a:pt x="68" y="29"/>
                  </a:cubicBezTo>
                  <a:cubicBezTo>
                    <a:pt x="68" y="29"/>
                    <a:pt x="67" y="27"/>
                    <a:pt x="67" y="27"/>
                  </a:cubicBezTo>
                  <a:cubicBezTo>
                    <a:pt x="67" y="27"/>
                    <a:pt x="66" y="24"/>
                    <a:pt x="66" y="24"/>
                  </a:cubicBezTo>
                  <a:cubicBezTo>
                    <a:pt x="65" y="23"/>
                    <a:pt x="63" y="23"/>
                    <a:pt x="63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8" y="16"/>
                    <a:pt x="47" y="15"/>
                    <a:pt x="47" y="15"/>
                  </a:cubicBezTo>
                  <a:cubicBezTo>
                    <a:pt x="47" y="15"/>
                    <a:pt x="47" y="12"/>
                    <a:pt x="47" y="12"/>
                  </a:cubicBezTo>
                  <a:cubicBezTo>
                    <a:pt x="46" y="11"/>
                    <a:pt x="44" y="11"/>
                    <a:pt x="44" y="11"/>
                  </a:cubicBezTo>
                  <a:cubicBezTo>
                    <a:pt x="44" y="11"/>
                    <a:pt x="44" y="9"/>
                    <a:pt x="43" y="9"/>
                  </a:cubicBezTo>
                  <a:cubicBezTo>
                    <a:pt x="42" y="9"/>
                    <a:pt x="40" y="10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8" y="8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2" y="6"/>
                    <a:pt x="33" y="5"/>
                    <a:pt x="34" y="4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1" y="1"/>
                  </a:cubicBezTo>
                  <a:cubicBezTo>
                    <a:pt x="31" y="1"/>
                    <a:pt x="30" y="4"/>
                    <a:pt x="30" y="4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8"/>
                    <a:pt x="24" y="9"/>
                  </a:cubicBezTo>
                  <a:cubicBezTo>
                    <a:pt x="25" y="9"/>
                    <a:pt x="25" y="10"/>
                    <a:pt x="26" y="11"/>
                  </a:cubicBezTo>
                  <a:cubicBezTo>
                    <a:pt x="26" y="11"/>
                    <a:pt x="25" y="15"/>
                    <a:pt x="25" y="15"/>
                  </a:cubicBezTo>
                  <a:cubicBezTo>
                    <a:pt x="25" y="15"/>
                    <a:pt x="23" y="17"/>
                    <a:pt x="22" y="18"/>
                  </a:cubicBezTo>
                  <a:cubicBezTo>
                    <a:pt x="21" y="19"/>
                    <a:pt x="22" y="20"/>
                    <a:pt x="22" y="20"/>
                  </a:cubicBezTo>
                  <a:cubicBezTo>
                    <a:pt x="21" y="21"/>
                    <a:pt x="21" y="22"/>
                    <a:pt x="20" y="23"/>
                  </a:cubicBezTo>
                  <a:cubicBezTo>
                    <a:pt x="20" y="23"/>
                    <a:pt x="18" y="24"/>
                    <a:pt x="1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1" y="36"/>
                    <a:pt x="12" y="38"/>
                  </a:cubicBezTo>
                  <a:cubicBezTo>
                    <a:pt x="14" y="40"/>
                    <a:pt x="15" y="45"/>
                    <a:pt x="15" y="45"/>
                  </a:cubicBezTo>
                  <a:cubicBezTo>
                    <a:pt x="15" y="45"/>
                    <a:pt x="23" y="46"/>
                    <a:pt x="26" y="48"/>
                  </a:cubicBezTo>
                  <a:cubicBezTo>
                    <a:pt x="28" y="52"/>
                    <a:pt x="31" y="59"/>
                    <a:pt x="31" y="5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3" y="58"/>
                    <a:pt x="35" y="55"/>
                  </a:cubicBezTo>
                  <a:cubicBezTo>
                    <a:pt x="37" y="51"/>
                    <a:pt x="42" y="51"/>
                    <a:pt x="42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60" y="43"/>
                    <a:pt x="61" y="43"/>
                  </a:cubicBezTo>
                  <a:cubicBezTo>
                    <a:pt x="62" y="42"/>
                    <a:pt x="63" y="42"/>
                    <a:pt x="63" y="4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4" name="Freeform 7" descr="© INSCALE GmbH, 05.05.2010&#10;http://www.presentationload.com/">
              <a:extLst>
                <a:ext uri="{FF2B5EF4-FFF2-40B4-BE49-F238E27FC236}">
                  <a16:creationId xmlns:a16="http://schemas.microsoft.com/office/drawing/2014/main" id="{0F12AA26-9A8C-D243-8FAD-8ACD6B875E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9195" y="4433787"/>
              <a:ext cx="704656" cy="397709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5" name="Freeform 20" descr="© INSCALE GmbH, 05.05.2010&#10;http://www.presentationload.com/">
              <a:extLst>
                <a:ext uri="{FF2B5EF4-FFF2-40B4-BE49-F238E27FC236}">
                  <a16:creationId xmlns:a16="http://schemas.microsoft.com/office/drawing/2014/main" id="{3D2CD66F-2E2B-FD4B-AABE-3E54572497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30918" y="5130191"/>
              <a:ext cx="668349" cy="613892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6" name="Freeform 26" descr="© INSCALE GmbH, 05.05.2010&#10;http://www.presentationload.com/">
              <a:extLst>
                <a:ext uri="{FF2B5EF4-FFF2-40B4-BE49-F238E27FC236}">
                  <a16:creationId xmlns:a16="http://schemas.microsoft.com/office/drawing/2014/main" id="{1F4AD5A9-1CB7-AE4B-A406-F5C0281171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820" y="4623566"/>
              <a:ext cx="587488" cy="310247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7" name="Freeform 27" descr="© INSCALE GmbH, 05.05.2010&#10;http://www.presentationload.com/">
              <a:extLst>
                <a:ext uri="{FF2B5EF4-FFF2-40B4-BE49-F238E27FC236}">
                  <a16:creationId xmlns:a16="http://schemas.microsoft.com/office/drawing/2014/main" id="{46302BA9-37CC-C045-9471-C3C5ECBCD18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410" y="4762187"/>
              <a:ext cx="716207" cy="478571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8" name="Freeform 32" descr="© INSCALE GmbH, 05.05.2010&#10;http://www.presentationload.com/">
              <a:extLst>
                <a:ext uri="{FF2B5EF4-FFF2-40B4-BE49-F238E27FC236}">
                  <a16:creationId xmlns:a16="http://schemas.microsoft.com/office/drawing/2014/main" id="{FDE6B26E-0DA2-C349-99AB-CE70EEC855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5180" y="4712680"/>
              <a:ext cx="1071010" cy="760763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9" name="Freeform 52" descr="© INSCALE GmbH, 05.05.2010&#10;http://www.presentationload.com/">
              <a:extLst>
                <a:ext uri="{FF2B5EF4-FFF2-40B4-BE49-F238E27FC236}">
                  <a16:creationId xmlns:a16="http://schemas.microsoft.com/office/drawing/2014/main" id="{2D7945EE-E5D4-0C4D-BE10-BFAAC73CAF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4022" y="3836397"/>
              <a:ext cx="1029753" cy="849878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0" name="Frank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4F4FCEBA-5739-0943-B838-DE52D460DB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478" y="4395832"/>
              <a:ext cx="1496774" cy="1554533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1" name="Sch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6D2684C6-DB94-E042-8D36-6E707F59D0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88331" y="1638269"/>
              <a:ext cx="872981" cy="2145322"/>
            </a:xfrm>
            <a:custGeom>
              <a:avLst/>
              <a:gdLst/>
              <a:ahLst/>
              <a:cxnLst>
                <a:cxn ang="0">
                  <a:pos x="336" y="111"/>
                </a:cxn>
                <a:cxn ang="0">
                  <a:pos x="305" y="38"/>
                </a:cxn>
                <a:cxn ang="0">
                  <a:pos x="247" y="2"/>
                </a:cxn>
                <a:cxn ang="0">
                  <a:pos x="194" y="36"/>
                </a:cxn>
                <a:cxn ang="0">
                  <a:pos x="136" y="151"/>
                </a:cxn>
                <a:cxn ang="0">
                  <a:pos x="98" y="268"/>
                </a:cxn>
                <a:cxn ang="0">
                  <a:pos x="33" y="410"/>
                </a:cxn>
                <a:cxn ang="0">
                  <a:pos x="41" y="538"/>
                </a:cxn>
                <a:cxn ang="0">
                  <a:pos x="12" y="671"/>
                </a:cxn>
                <a:cxn ang="0">
                  <a:pos x="9" y="707"/>
                </a:cxn>
                <a:cxn ang="0">
                  <a:pos x="18" y="737"/>
                </a:cxn>
                <a:cxn ang="0">
                  <a:pos x="37" y="779"/>
                </a:cxn>
                <a:cxn ang="0">
                  <a:pos x="52" y="826"/>
                </a:cxn>
                <a:cxn ang="0">
                  <a:pos x="64" y="871"/>
                </a:cxn>
                <a:cxn ang="0">
                  <a:pos x="106" y="895"/>
                </a:cxn>
                <a:cxn ang="0">
                  <a:pos x="172" y="847"/>
                </a:cxn>
                <a:cxn ang="0">
                  <a:pos x="197" y="756"/>
                </a:cxn>
                <a:cxn ang="0">
                  <a:pos x="196" y="719"/>
                </a:cxn>
                <a:cxn ang="0">
                  <a:pos x="192" y="677"/>
                </a:cxn>
                <a:cxn ang="0">
                  <a:pos x="226" y="648"/>
                </a:cxn>
                <a:cxn ang="0">
                  <a:pos x="237" y="628"/>
                </a:cxn>
                <a:cxn ang="0">
                  <a:pos x="267" y="592"/>
                </a:cxn>
                <a:cxn ang="0">
                  <a:pos x="216" y="557"/>
                </a:cxn>
                <a:cxn ang="0">
                  <a:pos x="193" y="502"/>
                </a:cxn>
                <a:cxn ang="0">
                  <a:pos x="201" y="450"/>
                </a:cxn>
                <a:cxn ang="0">
                  <a:pos x="207" y="432"/>
                </a:cxn>
                <a:cxn ang="0">
                  <a:pos x="225" y="405"/>
                </a:cxn>
                <a:cxn ang="0">
                  <a:pos x="233" y="375"/>
                </a:cxn>
                <a:cxn ang="0">
                  <a:pos x="262" y="357"/>
                </a:cxn>
                <a:cxn ang="0">
                  <a:pos x="290" y="333"/>
                </a:cxn>
                <a:cxn ang="0">
                  <a:pos x="309" y="283"/>
                </a:cxn>
                <a:cxn ang="0">
                  <a:pos x="307" y="221"/>
                </a:cxn>
                <a:cxn ang="0">
                  <a:pos x="329" y="199"/>
                </a:cxn>
                <a:cxn ang="0">
                  <a:pos x="365" y="195"/>
                </a:cxn>
                <a:cxn ang="0">
                  <a:pos x="14" y="718"/>
                </a:cxn>
                <a:cxn ang="0">
                  <a:pos x="207" y="765"/>
                </a:cxn>
                <a:cxn ang="0">
                  <a:pos x="190" y="816"/>
                </a:cxn>
                <a:cxn ang="0">
                  <a:pos x="208" y="788"/>
                </a:cxn>
                <a:cxn ang="0">
                  <a:pos x="277" y="731"/>
                </a:cxn>
                <a:cxn ang="0">
                  <a:pos x="248" y="746"/>
                </a:cxn>
                <a:cxn ang="0">
                  <a:pos x="253" y="787"/>
                </a:cxn>
                <a:cxn ang="0">
                  <a:pos x="277" y="750"/>
                </a:cxn>
                <a:cxn ang="0">
                  <a:pos x="281" y="712"/>
                </a:cxn>
                <a:cxn ang="0">
                  <a:pos x="281" y="689"/>
                </a:cxn>
                <a:cxn ang="0">
                  <a:pos x="243" y="630"/>
                </a:cxn>
                <a:cxn ang="0">
                  <a:pos x="258" y="630"/>
                </a:cxn>
                <a:cxn ang="0">
                  <a:pos x="247" y="656"/>
                </a:cxn>
                <a:cxn ang="0">
                  <a:pos x="251" y="636"/>
                </a:cxn>
                <a:cxn ang="0">
                  <a:pos x="241" y="554"/>
                </a:cxn>
                <a:cxn ang="0">
                  <a:pos x="256" y="573"/>
                </a:cxn>
                <a:cxn ang="0">
                  <a:pos x="195" y="740"/>
                </a:cxn>
                <a:cxn ang="0">
                  <a:pos x="205" y="485"/>
                </a:cxn>
                <a:cxn ang="0">
                  <a:pos x="214" y="425"/>
                </a:cxn>
                <a:cxn ang="0">
                  <a:pos x="294" y="343"/>
                </a:cxn>
                <a:cxn ang="0">
                  <a:pos x="307" y="241"/>
                </a:cxn>
                <a:cxn ang="0">
                  <a:pos x="312" y="222"/>
                </a:cxn>
                <a:cxn ang="0">
                  <a:pos x="325" y="217"/>
                </a:cxn>
                <a:cxn ang="0">
                  <a:pos x="356" y="200"/>
                </a:cxn>
              </a:cxnLst>
              <a:rect l="0" t="0" r="r" b="b"/>
              <a:pathLst>
                <a:path w="365" h="899">
                  <a:moveTo>
                    <a:pt x="364" y="188"/>
                  </a:moveTo>
                  <a:cubicBezTo>
                    <a:pt x="364" y="188"/>
                    <a:pt x="359" y="186"/>
                    <a:pt x="358" y="182"/>
                  </a:cubicBezTo>
                  <a:cubicBezTo>
                    <a:pt x="357" y="178"/>
                    <a:pt x="358" y="175"/>
                    <a:pt x="356" y="173"/>
                  </a:cubicBezTo>
                  <a:cubicBezTo>
                    <a:pt x="354" y="172"/>
                    <a:pt x="347" y="171"/>
                    <a:pt x="347" y="167"/>
                  </a:cubicBezTo>
                  <a:cubicBezTo>
                    <a:pt x="348" y="161"/>
                    <a:pt x="348" y="160"/>
                    <a:pt x="348" y="160"/>
                  </a:cubicBezTo>
                  <a:cubicBezTo>
                    <a:pt x="348" y="160"/>
                    <a:pt x="343" y="159"/>
                    <a:pt x="345" y="155"/>
                  </a:cubicBezTo>
                  <a:cubicBezTo>
                    <a:pt x="348" y="150"/>
                    <a:pt x="353" y="147"/>
                    <a:pt x="352" y="144"/>
                  </a:cubicBezTo>
                  <a:cubicBezTo>
                    <a:pt x="350" y="140"/>
                    <a:pt x="348" y="136"/>
                    <a:pt x="348" y="136"/>
                  </a:cubicBezTo>
                  <a:cubicBezTo>
                    <a:pt x="348" y="136"/>
                    <a:pt x="349" y="129"/>
                    <a:pt x="347" y="125"/>
                  </a:cubicBezTo>
                  <a:cubicBezTo>
                    <a:pt x="345" y="122"/>
                    <a:pt x="336" y="117"/>
                    <a:pt x="336" y="111"/>
                  </a:cubicBezTo>
                  <a:cubicBezTo>
                    <a:pt x="336" y="106"/>
                    <a:pt x="337" y="104"/>
                    <a:pt x="337" y="104"/>
                  </a:cubicBezTo>
                  <a:cubicBezTo>
                    <a:pt x="340" y="101"/>
                    <a:pt x="340" y="101"/>
                    <a:pt x="340" y="101"/>
                  </a:cubicBezTo>
                  <a:cubicBezTo>
                    <a:pt x="339" y="95"/>
                    <a:pt x="339" y="95"/>
                    <a:pt x="339" y="95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93"/>
                    <a:pt x="330" y="87"/>
                    <a:pt x="328" y="81"/>
                  </a:cubicBezTo>
                  <a:cubicBezTo>
                    <a:pt x="327" y="77"/>
                    <a:pt x="325" y="74"/>
                    <a:pt x="326" y="69"/>
                  </a:cubicBezTo>
                  <a:cubicBezTo>
                    <a:pt x="327" y="65"/>
                    <a:pt x="332" y="65"/>
                    <a:pt x="330" y="62"/>
                  </a:cubicBezTo>
                  <a:cubicBezTo>
                    <a:pt x="328" y="59"/>
                    <a:pt x="319" y="50"/>
                    <a:pt x="319" y="50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53"/>
                    <a:pt x="314" y="43"/>
                    <a:pt x="305" y="38"/>
                  </a:cubicBezTo>
                  <a:cubicBezTo>
                    <a:pt x="295" y="33"/>
                    <a:pt x="282" y="31"/>
                    <a:pt x="282" y="31"/>
                  </a:cubicBezTo>
                  <a:cubicBezTo>
                    <a:pt x="278" y="27"/>
                    <a:pt x="278" y="27"/>
                    <a:pt x="278" y="27"/>
                  </a:cubicBezTo>
                  <a:cubicBezTo>
                    <a:pt x="274" y="27"/>
                    <a:pt x="274" y="27"/>
                    <a:pt x="274" y="27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0" y="5"/>
                    <a:pt x="250" y="5"/>
                    <a:pt x="250" y="5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30" y="2"/>
                    <a:pt x="237" y="11"/>
                    <a:pt x="238" y="17"/>
                  </a:cubicBezTo>
                  <a:cubicBezTo>
                    <a:pt x="239" y="25"/>
                    <a:pt x="231" y="34"/>
                    <a:pt x="231" y="34"/>
                  </a:cubicBezTo>
                  <a:cubicBezTo>
                    <a:pt x="239" y="38"/>
                    <a:pt x="239" y="38"/>
                    <a:pt x="239" y="38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198" y="41"/>
                    <a:pt x="198" y="41"/>
                    <a:pt x="198" y="41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9" y="56"/>
                    <a:pt x="188" y="61"/>
                  </a:cubicBezTo>
                  <a:cubicBezTo>
                    <a:pt x="186" y="66"/>
                    <a:pt x="183" y="77"/>
                    <a:pt x="183" y="77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4"/>
                    <a:pt x="149" y="101"/>
                    <a:pt x="149" y="106"/>
                  </a:cubicBezTo>
                  <a:cubicBezTo>
                    <a:pt x="148" y="111"/>
                    <a:pt x="140" y="109"/>
                    <a:pt x="140" y="109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7" y="127"/>
                    <a:pt x="148" y="135"/>
                  </a:cubicBezTo>
                  <a:cubicBezTo>
                    <a:pt x="150" y="141"/>
                    <a:pt x="144" y="143"/>
                    <a:pt x="136" y="151"/>
                  </a:cubicBezTo>
                  <a:cubicBezTo>
                    <a:pt x="130" y="157"/>
                    <a:pt x="132" y="162"/>
                    <a:pt x="130" y="169"/>
                  </a:cubicBezTo>
                  <a:cubicBezTo>
                    <a:pt x="128" y="175"/>
                    <a:pt x="123" y="176"/>
                    <a:pt x="123" y="176"/>
                  </a:cubicBezTo>
                  <a:cubicBezTo>
                    <a:pt x="126" y="189"/>
                    <a:pt x="126" y="189"/>
                    <a:pt x="126" y="18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00" y="201"/>
                    <a:pt x="100" y="201"/>
                    <a:pt x="100" y="201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03" y="253"/>
                    <a:pt x="103" y="253"/>
                    <a:pt x="103" y="253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79" y="300"/>
                    <a:pt x="79" y="300"/>
                    <a:pt x="79" y="300"/>
                  </a:cubicBezTo>
                  <a:cubicBezTo>
                    <a:pt x="93" y="310"/>
                    <a:pt x="93" y="310"/>
                    <a:pt x="93" y="310"/>
                  </a:cubicBezTo>
                  <a:cubicBezTo>
                    <a:pt x="94" y="325"/>
                    <a:pt x="94" y="325"/>
                    <a:pt x="94" y="325"/>
                  </a:cubicBezTo>
                  <a:cubicBezTo>
                    <a:pt x="89" y="337"/>
                    <a:pt x="89" y="337"/>
                    <a:pt x="89" y="337"/>
                  </a:cubicBezTo>
                  <a:cubicBezTo>
                    <a:pt x="89" y="337"/>
                    <a:pt x="69" y="331"/>
                    <a:pt x="59" y="334"/>
                  </a:cubicBezTo>
                  <a:cubicBezTo>
                    <a:pt x="47" y="337"/>
                    <a:pt x="35" y="365"/>
                    <a:pt x="35" y="365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30" y="385"/>
                    <a:pt x="30" y="385"/>
                    <a:pt x="30" y="385"/>
                  </a:cubicBezTo>
                  <a:cubicBezTo>
                    <a:pt x="37" y="404"/>
                    <a:pt x="37" y="404"/>
                    <a:pt x="37" y="404"/>
                  </a:cubicBezTo>
                  <a:cubicBezTo>
                    <a:pt x="33" y="410"/>
                    <a:pt x="33" y="410"/>
                    <a:pt x="33" y="410"/>
                  </a:cubicBezTo>
                  <a:cubicBezTo>
                    <a:pt x="36" y="421"/>
                    <a:pt x="36" y="421"/>
                    <a:pt x="36" y="421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41" y="452"/>
                    <a:pt x="41" y="452"/>
                    <a:pt x="41" y="452"/>
                  </a:cubicBezTo>
                  <a:cubicBezTo>
                    <a:pt x="35" y="487"/>
                    <a:pt x="35" y="487"/>
                    <a:pt x="35" y="487"/>
                  </a:cubicBezTo>
                  <a:cubicBezTo>
                    <a:pt x="45" y="497"/>
                    <a:pt x="45" y="497"/>
                    <a:pt x="45" y="497"/>
                  </a:cubicBezTo>
                  <a:cubicBezTo>
                    <a:pt x="45" y="497"/>
                    <a:pt x="50" y="500"/>
                    <a:pt x="54" y="503"/>
                  </a:cubicBezTo>
                  <a:cubicBezTo>
                    <a:pt x="58" y="507"/>
                    <a:pt x="59" y="511"/>
                    <a:pt x="55" y="523"/>
                  </a:cubicBezTo>
                  <a:cubicBezTo>
                    <a:pt x="53" y="535"/>
                    <a:pt x="45" y="529"/>
                    <a:pt x="45" y="529"/>
                  </a:cubicBezTo>
                  <a:cubicBezTo>
                    <a:pt x="36" y="532"/>
                    <a:pt x="36" y="532"/>
                    <a:pt x="36" y="532"/>
                  </a:cubicBezTo>
                  <a:cubicBezTo>
                    <a:pt x="41" y="538"/>
                    <a:pt x="41" y="538"/>
                    <a:pt x="41" y="538"/>
                  </a:cubicBezTo>
                  <a:cubicBezTo>
                    <a:pt x="43" y="547"/>
                    <a:pt x="43" y="547"/>
                    <a:pt x="43" y="547"/>
                  </a:cubicBezTo>
                  <a:cubicBezTo>
                    <a:pt x="43" y="547"/>
                    <a:pt x="49" y="561"/>
                    <a:pt x="51" y="568"/>
                  </a:cubicBezTo>
                  <a:cubicBezTo>
                    <a:pt x="54" y="576"/>
                    <a:pt x="46" y="572"/>
                    <a:pt x="45" y="577"/>
                  </a:cubicBezTo>
                  <a:cubicBezTo>
                    <a:pt x="44" y="581"/>
                    <a:pt x="48" y="584"/>
                    <a:pt x="45" y="597"/>
                  </a:cubicBezTo>
                  <a:cubicBezTo>
                    <a:pt x="41" y="609"/>
                    <a:pt x="30" y="603"/>
                    <a:pt x="26" y="607"/>
                  </a:cubicBezTo>
                  <a:cubicBezTo>
                    <a:pt x="21" y="610"/>
                    <a:pt x="28" y="611"/>
                    <a:pt x="27" y="616"/>
                  </a:cubicBezTo>
                  <a:cubicBezTo>
                    <a:pt x="27" y="620"/>
                    <a:pt x="21" y="619"/>
                    <a:pt x="19" y="623"/>
                  </a:cubicBezTo>
                  <a:cubicBezTo>
                    <a:pt x="16" y="625"/>
                    <a:pt x="25" y="643"/>
                    <a:pt x="25" y="643"/>
                  </a:cubicBezTo>
                  <a:cubicBezTo>
                    <a:pt x="25" y="643"/>
                    <a:pt x="21" y="651"/>
                    <a:pt x="19" y="658"/>
                  </a:cubicBezTo>
                  <a:cubicBezTo>
                    <a:pt x="17" y="665"/>
                    <a:pt x="16" y="671"/>
                    <a:pt x="12" y="671"/>
                  </a:cubicBezTo>
                  <a:cubicBezTo>
                    <a:pt x="8" y="671"/>
                    <a:pt x="11" y="662"/>
                    <a:pt x="10" y="657"/>
                  </a:cubicBezTo>
                  <a:cubicBezTo>
                    <a:pt x="9" y="652"/>
                    <a:pt x="1" y="657"/>
                    <a:pt x="1" y="657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0" y="664"/>
                    <a:pt x="3" y="668"/>
                    <a:pt x="3" y="673"/>
                  </a:cubicBezTo>
                  <a:cubicBezTo>
                    <a:pt x="3" y="676"/>
                    <a:pt x="0" y="679"/>
                    <a:pt x="0" y="679"/>
                  </a:cubicBezTo>
                  <a:cubicBezTo>
                    <a:pt x="0" y="679"/>
                    <a:pt x="5" y="693"/>
                    <a:pt x="5" y="696"/>
                  </a:cubicBezTo>
                  <a:cubicBezTo>
                    <a:pt x="5" y="699"/>
                    <a:pt x="1" y="699"/>
                    <a:pt x="1" y="699"/>
                  </a:cubicBezTo>
                  <a:cubicBezTo>
                    <a:pt x="2" y="703"/>
                    <a:pt x="2" y="703"/>
                    <a:pt x="2" y="703"/>
                  </a:cubicBezTo>
                  <a:cubicBezTo>
                    <a:pt x="2" y="703"/>
                    <a:pt x="6" y="700"/>
                    <a:pt x="9" y="702"/>
                  </a:cubicBezTo>
                  <a:cubicBezTo>
                    <a:pt x="10" y="703"/>
                    <a:pt x="9" y="707"/>
                    <a:pt x="9" y="707"/>
                  </a:cubicBezTo>
                  <a:cubicBezTo>
                    <a:pt x="11" y="707"/>
                    <a:pt x="11" y="707"/>
                    <a:pt x="11" y="707"/>
                  </a:cubicBezTo>
                  <a:cubicBezTo>
                    <a:pt x="14" y="697"/>
                    <a:pt x="14" y="697"/>
                    <a:pt x="14" y="697"/>
                  </a:cubicBezTo>
                  <a:cubicBezTo>
                    <a:pt x="17" y="700"/>
                    <a:pt x="17" y="700"/>
                    <a:pt x="17" y="700"/>
                  </a:cubicBezTo>
                  <a:cubicBezTo>
                    <a:pt x="10" y="710"/>
                    <a:pt x="10" y="710"/>
                    <a:pt x="10" y="710"/>
                  </a:cubicBezTo>
                  <a:cubicBezTo>
                    <a:pt x="10" y="712"/>
                    <a:pt x="10" y="712"/>
                    <a:pt x="10" y="712"/>
                  </a:cubicBezTo>
                  <a:cubicBezTo>
                    <a:pt x="25" y="704"/>
                    <a:pt x="25" y="704"/>
                    <a:pt x="25" y="704"/>
                  </a:cubicBezTo>
                  <a:cubicBezTo>
                    <a:pt x="22" y="709"/>
                    <a:pt x="22" y="709"/>
                    <a:pt x="22" y="709"/>
                  </a:cubicBezTo>
                  <a:cubicBezTo>
                    <a:pt x="25" y="713"/>
                    <a:pt x="25" y="713"/>
                    <a:pt x="25" y="713"/>
                  </a:cubicBezTo>
                  <a:cubicBezTo>
                    <a:pt x="21" y="730"/>
                    <a:pt x="21" y="730"/>
                    <a:pt x="21" y="730"/>
                  </a:cubicBezTo>
                  <a:cubicBezTo>
                    <a:pt x="18" y="737"/>
                    <a:pt x="18" y="737"/>
                    <a:pt x="18" y="737"/>
                  </a:cubicBezTo>
                  <a:cubicBezTo>
                    <a:pt x="22" y="741"/>
                    <a:pt x="22" y="741"/>
                    <a:pt x="22" y="741"/>
                  </a:cubicBezTo>
                  <a:cubicBezTo>
                    <a:pt x="17" y="746"/>
                    <a:pt x="17" y="746"/>
                    <a:pt x="17" y="746"/>
                  </a:cubicBezTo>
                  <a:cubicBezTo>
                    <a:pt x="22" y="746"/>
                    <a:pt x="22" y="746"/>
                    <a:pt x="22" y="746"/>
                  </a:cubicBezTo>
                  <a:cubicBezTo>
                    <a:pt x="24" y="746"/>
                    <a:pt x="26" y="754"/>
                    <a:pt x="26" y="757"/>
                  </a:cubicBezTo>
                  <a:cubicBezTo>
                    <a:pt x="26" y="761"/>
                    <a:pt x="27" y="768"/>
                    <a:pt x="29" y="768"/>
                  </a:cubicBezTo>
                  <a:cubicBezTo>
                    <a:pt x="31" y="768"/>
                    <a:pt x="32" y="761"/>
                    <a:pt x="32" y="761"/>
                  </a:cubicBezTo>
                  <a:cubicBezTo>
                    <a:pt x="32" y="770"/>
                    <a:pt x="32" y="770"/>
                    <a:pt x="32" y="770"/>
                  </a:cubicBezTo>
                  <a:cubicBezTo>
                    <a:pt x="34" y="771"/>
                    <a:pt x="34" y="771"/>
                    <a:pt x="34" y="771"/>
                  </a:cubicBezTo>
                  <a:cubicBezTo>
                    <a:pt x="32" y="777"/>
                    <a:pt x="32" y="777"/>
                    <a:pt x="32" y="777"/>
                  </a:cubicBezTo>
                  <a:cubicBezTo>
                    <a:pt x="37" y="779"/>
                    <a:pt x="37" y="779"/>
                    <a:pt x="37" y="779"/>
                  </a:cubicBezTo>
                  <a:cubicBezTo>
                    <a:pt x="37" y="786"/>
                    <a:pt x="37" y="786"/>
                    <a:pt x="37" y="786"/>
                  </a:cubicBezTo>
                  <a:cubicBezTo>
                    <a:pt x="42" y="791"/>
                    <a:pt x="42" y="791"/>
                    <a:pt x="42" y="791"/>
                  </a:cubicBezTo>
                  <a:cubicBezTo>
                    <a:pt x="42" y="796"/>
                    <a:pt x="42" y="796"/>
                    <a:pt x="42" y="796"/>
                  </a:cubicBezTo>
                  <a:cubicBezTo>
                    <a:pt x="48" y="804"/>
                    <a:pt x="48" y="804"/>
                    <a:pt x="48" y="804"/>
                  </a:cubicBezTo>
                  <a:cubicBezTo>
                    <a:pt x="50" y="803"/>
                    <a:pt x="50" y="803"/>
                    <a:pt x="50" y="803"/>
                  </a:cubicBezTo>
                  <a:cubicBezTo>
                    <a:pt x="50" y="803"/>
                    <a:pt x="52" y="815"/>
                    <a:pt x="55" y="816"/>
                  </a:cubicBezTo>
                  <a:cubicBezTo>
                    <a:pt x="60" y="818"/>
                    <a:pt x="61" y="814"/>
                    <a:pt x="61" y="814"/>
                  </a:cubicBezTo>
                  <a:cubicBezTo>
                    <a:pt x="61" y="814"/>
                    <a:pt x="64" y="822"/>
                    <a:pt x="64" y="825"/>
                  </a:cubicBezTo>
                  <a:cubicBezTo>
                    <a:pt x="64" y="829"/>
                    <a:pt x="58" y="828"/>
                    <a:pt x="58" y="828"/>
                  </a:cubicBezTo>
                  <a:cubicBezTo>
                    <a:pt x="58" y="828"/>
                    <a:pt x="57" y="823"/>
                    <a:pt x="52" y="826"/>
                  </a:cubicBezTo>
                  <a:cubicBezTo>
                    <a:pt x="48" y="830"/>
                    <a:pt x="58" y="834"/>
                    <a:pt x="58" y="834"/>
                  </a:cubicBezTo>
                  <a:cubicBezTo>
                    <a:pt x="58" y="834"/>
                    <a:pt x="61" y="839"/>
                    <a:pt x="59" y="841"/>
                  </a:cubicBezTo>
                  <a:cubicBezTo>
                    <a:pt x="55" y="844"/>
                    <a:pt x="51" y="838"/>
                    <a:pt x="49" y="837"/>
                  </a:cubicBezTo>
                  <a:cubicBezTo>
                    <a:pt x="47" y="835"/>
                    <a:pt x="44" y="835"/>
                    <a:pt x="43" y="836"/>
                  </a:cubicBezTo>
                  <a:cubicBezTo>
                    <a:pt x="42" y="837"/>
                    <a:pt x="47" y="839"/>
                    <a:pt x="47" y="839"/>
                  </a:cubicBezTo>
                  <a:cubicBezTo>
                    <a:pt x="48" y="844"/>
                    <a:pt x="48" y="844"/>
                    <a:pt x="48" y="844"/>
                  </a:cubicBezTo>
                  <a:cubicBezTo>
                    <a:pt x="48" y="844"/>
                    <a:pt x="54" y="852"/>
                    <a:pt x="58" y="856"/>
                  </a:cubicBezTo>
                  <a:cubicBezTo>
                    <a:pt x="61" y="861"/>
                    <a:pt x="61" y="865"/>
                    <a:pt x="61" y="865"/>
                  </a:cubicBezTo>
                  <a:cubicBezTo>
                    <a:pt x="65" y="866"/>
                    <a:pt x="65" y="866"/>
                    <a:pt x="65" y="866"/>
                  </a:cubicBezTo>
                  <a:cubicBezTo>
                    <a:pt x="64" y="871"/>
                    <a:pt x="64" y="871"/>
                    <a:pt x="64" y="871"/>
                  </a:cubicBezTo>
                  <a:cubicBezTo>
                    <a:pt x="64" y="871"/>
                    <a:pt x="67" y="871"/>
                    <a:pt x="69" y="877"/>
                  </a:cubicBezTo>
                  <a:cubicBezTo>
                    <a:pt x="71" y="881"/>
                    <a:pt x="64" y="882"/>
                    <a:pt x="64" y="882"/>
                  </a:cubicBezTo>
                  <a:cubicBezTo>
                    <a:pt x="64" y="888"/>
                    <a:pt x="64" y="888"/>
                    <a:pt x="64" y="888"/>
                  </a:cubicBezTo>
                  <a:cubicBezTo>
                    <a:pt x="64" y="888"/>
                    <a:pt x="67" y="891"/>
                    <a:pt x="66" y="894"/>
                  </a:cubicBezTo>
                  <a:cubicBezTo>
                    <a:pt x="65" y="896"/>
                    <a:pt x="62" y="893"/>
                    <a:pt x="62" y="893"/>
                  </a:cubicBezTo>
                  <a:cubicBezTo>
                    <a:pt x="61" y="897"/>
                    <a:pt x="61" y="897"/>
                    <a:pt x="61" y="897"/>
                  </a:cubicBezTo>
                  <a:cubicBezTo>
                    <a:pt x="65" y="896"/>
                    <a:pt x="65" y="896"/>
                    <a:pt x="65" y="896"/>
                  </a:cubicBezTo>
                  <a:cubicBezTo>
                    <a:pt x="65" y="896"/>
                    <a:pt x="78" y="899"/>
                    <a:pt x="82" y="899"/>
                  </a:cubicBezTo>
                  <a:cubicBezTo>
                    <a:pt x="85" y="899"/>
                    <a:pt x="91" y="895"/>
                    <a:pt x="97" y="893"/>
                  </a:cubicBezTo>
                  <a:cubicBezTo>
                    <a:pt x="103" y="891"/>
                    <a:pt x="106" y="895"/>
                    <a:pt x="106" y="895"/>
                  </a:cubicBezTo>
                  <a:cubicBezTo>
                    <a:pt x="112" y="894"/>
                    <a:pt x="112" y="894"/>
                    <a:pt x="112" y="894"/>
                  </a:cubicBezTo>
                  <a:cubicBezTo>
                    <a:pt x="112" y="894"/>
                    <a:pt x="117" y="885"/>
                    <a:pt x="118" y="880"/>
                  </a:cubicBezTo>
                  <a:cubicBezTo>
                    <a:pt x="119" y="876"/>
                    <a:pt x="111" y="875"/>
                    <a:pt x="111" y="869"/>
                  </a:cubicBezTo>
                  <a:cubicBezTo>
                    <a:pt x="111" y="865"/>
                    <a:pt x="118" y="854"/>
                    <a:pt x="120" y="852"/>
                  </a:cubicBezTo>
                  <a:cubicBezTo>
                    <a:pt x="123" y="851"/>
                    <a:pt x="129" y="855"/>
                    <a:pt x="131" y="854"/>
                  </a:cubicBezTo>
                  <a:cubicBezTo>
                    <a:pt x="133" y="852"/>
                    <a:pt x="129" y="844"/>
                    <a:pt x="129" y="844"/>
                  </a:cubicBezTo>
                  <a:cubicBezTo>
                    <a:pt x="147" y="842"/>
                    <a:pt x="147" y="842"/>
                    <a:pt x="147" y="842"/>
                  </a:cubicBezTo>
                  <a:cubicBezTo>
                    <a:pt x="155" y="844"/>
                    <a:pt x="155" y="844"/>
                    <a:pt x="155" y="844"/>
                  </a:cubicBezTo>
                  <a:cubicBezTo>
                    <a:pt x="161" y="839"/>
                    <a:pt x="161" y="839"/>
                    <a:pt x="161" y="839"/>
                  </a:cubicBezTo>
                  <a:cubicBezTo>
                    <a:pt x="172" y="847"/>
                    <a:pt x="172" y="847"/>
                    <a:pt x="172" y="847"/>
                  </a:cubicBezTo>
                  <a:cubicBezTo>
                    <a:pt x="172" y="847"/>
                    <a:pt x="176" y="838"/>
                    <a:pt x="178" y="837"/>
                  </a:cubicBezTo>
                  <a:cubicBezTo>
                    <a:pt x="179" y="835"/>
                    <a:pt x="181" y="820"/>
                    <a:pt x="181" y="820"/>
                  </a:cubicBezTo>
                  <a:cubicBezTo>
                    <a:pt x="184" y="810"/>
                    <a:pt x="184" y="810"/>
                    <a:pt x="184" y="810"/>
                  </a:cubicBezTo>
                  <a:cubicBezTo>
                    <a:pt x="188" y="807"/>
                    <a:pt x="188" y="807"/>
                    <a:pt x="188" y="807"/>
                  </a:cubicBezTo>
                  <a:cubicBezTo>
                    <a:pt x="192" y="791"/>
                    <a:pt x="192" y="791"/>
                    <a:pt x="192" y="791"/>
                  </a:cubicBezTo>
                  <a:cubicBezTo>
                    <a:pt x="190" y="785"/>
                    <a:pt x="190" y="785"/>
                    <a:pt x="190" y="785"/>
                  </a:cubicBezTo>
                  <a:cubicBezTo>
                    <a:pt x="190" y="785"/>
                    <a:pt x="193" y="784"/>
                    <a:pt x="194" y="781"/>
                  </a:cubicBezTo>
                  <a:cubicBezTo>
                    <a:pt x="195" y="777"/>
                    <a:pt x="191" y="775"/>
                    <a:pt x="191" y="775"/>
                  </a:cubicBezTo>
                  <a:cubicBezTo>
                    <a:pt x="192" y="761"/>
                    <a:pt x="192" y="761"/>
                    <a:pt x="192" y="761"/>
                  </a:cubicBezTo>
                  <a:cubicBezTo>
                    <a:pt x="192" y="761"/>
                    <a:pt x="195" y="762"/>
                    <a:pt x="197" y="756"/>
                  </a:cubicBezTo>
                  <a:cubicBezTo>
                    <a:pt x="200" y="751"/>
                    <a:pt x="191" y="746"/>
                    <a:pt x="191" y="746"/>
                  </a:cubicBezTo>
                  <a:cubicBezTo>
                    <a:pt x="193" y="744"/>
                    <a:pt x="193" y="744"/>
                    <a:pt x="193" y="744"/>
                  </a:cubicBezTo>
                  <a:cubicBezTo>
                    <a:pt x="194" y="735"/>
                    <a:pt x="194" y="735"/>
                    <a:pt x="194" y="735"/>
                  </a:cubicBezTo>
                  <a:cubicBezTo>
                    <a:pt x="192" y="728"/>
                    <a:pt x="192" y="728"/>
                    <a:pt x="192" y="728"/>
                  </a:cubicBezTo>
                  <a:cubicBezTo>
                    <a:pt x="188" y="728"/>
                    <a:pt x="188" y="728"/>
                    <a:pt x="188" y="728"/>
                  </a:cubicBezTo>
                  <a:cubicBezTo>
                    <a:pt x="188" y="728"/>
                    <a:pt x="188" y="726"/>
                    <a:pt x="191" y="725"/>
                  </a:cubicBezTo>
                  <a:cubicBezTo>
                    <a:pt x="195" y="725"/>
                    <a:pt x="198" y="728"/>
                    <a:pt x="198" y="728"/>
                  </a:cubicBezTo>
                  <a:cubicBezTo>
                    <a:pt x="197" y="722"/>
                    <a:pt x="197" y="722"/>
                    <a:pt x="197" y="722"/>
                  </a:cubicBezTo>
                  <a:cubicBezTo>
                    <a:pt x="193" y="720"/>
                    <a:pt x="193" y="720"/>
                    <a:pt x="193" y="720"/>
                  </a:cubicBezTo>
                  <a:cubicBezTo>
                    <a:pt x="196" y="719"/>
                    <a:pt x="196" y="719"/>
                    <a:pt x="196" y="719"/>
                  </a:cubicBezTo>
                  <a:cubicBezTo>
                    <a:pt x="196" y="719"/>
                    <a:pt x="196" y="711"/>
                    <a:pt x="198" y="707"/>
                  </a:cubicBezTo>
                  <a:cubicBezTo>
                    <a:pt x="201" y="703"/>
                    <a:pt x="192" y="698"/>
                    <a:pt x="192" y="698"/>
                  </a:cubicBezTo>
                  <a:cubicBezTo>
                    <a:pt x="195" y="697"/>
                    <a:pt x="195" y="697"/>
                    <a:pt x="195" y="697"/>
                  </a:cubicBezTo>
                  <a:cubicBezTo>
                    <a:pt x="192" y="692"/>
                    <a:pt x="192" y="692"/>
                    <a:pt x="192" y="692"/>
                  </a:cubicBezTo>
                  <a:cubicBezTo>
                    <a:pt x="192" y="692"/>
                    <a:pt x="198" y="694"/>
                    <a:pt x="201" y="687"/>
                  </a:cubicBezTo>
                  <a:cubicBezTo>
                    <a:pt x="204" y="679"/>
                    <a:pt x="183" y="679"/>
                    <a:pt x="183" y="679"/>
                  </a:cubicBezTo>
                  <a:cubicBezTo>
                    <a:pt x="182" y="682"/>
                    <a:pt x="182" y="682"/>
                    <a:pt x="182" y="682"/>
                  </a:cubicBezTo>
                  <a:cubicBezTo>
                    <a:pt x="176" y="681"/>
                    <a:pt x="176" y="681"/>
                    <a:pt x="176" y="681"/>
                  </a:cubicBezTo>
                  <a:cubicBezTo>
                    <a:pt x="176" y="677"/>
                    <a:pt x="176" y="677"/>
                    <a:pt x="176" y="677"/>
                  </a:cubicBezTo>
                  <a:cubicBezTo>
                    <a:pt x="192" y="677"/>
                    <a:pt x="192" y="677"/>
                    <a:pt x="192" y="677"/>
                  </a:cubicBezTo>
                  <a:cubicBezTo>
                    <a:pt x="195" y="677"/>
                    <a:pt x="201" y="680"/>
                    <a:pt x="201" y="680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2" y="668"/>
                    <a:pt x="202" y="668"/>
                    <a:pt x="202" y="668"/>
                  </a:cubicBezTo>
                  <a:cubicBezTo>
                    <a:pt x="208" y="672"/>
                    <a:pt x="208" y="672"/>
                    <a:pt x="208" y="672"/>
                  </a:cubicBezTo>
                  <a:cubicBezTo>
                    <a:pt x="208" y="672"/>
                    <a:pt x="212" y="671"/>
                    <a:pt x="213" y="671"/>
                  </a:cubicBezTo>
                  <a:cubicBezTo>
                    <a:pt x="214" y="671"/>
                    <a:pt x="218" y="666"/>
                    <a:pt x="218" y="666"/>
                  </a:cubicBezTo>
                  <a:cubicBezTo>
                    <a:pt x="218" y="661"/>
                    <a:pt x="218" y="661"/>
                    <a:pt x="218" y="661"/>
                  </a:cubicBezTo>
                  <a:cubicBezTo>
                    <a:pt x="222" y="662"/>
                    <a:pt x="222" y="662"/>
                    <a:pt x="222" y="662"/>
                  </a:cubicBezTo>
                  <a:cubicBezTo>
                    <a:pt x="223" y="647"/>
                    <a:pt x="223" y="647"/>
                    <a:pt x="223" y="647"/>
                  </a:cubicBezTo>
                  <a:cubicBezTo>
                    <a:pt x="226" y="648"/>
                    <a:pt x="226" y="648"/>
                    <a:pt x="226" y="648"/>
                  </a:cubicBezTo>
                  <a:cubicBezTo>
                    <a:pt x="228" y="658"/>
                    <a:pt x="228" y="658"/>
                    <a:pt x="228" y="658"/>
                  </a:cubicBezTo>
                  <a:cubicBezTo>
                    <a:pt x="235" y="659"/>
                    <a:pt x="235" y="659"/>
                    <a:pt x="235" y="659"/>
                  </a:cubicBezTo>
                  <a:cubicBezTo>
                    <a:pt x="237" y="649"/>
                    <a:pt x="237" y="649"/>
                    <a:pt x="237" y="649"/>
                  </a:cubicBezTo>
                  <a:cubicBezTo>
                    <a:pt x="237" y="649"/>
                    <a:pt x="239" y="649"/>
                    <a:pt x="241" y="648"/>
                  </a:cubicBezTo>
                  <a:cubicBezTo>
                    <a:pt x="242" y="647"/>
                    <a:pt x="242" y="643"/>
                    <a:pt x="242" y="643"/>
                  </a:cubicBezTo>
                  <a:cubicBezTo>
                    <a:pt x="246" y="642"/>
                    <a:pt x="246" y="642"/>
                    <a:pt x="246" y="642"/>
                  </a:cubicBezTo>
                  <a:cubicBezTo>
                    <a:pt x="248" y="640"/>
                    <a:pt x="248" y="640"/>
                    <a:pt x="248" y="640"/>
                  </a:cubicBezTo>
                  <a:cubicBezTo>
                    <a:pt x="245" y="639"/>
                    <a:pt x="245" y="639"/>
                    <a:pt x="245" y="639"/>
                  </a:cubicBezTo>
                  <a:cubicBezTo>
                    <a:pt x="243" y="633"/>
                    <a:pt x="243" y="633"/>
                    <a:pt x="243" y="633"/>
                  </a:cubicBezTo>
                  <a:cubicBezTo>
                    <a:pt x="237" y="628"/>
                    <a:pt x="237" y="628"/>
                    <a:pt x="237" y="628"/>
                  </a:cubicBezTo>
                  <a:cubicBezTo>
                    <a:pt x="239" y="625"/>
                    <a:pt x="239" y="625"/>
                    <a:pt x="239" y="625"/>
                  </a:cubicBezTo>
                  <a:cubicBezTo>
                    <a:pt x="244" y="625"/>
                    <a:pt x="244" y="625"/>
                    <a:pt x="244" y="625"/>
                  </a:cubicBezTo>
                  <a:cubicBezTo>
                    <a:pt x="258" y="610"/>
                    <a:pt x="258" y="610"/>
                    <a:pt x="258" y="610"/>
                  </a:cubicBezTo>
                  <a:cubicBezTo>
                    <a:pt x="258" y="607"/>
                    <a:pt x="258" y="607"/>
                    <a:pt x="258" y="607"/>
                  </a:cubicBezTo>
                  <a:cubicBezTo>
                    <a:pt x="266" y="601"/>
                    <a:pt x="266" y="601"/>
                    <a:pt x="266" y="601"/>
                  </a:cubicBezTo>
                  <a:cubicBezTo>
                    <a:pt x="267" y="600"/>
                    <a:pt x="267" y="600"/>
                    <a:pt x="267" y="600"/>
                  </a:cubicBezTo>
                  <a:cubicBezTo>
                    <a:pt x="259" y="600"/>
                    <a:pt x="259" y="600"/>
                    <a:pt x="259" y="600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67" y="592"/>
                    <a:pt x="267" y="592"/>
                    <a:pt x="267" y="592"/>
                  </a:cubicBezTo>
                  <a:cubicBezTo>
                    <a:pt x="261" y="588"/>
                    <a:pt x="261" y="588"/>
                    <a:pt x="261" y="588"/>
                  </a:cubicBezTo>
                  <a:cubicBezTo>
                    <a:pt x="256" y="578"/>
                    <a:pt x="256" y="578"/>
                    <a:pt x="256" y="578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5" y="578"/>
                    <a:pt x="242" y="570"/>
                    <a:pt x="242" y="570"/>
                  </a:cubicBezTo>
                  <a:cubicBezTo>
                    <a:pt x="242" y="566"/>
                    <a:pt x="242" y="566"/>
                    <a:pt x="242" y="566"/>
                  </a:cubicBezTo>
                  <a:cubicBezTo>
                    <a:pt x="241" y="564"/>
                    <a:pt x="241" y="564"/>
                    <a:pt x="241" y="564"/>
                  </a:cubicBezTo>
                  <a:cubicBezTo>
                    <a:pt x="237" y="565"/>
                    <a:pt x="237" y="565"/>
                    <a:pt x="237" y="565"/>
                  </a:cubicBezTo>
                  <a:cubicBezTo>
                    <a:pt x="227" y="554"/>
                    <a:pt x="227" y="554"/>
                    <a:pt x="227" y="554"/>
                  </a:cubicBezTo>
                  <a:cubicBezTo>
                    <a:pt x="227" y="554"/>
                    <a:pt x="228" y="550"/>
                    <a:pt x="225" y="549"/>
                  </a:cubicBezTo>
                  <a:cubicBezTo>
                    <a:pt x="221" y="548"/>
                    <a:pt x="216" y="557"/>
                    <a:pt x="216" y="557"/>
                  </a:cubicBezTo>
                  <a:cubicBezTo>
                    <a:pt x="213" y="552"/>
                    <a:pt x="213" y="552"/>
                    <a:pt x="213" y="552"/>
                  </a:cubicBezTo>
                  <a:cubicBezTo>
                    <a:pt x="213" y="552"/>
                    <a:pt x="215" y="550"/>
                    <a:pt x="213" y="548"/>
                  </a:cubicBezTo>
                  <a:cubicBezTo>
                    <a:pt x="210" y="546"/>
                    <a:pt x="198" y="548"/>
                    <a:pt x="198" y="548"/>
                  </a:cubicBezTo>
                  <a:cubicBezTo>
                    <a:pt x="205" y="541"/>
                    <a:pt x="205" y="541"/>
                    <a:pt x="205" y="541"/>
                  </a:cubicBezTo>
                  <a:cubicBezTo>
                    <a:pt x="200" y="534"/>
                    <a:pt x="200" y="534"/>
                    <a:pt x="200" y="534"/>
                  </a:cubicBezTo>
                  <a:cubicBezTo>
                    <a:pt x="196" y="533"/>
                    <a:pt x="196" y="533"/>
                    <a:pt x="196" y="533"/>
                  </a:cubicBezTo>
                  <a:cubicBezTo>
                    <a:pt x="198" y="525"/>
                    <a:pt x="198" y="525"/>
                    <a:pt x="198" y="525"/>
                  </a:cubicBezTo>
                  <a:cubicBezTo>
                    <a:pt x="196" y="515"/>
                    <a:pt x="196" y="515"/>
                    <a:pt x="196" y="515"/>
                  </a:cubicBezTo>
                  <a:cubicBezTo>
                    <a:pt x="196" y="515"/>
                    <a:pt x="198" y="509"/>
                    <a:pt x="198" y="506"/>
                  </a:cubicBezTo>
                  <a:cubicBezTo>
                    <a:pt x="198" y="504"/>
                    <a:pt x="193" y="502"/>
                    <a:pt x="193" y="502"/>
                  </a:cubicBezTo>
                  <a:cubicBezTo>
                    <a:pt x="195" y="491"/>
                    <a:pt x="195" y="491"/>
                    <a:pt x="195" y="491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6" y="488"/>
                    <a:pt x="196" y="488"/>
                    <a:pt x="196" y="488"/>
                  </a:cubicBezTo>
                  <a:cubicBezTo>
                    <a:pt x="192" y="479"/>
                    <a:pt x="192" y="479"/>
                    <a:pt x="192" y="479"/>
                  </a:cubicBezTo>
                  <a:cubicBezTo>
                    <a:pt x="198" y="483"/>
                    <a:pt x="198" y="483"/>
                    <a:pt x="198" y="483"/>
                  </a:cubicBezTo>
                  <a:cubicBezTo>
                    <a:pt x="201" y="479"/>
                    <a:pt x="201" y="479"/>
                    <a:pt x="201" y="479"/>
                  </a:cubicBezTo>
                  <a:cubicBezTo>
                    <a:pt x="201" y="479"/>
                    <a:pt x="200" y="475"/>
                    <a:pt x="198" y="473"/>
                  </a:cubicBezTo>
                  <a:cubicBezTo>
                    <a:pt x="195" y="472"/>
                    <a:pt x="197" y="464"/>
                    <a:pt x="197" y="464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201" y="450"/>
                    <a:pt x="201" y="450"/>
                    <a:pt x="201" y="450"/>
                  </a:cubicBezTo>
                  <a:cubicBezTo>
                    <a:pt x="206" y="448"/>
                    <a:pt x="206" y="448"/>
                    <a:pt x="206" y="448"/>
                  </a:cubicBezTo>
                  <a:cubicBezTo>
                    <a:pt x="206" y="445"/>
                    <a:pt x="206" y="445"/>
                    <a:pt x="206" y="445"/>
                  </a:cubicBezTo>
                  <a:cubicBezTo>
                    <a:pt x="200" y="445"/>
                    <a:pt x="200" y="445"/>
                    <a:pt x="200" y="445"/>
                  </a:cubicBezTo>
                  <a:cubicBezTo>
                    <a:pt x="199" y="441"/>
                    <a:pt x="199" y="441"/>
                    <a:pt x="199" y="441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196" y="432"/>
                    <a:pt x="196" y="432"/>
                    <a:pt x="196" y="432"/>
                  </a:cubicBezTo>
                  <a:cubicBezTo>
                    <a:pt x="194" y="430"/>
                    <a:pt x="194" y="430"/>
                    <a:pt x="194" y="430"/>
                  </a:cubicBezTo>
                  <a:cubicBezTo>
                    <a:pt x="199" y="428"/>
                    <a:pt x="199" y="428"/>
                    <a:pt x="199" y="428"/>
                  </a:cubicBezTo>
                  <a:cubicBezTo>
                    <a:pt x="202" y="434"/>
                    <a:pt x="202" y="434"/>
                    <a:pt x="202" y="434"/>
                  </a:cubicBezTo>
                  <a:cubicBezTo>
                    <a:pt x="207" y="432"/>
                    <a:pt x="207" y="432"/>
                    <a:pt x="207" y="432"/>
                  </a:cubicBezTo>
                  <a:cubicBezTo>
                    <a:pt x="205" y="430"/>
                    <a:pt x="205" y="430"/>
                    <a:pt x="205" y="430"/>
                  </a:cubicBezTo>
                  <a:cubicBezTo>
                    <a:pt x="207" y="427"/>
                    <a:pt x="207" y="427"/>
                    <a:pt x="207" y="427"/>
                  </a:cubicBezTo>
                  <a:cubicBezTo>
                    <a:pt x="207" y="427"/>
                    <a:pt x="212" y="427"/>
                    <a:pt x="212" y="425"/>
                  </a:cubicBezTo>
                  <a:cubicBezTo>
                    <a:pt x="212" y="418"/>
                    <a:pt x="212" y="418"/>
                    <a:pt x="212" y="418"/>
                  </a:cubicBezTo>
                  <a:cubicBezTo>
                    <a:pt x="213" y="414"/>
                    <a:pt x="213" y="414"/>
                    <a:pt x="213" y="414"/>
                  </a:cubicBezTo>
                  <a:cubicBezTo>
                    <a:pt x="213" y="414"/>
                    <a:pt x="211" y="408"/>
                    <a:pt x="213" y="408"/>
                  </a:cubicBezTo>
                  <a:cubicBezTo>
                    <a:pt x="215" y="407"/>
                    <a:pt x="216" y="410"/>
                    <a:pt x="216" y="410"/>
                  </a:cubicBezTo>
                  <a:cubicBezTo>
                    <a:pt x="221" y="407"/>
                    <a:pt x="221" y="407"/>
                    <a:pt x="221" y="407"/>
                  </a:cubicBezTo>
                  <a:cubicBezTo>
                    <a:pt x="221" y="407"/>
                    <a:pt x="218" y="403"/>
                    <a:pt x="221" y="401"/>
                  </a:cubicBezTo>
                  <a:cubicBezTo>
                    <a:pt x="222" y="400"/>
                    <a:pt x="225" y="405"/>
                    <a:pt x="225" y="405"/>
                  </a:cubicBezTo>
                  <a:cubicBezTo>
                    <a:pt x="229" y="399"/>
                    <a:pt x="229" y="399"/>
                    <a:pt x="229" y="399"/>
                  </a:cubicBezTo>
                  <a:cubicBezTo>
                    <a:pt x="225" y="397"/>
                    <a:pt x="225" y="397"/>
                    <a:pt x="225" y="397"/>
                  </a:cubicBezTo>
                  <a:cubicBezTo>
                    <a:pt x="228" y="396"/>
                    <a:pt x="228" y="396"/>
                    <a:pt x="228" y="396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22" y="395"/>
                    <a:pt x="222" y="395"/>
                    <a:pt x="222" y="395"/>
                  </a:cubicBezTo>
                  <a:cubicBezTo>
                    <a:pt x="226" y="392"/>
                    <a:pt x="226" y="392"/>
                    <a:pt x="226" y="392"/>
                  </a:cubicBezTo>
                  <a:cubicBezTo>
                    <a:pt x="231" y="380"/>
                    <a:pt x="231" y="380"/>
                    <a:pt x="231" y="380"/>
                  </a:cubicBezTo>
                  <a:cubicBezTo>
                    <a:pt x="234" y="380"/>
                    <a:pt x="234" y="380"/>
                    <a:pt x="234" y="380"/>
                  </a:cubicBezTo>
                  <a:cubicBezTo>
                    <a:pt x="239" y="377"/>
                    <a:pt x="239" y="377"/>
                    <a:pt x="239" y="377"/>
                  </a:cubicBezTo>
                  <a:cubicBezTo>
                    <a:pt x="233" y="375"/>
                    <a:pt x="233" y="375"/>
                    <a:pt x="233" y="375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43" y="378"/>
                    <a:pt x="243" y="378"/>
                    <a:pt x="243" y="378"/>
                  </a:cubicBezTo>
                  <a:cubicBezTo>
                    <a:pt x="243" y="378"/>
                    <a:pt x="244" y="374"/>
                    <a:pt x="246" y="371"/>
                  </a:cubicBezTo>
                  <a:cubicBezTo>
                    <a:pt x="248" y="368"/>
                    <a:pt x="249" y="361"/>
                    <a:pt x="249" y="361"/>
                  </a:cubicBezTo>
                  <a:cubicBezTo>
                    <a:pt x="249" y="361"/>
                    <a:pt x="251" y="362"/>
                    <a:pt x="254" y="360"/>
                  </a:cubicBezTo>
                  <a:cubicBezTo>
                    <a:pt x="256" y="359"/>
                    <a:pt x="255" y="353"/>
                    <a:pt x="255" y="35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61" y="363"/>
                    <a:pt x="261" y="363"/>
                    <a:pt x="261" y="363"/>
                  </a:cubicBezTo>
                  <a:cubicBezTo>
                    <a:pt x="263" y="361"/>
                    <a:pt x="263" y="361"/>
                    <a:pt x="263" y="361"/>
                  </a:cubicBezTo>
                  <a:cubicBezTo>
                    <a:pt x="262" y="357"/>
                    <a:pt x="262" y="357"/>
                    <a:pt x="262" y="357"/>
                  </a:cubicBezTo>
                  <a:cubicBezTo>
                    <a:pt x="270" y="348"/>
                    <a:pt x="270" y="348"/>
                    <a:pt x="270" y="34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8" y="344"/>
                    <a:pt x="278" y="344"/>
                    <a:pt x="278" y="344"/>
                  </a:cubicBezTo>
                  <a:cubicBezTo>
                    <a:pt x="278" y="340"/>
                    <a:pt x="278" y="340"/>
                    <a:pt x="278" y="340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1" y="334"/>
                    <a:pt x="281" y="334"/>
                    <a:pt x="281" y="334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0" y="333"/>
                    <a:pt x="290" y="333"/>
                    <a:pt x="290" y="333"/>
                  </a:cubicBezTo>
                  <a:cubicBezTo>
                    <a:pt x="290" y="333"/>
                    <a:pt x="293" y="325"/>
                    <a:pt x="294" y="321"/>
                  </a:cubicBezTo>
                  <a:cubicBezTo>
                    <a:pt x="295" y="318"/>
                    <a:pt x="293" y="313"/>
                    <a:pt x="293" y="313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9" y="302"/>
                    <a:pt x="299" y="302"/>
                    <a:pt x="299" y="3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06" y="288"/>
                    <a:pt x="306" y="288"/>
                    <a:pt x="306" y="288"/>
                  </a:cubicBezTo>
                  <a:cubicBezTo>
                    <a:pt x="304" y="286"/>
                    <a:pt x="304" y="286"/>
                    <a:pt x="304" y="286"/>
                  </a:cubicBezTo>
                  <a:cubicBezTo>
                    <a:pt x="308" y="285"/>
                    <a:pt x="308" y="285"/>
                    <a:pt x="308" y="285"/>
                  </a:cubicBezTo>
                  <a:cubicBezTo>
                    <a:pt x="309" y="283"/>
                    <a:pt x="309" y="283"/>
                    <a:pt x="309" y="283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295" y="277"/>
                    <a:pt x="295" y="277"/>
                    <a:pt x="295" y="277"/>
                  </a:cubicBezTo>
                  <a:cubicBezTo>
                    <a:pt x="298" y="269"/>
                    <a:pt x="298" y="269"/>
                    <a:pt x="298" y="269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98" y="259"/>
                    <a:pt x="298" y="259"/>
                    <a:pt x="298" y="259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3" y="246"/>
                    <a:pt x="293" y="238"/>
                    <a:pt x="295" y="234"/>
                  </a:cubicBezTo>
                  <a:cubicBezTo>
                    <a:pt x="296" y="230"/>
                    <a:pt x="304" y="231"/>
                    <a:pt x="309" y="229"/>
                  </a:cubicBezTo>
                  <a:cubicBezTo>
                    <a:pt x="315" y="226"/>
                    <a:pt x="307" y="221"/>
                    <a:pt x="307" y="221"/>
                  </a:cubicBezTo>
                  <a:cubicBezTo>
                    <a:pt x="313" y="219"/>
                    <a:pt x="313" y="219"/>
                    <a:pt x="313" y="219"/>
                  </a:cubicBezTo>
                  <a:cubicBezTo>
                    <a:pt x="313" y="216"/>
                    <a:pt x="313" y="216"/>
                    <a:pt x="313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5" y="196"/>
                    <a:pt x="315" y="196"/>
                    <a:pt x="315" y="196"/>
                  </a:cubicBezTo>
                  <a:cubicBezTo>
                    <a:pt x="319" y="196"/>
                    <a:pt x="319" y="196"/>
                    <a:pt x="319" y="196"/>
                  </a:cubicBezTo>
                  <a:cubicBezTo>
                    <a:pt x="322" y="201"/>
                    <a:pt x="322" y="201"/>
                    <a:pt x="322" y="201"/>
                  </a:cubicBezTo>
                  <a:cubicBezTo>
                    <a:pt x="326" y="201"/>
                    <a:pt x="326" y="201"/>
                    <a:pt x="326" y="201"/>
                  </a:cubicBezTo>
                  <a:cubicBezTo>
                    <a:pt x="324" y="193"/>
                    <a:pt x="324" y="193"/>
                    <a:pt x="324" y="193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6" y="201"/>
                    <a:pt x="336" y="201"/>
                    <a:pt x="336" y="201"/>
                  </a:cubicBezTo>
                  <a:cubicBezTo>
                    <a:pt x="337" y="205"/>
                    <a:pt x="337" y="205"/>
                    <a:pt x="337" y="205"/>
                  </a:cubicBezTo>
                  <a:cubicBezTo>
                    <a:pt x="340" y="200"/>
                    <a:pt x="340" y="200"/>
                    <a:pt x="340" y="200"/>
                  </a:cubicBezTo>
                  <a:cubicBezTo>
                    <a:pt x="339" y="196"/>
                    <a:pt x="339" y="196"/>
                    <a:pt x="339" y="196"/>
                  </a:cubicBezTo>
                  <a:cubicBezTo>
                    <a:pt x="350" y="196"/>
                    <a:pt x="350" y="196"/>
                    <a:pt x="350" y="196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4" y="188"/>
                  </a:lnTo>
                  <a:close/>
                  <a:moveTo>
                    <a:pt x="14" y="718"/>
                  </a:moveTo>
                  <a:cubicBezTo>
                    <a:pt x="21" y="719"/>
                    <a:pt x="21" y="719"/>
                    <a:pt x="21" y="719"/>
                  </a:cubicBezTo>
                  <a:cubicBezTo>
                    <a:pt x="22" y="712"/>
                    <a:pt x="22" y="712"/>
                    <a:pt x="22" y="712"/>
                  </a:cubicBezTo>
                  <a:cubicBezTo>
                    <a:pt x="19" y="709"/>
                    <a:pt x="19" y="709"/>
                    <a:pt x="19" y="709"/>
                  </a:cubicBezTo>
                  <a:cubicBezTo>
                    <a:pt x="17" y="712"/>
                    <a:pt x="17" y="712"/>
                    <a:pt x="17" y="712"/>
                  </a:cubicBezTo>
                  <a:cubicBezTo>
                    <a:pt x="16" y="712"/>
                    <a:pt x="16" y="712"/>
                    <a:pt x="16" y="712"/>
                  </a:cubicBezTo>
                  <a:cubicBezTo>
                    <a:pt x="8" y="720"/>
                    <a:pt x="8" y="720"/>
                    <a:pt x="8" y="720"/>
                  </a:cubicBezTo>
                  <a:cubicBezTo>
                    <a:pt x="14" y="721"/>
                    <a:pt x="14" y="721"/>
                    <a:pt x="14" y="721"/>
                  </a:cubicBezTo>
                  <a:lnTo>
                    <a:pt x="14" y="718"/>
                  </a:lnTo>
                  <a:close/>
                  <a:moveTo>
                    <a:pt x="20" y="727"/>
                  </a:moveTo>
                  <a:cubicBezTo>
                    <a:pt x="19" y="723"/>
                    <a:pt x="19" y="723"/>
                    <a:pt x="19" y="723"/>
                  </a:cubicBezTo>
                  <a:cubicBezTo>
                    <a:pt x="11" y="725"/>
                    <a:pt x="11" y="725"/>
                    <a:pt x="11" y="725"/>
                  </a:cubicBezTo>
                  <a:cubicBezTo>
                    <a:pt x="13" y="728"/>
                    <a:pt x="13" y="728"/>
                    <a:pt x="13" y="728"/>
                  </a:cubicBezTo>
                  <a:cubicBezTo>
                    <a:pt x="13" y="730"/>
                    <a:pt x="13" y="730"/>
                    <a:pt x="13" y="730"/>
                  </a:cubicBezTo>
                  <a:cubicBezTo>
                    <a:pt x="16" y="730"/>
                    <a:pt x="16" y="730"/>
                    <a:pt x="16" y="730"/>
                  </a:cubicBezTo>
                  <a:cubicBezTo>
                    <a:pt x="17" y="727"/>
                    <a:pt x="17" y="727"/>
                    <a:pt x="17" y="727"/>
                  </a:cubicBezTo>
                  <a:lnTo>
                    <a:pt x="20" y="727"/>
                  </a:lnTo>
                  <a:close/>
                  <a:moveTo>
                    <a:pt x="211" y="760"/>
                  </a:moveTo>
                  <a:cubicBezTo>
                    <a:pt x="207" y="765"/>
                    <a:pt x="207" y="765"/>
                    <a:pt x="207" y="765"/>
                  </a:cubicBezTo>
                  <a:cubicBezTo>
                    <a:pt x="208" y="771"/>
                    <a:pt x="208" y="771"/>
                    <a:pt x="208" y="771"/>
                  </a:cubicBezTo>
                  <a:cubicBezTo>
                    <a:pt x="207" y="771"/>
                    <a:pt x="207" y="771"/>
                    <a:pt x="207" y="771"/>
                  </a:cubicBezTo>
                  <a:cubicBezTo>
                    <a:pt x="207" y="773"/>
                    <a:pt x="207" y="773"/>
                    <a:pt x="207" y="773"/>
                  </a:cubicBezTo>
                  <a:cubicBezTo>
                    <a:pt x="205" y="783"/>
                    <a:pt x="205" y="783"/>
                    <a:pt x="205" y="783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0" y="792"/>
                    <a:pt x="200" y="792"/>
                    <a:pt x="200" y="792"/>
                  </a:cubicBezTo>
                  <a:cubicBezTo>
                    <a:pt x="198" y="792"/>
                    <a:pt x="198" y="792"/>
                    <a:pt x="198" y="792"/>
                  </a:cubicBezTo>
                  <a:cubicBezTo>
                    <a:pt x="198" y="792"/>
                    <a:pt x="195" y="797"/>
                    <a:pt x="194" y="801"/>
                  </a:cubicBezTo>
                  <a:cubicBezTo>
                    <a:pt x="193" y="804"/>
                    <a:pt x="194" y="807"/>
                    <a:pt x="193" y="808"/>
                  </a:cubicBezTo>
                  <a:cubicBezTo>
                    <a:pt x="193" y="810"/>
                    <a:pt x="190" y="812"/>
                    <a:pt x="190" y="816"/>
                  </a:cubicBezTo>
                  <a:cubicBezTo>
                    <a:pt x="190" y="821"/>
                    <a:pt x="190" y="821"/>
                    <a:pt x="190" y="821"/>
                  </a:cubicBezTo>
                  <a:cubicBezTo>
                    <a:pt x="193" y="823"/>
                    <a:pt x="193" y="823"/>
                    <a:pt x="193" y="823"/>
                  </a:cubicBezTo>
                  <a:cubicBezTo>
                    <a:pt x="192" y="836"/>
                    <a:pt x="192" y="836"/>
                    <a:pt x="192" y="836"/>
                  </a:cubicBezTo>
                  <a:cubicBezTo>
                    <a:pt x="192" y="836"/>
                    <a:pt x="196" y="833"/>
                    <a:pt x="197" y="830"/>
                  </a:cubicBezTo>
                  <a:cubicBezTo>
                    <a:pt x="198" y="825"/>
                    <a:pt x="197" y="824"/>
                    <a:pt x="197" y="822"/>
                  </a:cubicBezTo>
                  <a:cubicBezTo>
                    <a:pt x="197" y="820"/>
                    <a:pt x="199" y="817"/>
                    <a:pt x="200" y="815"/>
                  </a:cubicBezTo>
                  <a:cubicBezTo>
                    <a:pt x="201" y="813"/>
                    <a:pt x="200" y="807"/>
                    <a:pt x="200" y="807"/>
                  </a:cubicBezTo>
                  <a:cubicBezTo>
                    <a:pt x="204" y="796"/>
                    <a:pt x="204" y="796"/>
                    <a:pt x="204" y="796"/>
                  </a:cubicBezTo>
                  <a:cubicBezTo>
                    <a:pt x="206" y="796"/>
                    <a:pt x="206" y="796"/>
                    <a:pt x="206" y="796"/>
                  </a:cubicBezTo>
                  <a:cubicBezTo>
                    <a:pt x="208" y="788"/>
                    <a:pt x="208" y="788"/>
                    <a:pt x="208" y="788"/>
                  </a:cubicBezTo>
                  <a:cubicBezTo>
                    <a:pt x="207" y="785"/>
                    <a:pt x="207" y="785"/>
                    <a:pt x="207" y="785"/>
                  </a:cubicBezTo>
                  <a:cubicBezTo>
                    <a:pt x="209" y="783"/>
                    <a:pt x="209" y="783"/>
                    <a:pt x="209" y="783"/>
                  </a:cubicBezTo>
                  <a:cubicBezTo>
                    <a:pt x="208" y="782"/>
                    <a:pt x="208" y="782"/>
                    <a:pt x="208" y="782"/>
                  </a:cubicBezTo>
                  <a:cubicBezTo>
                    <a:pt x="210" y="779"/>
                    <a:pt x="210" y="779"/>
                    <a:pt x="210" y="779"/>
                  </a:cubicBezTo>
                  <a:cubicBezTo>
                    <a:pt x="209" y="777"/>
                    <a:pt x="209" y="777"/>
                    <a:pt x="209" y="777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4" y="763"/>
                    <a:pt x="214" y="763"/>
                    <a:pt x="214" y="763"/>
                  </a:cubicBezTo>
                  <a:lnTo>
                    <a:pt x="211" y="760"/>
                  </a:lnTo>
                  <a:close/>
                  <a:moveTo>
                    <a:pt x="277" y="731"/>
                  </a:moveTo>
                  <a:cubicBezTo>
                    <a:pt x="281" y="724"/>
                    <a:pt x="281" y="724"/>
                    <a:pt x="281" y="724"/>
                  </a:cubicBezTo>
                  <a:cubicBezTo>
                    <a:pt x="278" y="718"/>
                    <a:pt x="278" y="718"/>
                    <a:pt x="278" y="718"/>
                  </a:cubicBezTo>
                  <a:cubicBezTo>
                    <a:pt x="272" y="719"/>
                    <a:pt x="272" y="719"/>
                    <a:pt x="272" y="719"/>
                  </a:cubicBezTo>
                  <a:cubicBezTo>
                    <a:pt x="270" y="724"/>
                    <a:pt x="270" y="724"/>
                    <a:pt x="270" y="724"/>
                  </a:cubicBezTo>
                  <a:cubicBezTo>
                    <a:pt x="270" y="719"/>
                    <a:pt x="270" y="719"/>
                    <a:pt x="270" y="719"/>
                  </a:cubicBezTo>
                  <a:cubicBezTo>
                    <a:pt x="270" y="719"/>
                    <a:pt x="267" y="719"/>
                    <a:pt x="266" y="720"/>
                  </a:cubicBezTo>
                  <a:cubicBezTo>
                    <a:pt x="264" y="721"/>
                    <a:pt x="263" y="724"/>
                    <a:pt x="263" y="724"/>
                  </a:cubicBezTo>
                  <a:cubicBezTo>
                    <a:pt x="263" y="724"/>
                    <a:pt x="262" y="723"/>
                    <a:pt x="259" y="726"/>
                  </a:cubicBezTo>
                  <a:cubicBezTo>
                    <a:pt x="257" y="729"/>
                    <a:pt x="253" y="739"/>
                    <a:pt x="253" y="739"/>
                  </a:cubicBezTo>
                  <a:cubicBezTo>
                    <a:pt x="253" y="739"/>
                    <a:pt x="248" y="741"/>
                    <a:pt x="248" y="746"/>
                  </a:cubicBezTo>
                  <a:cubicBezTo>
                    <a:pt x="247" y="753"/>
                    <a:pt x="253" y="753"/>
                    <a:pt x="253" y="757"/>
                  </a:cubicBezTo>
                  <a:cubicBezTo>
                    <a:pt x="251" y="762"/>
                    <a:pt x="249" y="763"/>
                    <a:pt x="249" y="763"/>
                  </a:cubicBezTo>
                  <a:cubicBezTo>
                    <a:pt x="251" y="765"/>
                    <a:pt x="251" y="765"/>
                    <a:pt x="251" y="765"/>
                  </a:cubicBezTo>
                  <a:cubicBezTo>
                    <a:pt x="251" y="772"/>
                    <a:pt x="251" y="772"/>
                    <a:pt x="251" y="772"/>
                  </a:cubicBezTo>
                  <a:cubicBezTo>
                    <a:pt x="254" y="773"/>
                    <a:pt x="254" y="773"/>
                    <a:pt x="254" y="773"/>
                  </a:cubicBezTo>
                  <a:cubicBezTo>
                    <a:pt x="254" y="776"/>
                    <a:pt x="254" y="776"/>
                    <a:pt x="254" y="776"/>
                  </a:cubicBezTo>
                  <a:cubicBezTo>
                    <a:pt x="254" y="776"/>
                    <a:pt x="257" y="775"/>
                    <a:pt x="257" y="776"/>
                  </a:cubicBezTo>
                  <a:cubicBezTo>
                    <a:pt x="257" y="777"/>
                    <a:pt x="255" y="778"/>
                    <a:pt x="255" y="778"/>
                  </a:cubicBezTo>
                  <a:cubicBezTo>
                    <a:pt x="255" y="782"/>
                    <a:pt x="255" y="782"/>
                    <a:pt x="255" y="782"/>
                  </a:cubicBezTo>
                  <a:cubicBezTo>
                    <a:pt x="255" y="783"/>
                    <a:pt x="253" y="787"/>
                    <a:pt x="253" y="787"/>
                  </a:cubicBezTo>
                  <a:cubicBezTo>
                    <a:pt x="258" y="785"/>
                    <a:pt x="258" y="785"/>
                    <a:pt x="258" y="785"/>
                  </a:cubicBezTo>
                  <a:cubicBezTo>
                    <a:pt x="261" y="779"/>
                    <a:pt x="261" y="779"/>
                    <a:pt x="261" y="779"/>
                  </a:cubicBezTo>
                  <a:cubicBezTo>
                    <a:pt x="260" y="779"/>
                    <a:pt x="260" y="779"/>
                    <a:pt x="260" y="779"/>
                  </a:cubicBezTo>
                  <a:cubicBezTo>
                    <a:pt x="261" y="774"/>
                    <a:pt x="261" y="774"/>
                    <a:pt x="261" y="774"/>
                  </a:cubicBezTo>
                  <a:cubicBezTo>
                    <a:pt x="262" y="772"/>
                    <a:pt x="262" y="772"/>
                    <a:pt x="262" y="772"/>
                  </a:cubicBezTo>
                  <a:cubicBezTo>
                    <a:pt x="261" y="772"/>
                    <a:pt x="261" y="772"/>
                    <a:pt x="261" y="772"/>
                  </a:cubicBezTo>
                  <a:cubicBezTo>
                    <a:pt x="266" y="766"/>
                    <a:pt x="266" y="766"/>
                    <a:pt x="266" y="766"/>
                  </a:cubicBezTo>
                  <a:cubicBezTo>
                    <a:pt x="271" y="763"/>
                    <a:pt x="271" y="763"/>
                    <a:pt x="271" y="763"/>
                  </a:cubicBezTo>
                  <a:cubicBezTo>
                    <a:pt x="271" y="758"/>
                    <a:pt x="271" y="758"/>
                    <a:pt x="271" y="758"/>
                  </a:cubicBezTo>
                  <a:cubicBezTo>
                    <a:pt x="277" y="750"/>
                    <a:pt x="277" y="750"/>
                    <a:pt x="277" y="750"/>
                  </a:cubicBezTo>
                  <a:cubicBezTo>
                    <a:pt x="274" y="750"/>
                    <a:pt x="274" y="750"/>
                    <a:pt x="274" y="750"/>
                  </a:cubicBezTo>
                  <a:cubicBezTo>
                    <a:pt x="271" y="746"/>
                    <a:pt x="271" y="746"/>
                    <a:pt x="271" y="746"/>
                  </a:cubicBezTo>
                  <a:cubicBezTo>
                    <a:pt x="271" y="746"/>
                    <a:pt x="273" y="743"/>
                    <a:pt x="274" y="740"/>
                  </a:cubicBezTo>
                  <a:cubicBezTo>
                    <a:pt x="274" y="738"/>
                    <a:pt x="271" y="735"/>
                    <a:pt x="271" y="735"/>
                  </a:cubicBezTo>
                  <a:cubicBezTo>
                    <a:pt x="272" y="730"/>
                    <a:pt x="272" y="730"/>
                    <a:pt x="272" y="730"/>
                  </a:cubicBezTo>
                  <a:lnTo>
                    <a:pt x="277" y="731"/>
                  </a:lnTo>
                  <a:close/>
                  <a:moveTo>
                    <a:pt x="280" y="719"/>
                  </a:moveTo>
                  <a:cubicBezTo>
                    <a:pt x="282" y="721"/>
                    <a:pt x="282" y="721"/>
                    <a:pt x="282" y="721"/>
                  </a:cubicBezTo>
                  <a:cubicBezTo>
                    <a:pt x="286" y="711"/>
                    <a:pt x="286" y="711"/>
                    <a:pt x="286" y="711"/>
                  </a:cubicBezTo>
                  <a:cubicBezTo>
                    <a:pt x="281" y="712"/>
                    <a:pt x="281" y="712"/>
                    <a:pt x="281" y="712"/>
                  </a:cubicBezTo>
                  <a:lnTo>
                    <a:pt x="280" y="719"/>
                  </a:lnTo>
                  <a:close/>
                  <a:moveTo>
                    <a:pt x="286" y="715"/>
                  </a:moveTo>
                  <a:cubicBezTo>
                    <a:pt x="290" y="715"/>
                    <a:pt x="290" y="715"/>
                    <a:pt x="290" y="715"/>
                  </a:cubicBezTo>
                  <a:cubicBezTo>
                    <a:pt x="291" y="712"/>
                    <a:pt x="291" y="712"/>
                    <a:pt x="291" y="712"/>
                  </a:cubicBezTo>
                  <a:cubicBezTo>
                    <a:pt x="288" y="712"/>
                    <a:pt x="288" y="712"/>
                    <a:pt x="288" y="712"/>
                  </a:cubicBezTo>
                  <a:lnTo>
                    <a:pt x="286" y="715"/>
                  </a:lnTo>
                  <a:close/>
                  <a:moveTo>
                    <a:pt x="282" y="691"/>
                  </a:moveTo>
                  <a:cubicBezTo>
                    <a:pt x="287" y="688"/>
                    <a:pt x="287" y="688"/>
                    <a:pt x="287" y="688"/>
                  </a:cubicBezTo>
                  <a:cubicBezTo>
                    <a:pt x="280" y="684"/>
                    <a:pt x="280" y="684"/>
                    <a:pt x="280" y="684"/>
                  </a:cubicBezTo>
                  <a:cubicBezTo>
                    <a:pt x="281" y="689"/>
                    <a:pt x="281" y="689"/>
                    <a:pt x="281" y="689"/>
                  </a:cubicBezTo>
                  <a:lnTo>
                    <a:pt x="282" y="691"/>
                  </a:lnTo>
                  <a:close/>
                  <a:moveTo>
                    <a:pt x="243" y="630"/>
                  </a:moveTo>
                  <a:cubicBezTo>
                    <a:pt x="255" y="631"/>
                    <a:pt x="255" y="631"/>
                    <a:pt x="255" y="631"/>
                  </a:cubicBezTo>
                  <a:cubicBezTo>
                    <a:pt x="256" y="630"/>
                    <a:pt x="256" y="630"/>
                    <a:pt x="256" y="630"/>
                  </a:cubicBezTo>
                  <a:cubicBezTo>
                    <a:pt x="254" y="626"/>
                    <a:pt x="254" y="626"/>
                    <a:pt x="254" y="626"/>
                  </a:cubicBezTo>
                  <a:cubicBezTo>
                    <a:pt x="251" y="625"/>
                    <a:pt x="251" y="625"/>
                    <a:pt x="251" y="625"/>
                  </a:cubicBezTo>
                  <a:cubicBezTo>
                    <a:pt x="248" y="626"/>
                    <a:pt x="248" y="626"/>
                    <a:pt x="248" y="626"/>
                  </a:cubicBezTo>
                  <a:cubicBezTo>
                    <a:pt x="249" y="628"/>
                    <a:pt x="249" y="628"/>
                    <a:pt x="249" y="628"/>
                  </a:cubicBezTo>
                  <a:cubicBezTo>
                    <a:pt x="243" y="628"/>
                    <a:pt x="243" y="628"/>
                    <a:pt x="243" y="628"/>
                  </a:cubicBezTo>
                  <a:lnTo>
                    <a:pt x="243" y="630"/>
                  </a:lnTo>
                  <a:close/>
                  <a:moveTo>
                    <a:pt x="254" y="615"/>
                  </a:moveTo>
                  <a:cubicBezTo>
                    <a:pt x="253" y="620"/>
                    <a:pt x="253" y="620"/>
                    <a:pt x="253" y="620"/>
                  </a:cubicBezTo>
                  <a:cubicBezTo>
                    <a:pt x="258" y="617"/>
                    <a:pt x="258" y="617"/>
                    <a:pt x="258" y="617"/>
                  </a:cubicBezTo>
                  <a:lnTo>
                    <a:pt x="254" y="615"/>
                  </a:lnTo>
                  <a:close/>
                  <a:moveTo>
                    <a:pt x="266" y="610"/>
                  </a:moveTo>
                  <a:cubicBezTo>
                    <a:pt x="265" y="607"/>
                    <a:pt x="265" y="607"/>
                    <a:pt x="265" y="607"/>
                  </a:cubicBezTo>
                  <a:cubicBezTo>
                    <a:pt x="259" y="610"/>
                    <a:pt x="259" y="610"/>
                    <a:pt x="259" y="610"/>
                  </a:cubicBezTo>
                  <a:cubicBezTo>
                    <a:pt x="262" y="612"/>
                    <a:pt x="262" y="612"/>
                    <a:pt x="262" y="612"/>
                  </a:cubicBezTo>
                  <a:lnTo>
                    <a:pt x="266" y="610"/>
                  </a:lnTo>
                  <a:close/>
                  <a:moveTo>
                    <a:pt x="258" y="630"/>
                  </a:moveTo>
                  <a:cubicBezTo>
                    <a:pt x="261" y="629"/>
                    <a:pt x="261" y="629"/>
                    <a:pt x="261" y="629"/>
                  </a:cubicBezTo>
                  <a:cubicBezTo>
                    <a:pt x="258" y="626"/>
                    <a:pt x="258" y="626"/>
                    <a:pt x="258" y="626"/>
                  </a:cubicBezTo>
                  <a:lnTo>
                    <a:pt x="258" y="630"/>
                  </a:lnTo>
                  <a:close/>
                  <a:moveTo>
                    <a:pt x="249" y="651"/>
                  </a:moveTo>
                  <a:cubicBezTo>
                    <a:pt x="253" y="644"/>
                    <a:pt x="253" y="644"/>
                    <a:pt x="253" y="644"/>
                  </a:cubicBezTo>
                  <a:cubicBezTo>
                    <a:pt x="250" y="643"/>
                    <a:pt x="250" y="643"/>
                    <a:pt x="250" y="643"/>
                  </a:cubicBezTo>
                  <a:cubicBezTo>
                    <a:pt x="246" y="649"/>
                    <a:pt x="246" y="649"/>
                    <a:pt x="246" y="649"/>
                  </a:cubicBezTo>
                  <a:lnTo>
                    <a:pt x="249" y="651"/>
                  </a:lnTo>
                  <a:close/>
                  <a:moveTo>
                    <a:pt x="245" y="653"/>
                  </a:moveTo>
                  <a:cubicBezTo>
                    <a:pt x="244" y="656"/>
                    <a:pt x="245" y="658"/>
                    <a:pt x="247" y="656"/>
                  </a:cubicBezTo>
                  <a:cubicBezTo>
                    <a:pt x="249" y="653"/>
                    <a:pt x="246" y="651"/>
                    <a:pt x="245" y="653"/>
                  </a:cubicBezTo>
                  <a:close/>
                  <a:moveTo>
                    <a:pt x="238" y="652"/>
                  </a:moveTo>
                  <a:cubicBezTo>
                    <a:pt x="241" y="653"/>
                    <a:pt x="241" y="653"/>
                    <a:pt x="241" y="653"/>
                  </a:cubicBezTo>
                  <a:cubicBezTo>
                    <a:pt x="243" y="649"/>
                    <a:pt x="243" y="649"/>
                    <a:pt x="243" y="649"/>
                  </a:cubicBezTo>
                  <a:cubicBezTo>
                    <a:pt x="242" y="649"/>
                    <a:pt x="242" y="649"/>
                    <a:pt x="242" y="649"/>
                  </a:cubicBezTo>
                  <a:lnTo>
                    <a:pt x="238" y="652"/>
                  </a:lnTo>
                  <a:close/>
                  <a:moveTo>
                    <a:pt x="251" y="632"/>
                  </a:moveTo>
                  <a:cubicBezTo>
                    <a:pt x="249" y="633"/>
                    <a:pt x="249" y="633"/>
                    <a:pt x="249" y="633"/>
                  </a:cubicBezTo>
                  <a:cubicBezTo>
                    <a:pt x="246" y="635"/>
                    <a:pt x="246" y="635"/>
                    <a:pt x="246" y="635"/>
                  </a:cubicBezTo>
                  <a:cubicBezTo>
                    <a:pt x="251" y="636"/>
                    <a:pt x="251" y="636"/>
                    <a:pt x="251" y="636"/>
                  </a:cubicBezTo>
                  <a:lnTo>
                    <a:pt x="251" y="632"/>
                  </a:lnTo>
                  <a:close/>
                  <a:moveTo>
                    <a:pt x="229" y="662"/>
                  </a:moveTo>
                  <a:cubicBezTo>
                    <a:pt x="229" y="664"/>
                    <a:pt x="229" y="664"/>
                    <a:pt x="229" y="664"/>
                  </a:cubicBezTo>
                  <a:cubicBezTo>
                    <a:pt x="232" y="666"/>
                    <a:pt x="232" y="666"/>
                    <a:pt x="232" y="666"/>
                  </a:cubicBezTo>
                  <a:cubicBezTo>
                    <a:pt x="231" y="661"/>
                    <a:pt x="231" y="661"/>
                    <a:pt x="231" y="661"/>
                  </a:cubicBezTo>
                  <a:lnTo>
                    <a:pt x="229" y="662"/>
                  </a:lnTo>
                  <a:close/>
                  <a:moveTo>
                    <a:pt x="246" y="562"/>
                  </a:moveTo>
                  <a:cubicBezTo>
                    <a:pt x="244" y="562"/>
                    <a:pt x="244" y="562"/>
                    <a:pt x="244" y="562"/>
                  </a:cubicBezTo>
                  <a:cubicBezTo>
                    <a:pt x="243" y="558"/>
                    <a:pt x="243" y="558"/>
                    <a:pt x="243" y="558"/>
                  </a:cubicBezTo>
                  <a:cubicBezTo>
                    <a:pt x="241" y="554"/>
                    <a:pt x="241" y="554"/>
                    <a:pt x="241" y="554"/>
                  </a:cubicBezTo>
                  <a:cubicBezTo>
                    <a:pt x="240" y="554"/>
                    <a:pt x="240" y="554"/>
                    <a:pt x="240" y="554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6" y="567"/>
                    <a:pt x="246" y="567"/>
                    <a:pt x="246" y="567"/>
                  </a:cubicBezTo>
                  <a:lnTo>
                    <a:pt x="246" y="562"/>
                  </a:lnTo>
                  <a:close/>
                  <a:moveTo>
                    <a:pt x="245" y="571"/>
                  </a:moveTo>
                  <a:cubicBezTo>
                    <a:pt x="248" y="572"/>
                    <a:pt x="249" y="569"/>
                    <a:pt x="246" y="569"/>
                  </a:cubicBezTo>
                  <a:cubicBezTo>
                    <a:pt x="243" y="569"/>
                    <a:pt x="243" y="571"/>
                    <a:pt x="245" y="571"/>
                  </a:cubicBezTo>
                  <a:close/>
                  <a:moveTo>
                    <a:pt x="253" y="571"/>
                  </a:moveTo>
                  <a:cubicBezTo>
                    <a:pt x="250" y="571"/>
                    <a:pt x="250" y="574"/>
                    <a:pt x="253" y="576"/>
                  </a:cubicBezTo>
                  <a:cubicBezTo>
                    <a:pt x="255" y="577"/>
                    <a:pt x="256" y="576"/>
                    <a:pt x="256" y="573"/>
                  </a:cubicBezTo>
                  <a:cubicBezTo>
                    <a:pt x="255" y="571"/>
                    <a:pt x="254" y="571"/>
                    <a:pt x="253" y="571"/>
                  </a:cubicBezTo>
                  <a:close/>
                  <a:moveTo>
                    <a:pt x="200" y="696"/>
                  </a:moveTo>
                  <a:cubicBezTo>
                    <a:pt x="199" y="693"/>
                    <a:pt x="199" y="693"/>
                    <a:pt x="199" y="693"/>
                  </a:cubicBezTo>
                  <a:cubicBezTo>
                    <a:pt x="198" y="693"/>
                    <a:pt x="198" y="693"/>
                    <a:pt x="198" y="69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202" y="698"/>
                    <a:pt x="202" y="698"/>
                    <a:pt x="202" y="698"/>
                  </a:cubicBezTo>
                  <a:lnTo>
                    <a:pt x="200" y="696"/>
                  </a:lnTo>
                  <a:close/>
                  <a:moveTo>
                    <a:pt x="198" y="739"/>
                  </a:moveTo>
                  <a:cubicBezTo>
                    <a:pt x="195" y="736"/>
                    <a:pt x="195" y="736"/>
                    <a:pt x="195" y="736"/>
                  </a:cubicBezTo>
                  <a:cubicBezTo>
                    <a:pt x="195" y="740"/>
                    <a:pt x="195" y="740"/>
                    <a:pt x="195" y="740"/>
                  </a:cubicBezTo>
                  <a:lnTo>
                    <a:pt x="198" y="739"/>
                  </a:lnTo>
                  <a:close/>
                  <a:moveTo>
                    <a:pt x="266" y="598"/>
                  </a:moveTo>
                  <a:cubicBezTo>
                    <a:pt x="263" y="596"/>
                    <a:pt x="263" y="596"/>
                    <a:pt x="263" y="596"/>
                  </a:cubicBezTo>
                  <a:cubicBezTo>
                    <a:pt x="261" y="598"/>
                    <a:pt x="261" y="598"/>
                    <a:pt x="261" y="598"/>
                  </a:cubicBezTo>
                  <a:lnTo>
                    <a:pt x="266" y="598"/>
                  </a:lnTo>
                  <a:close/>
                  <a:moveTo>
                    <a:pt x="205" y="485"/>
                  </a:moveTo>
                  <a:cubicBezTo>
                    <a:pt x="206" y="482"/>
                    <a:pt x="206" y="482"/>
                    <a:pt x="206" y="482"/>
                  </a:cubicBezTo>
                  <a:cubicBezTo>
                    <a:pt x="202" y="479"/>
                    <a:pt x="202" y="479"/>
                    <a:pt x="202" y="479"/>
                  </a:cubicBezTo>
                  <a:cubicBezTo>
                    <a:pt x="200" y="482"/>
                    <a:pt x="200" y="482"/>
                    <a:pt x="200" y="482"/>
                  </a:cubicBezTo>
                  <a:lnTo>
                    <a:pt x="205" y="485"/>
                  </a:lnTo>
                  <a:close/>
                  <a:moveTo>
                    <a:pt x="199" y="439"/>
                  </a:moveTo>
                  <a:cubicBezTo>
                    <a:pt x="201" y="439"/>
                    <a:pt x="201" y="439"/>
                    <a:pt x="201" y="439"/>
                  </a:cubicBezTo>
                  <a:cubicBezTo>
                    <a:pt x="200" y="432"/>
                    <a:pt x="200" y="432"/>
                    <a:pt x="200" y="432"/>
                  </a:cubicBezTo>
                  <a:cubicBezTo>
                    <a:pt x="198" y="431"/>
                    <a:pt x="198" y="431"/>
                    <a:pt x="198" y="431"/>
                  </a:cubicBezTo>
                  <a:lnTo>
                    <a:pt x="199" y="439"/>
                  </a:lnTo>
                  <a:close/>
                  <a:moveTo>
                    <a:pt x="217" y="421"/>
                  </a:moveTo>
                  <a:cubicBezTo>
                    <a:pt x="216" y="419"/>
                    <a:pt x="216" y="419"/>
                    <a:pt x="216" y="419"/>
                  </a:cubicBezTo>
                  <a:cubicBezTo>
                    <a:pt x="214" y="419"/>
                    <a:pt x="214" y="419"/>
                    <a:pt x="214" y="419"/>
                  </a:cubicBezTo>
                  <a:cubicBezTo>
                    <a:pt x="214" y="421"/>
                    <a:pt x="214" y="421"/>
                    <a:pt x="214" y="421"/>
                  </a:cubicBezTo>
                  <a:cubicBezTo>
                    <a:pt x="214" y="425"/>
                    <a:pt x="214" y="425"/>
                    <a:pt x="214" y="425"/>
                  </a:cubicBezTo>
                  <a:lnTo>
                    <a:pt x="217" y="421"/>
                  </a:lnTo>
                  <a:close/>
                  <a:moveTo>
                    <a:pt x="220" y="411"/>
                  </a:moveTo>
                  <a:cubicBezTo>
                    <a:pt x="215" y="412"/>
                    <a:pt x="214" y="415"/>
                    <a:pt x="216" y="416"/>
                  </a:cubicBezTo>
                  <a:cubicBezTo>
                    <a:pt x="220" y="418"/>
                    <a:pt x="223" y="411"/>
                    <a:pt x="220" y="411"/>
                  </a:cubicBezTo>
                  <a:close/>
                  <a:moveTo>
                    <a:pt x="234" y="392"/>
                  </a:moveTo>
                  <a:cubicBezTo>
                    <a:pt x="232" y="384"/>
                    <a:pt x="232" y="384"/>
                    <a:pt x="232" y="384"/>
                  </a:cubicBezTo>
                  <a:cubicBezTo>
                    <a:pt x="231" y="393"/>
                    <a:pt x="231" y="393"/>
                    <a:pt x="231" y="393"/>
                  </a:cubicBezTo>
                  <a:lnTo>
                    <a:pt x="234" y="392"/>
                  </a:lnTo>
                  <a:close/>
                  <a:moveTo>
                    <a:pt x="294" y="340"/>
                  </a:moveTo>
                  <a:cubicBezTo>
                    <a:pt x="294" y="343"/>
                    <a:pt x="294" y="343"/>
                    <a:pt x="294" y="343"/>
                  </a:cubicBezTo>
                  <a:cubicBezTo>
                    <a:pt x="297" y="342"/>
                    <a:pt x="297" y="342"/>
                    <a:pt x="297" y="342"/>
                  </a:cubicBezTo>
                  <a:cubicBezTo>
                    <a:pt x="296" y="336"/>
                    <a:pt x="296" y="336"/>
                    <a:pt x="296" y="336"/>
                  </a:cubicBezTo>
                  <a:lnTo>
                    <a:pt x="294" y="340"/>
                  </a:lnTo>
                  <a:close/>
                  <a:moveTo>
                    <a:pt x="293" y="335"/>
                  </a:moveTo>
                  <a:cubicBezTo>
                    <a:pt x="290" y="340"/>
                    <a:pt x="294" y="336"/>
                    <a:pt x="294" y="336"/>
                  </a:cubicBezTo>
                  <a:cubicBezTo>
                    <a:pt x="296" y="333"/>
                    <a:pt x="295" y="331"/>
                    <a:pt x="293" y="335"/>
                  </a:cubicBezTo>
                  <a:close/>
                  <a:moveTo>
                    <a:pt x="298" y="236"/>
                  </a:moveTo>
                  <a:cubicBezTo>
                    <a:pt x="300" y="240"/>
                    <a:pt x="300" y="240"/>
                    <a:pt x="300" y="240"/>
                  </a:cubicBezTo>
                  <a:cubicBezTo>
                    <a:pt x="306" y="242"/>
                    <a:pt x="306" y="242"/>
                    <a:pt x="306" y="242"/>
                  </a:cubicBezTo>
                  <a:cubicBezTo>
                    <a:pt x="307" y="241"/>
                    <a:pt x="307" y="241"/>
                    <a:pt x="307" y="241"/>
                  </a:cubicBezTo>
                  <a:cubicBezTo>
                    <a:pt x="304" y="239"/>
                    <a:pt x="304" y="239"/>
                    <a:pt x="304" y="239"/>
                  </a:cubicBezTo>
                  <a:cubicBezTo>
                    <a:pt x="305" y="236"/>
                    <a:pt x="305" y="236"/>
                    <a:pt x="305" y="236"/>
                  </a:cubicBezTo>
                  <a:cubicBezTo>
                    <a:pt x="303" y="235"/>
                    <a:pt x="303" y="235"/>
                    <a:pt x="303" y="235"/>
                  </a:cubicBezTo>
                  <a:cubicBezTo>
                    <a:pt x="302" y="237"/>
                    <a:pt x="302" y="237"/>
                    <a:pt x="302" y="237"/>
                  </a:cubicBezTo>
                  <a:cubicBezTo>
                    <a:pt x="302" y="235"/>
                    <a:pt x="302" y="235"/>
                    <a:pt x="302" y="235"/>
                  </a:cubicBezTo>
                  <a:lnTo>
                    <a:pt x="298" y="236"/>
                  </a:lnTo>
                  <a:close/>
                  <a:moveTo>
                    <a:pt x="312" y="222"/>
                  </a:moveTo>
                  <a:cubicBezTo>
                    <a:pt x="315" y="226"/>
                    <a:pt x="315" y="226"/>
                    <a:pt x="315" y="226"/>
                  </a:cubicBezTo>
                  <a:cubicBezTo>
                    <a:pt x="314" y="221"/>
                    <a:pt x="314" y="221"/>
                    <a:pt x="314" y="221"/>
                  </a:cubicBezTo>
                  <a:lnTo>
                    <a:pt x="312" y="222"/>
                  </a:lnTo>
                  <a:close/>
                  <a:moveTo>
                    <a:pt x="320" y="227"/>
                  </a:moveTo>
                  <a:cubicBezTo>
                    <a:pt x="322" y="224"/>
                    <a:pt x="322" y="224"/>
                    <a:pt x="322" y="224"/>
                  </a:cubicBezTo>
                  <a:cubicBezTo>
                    <a:pt x="317" y="225"/>
                    <a:pt x="317" y="225"/>
                    <a:pt x="317" y="225"/>
                  </a:cubicBezTo>
                  <a:lnTo>
                    <a:pt x="320" y="227"/>
                  </a:lnTo>
                  <a:close/>
                  <a:moveTo>
                    <a:pt x="322" y="222"/>
                  </a:moveTo>
                  <a:cubicBezTo>
                    <a:pt x="326" y="222"/>
                    <a:pt x="326" y="222"/>
                    <a:pt x="326" y="222"/>
                  </a:cubicBezTo>
                  <a:cubicBezTo>
                    <a:pt x="326" y="221"/>
                    <a:pt x="326" y="221"/>
                    <a:pt x="326" y="221"/>
                  </a:cubicBezTo>
                  <a:cubicBezTo>
                    <a:pt x="322" y="220"/>
                    <a:pt x="322" y="220"/>
                    <a:pt x="322" y="220"/>
                  </a:cubicBezTo>
                  <a:lnTo>
                    <a:pt x="322" y="222"/>
                  </a:lnTo>
                  <a:close/>
                  <a:moveTo>
                    <a:pt x="325" y="217"/>
                  </a:moveTo>
                  <a:cubicBezTo>
                    <a:pt x="326" y="213"/>
                    <a:pt x="326" y="213"/>
                    <a:pt x="326" y="213"/>
                  </a:cubicBezTo>
                  <a:cubicBezTo>
                    <a:pt x="322" y="215"/>
                    <a:pt x="322" y="215"/>
                    <a:pt x="322" y="215"/>
                  </a:cubicBezTo>
                  <a:lnTo>
                    <a:pt x="325" y="217"/>
                  </a:lnTo>
                  <a:close/>
                  <a:moveTo>
                    <a:pt x="319" y="219"/>
                  </a:moveTo>
                  <a:cubicBezTo>
                    <a:pt x="317" y="218"/>
                    <a:pt x="315" y="219"/>
                    <a:pt x="315" y="219"/>
                  </a:cubicBezTo>
                  <a:cubicBezTo>
                    <a:pt x="315" y="219"/>
                    <a:pt x="314" y="220"/>
                    <a:pt x="316" y="221"/>
                  </a:cubicBezTo>
                  <a:cubicBezTo>
                    <a:pt x="319" y="221"/>
                    <a:pt x="320" y="220"/>
                    <a:pt x="319" y="219"/>
                  </a:cubicBezTo>
                  <a:close/>
                  <a:moveTo>
                    <a:pt x="354" y="202"/>
                  </a:moveTo>
                  <a:cubicBezTo>
                    <a:pt x="356" y="202"/>
                    <a:pt x="356" y="202"/>
                    <a:pt x="356" y="202"/>
                  </a:cubicBezTo>
                  <a:cubicBezTo>
                    <a:pt x="356" y="200"/>
                    <a:pt x="356" y="200"/>
                    <a:pt x="356" y="200"/>
                  </a:cubicBezTo>
                  <a:cubicBezTo>
                    <a:pt x="354" y="200"/>
                    <a:pt x="354" y="200"/>
                    <a:pt x="354" y="200"/>
                  </a:cubicBezTo>
                  <a:lnTo>
                    <a:pt x="354" y="20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F7636D6-9045-8046-846A-18BC3CC14DDE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243220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85126B2A-21C1-B843-B973-F8CD5363EB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9231C03-7741-E94C-A68A-77ABA0F6DD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380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Rectangle 185">
            <a:extLst>
              <a:ext uri="{FF2B5EF4-FFF2-40B4-BE49-F238E27FC236}">
                <a16:creationId xmlns:a16="http://schemas.microsoft.com/office/drawing/2014/main" id="{1B24D510-5F04-0D4B-B09A-D6FCD87783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Title 1">
            <a:extLst>
              <a:ext uri="{FF2B5EF4-FFF2-40B4-BE49-F238E27FC236}">
                <a16:creationId xmlns:a16="http://schemas.microsoft.com/office/drawing/2014/main" id="{B4E0AB8A-C16B-0643-9066-4140FF474C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Australia</a:t>
            </a:r>
            <a:endParaRPr lang="en-US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8D485D-A667-DC44-81C7-6C226C580FE2}"/>
              </a:ext>
            </a:extLst>
          </p:cNvPr>
          <p:cNvGrpSpPr/>
          <p:nvPr userDrawn="1"/>
        </p:nvGrpSpPr>
        <p:grpSpPr>
          <a:xfrm>
            <a:off x="5431819" y="436846"/>
            <a:ext cx="6482275" cy="6091887"/>
            <a:chOff x="4450184" y="1201437"/>
            <a:chExt cx="4115592" cy="3867735"/>
          </a:xfrm>
        </p:grpSpPr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53826" y="2119391"/>
              <a:ext cx="298048" cy="319287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40660" y="1760190"/>
              <a:ext cx="875119" cy="667601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44805" y="4165732"/>
              <a:ext cx="1020971" cy="903440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0184" y="1201437"/>
              <a:ext cx="2625353" cy="119732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83103" y="2231865"/>
              <a:ext cx="199754" cy="108847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33351" y="2409652"/>
              <a:ext cx="2282917" cy="244908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70960D-A87D-FC4E-BA86-5B8E0C3BBE6B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1139276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3850"/>
            <a:ext cx="10934497" cy="55722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592263"/>
            <a:ext cx="3554209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Category Title here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5" y="2121145"/>
            <a:ext cx="3554205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white as the </a:t>
            </a:r>
            <a:r>
              <a:rPr lang="en-US" dirty="0" err="1"/>
              <a:t>colour</a:t>
            </a:r>
            <a:r>
              <a:rPr lang="en-US" dirty="0"/>
              <a:t> and place inside the blue circle.</a:t>
            </a:r>
          </a:p>
          <a:p>
            <a:r>
              <a:rPr lang="en-US" dirty="0"/>
              <a:t>Any unwanted Icons can be masked with a simple white box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4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5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4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FDD0A0D-4813-0442-B7A9-81BFB4829B0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697802F-0840-EE48-B35C-9CB300CE1D8F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Subtitle 2">
            <a:extLst>
              <a:ext uri="{FF2B5EF4-FFF2-40B4-BE49-F238E27FC236}">
                <a16:creationId xmlns:a16="http://schemas.microsoft.com/office/drawing/2014/main" id="{26402C3C-F59C-3A42-B015-2EA68FBF825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336913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CFCF589-AF37-934C-9D77-389344C39EC6}"/>
              </a:ext>
            </a:extLst>
          </p:cNvPr>
          <p:cNvSpPr/>
          <p:nvPr userDrawn="1"/>
        </p:nvSpPr>
        <p:spPr>
          <a:xfrm>
            <a:off x="4187824" y="0"/>
            <a:ext cx="8004175" cy="685800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9148"/>
            <a:ext cx="3322921" cy="8213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7" y="1592262"/>
            <a:ext cx="3321608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Copy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6" y="2121144"/>
            <a:ext cx="3321608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Kingspan Blue as the </a:t>
            </a:r>
            <a:r>
              <a:rPr lang="en-US" dirty="0" err="1"/>
              <a:t>colour</a:t>
            </a:r>
            <a:r>
              <a:rPr lang="en-US" dirty="0"/>
              <a:t> and place inside the white circle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2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3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3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BC67C90-EE5C-624B-803D-A24E2B956D1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9B69D5E-ED9C-544E-A604-69F54D7871C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Subtitle 2">
            <a:extLst>
              <a:ext uri="{FF2B5EF4-FFF2-40B4-BE49-F238E27FC236}">
                <a16:creationId xmlns:a16="http://schemas.microsoft.com/office/drawing/2014/main" id="{9C1708ED-C33A-E546-BF47-ADC82014D16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D0268A4-3A87-5D4C-AF1D-0FE814E58E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60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A0AD9CA-DD4F-6849-9EBD-847328BAD8DE}"/>
              </a:ext>
            </a:extLst>
          </p:cNvPr>
          <p:cNvSpPr/>
          <p:nvPr userDrawn="1"/>
        </p:nvSpPr>
        <p:spPr>
          <a:xfrm>
            <a:off x="890524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DBA820-B79F-8940-93B5-9A3B88CEEBE6}"/>
              </a:ext>
            </a:extLst>
          </p:cNvPr>
          <p:cNvSpPr/>
          <p:nvPr userDrawn="1"/>
        </p:nvSpPr>
        <p:spPr>
          <a:xfrm>
            <a:off x="27608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12DD1A3-2ECA-2941-93A2-23BA1BB974D6}"/>
              </a:ext>
            </a:extLst>
          </p:cNvPr>
          <p:cNvSpPr/>
          <p:nvPr userDrawn="1"/>
        </p:nvSpPr>
        <p:spPr>
          <a:xfrm>
            <a:off x="45896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4DA6F6B-A360-834A-B6A1-672292E771E1}"/>
              </a:ext>
            </a:extLst>
          </p:cNvPr>
          <p:cNvSpPr/>
          <p:nvPr userDrawn="1"/>
        </p:nvSpPr>
        <p:spPr>
          <a:xfrm>
            <a:off x="6489841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1162878-B24C-CB4E-82D5-450D8A9335EA}"/>
              </a:ext>
            </a:extLst>
          </p:cNvPr>
          <p:cNvSpPr/>
          <p:nvPr userDrawn="1"/>
        </p:nvSpPr>
        <p:spPr>
          <a:xfrm>
            <a:off x="8313789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4B2BB32-0183-9442-AD45-3D1F3A7510B4}"/>
              </a:ext>
            </a:extLst>
          </p:cNvPr>
          <p:cNvSpPr/>
          <p:nvPr userDrawn="1"/>
        </p:nvSpPr>
        <p:spPr>
          <a:xfrm>
            <a:off x="1016752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1566"/>
            <a:ext cx="10934496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8A2391B-7CB4-D048-93B2-01298DBE852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4797425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B9895C84-2A29-B648-9FCB-581D7A666A5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5265738"/>
            <a:ext cx="1725410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C4372F70-3F92-984D-A1D6-64A68A41CC4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491189" y="4797425"/>
            <a:ext cx="169663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11357760-943B-E346-879B-5120DFBB54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91189" y="5265738"/>
            <a:ext cx="169663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AB36158F-1BCC-9142-AC83-0549E61597E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29614" y="4797425"/>
            <a:ext cx="1694949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A6B674D9-7291-2045-937A-0C8BE04CBCD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29614" y="5265738"/>
            <a:ext cx="1694949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D345FC74-CE8E-024B-9255-A89BBBAAAF2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06540" y="4797425"/>
            <a:ext cx="1658034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77946A5A-2264-094F-849A-D29C2FE0346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06540" y="5265738"/>
            <a:ext cx="1658034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2B8AE223-BAE7-584D-B3CF-E89FCAF2D75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006465" y="4797425"/>
            <a:ext cx="171747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6FD89598-B46E-E149-80A9-FFF06C86794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006465" y="5265738"/>
            <a:ext cx="1717472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E9C16BF4-14AA-904F-8536-6397929D2C9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9873766" y="4797425"/>
            <a:ext cx="169434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D10C066C-33CD-ED43-90D0-B8F060FE81F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9873766" y="5265738"/>
            <a:ext cx="169434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8F9FF5E-F6CE-BD44-8EE0-5F95979213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C5920A3-68C0-0748-B9EC-F7A9A8E276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Subtitle 2">
            <a:extLst>
              <a:ext uri="{FF2B5EF4-FFF2-40B4-BE49-F238E27FC236}">
                <a16:creationId xmlns:a16="http://schemas.microsoft.com/office/drawing/2014/main" id="{496FCA75-A150-5D4F-9612-55D226FB00C1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74365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09600" y="1510584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9C2F46-1389-2049-AB66-BA0E4767FF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400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05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E0753F-4CF5-0249-99E2-78D9368551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075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A191C85-8222-C049-9D1C-4D066189C0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209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2375" t="27833" r="42531" b="51236"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80083D-ED1D-A14E-AB59-11EE03FDC6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685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14E8BA2-96AA-D443-B26D-17071E739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5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Planet Passionat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9DDE4E-439C-584A-9367-471280FC2F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409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348A17DD-BEA2-8848-AA12-6063DC78CA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1E35709-C6B8-1846-9E42-6EBD70173E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259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2D56AAE-6755-884D-9729-A3748131BB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725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A39A48A-1B62-F642-8CA6-53864C1F171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EB265DC-753B-A04E-AEED-322969FA79D3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Subtitle 2">
            <a:extLst>
              <a:ext uri="{FF2B5EF4-FFF2-40B4-BE49-F238E27FC236}">
                <a16:creationId xmlns:a16="http://schemas.microsoft.com/office/drawing/2014/main" id="{FBA345E0-EE21-5C40-9A9E-7CBADF7B171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95459B0-3CE0-F742-A537-8BB9245B20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503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683EF78-36EB-B347-8002-51E747491FD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692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9615A174-4F8A-2F4B-9A8E-80A3491D38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986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7CF87F0-7E8F-904C-8D99-7DBEEF328B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772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6E69647-C502-C441-87EF-3977815DA1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973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B8647F-9952-F446-B6D5-8D7125A485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862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589FAB-72DB-3C47-8A59-E513229C35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678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8B147F-3449-9841-98AE-A51B6A4FB3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684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719F52-3F4D-094F-A7E3-CAB8AD389D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884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582F58F-84F7-A348-85DD-03FEC9C57F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628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F34DB94D-7DB1-464A-90FB-C24B1FEAA0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528E442-F367-0A4F-90E7-9580D5CCF9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353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F9FCBF-D3C7-5348-A691-5634596B9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2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C036A99-9230-1D44-BD35-B76E66776C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6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F004747-33C9-704E-A2E6-F4C6141C8D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611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0E04F-D46A-C744-A629-DAA67A0816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602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35017B9-77BC-284B-A42C-A296E825A7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933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260227-57F8-2644-B85D-64F25A1789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957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8FD18CE-A7CC-0342-99A8-D08B8CBC5F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756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BB4072D-3150-684F-96E4-3E2B94E27921}"/>
              </a:ext>
            </a:extLst>
          </p:cNvPr>
          <p:cNvGrpSpPr/>
          <p:nvPr userDrawn="1"/>
        </p:nvGrpSpPr>
        <p:grpSpPr>
          <a:xfrm>
            <a:off x="374053" y="-12529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0D6FCC16-AC36-7B41-9B9B-3B1A96FD6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4262DF0-E744-6041-AAE9-9D127B7A9AC3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lerts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D6B311C-FDD8-7A4A-9E1B-4E8579537454}"/>
              </a:ext>
            </a:extLst>
          </p:cNvPr>
          <p:cNvGrpSpPr/>
          <p:nvPr userDrawn="1"/>
        </p:nvGrpSpPr>
        <p:grpSpPr>
          <a:xfrm>
            <a:off x="8541224" y="3305151"/>
            <a:ext cx="1580322" cy="1608757"/>
            <a:chOff x="5750970" y="2169250"/>
            <a:chExt cx="1580322" cy="1608757"/>
          </a:xfrm>
        </p:grpSpPr>
        <p:pic>
          <p:nvPicPr>
            <p:cNvPr id="174" name="Picture 173" descr="A close up of a logo&#10;&#10;Description automatically generated">
              <a:extLst>
                <a:ext uri="{FF2B5EF4-FFF2-40B4-BE49-F238E27FC236}">
                  <a16:creationId xmlns:a16="http://schemas.microsoft.com/office/drawing/2014/main" id="{545988BF-965C-AA47-9425-0D6D6D39B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535BD7F4-24A1-0747-87AF-EF4D15762673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se Study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5088489E-7174-F243-A7AA-497CA2725050}"/>
              </a:ext>
            </a:extLst>
          </p:cNvPr>
          <p:cNvGrpSpPr/>
          <p:nvPr userDrawn="1"/>
        </p:nvGrpSpPr>
        <p:grpSpPr>
          <a:xfrm>
            <a:off x="5767441" y="1746216"/>
            <a:ext cx="1580322" cy="1715119"/>
            <a:chOff x="367748" y="405538"/>
            <a:chExt cx="1580322" cy="1715119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9684B06A-814D-4241-89C0-3A6DA490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93807C27-7A76-734F-9F6C-D956CCFA4A62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</a:t>
              </a:r>
            </a:p>
            <a:p>
              <a:pPr algn="ctr"/>
              <a:r>
                <a:rPr lang="en-US" sz="1200" dirty="0"/>
                <a:t>Service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064A34D-C51B-FA46-AAF8-C7D071096ECE}"/>
              </a:ext>
            </a:extLst>
          </p:cNvPr>
          <p:cNvGrpSpPr/>
          <p:nvPr userDrawn="1"/>
        </p:nvGrpSpPr>
        <p:grpSpPr>
          <a:xfrm>
            <a:off x="5773190" y="-28593"/>
            <a:ext cx="1580322" cy="1566045"/>
            <a:chOff x="367748" y="2169250"/>
            <a:chExt cx="1580322" cy="1566045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95E333A6-653E-F645-8071-A8B53C73A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E3DF9503-1188-EF42-874E-90566CC4A8DD}"/>
                </a:ext>
              </a:extLst>
            </p:cNvPr>
            <p:cNvSpPr txBox="1"/>
            <p:nvPr/>
          </p:nvSpPr>
          <p:spPr>
            <a:xfrm>
              <a:off x="367748" y="345829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rand DNA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89866316-E303-0344-BE71-8D9017A98606}"/>
              </a:ext>
            </a:extLst>
          </p:cNvPr>
          <p:cNvGrpSpPr/>
          <p:nvPr userDrawn="1"/>
        </p:nvGrpSpPr>
        <p:grpSpPr>
          <a:xfrm>
            <a:off x="7138849" y="1746216"/>
            <a:ext cx="1580322" cy="1553763"/>
            <a:chOff x="5750970" y="2169250"/>
            <a:chExt cx="1580322" cy="155376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E241773-9743-8D49-ACAA-E64CE7684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46513CAC-B56C-2E49-BFC1-44A1F6A2B074}"/>
                </a:ext>
              </a:extLst>
            </p:cNvPr>
            <p:cNvSpPr txBox="1"/>
            <p:nvPr/>
          </p:nvSpPr>
          <p:spPr>
            <a:xfrm>
              <a:off x="5750970" y="344601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llaboration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7AD6A17-ED90-6547-A570-1EAE684B017F}"/>
              </a:ext>
            </a:extLst>
          </p:cNvPr>
          <p:cNvGrpSpPr/>
          <p:nvPr userDrawn="1"/>
        </p:nvGrpSpPr>
        <p:grpSpPr>
          <a:xfrm>
            <a:off x="390557" y="3313364"/>
            <a:ext cx="1580322" cy="1537449"/>
            <a:chOff x="9480376" y="3968750"/>
            <a:chExt cx="1580322" cy="1537449"/>
          </a:xfrm>
        </p:grpSpPr>
        <p:pic>
          <p:nvPicPr>
            <p:cNvPr id="186" name="Picture 18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B6D36BF-1E77-B047-A477-9B1A19440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5CDFDBC-E158-B549-BB68-75DB5E0F1ED6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act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8D4F745E-0219-0346-8DD9-592D94CD0F1A}"/>
              </a:ext>
            </a:extLst>
          </p:cNvPr>
          <p:cNvGrpSpPr/>
          <p:nvPr userDrawn="1"/>
        </p:nvGrpSpPr>
        <p:grpSpPr>
          <a:xfrm>
            <a:off x="7155839" y="-23657"/>
            <a:ext cx="1580322" cy="1537586"/>
            <a:chOff x="5750970" y="3968613"/>
            <a:chExt cx="1580322" cy="1537586"/>
          </a:xfrm>
        </p:grpSpPr>
        <p:pic>
          <p:nvPicPr>
            <p:cNvPr id="189" name="Picture 188" descr="A close up of a logo&#10;&#10;Description automatically generated">
              <a:extLst>
                <a:ext uri="{FF2B5EF4-FFF2-40B4-BE49-F238E27FC236}">
                  <a16:creationId xmlns:a16="http://schemas.microsoft.com/office/drawing/2014/main" id="{5BEC7397-EA5B-8047-8142-35A4E2846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E0E91293-FA98-274D-A2CA-30660D44AC83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acteria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FF8C05F-938E-3540-AE08-1D6175D46C00}"/>
              </a:ext>
            </a:extLst>
          </p:cNvPr>
          <p:cNvGrpSpPr/>
          <p:nvPr userDrawn="1"/>
        </p:nvGrpSpPr>
        <p:grpSpPr>
          <a:xfrm>
            <a:off x="1627715" y="3302734"/>
            <a:ext cx="1580322" cy="1740157"/>
            <a:chOff x="7667309" y="2169250"/>
            <a:chExt cx="1580322" cy="1740157"/>
          </a:xfrm>
        </p:grpSpPr>
        <p:pic>
          <p:nvPicPr>
            <p:cNvPr id="192" name="Picture 191" descr="A close up of a sign&#10;&#10;Description automatically generated">
              <a:extLst>
                <a:ext uri="{FF2B5EF4-FFF2-40B4-BE49-F238E27FC236}">
                  <a16:creationId xmlns:a16="http://schemas.microsoft.com/office/drawing/2014/main" id="{2BE03BB0-45C2-824D-9534-7FAB7C4E66C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D4D9A9BA-AAC4-B544-A6DC-868CB55D999B}"/>
                </a:ext>
              </a:extLst>
            </p:cNvPr>
            <p:cNvSpPr txBox="1"/>
            <p:nvPr/>
          </p:nvSpPr>
          <p:spPr>
            <a:xfrm>
              <a:off x="7667309" y="344774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liant Solution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56138BC7-748A-D049-82ED-CAE61EC15437}"/>
              </a:ext>
            </a:extLst>
          </p:cNvPr>
          <p:cNvGrpSpPr/>
          <p:nvPr userDrawn="1"/>
        </p:nvGrpSpPr>
        <p:grpSpPr>
          <a:xfrm>
            <a:off x="374053" y="1763790"/>
            <a:ext cx="1580322" cy="1530453"/>
            <a:chOff x="367748" y="405538"/>
            <a:chExt cx="1580322" cy="1530453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64632124-D98E-4C47-B909-97AA1F99C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561DC6A-9438-874F-AA4C-5AEC225CF95B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lendar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588EF020-AE7A-2B48-9265-38C1075295F9}"/>
              </a:ext>
            </a:extLst>
          </p:cNvPr>
          <p:cNvGrpSpPr/>
          <p:nvPr userDrawn="1"/>
        </p:nvGrpSpPr>
        <p:grpSpPr>
          <a:xfrm>
            <a:off x="1637039" y="1750338"/>
            <a:ext cx="1580322" cy="1530453"/>
            <a:chOff x="2063552" y="405538"/>
            <a:chExt cx="1580322" cy="1530453"/>
          </a:xfrm>
        </p:grpSpPr>
        <p:pic>
          <p:nvPicPr>
            <p:cNvPr id="198" name="Picture 197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16375AE-E24C-3744-9A70-E2C84CEEB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35A4F2E9-4BE7-1E4B-B530-BC1CD4ADCE1C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art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910D802-A6C8-274C-9C65-47AFAC4CFE8B}"/>
              </a:ext>
            </a:extLst>
          </p:cNvPr>
          <p:cNvGrpSpPr/>
          <p:nvPr userDrawn="1"/>
        </p:nvGrpSpPr>
        <p:grpSpPr>
          <a:xfrm>
            <a:off x="1643847" y="-28593"/>
            <a:ext cx="1580322" cy="1722252"/>
            <a:chOff x="367748" y="3968613"/>
            <a:chExt cx="1580322" cy="1722252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2B8E77AE-2D9B-4A47-8684-1C0D40558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37909" y="3968613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7C81AE6-3996-7647-A9B4-8438B7CFC46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ccredited Installer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08690EF9-DDDF-1F40-818B-75754B172961}"/>
              </a:ext>
            </a:extLst>
          </p:cNvPr>
          <p:cNvGrpSpPr/>
          <p:nvPr userDrawn="1"/>
        </p:nvGrpSpPr>
        <p:grpSpPr>
          <a:xfrm>
            <a:off x="3000586" y="1746216"/>
            <a:ext cx="1580322" cy="1537449"/>
            <a:chOff x="5750970" y="3968750"/>
            <a:chExt cx="1580322" cy="1537449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6594CE0C-26AF-A047-A3D6-A9C611F7E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1164C9F6-C764-5E40-B736-75839445A2D1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unication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FCA607D7-2C8C-3D4B-B351-BBA093EE00BE}"/>
              </a:ext>
            </a:extLst>
          </p:cNvPr>
          <p:cNvGrpSpPr/>
          <p:nvPr userDrawn="1"/>
        </p:nvGrpSpPr>
        <p:grpSpPr>
          <a:xfrm>
            <a:off x="4369981" y="1746216"/>
            <a:ext cx="1580322" cy="1537586"/>
            <a:chOff x="7667309" y="3968613"/>
            <a:chExt cx="1580322" cy="1537586"/>
          </a:xfrm>
        </p:grpSpPr>
        <p:pic>
          <p:nvPicPr>
            <p:cNvPr id="207" name="Picture 206" descr="A close up of a sign&#10;&#10;Description automatically generated">
              <a:extLst>
                <a:ext uri="{FF2B5EF4-FFF2-40B4-BE49-F238E27FC236}">
                  <a16:creationId xmlns:a16="http://schemas.microsoft.com/office/drawing/2014/main" id="{A290880F-F450-4B44-9E67-E63D21ABC8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4CE1E15B-D5EC-FB44-95DA-0FE4DCD2172E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ed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DA3EF250-8F71-4F44-B1B0-3FFF284AD16D}"/>
              </a:ext>
            </a:extLst>
          </p:cNvPr>
          <p:cNvGrpSpPr/>
          <p:nvPr userDrawn="1"/>
        </p:nvGrpSpPr>
        <p:grpSpPr>
          <a:xfrm>
            <a:off x="4378756" y="3320360"/>
            <a:ext cx="1580322" cy="1530453"/>
            <a:chOff x="5750970" y="405538"/>
            <a:chExt cx="1580322" cy="1530453"/>
          </a:xfrm>
        </p:grpSpPr>
        <p:pic>
          <p:nvPicPr>
            <p:cNvPr id="210" name="Picture 209" descr="A close up of a sign&#10;&#10;Description automatically generated">
              <a:extLst>
                <a:ext uri="{FF2B5EF4-FFF2-40B4-BE49-F238E27FC236}">
                  <a16:creationId xmlns:a16="http://schemas.microsoft.com/office/drawing/2014/main" id="{BBF960DB-5E07-EB4D-BC48-1A5EF2910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A6D742A9-6A61-054A-9CDC-5E9FA42210F8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cate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DFAEBC59-2894-9C47-8523-D8693974B992}"/>
              </a:ext>
            </a:extLst>
          </p:cNvPr>
          <p:cNvGrpSpPr/>
          <p:nvPr userDrawn="1"/>
        </p:nvGrpSpPr>
        <p:grpSpPr>
          <a:xfrm>
            <a:off x="8534296" y="1742769"/>
            <a:ext cx="1580322" cy="1564192"/>
            <a:chOff x="2063552" y="2169250"/>
            <a:chExt cx="1580322" cy="1564192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F922517B-CA2F-6346-B1BA-B6F47E903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5FE21AD-85C6-D345-9A10-7B46BEA32814}"/>
                </a:ext>
              </a:extLst>
            </p:cNvPr>
            <p:cNvSpPr txBox="1"/>
            <p:nvPr/>
          </p:nvSpPr>
          <p:spPr>
            <a:xfrm>
              <a:off x="2063552" y="345644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B8F8ED8-D362-9043-A3D6-7462ACC1CE05}"/>
              </a:ext>
            </a:extLst>
          </p:cNvPr>
          <p:cNvGrpSpPr/>
          <p:nvPr userDrawn="1"/>
        </p:nvGrpSpPr>
        <p:grpSpPr>
          <a:xfrm>
            <a:off x="3004181" y="-22880"/>
            <a:ext cx="1580322" cy="1544397"/>
            <a:chOff x="9480376" y="2169250"/>
            <a:chExt cx="1580322" cy="1544397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F1BAC1CF-C9BB-2D4F-9500-7BB40CF84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D6299A57-6EF6-664C-BE40-A9AACB5631BD}"/>
                </a:ext>
              </a:extLst>
            </p:cNvPr>
            <p:cNvSpPr txBox="1"/>
            <p:nvPr/>
          </p:nvSpPr>
          <p:spPr>
            <a:xfrm>
              <a:off x="9480376" y="343664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d Blu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A917B2A9-4483-0C4E-B212-56D00A07DDEC}"/>
              </a:ext>
            </a:extLst>
          </p:cNvPr>
          <p:cNvGrpSpPr/>
          <p:nvPr userDrawn="1"/>
        </p:nvGrpSpPr>
        <p:grpSpPr>
          <a:xfrm>
            <a:off x="3001276" y="3313364"/>
            <a:ext cx="1580322" cy="1537449"/>
            <a:chOff x="5750970" y="3968750"/>
            <a:chExt cx="1580322" cy="1537449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CBA9383E-7B9F-B647-A0C8-4D320BE8F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AC9539E8-2107-DC4D-9FEA-ED7CB940FDF8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ivils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57A30889-B007-AD40-85E4-F6F17A1F1D52}"/>
              </a:ext>
            </a:extLst>
          </p:cNvPr>
          <p:cNvGrpSpPr/>
          <p:nvPr userDrawn="1"/>
        </p:nvGrpSpPr>
        <p:grpSpPr>
          <a:xfrm>
            <a:off x="5767441" y="3302734"/>
            <a:ext cx="1580322" cy="1722252"/>
            <a:chOff x="7667309" y="3968613"/>
            <a:chExt cx="1580322" cy="1722252"/>
          </a:xfrm>
        </p:grpSpPr>
        <p:pic>
          <p:nvPicPr>
            <p:cNvPr id="222" name="Picture 221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8D68CAAC-0F8A-3248-B6FC-B6C507489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73A02D73-85E4-D54E-B75C-5B46FFAF3D1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 </a:t>
              </a:r>
              <a:br>
                <a:rPr lang="en-US" sz="1200" dirty="0"/>
              </a:br>
              <a:r>
                <a:rPr lang="en-US" sz="1200" dirty="0"/>
                <a:t>Focu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C6939DA3-B198-C44D-A756-96A1E60EB82A}"/>
              </a:ext>
            </a:extLst>
          </p:cNvPr>
          <p:cNvGrpSpPr/>
          <p:nvPr userDrawn="1"/>
        </p:nvGrpSpPr>
        <p:grpSpPr>
          <a:xfrm>
            <a:off x="7141403" y="3313364"/>
            <a:ext cx="1580322" cy="1746998"/>
            <a:chOff x="5750970" y="2169250"/>
            <a:chExt cx="1580322" cy="1746998"/>
          </a:xfrm>
        </p:grpSpPr>
        <p:pic>
          <p:nvPicPr>
            <p:cNvPr id="225" name="Picture 224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4708964-CE3F-9D48-8BBA-2CFD73C8D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B23F0FC8-6B3E-0944-9F32-860C86EFC6FA}"/>
                </a:ext>
              </a:extLst>
            </p:cNvPr>
            <p:cNvSpPr txBox="1"/>
            <p:nvPr/>
          </p:nvSpPr>
          <p:spPr>
            <a:xfrm>
              <a:off x="5750970" y="345458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Containerised</a:t>
              </a:r>
              <a:r>
                <a:rPr lang="en-US" sz="1200" dirty="0"/>
                <a:t> Design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D8D3B16F-07A5-B944-A6E5-5DC37CA04E3C}"/>
              </a:ext>
            </a:extLst>
          </p:cNvPr>
          <p:cNvGrpSpPr/>
          <p:nvPr userDrawn="1"/>
        </p:nvGrpSpPr>
        <p:grpSpPr>
          <a:xfrm>
            <a:off x="4369981" y="-14955"/>
            <a:ext cx="1580322" cy="1537586"/>
            <a:chOff x="2063552" y="3968613"/>
            <a:chExt cx="1580322" cy="1537586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2788A875-5726-6B42-B1D9-4DAF20BCC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28B723FF-C4D0-5245-B84D-8D72732425F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gricultur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5EFF25D9-F93F-7148-9B95-038D2822567D}"/>
              </a:ext>
            </a:extLst>
          </p:cNvPr>
          <p:cNvGrpSpPr/>
          <p:nvPr userDrawn="1"/>
        </p:nvGrpSpPr>
        <p:grpSpPr>
          <a:xfrm>
            <a:off x="8541224" y="-26646"/>
            <a:ext cx="1580322" cy="1565539"/>
            <a:chOff x="7667309" y="405538"/>
            <a:chExt cx="1580322" cy="1565539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E4A0CF04-4EC5-814B-9421-725F8B1E1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2E0C3064-CD98-1B45-A64E-168C14E6084B}"/>
                </a:ext>
              </a:extLst>
            </p:cNvPr>
            <p:cNvSpPr txBox="1"/>
            <p:nvPr/>
          </p:nvSpPr>
          <p:spPr>
            <a:xfrm>
              <a:off x="7667309" y="169407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us Stop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A640E644-110F-8C49-9371-6D9238ABE916}"/>
              </a:ext>
            </a:extLst>
          </p:cNvPr>
          <p:cNvGrpSpPr/>
          <p:nvPr userDrawn="1"/>
        </p:nvGrpSpPr>
        <p:grpSpPr>
          <a:xfrm>
            <a:off x="9960528" y="3320360"/>
            <a:ext cx="1580322" cy="1740001"/>
            <a:chOff x="2063552" y="2169250"/>
            <a:chExt cx="1580322" cy="174000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838E1618-59F8-FD4E-A284-7D0B04246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3EB45999-6401-CD4F-A88E-21C4FB74114C}"/>
                </a:ext>
              </a:extLst>
            </p:cNvPr>
            <p:cNvSpPr txBox="1"/>
            <p:nvPr/>
          </p:nvSpPr>
          <p:spPr>
            <a:xfrm>
              <a:off x="2063552" y="344758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centration Less Than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211471AA-4E2C-6045-8300-C5AAE621AEE5}"/>
              </a:ext>
            </a:extLst>
          </p:cNvPr>
          <p:cNvGrpSpPr/>
          <p:nvPr userDrawn="1"/>
        </p:nvGrpSpPr>
        <p:grpSpPr>
          <a:xfrm>
            <a:off x="9954108" y="1742769"/>
            <a:ext cx="1580322" cy="1537449"/>
            <a:chOff x="367748" y="3968750"/>
            <a:chExt cx="1580322" cy="1537449"/>
          </a:xfrm>
        </p:grpSpPr>
        <p:pic>
          <p:nvPicPr>
            <p:cNvPr id="237" name="Picture 236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22C9C45-18CD-7A42-922D-4ED8DAE8A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5500F41A-2337-484C-8F87-3EFC5157C48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rols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5E2A23B-F9F0-2249-A919-88854DE225BB}"/>
              </a:ext>
            </a:extLst>
          </p:cNvPr>
          <p:cNvGrpSpPr/>
          <p:nvPr userDrawn="1"/>
        </p:nvGrpSpPr>
        <p:grpSpPr>
          <a:xfrm>
            <a:off x="9954108" y="-24119"/>
            <a:ext cx="1580322" cy="1566138"/>
            <a:chOff x="367748" y="2169250"/>
            <a:chExt cx="1580322" cy="1566138"/>
          </a:xfrm>
        </p:grpSpPr>
        <p:pic>
          <p:nvPicPr>
            <p:cNvPr id="240" name="Picture 23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7790CCC-4BC9-994E-B5EC-2E60C341C7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C9E76F3C-BBAC-5845-B4C8-74EA95D89503}"/>
                </a:ext>
              </a:extLst>
            </p:cNvPr>
            <p:cNvSpPr txBox="1"/>
            <p:nvPr/>
          </p:nvSpPr>
          <p:spPr>
            <a:xfrm>
              <a:off x="367748" y="345838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A93816-B89C-4948-9307-37A1BA81EE01}"/>
              </a:ext>
            </a:extLst>
          </p:cNvPr>
          <p:cNvGrpSpPr/>
          <p:nvPr userDrawn="1"/>
        </p:nvGrpSpPr>
        <p:grpSpPr>
          <a:xfrm>
            <a:off x="7143380" y="5092727"/>
            <a:ext cx="1580322" cy="1806074"/>
            <a:chOff x="3896140" y="3968613"/>
            <a:chExt cx="1580322" cy="1806074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AAF03E1D-6D2B-CC42-810D-332EBE69A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966301" y="3968613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B280E7F6-3DD1-DB4C-A9D3-245B50D94576}"/>
                </a:ext>
              </a:extLst>
            </p:cNvPr>
            <p:cNvSpPr txBox="1"/>
            <p:nvPr/>
          </p:nvSpPr>
          <p:spPr>
            <a:xfrm>
              <a:off x="3896140" y="531302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uble </a:t>
              </a:r>
              <a:br>
                <a:rPr lang="en-US" sz="1200" dirty="0"/>
              </a:br>
              <a:r>
                <a:rPr lang="en-US" sz="1200" dirty="0"/>
                <a:t>Bunded Tank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1160E0BC-312B-5749-8E2C-788C647D52D7}"/>
              </a:ext>
            </a:extLst>
          </p:cNvPr>
          <p:cNvGrpSpPr/>
          <p:nvPr userDrawn="1"/>
        </p:nvGrpSpPr>
        <p:grpSpPr>
          <a:xfrm>
            <a:off x="8535621" y="5084886"/>
            <a:ext cx="1580322" cy="1608757"/>
            <a:chOff x="7667309" y="2169250"/>
            <a:chExt cx="1580322" cy="1608757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4BEA655A-CE87-DB47-A33B-39D7B43F0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0189D3BC-84F9-1C43-AF9C-F6C71B68E32C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sign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6C2E3B41-B23F-1140-B5DE-19AE0335E465}"/>
              </a:ext>
            </a:extLst>
          </p:cNvPr>
          <p:cNvGrpSpPr/>
          <p:nvPr userDrawn="1"/>
        </p:nvGrpSpPr>
        <p:grpSpPr>
          <a:xfrm>
            <a:off x="367748" y="5076640"/>
            <a:ext cx="1580322" cy="1608757"/>
            <a:chOff x="367748" y="2169250"/>
            <a:chExt cx="1580322" cy="1608757"/>
          </a:xfrm>
        </p:grpSpPr>
        <p:pic>
          <p:nvPicPr>
            <p:cNvPr id="249" name="Picture 24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9CD3CFDD-9B01-1944-90CC-690882E16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B77E6B8C-3EEE-4A4C-B119-88D10C831E79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3080C162-9ACA-9649-AAA4-E3919FA0CE94}"/>
              </a:ext>
            </a:extLst>
          </p:cNvPr>
          <p:cNvGrpSpPr/>
          <p:nvPr userDrawn="1"/>
        </p:nvGrpSpPr>
        <p:grpSpPr>
          <a:xfrm>
            <a:off x="2989227" y="5076640"/>
            <a:ext cx="1580322" cy="1608757"/>
            <a:chOff x="3896140" y="2169250"/>
            <a:chExt cx="1580322" cy="1608757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BA99FADF-C9C2-744B-ABD7-2E0E24957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D9DEAC2-E13E-DB45-A6EF-B3096BAF7954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mpsit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4E0500C9-7689-B441-9E80-8B1C10481232}"/>
              </a:ext>
            </a:extLst>
          </p:cNvPr>
          <p:cNvGrpSpPr/>
          <p:nvPr userDrawn="1"/>
        </p:nvGrpSpPr>
        <p:grpSpPr>
          <a:xfrm>
            <a:off x="1625854" y="5080465"/>
            <a:ext cx="1580322" cy="1587504"/>
            <a:chOff x="3896140" y="3968750"/>
            <a:chExt cx="1580322" cy="1587504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A390A808-7B12-DD4F-A3E1-6CDEFC9DF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14D3C6B5-5606-3A4D-A141-6F4FD65FCFB9}"/>
                </a:ext>
              </a:extLst>
            </p:cNvPr>
            <p:cNvSpPr txBox="1"/>
            <p:nvPr/>
          </p:nvSpPr>
          <p:spPr>
            <a:xfrm>
              <a:off x="3896140" y="527925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truction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340B1088-F5C2-A94E-B775-3FF347DFDE02}"/>
              </a:ext>
            </a:extLst>
          </p:cNvPr>
          <p:cNvGrpSpPr/>
          <p:nvPr userDrawn="1"/>
        </p:nvGrpSpPr>
        <p:grpSpPr>
          <a:xfrm>
            <a:off x="5771791" y="5084886"/>
            <a:ext cx="1580322" cy="1608757"/>
            <a:chOff x="367748" y="2169250"/>
            <a:chExt cx="1580322" cy="1608757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F3160-7693-B647-AAD3-A5F94A711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0B8FD068-3704-A245-A241-3C8A27766E0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 Service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739299A-FCC2-C040-95C6-C2EC211988EB}"/>
              </a:ext>
            </a:extLst>
          </p:cNvPr>
          <p:cNvGrpSpPr/>
          <p:nvPr userDrawn="1"/>
        </p:nvGrpSpPr>
        <p:grpSpPr>
          <a:xfrm>
            <a:off x="4380509" y="5076640"/>
            <a:ext cx="1580322" cy="1608757"/>
            <a:chOff x="367748" y="2169250"/>
            <a:chExt cx="1580322" cy="1608757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8A7E159B-B9AF-4149-A50F-9D2CE9CF7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C576CB03-2114-7D4E-B4F0-4283DF40847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acts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CEBABC10-0D3B-3E4B-9843-901E63CE1B78}"/>
              </a:ext>
            </a:extLst>
          </p:cNvPr>
          <p:cNvGrpSpPr/>
          <p:nvPr userDrawn="1"/>
        </p:nvGrpSpPr>
        <p:grpSpPr>
          <a:xfrm>
            <a:off x="9976412" y="5084886"/>
            <a:ext cx="1580322" cy="1793423"/>
            <a:chOff x="3896140" y="405538"/>
            <a:chExt cx="1580322" cy="179342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1038D68E-F995-FD46-BFDA-8976A03C1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D1593DD-E3EB-7144-8247-78BA446326BD}"/>
                </a:ext>
              </a:extLst>
            </p:cNvPr>
            <p:cNvSpPr txBox="1"/>
            <p:nvPr/>
          </p:nvSpPr>
          <p:spPr>
            <a:xfrm>
              <a:off x="3896140" y="173729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Water 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16300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50221498-D76C-9D46-8117-7D1CD9CCFD9D}"/>
              </a:ext>
            </a:extLst>
          </p:cNvPr>
          <p:cNvGrpSpPr/>
          <p:nvPr userDrawn="1"/>
        </p:nvGrpSpPr>
        <p:grpSpPr>
          <a:xfrm>
            <a:off x="4380509" y="0"/>
            <a:ext cx="1580322" cy="1530453"/>
            <a:chOff x="3896140" y="405538"/>
            <a:chExt cx="1580322" cy="1530453"/>
          </a:xfrm>
        </p:grpSpPr>
        <p:pic>
          <p:nvPicPr>
            <p:cNvPr id="171" name="Picture 17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B4151B7-F01F-374F-8B4D-364EFD86D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D03FE6D7-884E-4346-A059-29EF66582267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rop Alert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2A0DFDF4-CB46-E44C-8524-19425DC1D40E}"/>
              </a:ext>
            </a:extLst>
          </p:cNvPr>
          <p:cNvGrpSpPr/>
          <p:nvPr userDrawn="1"/>
        </p:nvGrpSpPr>
        <p:grpSpPr>
          <a:xfrm>
            <a:off x="3002939" y="17780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8151A87E-6F08-4549-8747-60C02D058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3814486B-6A38-C94F-9F28-F6AD94B777BD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wnload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6327C041-6C19-0D40-8131-83A9E8761B0D}"/>
              </a:ext>
            </a:extLst>
          </p:cNvPr>
          <p:cNvGrpSpPr/>
          <p:nvPr userDrawn="1"/>
        </p:nvGrpSpPr>
        <p:grpSpPr>
          <a:xfrm>
            <a:off x="5765810" y="4526"/>
            <a:ext cx="1580322" cy="1521875"/>
            <a:chOff x="3896140" y="2169250"/>
            <a:chExt cx="1580322" cy="152187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5B6E4E08-78D2-5047-A763-15DD8BA7F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67DAD732-6E72-6F49-AEEA-EB1DCA3ABA02}"/>
                </a:ext>
              </a:extLst>
            </p:cNvPr>
            <p:cNvSpPr txBox="1"/>
            <p:nvPr/>
          </p:nvSpPr>
          <p:spPr>
            <a:xfrm>
              <a:off x="3896140" y="341412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livery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7BAF2BF-FC4F-7A47-931E-C102C8E4ED68}"/>
              </a:ext>
            </a:extLst>
          </p:cNvPr>
          <p:cNvGrpSpPr/>
          <p:nvPr userDrawn="1"/>
        </p:nvGrpSpPr>
        <p:grpSpPr>
          <a:xfrm>
            <a:off x="1657712" y="17780"/>
            <a:ext cx="1580322" cy="1715119"/>
            <a:chOff x="5750970" y="405538"/>
            <a:chExt cx="1580322" cy="1715119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BEA6BFED-D760-7B4B-BB1C-1C0C638F3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F2AC0507-B105-9346-AF0E-F30AB2E9F994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</a:t>
              </a:r>
              <a:br>
                <a:rPr lang="en-US" sz="1200" dirty="0"/>
              </a:br>
              <a:r>
                <a:rPr lang="en-US" sz="1200" dirty="0"/>
                <a:t>Laundry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21BE7CE9-4172-684F-98D5-AC6A445EBE72}"/>
              </a:ext>
            </a:extLst>
          </p:cNvPr>
          <p:cNvGrpSpPr/>
          <p:nvPr userDrawn="1"/>
        </p:nvGrpSpPr>
        <p:grpSpPr>
          <a:xfrm>
            <a:off x="343232" y="17780"/>
            <a:ext cx="1580322" cy="1530453"/>
            <a:chOff x="9480376" y="405538"/>
            <a:chExt cx="1580322" cy="153045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1BD92CC-9411-5A4D-92A5-09ADB3048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FF1C0D68-D998-F544-9F55-84604A8B60C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D83F1AA7-2B9D-7349-9035-2A35C1360550}"/>
              </a:ext>
            </a:extLst>
          </p:cNvPr>
          <p:cNvGrpSpPr/>
          <p:nvPr userDrawn="1"/>
        </p:nvGrpSpPr>
        <p:grpSpPr>
          <a:xfrm>
            <a:off x="343232" y="1755612"/>
            <a:ext cx="1580322" cy="1530453"/>
            <a:chOff x="367748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2D8BFC2-1175-094B-9C79-38ED104B5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812A1409-5044-5948-BB0A-4B1B269DCA2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ail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79E740CC-3137-2A40-BAD8-D000A1C1C02E}"/>
              </a:ext>
            </a:extLst>
          </p:cNvPr>
          <p:cNvGrpSpPr/>
          <p:nvPr userDrawn="1"/>
        </p:nvGrpSpPr>
        <p:grpSpPr>
          <a:xfrm>
            <a:off x="1657712" y="1746390"/>
            <a:ext cx="1580322" cy="1537449"/>
            <a:chOff x="367748" y="3968750"/>
            <a:chExt cx="1580322" cy="1537449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4924E03-F555-EA49-B9A5-BB5FF5DFD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3FEC2C78-5095-1E45-BFA8-4B8EC71AC8B4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AF990BDE-4D1C-244D-BB84-60F0668432E4}"/>
              </a:ext>
            </a:extLst>
          </p:cNvPr>
          <p:cNvGrpSpPr/>
          <p:nvPr userDrawn="1"/>
        </p:nvGrpSpPr>
        <p:grpSpPr>
          <a:xfrm>
            <a:off x="3026228" y="1755395"/>
            <a:ext cx="1580322" cy="1536771"/>
            <a:chOff x="3896140" y="2169250"/>
            <a:chExt cx="1580322" cy="1536771"/>
          </a:xfrm>
        </p:grpSpPr>
        <p:pic>
          <p:nvPicPr>
            <p:cNvPr id="192" name="Picture 191" descr="A close up of a logo&#10;&#10;Description automatically generated">
              <a:extLst>
                <a:ext uri="{FF2B5EF4-FFF2-40B4-BE49-F238E27FC236}">
                  <a16:creationId xmlns:a16="http://schemas.microsoft.com/office/drawing/2014/main" id="{920A2D21-906C-B04B-93CD-4B613B1E2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81834B9E-B48D-E74C-8D3A-2F00C0BE87EF}"/>
                </a:ext>
              </a:extLst>
            </p:cNvPr>
            <p:cNvSpPr txBox="1"/>
            <p:nvPr/>
          </p:nvSpPr>
          <p:spPr>
            <a:xfrm>
              <a:off x="3896140" y="342902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powerment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07B9FEBE-2129-1F44-B28B-B4B2A4149EFA}"/>
              </a:ext>
            </a:extLst>
          </p:cNvPr>
          <p:cNvGrpSpPr/>
          <p:nvPr userDrawn="1"/>
        </p:nvGrpSpPr>
        <p:grpSpPr>
          <a:xfrm>
            <a:off x="4361877" y="1755395"/>
            <a:ext cx="1580322" cy="1537449"/>
            <a:chOff x="367748" y="3968750"/>
            <a:chExt cx="1580322" cy="1537449"/>
          </a:xfrm>
        </p:grpSpPr>
        <p:pic>
          <p:nvPicPr>
            <p:cNvPr id="195" name="Picture 194" descr="A close up of a logo&#10;&#10;Description automatically generated">
              <a:extLst>
                <a:ext uri="{FF2B5EF4-FFF2-40B4-BE49-F238E27FC236}">
                  <a16:creationId xmlns:a16="http://schemas.microsoft.com/office/drawing/2014/main" id="{B6122C6F-CA89-B542-B16B-F39E290940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EB889A1-4936-B646-B959-B5261EEE7D5F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 Solutions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D656741-A054-4B42-B0DC-9D8462D4B712}"/>
              </a:ext>
            </a:extLst>
          </p:cNvPr>
          <p:cNvGrpSpPr/>
          <p:nvPr userDrawn="1"/>
        </p:nvGrpSpPr>
        <p:grpSpPr>
          <a:xfrm>
            <a:off x="5778373" y="1757471"/>
            <a:ext cx="1580322" cy="1534695"/>
            <a:chOff x="367748" y="2169250"/>
            <a:chExt cx="1580322" cy="1534695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9667614-6800-AA4C-B0ED-C7234C9FB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39DE722-46F4-EB4F-BEC1-C3AB835B01B6}"/>
                </a:ext>
              </a:extLst>
            </p:cNvPr>
            <p:cNvSpPr txBox="1"/>
            <p:nvPr/>
          </p:nvSpPr>
          <p:spPr>
            <a:xfrm>
              <a:off x="367748" y="342694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-Commerce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9C7A2839-6BC5-FF4D-8FD2-2A6F2D07C943}"/>
              </a:ext>
            </a:extLst>
          </p:cNvPr>
          <p:cNvGrpSpPr/>
          <p:nvPr userDrawn="1"/>
        </p:nvGrpSpPr>
        <p:grpSpPr>
          <a:xfrm>
            <a:off x="9951671" y="12953"/>
            <a:ext cx="1580322" cy="1705069"/>
            <a:chOff x="2063552" y="2169250"/>
            <a:chExt cx="1580322" cy="1705069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131737B1-A25C-8C45-B911-402571C5B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8F8B36C-5349-A340-BAD2-D47ADF48D2BC}"/>
                </a:ext>
              </a:extLst>
            </p:cNvPr>
            <p:cNvSpPr txBox="1"/>
            <p:nvPr/>
          </p:nvSpPr>
          <p:spPr>
            <a:xfrm>
              <a:off x="2063552" y="3412654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vironmentally</a:t>
              </a:r>
              <a:br>
                <a:rPr lang="en-US" sz="1200" dirty="0"/>
              </a:br>
              <a:r>
                <a:rPr lang="en-US" sz="1200" dirty="0"/>
                <a:t>Friendly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C46B788A-1DD8-B24A-863E-49E117037287}"/>
              </a:ext>
            </a:extLst>
          </p:cNvPr>
          <p:cNvGrpSpPr/>
          <p:nvPr userDrawn="1"/>
        </p:nvGrpSpPr>
        <p:grpSpPr>
          <a:xfrm>
            <a:off x="8546269" y="12953"/>
            <a:ext cx="1580322" cy="1537586"/>
            <a:chOff x="5750970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176440D8-6923-B244-9019-D0B47FFA1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0FC9591F-D7A3-3446-AC27-887E2468013B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fficiency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6F226A5-4C34-DA48-B111-62BD12AB6AC6}"/>
              </a:ext>
            </a:extLst>
          </p:cNvPr>
          <p:cNvGrpSpPr/>
          <p:nvPr userDrawn="1"/>
        </p:nvGrpSpPr>
        <p:grpSpPr>
          <a:xfrm>
            <a:off x="7143380" y="5144"/>
            <a:ext cx="1580322" cy="1537449"/>
            <a:chOff x="3896140" y="3968750"/>
            <a:chExt cx="1580322" cy="1537449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E03209AE-D236-2A44-80BB-8E73D7E36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5BEEF663-F7FC-654B-B091-81F93758B4C6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asy to Install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830B4AA5-EB34-D54D-9427-80C0D93EC6C0}"/>
              </a:ext>
            </a:extLst>
          </p:cNvPr>
          <p:cNvGrpSpPr/>
          <p:nvPr userDrawn="1"/>
        </p:nvGrpSpPr>
        <p:grpSpPr>
          <a:xfrm>
            <a:off x="9951671" y="1737034"/>
            <a:ext cx="1580322" cy="1537449"/>
            <a:chOff x="5750970" y="3968750"/>
            <a:chExt cx="1580322" cy="1537449"/>
          </a:xfrm>
        </p:grpSpPr>
        <p:pic>
          <p:nvPicPr>
            <p:cNvPr id="210" name="Picture 209" descr="A close up of a logo&#10;&#10;Description automatically generated">
              <a:extLst>
                <a:ext uri="{FF2B5EF4-FFF2-40B4-BE49-F238E27FC236}">
                  <a16:creationId xmlns:a16="http://schemas.microsoft.com/office/drawing/2014/main" id="{5BF55BCB-C1B5-CF41-A2BA-CCF7951A1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0C2898CF-EA1E-3C4B-96DD-AC28D7AE2C95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lexi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6206C2B-32F1-A14F-92C4-3E56CDBC5A4D}"/>
              </a:ext>
            </a:extLst>
          </p:cNvPr>
          <p:cNvGrpSpPr/>
          <p:nvPr userDrawn="1"/>
        </p:nvGrpSpPr>
        <p:grpSpPr>
          <a:xfrm>
            <a:off x="343232" y="3311573"/>
            <a:ext cx="1580322" cy="1530453"/>
            <a:chOff x="9480376" y="405538"/>
            <a:chExt cx="1580322" cy="1530453"/>
          </a:xfrm>
        </p:grpSpPr>
        <p:pic>
          <p:nvPicPr>
            <p:cNvPr id="213" name="Picture 212" descr="A close up of a logo&#10;&#10;Description automatically generated">
              <a:extLst>
                <a:ext uri="{FF2B5EF4-FFF2-40B4-BE49-F238E27FC236}">
                  <a16:creationId xmlns:a16="http://schemas.microsoft.com/office/drawing/2014/main" id="{628B300F-A10E-164D-BCAC-63D99147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7EB8851-1CAF-6D4C-83BE-B5C6CBB5E2F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ll Volume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B649E25E-258F-8840-887B-C1B937A38644}"/>
              </a:ext>
            </a:extLst>
          </p:cNvPr>
          <p:cNvGrpSpPr/>
          <p:nvPr userDrawn="1"/>
        </p:nvGrpSpPr>
        <p:grpSpPr>
          <a:xfrm>
            <a:off x="1657712" y="3316021"/>
            <a:ext cx="1580322" cy="1537449"/>
            <a:chOff x="7667309" y="3968750"/>
            <a:chExt cx="1580322" cy="1537449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C6D27AE4-4053-B446-910A-CD22888D7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39687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65616293-1E72-D444-BDF1-821275DEE285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utur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0A61EC18-1016-5148-BE26-965D6AC37F63}"/>
              </a:ext>
            </a:extLst>
          </p:cNvPr>
          <p:cNvGrpSpPr/>
          <p:nvPr userDrawn="1"/>
        </p:nvGrpSpPr>
        <p:grpSpPr>
          <a:xfrm>
            <a:off x="3094381" y="3300493"/>
            <a:ext cx="1440000" cy="1720296"/>
            <a:chOff x="4433924" y="448331"/>
            <a:chExt cx="1440000" cy="1720296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DEF2D25F-F0BB-0F42-AEF8-E84570108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433924" y="448331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CF5EAB-07DF-884D-B55B-4B57C3C05E79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 </a:t>
              </a:r>
              <a:br>
                <a:rPr lang="en-US" sz="1200" dirty="0"/>
              </a:br>
              <a:r>
                <a:rPr lang="en-US" sz="1200" dirty="0"/>
                <a:t>Perform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458D89A9-681A-F34A-A299-1532CC14C896}"/>
              </a:ext>
            </a:extLst>
          </p:cNvPr>
          <p:cNvGrpSpPr/>
          <p:nvPr userDrawn="1"/>
        </p:nvGrpSpPr>
        <p:grpSpPr>
          <a:xfrm>
            <a:off x="4455882" y="3300491"/>
            <a:ext cx="1440000" cy="1554196"/>
            <a:chOff x="5837032" y="429765"/>
            <a:chExt cx="1440000" cy="1554196"/>
          </a:xfrm>
        </p:grpSpPr>
        <p:pic>
          <p:nvPicPr>
            <p:cNvPr id="222" name="Picture 221" descr="A close up of a logo&#10;&#10;Description automatically generated">
              <a:extLst>
                <a:ext uri="{FF2B5EF4-FFF2-40B4-BE49-F238E27FC236}">
                  <a16:creationId xmlns:a16="http://schemas.microsoft.com/office/drawing/2014/main" id="{916335E0-EA23-1144-9FE8-32AB12966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A5F7A08E-84F4-3243-A2D4-EFF9E66F59C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safe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5D3D33E9-A3BD-4A4E-B4FD-73D621549651}"/>
              </a:ext>
            </a:extLst>
          </p:cNvPr>
          <p:cNvGrpSpPr/>
          <p:nvPr userDrawn="1"/>
        </p:nvGrpSpPr>
        <p:grpSpPr>
          <a:xfrm>
            <a:off x="9951671" y="3300491"/>
            <a:ext cx="1580322" cy="1537586"/>
            <a:chOff x="2063552" y="3968613"/>
            <a:chExt cx="1580322" cy="1537586"/>
          </a:xfrm>
        </p:grpSpPr>
        <p:pic>
          <p:nvPicPr>
            <p:cNvPr id="225" name="Picture 224" descr="A close up of a logo&#10;&#10;Description automatically generated">
              <a:extLst>
                <a:ext uri="{FF2B5EF4-FFF2-40B4-BE49-F238E27FC236}">
                  <a16:creationId xmlns:a16="http://schemas.microsoft.com/office/drawing/2014/main" id="{114BC0DF-DC48-014D-9BC3-25BB74871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0B99956C-D3BA-404C-9CD6-DAA3CA16EEE7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 Leaks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B36408F-664E-5648-92B3-179713A1FD42}"/>
              </a:ext>
            </a:extLst>
          </p:cNvPr>
          <p:cNvGrpSpPr/>
          <p:nvPr userDrawn="1"/>
        </p:nvGrpSpPr>
        <p:grpSpPr>
          <a:xfrm>
            <a:off x="343232" y="4961419"/>
            <a:ext cx="1580322" cy="1524154"/>
            <a:chOff x="2063552" y="2169250"/>
            <a:chExt cx="1580322" cy="1524154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BB727CEE-5917-4A45-971A-11DEC8154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1146F023-6429-7745-A118-B157919F0521}"/>
                </a:ext>
              </a:extLst>
            </p:cNvPr>
            <p:cNvSpPr txBox="1"/>
            <p:nvPr/>
          </p:nvSpPr>
          <p:spPr>
            <a:xfrm>
              <a:off x="2063552" y="34164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ursing Hom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A815FBA7-AA68-6B46-B8CC-9DEBE411081F}"/>
              </a:ext>
            </a:extLst>
          </p:cNvPr>
          <p:cNvGrpSpPr/>
          <p:nvPr userDrawn="1"/>
        </p:nvGrpSpPr>
        <p:grpSpPr>
          <a:xfrm>
            <a:off x="8540353" y="3286257"/>
            <a:ext cx="1580322" cy="1552865"/>
            <a:chOff x="5750970" y="2148717"/>
            <a:chExt cx="1580322" cy="1552865"/>
          </a:xfrm>
        </p:grpSpPr>
        <p:pic>
          <p:nvPicPr>
            <p:cNvPr id="231" name="Picture 230" descr="A close up of a sign&#10;&#10;Description automatically generated">
              <a:extLst>
                <a:ext uri="{FF2B5EF4-FFF2-40B4-BE49-F238E27FC236}">
                  <a16:creationId xmlns:a16="http://schemas.microsoft.com/office/drawing/2014/main" id="{79000ED5-2632-6644-AFCE-3B042D75B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821131" y="2148717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E2AAB9CC-EF37-4B4E-9FD4-5E54F541EF64}"/>
                </a:ext>
              </a:extLst>
            </p:cNvPr>
            <p:cNvSpPr txBox="1"/>
            <p:nvPr/>
          </p:nvSpPr>
          <p:spPr>
            <a:xfrm>
              <a:off x="5750970" y="342458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odular System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95496837-8DB8-F34A-9A21-0C5DECD346B2}"/>
              </a:ext>
            </a:extLst>
          </p:cNvPr>
          <p:cNvGrpSpPr/>
          <p:nvPr userDrawn="1"/>
        </p:nvGrpSpPr>
        <p:grpSpPr>
          <a:xfrm>
            <a:off x="1657712" y="4955120"/>
            <a:ext cx="1580322" cy="1537586"/>
            <a:chOff x="2063552" y="3968613"/>
            <a:chExt cx="1580322" cy="1537586"/>
          </a:xfrm>
        </p:grpSpPr>
        <p:pic>
          <p:nvPicPr>
            <p:cNvPr id="234" name="Picture 23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038BA89-A93D-2D45-AC2F-F062A0380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72C0688E-FFAE-5445-B3CA-C9DC4A423080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ise Free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6C482F69-F0EE-9B4B-A3AA-8ED0E10855C9}"/>
              </a:ext>
            </a:extLst>
          </p:cNvPr>
          <p:cNvGrpSpPr/>
          <p:nvPr userDrawn="1"/>
        </p:nvGrpSpPr>
        <p:grpSpPr>
          <a:xfrm>
            <a:off x="7147415" y="3307624"/>
            <a:ext cx="1580322" cy="1530453"/>
            <a:chOff x="5750970" y="405538"/>
            <a:chExt cx="1580322" cy="1530453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05961423-9164-E44F-89AA-4703489EB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057027C5-2881-6D41-B37A-6EB5F95F9D6B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ulti-Company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1EDC3AD-C4DF-7C4D-8D19-AD54564BF376}"/>
              </a:ext>
            </a:extLst>
          </p:cNvPr>
          <p:cNvGrpSpPr/>
          <p:nvPr userDrawn="1"/>
        </p:nvGrpSpPr>
        <p:grpSpPr>
          <a:xfrm>
            <a:off x="5752381" y="3322404"/>
            <a:ext cx="1580322" cy="1719741"/>
            <a:chOff x="2980152" y="3322404"/>
            <a:chExt cx="1580322" cy="1719741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53CAC480-8A14-E942-AF0D-3479B89C3169}"/>
                </a:ext>
              </a:extLst>
            </p:cNvPr>
            <p:cNvSpPr txBox="1"/>
            <p:nvPr/>
          </p:nvSpPr>
          <p:spPr>
            <a:xfrm>
              <a:off x="2980152" y="458048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Low Thermal Conductivity</a:t>
              </a:r>
            </a:p>
          </p:txBody>
        </p:sp>
        <p:pic>
          <p:nvPicPr>
            <p:cNvPr id="241" name="Picture 240" descr="A close up of a logo&#10;&#10;Description automatically generated">
              <a:extLst>
                <a:ext uri="{FF2B5EF4-FFF2-40B4-BE49-F238E27FC236}">
                  <a16:creationId xmlns:a16="http://schemas.microsoft.com/office/drawing/2014/main" id="{BDCA369E-9F57-9843-A26C-551A65D49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3066" y="3322404"/>
              <a:ext cx="1440000" cy="1440000"/>
            </a:xfrm>
            <a:prstGeom prst="rect">
              <a:avLst/>
            </a:prstGeom>
          </p:spPr>
        </p:pic>
      </p:grpSp>
      <p:pic>
        <p:nvPicPr>
          <p:cNvPr id="242" name="Picture 241" descr="A close up of a logo&#10;&#10;Description automatically generated">
            <a:extLst>
              <a:ext uri="{FF2B5EF4-FFF2-40B4-BE49-F238E27FC236}">
                <a16:creationId xmlns:a16="http://schemas.microsoft.com/office/drawing/2014/main" id="{4C306442-58F5-5A47-AFC2-5A4559620D11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7224823" y="1761923"/>
            <a:ext cx="1440000" cy="1440000"/>
          </a:xfrm>
          <a:prstGeom prst="rect">
            <a:avLst/>
          </a:prstGeom>
        </p:spPr>
      </p:pic>
      <p:pic>
        <p:nvPicPr>
          <p:cNvPr id="243" name="Picture 242" descr="A close up of a logo&#10;&#10;Description automatically generated">
            <a:extLst>
              <a:ext uri="{FF2B5EF4-FFF2-40B4-BE49-F238E27FC236}">
                <a16:creationId xmlns:a16="http://schemas.microsoft.com/office/drawing/2014/main" id="{37C829E3-2E24-A14D-ABCA-3B0A5AA92299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8612763" y="1767617"/>
            <a:ext cx="1440000" cy="1440000"/>
          </a:xfrm>
          <a:prstGeom prst="rect">
            <a:avLst/>
          </a:prstGeom>
        </p:spPr>
      </p:pic>
      <p:sp>
        <p:nvSpPr>
          <p:cNvPr id="244" name="TextBox 243">
            <a:extLst>
              <a:ext uri="{FF2B5EF4-FFF2-40B4-BE49-F238E27FC236}">
                <a16:creationId xmlns:a16="http://schemas.microsoft.com/office/drawing/2014/main" id="{4CFF9556-6CB0-E748-8A9C-BCB871C1A852}"/>
              </a:ext>
            </a:extLst>
          </p:cNvPr>
          <p:cNvSpPr txBox="1"/>
          <p:nvPr userDrawn="1"/>
        </p:nvSpPr>
        <p:spPr>
          <a:xfrm>
            <a:off x="715466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07805582-7E54-DD4A-9271-9561F3DA171B}"/>
              </a:ext>
            </a:extLst>
          </p:cNvPr>
          <p:cNvSpPr txBox="1"/>
          <p:nvPr userDrawn="1"/>
        </p:nvSpPr>
        <p:spPr>
          <a:xfrm>
            <a:off x="854260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</p:spTree>
    <p:extLst>
      <p:ext uri="{BB962C8B-B14F-4D97-AF65-F5344CB8AC3E}">
        <p14:creationId xmlns:p14="http://schemas.microsoft.com/office/powerpoint/2010/main" val="2270751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D5FF9B05-B734-3C45-83E4-FDCEFC88B1C7}"/>
              </a:ext>
            </a:extLst>
          </p:cNvPr>
          <p:cNvGrpSpPr/>
          <p:nvPr userDrawn="1"/>
        </p:nvGrpSpPr>
        <p:grpSpPr>
          <a:xfrm>
            <a:off x="2992453" y="1617206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C4E3C020-A2BA-FB48-BB4C-F1C06698B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AAFEBB2E-BF9F-EA4E-9E9F-8FC47713F20C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cesses &amp; Data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B251DC2-41E1-3B4F-BC53-EF5605D64E9E}"/>
              </a:ext>
            </a:extLst>
          </p:cNvPr>
          <p:cNvGrpSpPr/>
          <p:nvPr userDrawn="1"/>
        </p:nvGrpSpPr>
        <p:grpSpPr>
          <a:xfrm>
            <a:off x="1621801" y="1622141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79B6A91C-1C58-324E-A8D3-8C58CF090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DC0F5970-5AE7-1A4B-BCBA-2320E932293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ject Tracking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320A5C4F-2848-8F4C-94DB-9D8E9FFE1133}"/>
              </a:ext>
            </a:extLst>
          </p:cNvPr>
          <p:cNvGrpSpPr/>
          <p:nvPr userDrawn="1"/>
        </p:nvGrpSpPr>
        <p:grpSpPr>
          <a:xfrm>
            <a:off x="4406194" y="1610210"/>
            <a:ext cx="1580322" cy="1722115"/>
            <a:chOff x="5750970" y="3968750"/>
            <a:chExt cx="1580322" cy="172211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1189C764-F6DB-FE45-9AB2-63E7DBC1C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74960FCF-5DDF-7B4D-BE10-E4DC4F857604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umping </a:t>
              </a:r>
              <a:br>
                <a:rPr lang="en-US" sz="1200" dirty="0"/>
              </a:br>
              <a:r>
                <a:rPr lang="en-US" sz="1200" dirty="0"/>
                <a:t>Stations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187FBFA-B3A4-254E-A187-F4E2EFCA49D6}"/>
              </a:ext>
            </a:extLst>
          </p:cNvPr>
          <p:cNvGrpSpPr/>
          <p:nvPr userDrawn="1"/>
        </p:nvGrpSpPr>
        <p:grpSpPr>
          <a:xfrm>
            <a:off x="5748340" y="1619297"/>
            <a:ext cx="1580322" cy="1530453"/>
            <a:chOff x="3896140" y="405538"/>
            <a:chExt cx="1580322" cy="1530453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0FD9866B-EC00-C043-8824-E82A94C72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9027EFED-85E1-D549-BAB5-9A2B9FE20D31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 Control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E19EF0FC-78B3-1B4E-B9B3-FA249C9CC8A8}"/>
              </a:ext>
            </a:extLst>
          </p:cNvPr>
          <p:cNvGrpSpPr/>
          <p:nvPr userDrawn="1"/>
        </p:nvGrpSpPr>
        <p:grpSpPr>
          <a:xfrm>
            <a:off x="7158370" y="1607240"/>
            <a:ext cx="1580322" cy="1532435"/>
            <a:chOff x="7667309" y="2169250"/>
            <a:chExt cx="1580322" cy="1532435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0364D460-89CF-2047-A881-C6B0203A3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3A7B073D-7A15-BF4A-936D-0AA7A7118E5A}"/>
                </a:ext>
              </a:extLst>
            </p:cNvPr>
            <p:cNvSpPr txBox="1"/>
            <p:nvPr/>
          </p:nvSpPr>
          <p:spPr>
            <a:xfrm>
              <a:off x="7667309" y="342468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1DE3D6AA-67AD-164A-803F-586500EDB5A2}"/>
              </a:ext>
            </a:extLst>
          </p:cNvPr>
          <p:cNvGrpSpPr/>
          <p:nvPr userDrawn="1"/>
        </p:nvGrpSpPr>
        <p:grpSpPr>
          <a:xfrm>
            <a:off x="365149" y="1625181"/>
            <a:ext cx="1580322" cy="1530453"/>
            <a:chOff x="9480376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8727F5C-3D5B-124D-8161-B468684C9B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26C3FF5-ABAD-4949-BA71-EB4D618BE55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ortable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760EC1A-EBE2-6F4D-B23F-9258112B15BA}"/>
              </a:ext>
            </a:extLst>
          </p:cNvPr>
          <p:cNvGrpSpPr/>
          <p:nvPr userDrawn="1"/>
        </p:nvGrpSpPr>
        <p:grpSpPr>
          <a:xfrm>
            <a:off x="8531671" y="1607240"/>
            <a:ext cx="1580322" cy="1519720"/>
            <a:chOff x="7667309" y="2169250"/>
            <a:chExt cx="1580322" cy="1519720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4686F63-1BCA-FC4E-9E27-3CB984408C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5462DC1F-8C40-DB48-991F-49E5A02E8052}"/>
                </a:ext>
              </a:extLst>
            </p:cNvPr>
            <p:cNvSpPr txBox="1"/>
            <p:nvPr/>
          </p:nvSpPr>
          <p:spPr>
            <a:xfrm>
              <a:off x="7667309" y="341197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cycling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2FE3-1BA6-1340-8FA3-F3FF7C50AE60}"/>
              </a:ext>
            </a:extLst>
          </p:cNvPr>
          <p:cNvGrpSpPr/>
          <p:nvPr userDrawn="1"/>
        </p:nvGrpSpPr>
        <p:grpSpPr>
          <a:xfrm>
            <a:off x="9943929" y="1613389"/>
            <a:ext cx="1580322" cy="1534270"/>
            <a:chOff x="3896140" y="2169250"/>
            <a:chExt cx="1580322" cy="1534270"/>
          </a:xfrm>
        </p:grpSpPr>
        <p:pic>
          <p:nvPicPr>
            <p:cNvPr id="192" name="Picture 19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FCBBFB0-F7D6-304F-AE1A-F29DE2973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CF9AA23D-4538-4344-9C30-AB3CE2029482}"/>
                </a:ext>
              </a:extLst>
            </p:cNvPr>
            <p:cNvSpPr txBox="1"/>
            <p:nvPr/>
          </p:nvSpPr>
          <p:spPr>
            <a:xfrm>
              <a:off x="3896140" y="342652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ainwater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626DB841-8413-B249-A985-397E6F8C5918}"/>
              </a:ext>
            </a:extLst>
          </p:cNvPr>
          <p:cNvGrpSpPr/>
          <p:nvPr userDrawn="1"/>
        </p:nvGrpSpPr>
        <p:grpSpPr>
          <a:xfrm>
            <a:off x="364907" y="3334873"/>
            <a:ext cx="1580322" cy="1702577"/>
            <a:chOff x="9480376" y="2169250"/>
            <a:chExt cx="1580322" cy="1702577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B90CF042-2A6F-0A42-BD3F-CEAE17D81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27D6A808-E45D-154E-8799-26F7374C48C8}"/>
                </a:ext>
              </a:extLst>
            </p:cNvPr>
            <p:cNvSpPr txBox="1"/>
            <p:nvPr/>
          </p:nvSpPr>
          <p:spPr>
            <a:xfrm>
              <a:off x="9480376" y="34101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gulations Compliant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0723FB96-6C9E-AD4E-9E0B-0C9080331A47}"/>
              </a:ext>
            </a:extLst>
          </p:cNvPr>
          <p:cNvGrpSpPr/>
          <p:nvPr userDrawn="1"/>
        </p:nvGrpSpPr>
        <p:grpSpPr>
          <a:xfrm>
            <a:off x="1694588" y="3335589"/>
            <a:ext cx="1580322" cy="1537586"/>
            <a:chOff x="7667309" y="3968613"/>
            <a:chExt cx="1580322" cy="1537586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B2590BB-C06E-0247-B2BF-98D76BA90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1D1B94C6-3AA0-414C-BE2C-D42D7D0E737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aves Money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822D493-F8E1-F347-8D07-88EA0FA4A027}"/>
              </a:ext>
            </a:extLst>
          </p:cNvPr>
          <p:cNvGrpSpPr/>
          <p:nvPr userDrawn="1"/>
        </p:nvGrpSpPr>
        <p:grpSpPr>
          <a:xfrm>
            <a:off x="9940811" y="3331694"/>
            <a:ext cx="1580322" cy="1537449"/>
            <a:chOff x="9480376" y="3968750"/>
            <a:chExt cx="1580322" cy="1537449"/>
          </a:xfrm>
        </p:grpSpPr>
        <p:pic>
          <p:nvPicPr>
            <p:cNvPr id="201" name="Picture 200" descr="A close up of a sign&#10;&#10;Description automatically generated">
              <a:extLst>
                <a:ext uri="{FF2B5EF4-FFF2-40B4-BE49-F238E27FC236}">
                  <a16:creationId xmlns:a16="http://schemas.microsoft.com/office/drawing/2014/main" id="{D8D500D4-2091-D141-82C4-58D2928E9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E61E58B-2A00-5A4D-821E-7A7F9A895651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utions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43B416DE-BA12-4B44-8994-2A96850E7344}"/>
              </a:ext>
            </a:extLst>
          </p:cNvPr>
          <p:cNvGrpSpPr/>
          <p:nvPr userDrawn="1"/>
        </p:nvGrpSpPr>
        <p:grpSpPr>
          <a:xfrm>
            <a:off x="348263" y="5007655"/>
            <a:ext cx="1580322" cy="1537586"/>
            <a:chOff x="2063552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DDCA9CEF-8587-B841-896C-91455A6CE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2774260C-04D7-EF4E-BCE3-C29A5358D0B2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mall Footprint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B9B2FDF0-C1D7-6442-B9CC-BF01348A9D2A}"/>
              </a:ext>
            </a:extLst>
          </p:cNvPr>
          <p:cNvGrpSpPr/>
          <p:nvPr userDrawn="1"/>
        </p:nvGrpSpPr>
        <p:grpSpPr>
          <a:xfrm>
            <a:off x="8538251" y="3338690"/>
            <a:ext cx="1580322" cy="1530453"/>
            <a:chOff x="3896140" y="405538"/>
            <a:chExt cx="1580322" cy="1530453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C028BE95-2B6D-714B-8F76-039F58A76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AA82EC1F-5879-054A-9B10-84D405848878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hallow Dig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17D212F4-38F1-904F-9465-CFE2BA9A864E}"/>
              </a:ext>
            </a:extLst>
          </p:cNvPr>
          <p:cNvGrpSpPr/>
          <p:nvPr userDrawn="1"/>
        </p:nvGrpSpPr>
        <p:grpSpPr>
          <a:xfrm>
            <a:off x="4381418" y="3331694"/>
            <a:ext cx="1580322" cy="1537449"/>
            <a:chOff x="2063552" y="3968750"/>
            <a:chExt cx="1580322" cy="1537449"/>
          </a:xfrm>
        </p:grpSpPr>
        <p:pic>
          <p:nvPicPr>
            <p:cNvPr id="210" name="Picture 20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5C86CA9-BD63-F041-90F5-2B9F44622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133713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40DE84B5-0AD6-3C4E-9262-045C36511B3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9B01FA4-39B4-F14E-B2AF-41D44DD00344}"/>
              </a:ext>
            </a:extLst>
          </p:cNvPr>
          <p:cNvGrpSpPr/>
          <p:nvPr userDrawn="1"/>
        </p:nvGrpSpPr>
        <p:grpSpPr>
          <a:xfrm>
            <a:off x="5780961" y="3331694"/>
            <a:ext cx="1580322" cy="1530453"/>
            <a:chOff x="2063552" y="405538"/>
            <a:chExt cx="1580322" cy="1530453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05123355-5585-C44D-8DD2-355D8A788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F5C72FF9-43EC-C645-9BCB-796FCA96B54B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0CDC5290-D307-224D-B1BD-859A0685A92B}"/>
              </a:ext>
            </a:extLst>
          </p:cNvPr>
          <p:cNvGrpSpPr/>
          <p:nvPr userDrawn="1"/>
        </p:nvGrpSpPr>
        <p:grpSpPr>
          <a:xfrm>
            <a:off x="7139575" y="3331694"/>
            <a:ext cx="1580322" cy="1533162"/>
            <a:chOff x="7667309" y="2169250"/>
            <a:chExt cx="1580322" cy="1533162"/>
          </a:xfrm>
        </p:grpSpPr>
        <p:pic>
          <p:nvPicPr>
            <p:cNvPr id="216" name="Picture 21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8007F9AE-54C8-6046-8B24-86DB14EED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A8C2A97D-4925-6F4D-B883-11C673198F20}"/>
                </a:ext>
              </a:extLst>
            </p:cNvPr>
            <p:cNvSpPr txBox="1"/>
            <p:nvPr/>
          </p:nvSpPr>
          <p:spPr>
            <a:xfrm>
              <a:off x="7667309" y="342541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cure Login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38E2671E-0AC0-F64A-916E-7168528EB017}"/>
              </a:ext>
            </a:extLst>
          </p:cNvPr>
          <p:cNvGrpSpPr/>
          <p:nvPr userDrawn="1"/>
        </p:nvGrpSpPr>
        <p:grpSpPr>
          <a:xfrm>
            <a:off x="3011106" y="3338345"/>
            <a:ext cx="1580322" cy="1722115"/>
            <a:chOff x="367748" y="3968750"/>
            <a:chExt cx="1580322" cy="1722115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2DAC62A9-89E8-9D42-8FEA-1A0D5E2C4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52932A-4C25-FF40-A317-8F0F82775CE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rvice &amp; Mainten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283C09C6-E58E-1B4B-AE0E-250F7BA6013E}"/>
              </a:ext>
            </a:extLst>
          </p:cNvPr>
          <p:cNvGrpSpPr/>
          <p:nvPr userDrawn="1"/>
        </p:nvGrpSpPr>
        <p:grpSpPr>
          <a:xfrm>
            <a:off x="1636940" y="5011222"/>
            <a:ext cx="1580322" cy="1530453"/>
            <a:chOff x="5750970" y="405538"/>
            <a:chExt cx="1580322" cy="1530453"/>
          </a:xfrm>
        </p:grpSpPr>
        <p:pic>
          <p:nvPicPr>
            <p:cNvPr id="222" name="Picture 221" descr="A picture containing clock, drawing&#10;&#10;Description automatically generated">
              <a:extLst>
                <a:ext uri="{FF2B5EF4-FFF2-40B4-BE49-F238E27FC236}">
                  <a16:creationId xmlns:a16="http://schemas.microsoft.com/office/drawing/2014/main" id="{092E7878-B49C-E442-AC66-75B1B2A83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C2B30F84-6783-254E-BA7B-4F65CC1A13EE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cial Offer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AA8DBC51-2D8C-F041-98FE-A6C3C2CAD5A2}"/>
              </a:ext>
            </a:extLst>
          </p:cNvPr>
          <p:cNvGrpSpPr/>
          <p:nvPr userDrawn="1"/>
        </p:nvGrpSpPr>
        <p:grpSpPr>
          <a:xfrm>
            <a:off x="5768685" y="5007655"/>
            <a:ext cx="1580322" cy="1537586"/>
            <a:chOff x="9480376" y="3968613"/>
            <a:chExt cx="1580322" cy="1537586"/>
          </a:xfrm>
        </p:grpSpPr>
        <p:pic>
          <p:nvPicPr>
            <p:cNvPr id="225" name="Picture 224" descr="A close up of a sign&#10;&#10;Description automatically generated">
              <a:extLst>
                <a:ext uri="{FF2B5EF4-FFF2-40B4-BE49-F238E27FC236}">
                  <a16:creationId xmlns:a16="http://schemas.microsoft.com/office/drawing/2014/main" id="{ED0835FD-FFC1-764A-9945-99103A8F9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550537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C7DBCD7C-2EA8-DF4B-9FF4-034C4D4CE8BD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te Visit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F8677F9F-1009-1C47-BFDC-4A288375C333}"/>
              </a:ext>
            </a:extLst>
          </p:cNvPr>
          <p:cNvGrpSpPr/>
          <p:nvPr userDrawn="1"/>
        </p:nvGrpSpPr>
        <p:grpSpPr>
          <a:xfrm>
            <a:off x="8543219" y="5011222"/>
            <a:ext cx="1580322" cy="1530453"/>
            <a:chOff x="9480376" y="405538"/>
            <a:chExt cx="1580322" cy="1530453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6BC42775-981F-E244-A04C-7F84D3509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C70A05B1-78E9-6E4A-BDFC-728EF7BDE40F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trength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E5501891-2A00-2748-9864-8C1FDE7676CE}"/>
              </a:ext>
            </a:extLst>
          </p:cNvPr>
          <p:cNvGrpSpPr/>
          <p:nvPr userDrawn="1"/>
        </p:nvGrpSpPr>
        <p:grpSpPr>
          <a:xfrm>
            <a:off x="4367367" y="5008814"/>
            <a:ext cx="1580322" cy="1535268"/>
            <a:chOff x="3896140" y="2169250"/>
            <a:chExt cx="1580322" cy="1535268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B9A467E9-44FF-8B47-BFEF-C83E4B84E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7F018EDF-9D26-DB4E-92AE-DB0377544BF3}"/>
                </a:ext>
              </a:extLst>
            </p:cNvPr>
            <p:cNvSpPr txBox="1"/>
            <p:nvPr/>
          </p:nvSpPr>
          <p:spPr>
            <a:xfrm>
              <a:off x="3896140" y="342751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ar Powered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8AC17010-A3BD-784A-AAFE-2DB0F00957E5}"/>
              </a:ext>
            </a:extLst>
          </p:cNvPr>
          <p:cNvGrpSpPr/>
          <p:nvPr userDrawn="1"/>
        </p:nvGrpSpPr>
        <p:grpSpPr>
          <a:xfrm>
            <a:off x="7125524" y="5028537"/>
            <a:ext cx="1580322" cy="1704771"/>
            <a:chOff x="7667309" y="2169250"/>
            <a:chExt cx="1580322" cy="170477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5B873053-38F6-474E-930F-327E70A53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FF696787-2BE6-974F-836C-75EE5D892D89}"/>
                </a:ext>
              </a:extLst>
            </p:cNvPr>
            <p:cNvSpPr txBox="1"/>
            <p:nvPr/>
          </p:nvSpPr>
          <p:spPr>
            <a:xfrm>
              <a:off x="7667309" y="341235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ngle Piece System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1DCDABB0-46F8-0C4E-9E5B-987D611089FD}"/>
              </a:ext>
            </a:extLst>
          </p:cNvPr>
          <p:cNvGrpSpPr/>
          <p:nvPr userDrawn="1"/>
        </p:nvGrpSpPr>
        <p:grpSpPr>
          <a:xfrm>
            <a:off x="3081267" y="5002145"/>
            <a:ext cx="1440000" cy="1548606"/>
            <a:chOff x="447469" y="435355"/>
            <a:chExt cx="1440000" cy="1548606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120CE43A-E423-CD4D-A369-014543A1F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47469" y="435355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31917F9E-AF1F-6143-B212-E2D90BC72999}"/>
                </a:ext>
              </a:extLst>
            </p:cNvPr>
            <p:cNvSpPr txBox="1"/>
            <p:nvPr/>
          </p:nvSpPr>
          <p:spPr>
            <a:xfrm>
              <a:off x="623888" y="1706962"/>
              <a:ext cx="10933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ed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E428DF4-B435-C54D-A86C-981018C62D88}"/>
              </a:ext>
            </a:extLst>
          </p:cNvPr>
          <p:cNvGrpSpPr/>
          <p:nvPr userDrawn="1"/>
        </p:nvGrpSpPr>
        <p:grpSpPr>
          <a:xfrm>
            <a:off x="9935378" y="4912057"/>
            <a:ext cx="1580322" cy="1728783"/>
            <a:chOff x="2980152" y="439844"/>
            <a:chExt cx="1580322" cy="1728783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DBBD4DFA-1A7C-C04D-8851-983348BB9835}"/>
                </a:ext>
              </a:extLst>
            </p:cNvPr>
            <p:cNvSpPr txBox="1"/>
            <p:nvPr/>
          </p:nvSpPr>
          <p:spPr>
            <a:xfrm>
              <a:off x="2980152" y="17069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241" name="Picture 24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36CB3935-6F60-AA44-B73D-49F280D85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1607" y="439844"/>
              <a:ext cx="1440001" cy="1440001"/>
            </a:xfrm>
            <a:prstGeom prst="rect">
              <a:avLst/>
            </a:prstGeom>
          </p:spPr>
        </p:pic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4E0594-3FC5-284C-8CA8-142703B2E5C8}"/>
              </a:ext>
            </a:extLst>
          </p:cNvPr>
          <p:cNvGrpSpPr/>
          <p:nvPr userDrawn="1"/>
        </p:nvGrpSpPr>
        <p:grpSpPr>
          <a:xfrm>
            <a:off x="2988608" y="32068"/>
            <a:ext cx="1580322" cy="1530453"/>
            <a:chOff x="9480376" y="405538"/>
            <a:chExt cx="1580322" cy="1530453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71AE286F-954F-4A43-AE0F-7D522CDF4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07592D84-2A7D-5A41-B872-17BC093CFDFB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ur Values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9D662942-B567-8D4C-982A-9B579FA1D5C2}"/>
              </a:ext>
            </a:extLst>
          </p:cNvPr>
          <p:cNvGrpSpPr/>
          <p:nvPr userDrawn="1"/>
        </p:nvGrpSpPr>
        <p:grpSpPr>
          <a:xfrm>
            <a:off x="367748" y="32068"/>
            <a:ext cx="1580322" cy="1530453"/>
            <a:chOff x="7667309" y="405538"/>
            <a:chExt cx="1580322" cy="1530453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28C6A8B0-0869-5D4B-88AB-B1C66AD22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396C7199-7469-024C-8A76-CDCB271DBA0D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Odour</a:t>
              </a:r>
              <a:r>
                <a:rPr lang="en-US" sz="1200" dirty="0"/>
                <a:t> Free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0E488593-FAD3-8F44-8F34-07D25BED6DBB}"/>
              </a:ext>
            </a:extLst>
          </p:cNvPr>
          <p:cNvGrpSpPr/>
          <p:nvPr userDrawn="1"/>
        </p:nvGrpSpPr>
        <p:grpSpPr>
          <a:xfrm>
            <a:off x="1622444" y="33832"/>
            <a:ext cx="1580322" cy="1531754"/>
            <a:chOff x="7667309" y="2169250"/>
            <a:chExt cx="1580322" cy="1531754"/>
          </a:xfrm>
        </p:grpSpPr>
        <p:pic>
          <p:nvPicPr>
            <p:cNvPr id="249" name="Picture 248" descr="A close up of a logo&#10;&#10;Description automatically generated">
              <a:extLst>
                <a:ext uri="{FF2B5EF4-FFF2-40B4-BE49-F238E27FC236}">
                  <a16:creationId xmlns:a16="http://schemas.microsoft.com/office/drawing/2014/main" id="{4C160267-0103-8843-AECF-D6336149C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CA58BF1D-0A20-2A4F-8307-1F2613CB743B}"/>
                </a:ext>
              </a:extLst>
            </p:cNvPr>
            <p:cNvSpPr txBox="1"/>
            <p:nvPr/>
          </p:nvSpPr>
          <p:spPr>
            <a:xfrm>
              <a:off x="7667309" y="34240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ffic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C2A1B2BB-A4DA-6048-81B4-ADF88CCE01F5}"/>
              </a:ext>
            </a:extLst>
          </p:cNvPr>
          <p:cNvGrpSpPr/>
          <p:nvPr userDrawn="1"/>
        </p:nvGrpSpPr>
        <p:grpSpPr>
          <a:xfrm>
            <a:off x="8533073" y="32068"/>
            <a:ext cx="1580322" cy="1530453"/>
            <a:chOff x="2063552" y="405538"/>
            <a:chExt cx="1580322" cy="1530453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F3C3B792-8EB9-0141-9595-2247AE002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0681653-5B27-2743-9DCD-810057A26B41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hon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E226A9B4-8892-DE46-86E7-4A69C0FE21EF}"/>
              </a:ext>
            </a:extLst>
          </p:cNvPr>
          <p:cNvGrpSpPr/>
          <p:nvPr userDrawn="1"/>
        </p:nvGrpSpPr>
        <p:grpSpPr>
          <a:xfrm>
            <a:off x="9976412" y="33982"/>
            <a:ext cx="1580322" cy="1522052"/>
            <a:chOff x="9480376" y="2169250"/>
            <a:chExt cx="1580322" cy="1522052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B207A063-F812-314B-9FDF-09F49A4E3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9A94FDB4-6307-E441-8D4A-86777CB963BF}"/>
                </a:ext>
              </a:extLst>
            </p:cNvPr>
            <p:cNvSpPr txBox="1"/>
            <p:nvPr/>
          </p:nvSpPr>
          <p:spPr>
            <a:xfrm>
              <a:off x="9480376" y="341430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lastic Bottle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C63AFDD5-CE96-3D48-A605-D5B370572B40}"/>
              </a:ext>
            </a:extLst>
          </p:cNvPr>
          <p:cNvGrpSpPr/>
          <p:nvPr userDrawn="1"/>
        </p:nvGrpSpPr>
        <p:grpSpPr>
          <a:xfrm>
            <a:off x="4368417" y="32068"/>
            <a:ext cx="1580322" cy="1522478"/>
            <a:chOff x="2063552" y="2169250"/>
            <a:chExt cx="1580322" cy="1522478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8A5A345F-615C-7F48-BFF3-A4B0C04977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A0E364DB-97AF-BB45-AA03-22E802AC1877}"/>
                </a:ext>
              </a:extLst>
            </p:cNvPr>
            <p:cNvSpPr txBox="1"/>
            <p:nvPr/>
          </p:nvSpPr>
          <p:spPr>
            <a:xfrm>
              <a:off x="2063552" y="341472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artnerships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E289086-3E8C-764E-AB0A-BC7D77A51BE2}"/>
              </a:ext>
            </a:extLst>
          </p:cNvPr>
          <p:cNvGrpSpPr/>
          <p:nvPr userDrawn="1"/>
        </p:nvGrpSpPr>
        <p:grpSpPr>
          <a:xfrm>
            <a:off x="7156962" y="29028"/>
            <a:ext cx="1580322" cy="1537449"/>
            <a:chOff x="9480376" y="3968750"/>
            <a:chExt cx="1580322" cy="1537449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092241A2-D0FC-5544-8D04-B17D89817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E8ADB606-7C54-8C42-BE14-8B1EC8A3AC95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ace of Mind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02530772-90EE-7C4B-9564-3CD7B6036C55}"/>
              </a:ext>
            </a:extLst>
          </p:cNvPr>
          <p:cNvGrpSpPr/>
          <p:nvPr userDrawn="1"/>
        </p:nvGrpSpPr>
        <p:grpSpPr>
          <a:xfrm>
            <a:off x="5733766" y="32068"/>
            <a:ext cx="1580322" cy="1530453"/>
            <a:chOff x="3896140" y="405538"/>
            <a:chExt cx="1580322" cy="153045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7C029809-6AC7-F347-A4BC-A64858600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789C6533-C103-6F46-9A12-42288513CF2B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destri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7391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56D5E389-1BA3-8945-B943-A8A836E009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0B6B91-2D0D-3E40-9B08-7A2F43897A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786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4570AEBB-C30B-E44D-9111-0AE6C330D3A1}"/>
              </a:ext>
            </a:extLst>
          </p:cNvPr>
          <p:cNvGrpSpPr/>
          <p:nvPr userDrawn="1"/>
        </p:nvGrpSpPr>
        <p:grpSpPr>
          <a:xfrm>
            <a:off x="9944851" y="1769165"/>
            <a:ext cx="1580322" cy="1515700"/>
            <a:chOff x="3896140" y="2169250"/>
            <a:chExt cx="1580322" cy="1515700"/>
          </a:xfrm>
        </p:grpSpPr>
        <p:pic>
          <p:nvPicPr>
            <p:cNvPr id="36" name="Picture 35" descr="A picture containing drawing, clock&#10;&#10;Description automatically generated">
              <a:extLst>
                <a:ext uri="{FF2B5EF4-FFF2-40B4-BE49-F238E27FC236}">
                  <a16:creationId xmlns:a16="http://schemas.microsoft.com/office/drawing/2014/main" id="{9B4BEC6F-AA4F-A545-8C87-99FC179FE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2EA73C-C1ED-5045-B0FB-E4EC61EF34B3}"/>
                </a:ext>
              </a:extLst>
            </p:cNvPr>
            <p:cNvSpPr txBox="1"/>
            <p:nvPr/>
          </p:nvSpPr>
          <p:spPr>
            <a:xfrm>
              <a:off x="3896140" y="340795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ndow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79E4E6E-41B0-9446-BB0C-E30038A9309E}"/>
              </a:ext>
            </a:extLst>
          </p:cNvPr>
          <p:cNvGrpSpPr/>
          <p:nvPr userDrawn="1"/>
        </p:nvGrpSpPr>
        <p:grpSpPr>
          <a:xfrm>
            <a:off x="8598934" y="1775549"/>
            <a:ext cx="1580322" cy="1533056"/>
            <a:chOff x="9480376" y="2169250"/>
            <a:chExt cx="1580322" cy="1533056"/>
          </a:xfrm>
        </p:grpSpPr>
        <p:pic>
          <p:nvPicPr>
            <p:cNvPr id="39" name="Picture 38" descr="A close up of a logo&#10;&#10;Description automatically generated">
              <a:extLst>
                <a:ext uri="{FF2B5EF4-FFF2-40B4-BE49-F238E27FC236}">
                  <a16:creationId xmlns:a16="http://schemas.microsoft.com/office/drawing/2014/main" id="{03BB665C-F40D-8243-9AB6-4B3C48B35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3309480-8DC9-B248-B035-23DB4C3CC6C1}"/>
                </a:ext>
              </a:extLst>
            </p:cNvPr>
            <p:cNvSpPr txBox="1"/>
            <p:nvPr/>
          </p:nvSpPr>
          <p:spPr>
            <a:xfrm>
              <a:off x="9480376" y="3425307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eather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84A8CE6-D7F9-0C41-825A-3122941CC914}"/>
              </a:ext>
            </a:extLst>
          </p:cNvPr>
          <p:cNvGrpSpPr/>
          <p:nvPr userDrawn="1"/>
        </p:nvGrpSpPr>
        <p:grpSpPr>
          <a:xfrm>
            <a:off x="5819456" y="1775053"/>
            <a:ext cx="1580322" cy="1530453"/>
            <a:chOff x="7667309" y="405538"/>
            <a:chExt cx="1580322" cy="1530453"/>
          </a:xfrm>
        </p:grpSpPr>
        <p:pic>
          <p:nvPicPr>
            <p:cNvPr id="42" name="Picture 4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1D98900-CCDA-0446-B28C-EEB537139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C9FAB1A-EDF7-414E-BF78-85CCF32BBEB0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rning/Alert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F5734D8-F6F6-3F4B-85FA-5E4D75B1CA78}"/>
              </a:ext>
            </a:extLst>
          </p:cNvPr>
          <p:cNvGrpSpPr/>
          <p:nvPr userDrawn="1"/>
        </p:nvGrpSpPr>
        <p:grpSpPr>
          <a:xfrm>
            <a:off x="4438655" y="1775549"/>
            <a:ext cx="1580322" cy="1533019"/>
            <a:chOff x="2063552" y="2169250"/>
            <a:chExt cx="1580322" cy="1533019"/>
          </a:xfrm>
        </p:grpSpPr>
        <p:pic>
          <p:nvPicPr>
            <p:cNvPr id="45" name="Picture 44" descr="A close up of a logo&#10;&#10;Description automatically generated">
              <a:extLst>
                <a:ext uri="{FF2B5EF4-FFF2-40B4-BE49-F238E27FC236}">
                  <a16:creationId xmlns:a16="http://schemas.microsoft.com/office/drawing/2014/main" id="{3979F712-4AE5-E949-8186-E7C0E850A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82D9F6E-808A-7246-8A5A-53E0CE58A2A2}"/>
                </a:ext>
              </a:extLst>
            </p:cNvPr>
            <p:cNvSpPr txBox="1"/>
            <p:nvPr/>
          </p:nvSpPr>
          <p:spPr>
            <a:xfrm>
              <a:off x="2063552" y="342527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&amp; Energy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B4F476E-2BA4-1E42-B910-5C33EE507D8D}"/>
              </a:ext>
            </a:extLst>
          </p:cNvPr>
          <p:cNvGrpSpPr/>
          <p:nvPr userDrawn="1"/>
        </p:nvGrpSpPr>
        <p:grpSpPr>
          <a:xfrm>
            <a:off x="7204917" y="1775053"/>
            <a:ext cx="1580322" cy="1906781"/>
            <a:chOff x="367748" y="3968750"/>
            <a:chExt cx="1580322" cy="1906781"/>
          </a:xfrm>
        </p:grpSpPr>
        <p:pic>
          <p:nvPicPr>
            <p:cNvPr id="48" name="Picture 4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13E6C-A104-D643-98BD-2DD1F33BC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9CC41FE-F107-FF4F-A8E7-3565BC178BD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Management Solutions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6B109DB-4D5A-C34E-A718-8FCB29DE4150}"/>
              </a:ext>
            </a:extLst>
          </p:cNvPr>
          <p:cNvGrpSpPr/>
          <p:nvPr userDrawn="1"/>
        </p:nvGrpSpPr>
        <p:grpSpPr>
          <a:xfrm>
            <a:off x="312763" y="3548264"/>
            <a:ext cx="1580322" cy="1518425"/>
            <a:chOff x="367748" y="2169250"/>
            <a:chExt cx="1580322" cy="1518425"/>
          </a:xfrm>
        </p:grpSpPr>
        <p:pic>
          <p:nvPicPr>
            <p:cNvPr id="51" name="Picture 50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412C461-D680-D741-AE16-55D5F4E81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717BF53-325B-2944-A211-D3A206BB23FB}"/>
                </a:ext>
              </a:extLst>
            </p:cNvPr>
            <p:cNvSpPr txBox="1"/>
            <p:nvPr/>
          </p:nvSpPr>
          <p:spPr>
            <a:xfrm>
              <a:off x="367748" y="34106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reles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1D43B28-E605-0544-A061-94103551D3D1}"/>
              </a:ext>
            </a:extLst>
          </p:cNvPr>
          <p:cNvGrpSpPr/>
          <p:nvPr userDrawn="1"/>
        </p:nvGrpSpPr>
        <p:grpSpPr>
          <a:xfrm>
            <a:off x="1679887" y="3544218"/>
            <a:ext cx="1580322" cy="1530453"/>
            <a:chOff x="7667309" y="405538"/>
            <a:chExt cx="1580322" cy="1530453"/>
          </a:xfrm>
        </p:grpSpPr>
        <p:pic>
          <p:nvPicPr>
            <p:cNvPr id="54" name="Picture 5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AECA182-8441-FC4F-B691-A4C74ABFE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5B7E7D3-FF4E-BA4D-A5CD-308BCDC14E8A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C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FEDC0B3-04D1-BF44-B969-DA25682FD9F3}"/>
              </a:ext>
            </a:extLst>
          </p:cNvPr>
          <p:cNvGrpSpPr/>
          <p:nvPr userDrawn="1"/>
        </p:nvGrpSpPr>
        <p:grpSpPr>
          <a:xfrm>
            <a:off x="5855089" y="3524350"/>
            <a:ext cx="1580322" cy="1715118"/>
            <a:chOff x="9480376" y="2169250"/>
            <a:chExt cx="1580322" cy="1715118"/>
          </a:xfrm>
        </p:grpSpPr>
        <p:pic>
          <p:nvPicPr>
            <p:cNvPr id="57" name="Picture 56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2AF0BEC-24E7-DB41-B840-6DFD23E22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8A03034-D395-EF45-89D8-8D2B795E39D0}"/>
                </a:ext>
              </a:extLst>
            </p:cNvPr>
            <p:cNvSpPr txBox="1"/>
            <p:nvPr/>
          </p:nvSpPr>
          <p:spPr>
            <a:xfrm>
              <a:off x="9480376" y="342270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10 Year Guarantee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C0E630D-6D57-2E47-A620-08F55FBA8DDE}"/>
              </a:ext>
            </a:extLst>
          </p:cNvPr>
          <p:cNvGrpSpPr/>
          <p:nvPr userDrawn="1"/>
        </p:nvGrpSpPr>
        <p:grpSpPr>
          <a:xfrm>
            <a:off x="3088827" y="3524350"/>
            <a:ext cx="1580322" cy="1715119"/>
            <a:chOff x="367748" y="405538"/>
            <a:chExt cx="1580322" cy="1715119"/>
          </a:xfrm>
        </p:grpSpPr>
        <p:pic>
          <p:nvPicPr>
            <p:cNvPr id="60" name="Picture 59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31C3E95A-31BC-7842-9595-6F21301F3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F8DD463-B058-E44A-A31A-97584612D06D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60 Years Experience</a:t>
              </a:r>
              <a:endParaRPr lang="en-US" sz="1200" dirty="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534A86F-6563-3E4F-95F3-C2B67DD91F4F}"/>
              </a:ext>
            </a:extLst>
          </p:cNvPr>
          <p:cNvGrpSpPr/>
          <p:nvPr userDrawn="1"/>
        </p:nvGrpSpPr>
        <p:grpSpPr>
          <a:xfrm>
            <a:off x="4469628" y="3514411"/>
            <a:ext cx="1580322" cy="1715119"/>
            <a:chOff x="367748" y="405538"/>
            <a:chExt cx="1580322" cy="1715119"/>
          </a:xfrm>
        </p:grpSpPr>
        <p:pic>
          <p:nvPicPr>
            <p:cNvPr id="63" name="Picture 62" descr="A close up of a logo&#10;&#10;Description automatically generated">
              <a:extLst>
                <a:ext uri="{FF2B5EF4-FFF2-40B4-BE49-F238E27FC236}">
                  <a16:creationId xmlns:a16="http://schemas.microsoft.com/office/drawing/2014/main" id="{781CD0E7-DCB1-C743-8C05-526044B2E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523E7290-B2D2-5E49-874A-9E3DB1AE76A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5 Year</a:t>
              </a:r>
              <a:br>
                <a:rPr lang="en-US" sz="1200" dirty="0"/>
              </a:br>
              <a:r>
                <a:rPr lang="en-US" sz="1200" dirty="0"/>
                <a:t>Guarantee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C21E6CA-E0FC-AC4F-9C44-985FF310F44D}"/>
              </a:ext>
            </a:extLst>
          </p:cNvPr>
          <p:cNvGrpSpPr/>
          <p:nvPr userDrawn="1"/>
        </p:nvGrpSpPr>
        <p:grpSpPr>
          <a:xfrm>
            <a:off x="425327" y="1785108"/>
            <a:ext cx="1439941" cy="1698626"/>
            <a:chOff x="425327" y="14365"/>
            <a:chExt cx="1439941" cy="1698626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17BE41B-859D-1F4E-BAE0-77DC661C0ED1}"/>
                </a:ext>
              </a:extLst>
            </p:cNvPr>
            <p:cNvSpPr txBox="1"/>
            <p:nvPr/>
          </p:nvSpPr>
          <p:spPr>
            <a:xfrm>
              <a:off x="617127" y="1251326"/>
              <a:ext cx="10933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Value of Space</a:t>
              </a:r>
            </a:p>
          </p:txBody>
        </p:sp>
        <p:pic>
          <p:nvPicPr>
            <p:cNvPr id="67" name="Picture 66" descr="A close up of a logo&#10;&#10;Description automatically generated">
              <a:extLst>
                <a:ext uri="{FF2B5EF4-FFF2-40B4-BE49-F238E27FC236}">
                  <a16:creationId xmlns:a16="http://schemas.microsoft.com/office/drawing/2014/main" id="{A7B9F8DA-DE54-5244-88F4-F73738E7E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25327" y="14365"/>
              <a:ext cx="1439941" cy="1439941"/>
            </a:xfrm>
            <a:prstGeom prst="rect">
              <a:avLst/>
            </a:prstGeom>
          </p:spPr>
        </p:pic>
      </p:grpSp>
      <p:pic>
        <p:nvPicPr>
          <p:cNvPr id="68" name="Picture 67" descr="A close up of a logo&#10;&#10;Description automatically generated">
            <a:extLst>
              <a:ext uri="{FF2B5EF4-FFF2-40B4-BE49-F238E27FC236}">
                <a16:creationId xmlns:a16="http://schemas.microsoft.com/office/drawing/2014/main" id="{1C1C2472-D34D-D743-83E9-472FDDE9ACD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093720" y="1770743"/>
            <a:ext cx="1440000" cy="1440000"/>
          </a:xfrm>
          <a:prstGeom prst="rect">
            <a:avLst/>
          </a:prstGeom>
        </p:spPr>
      </p:pic>
      <p:pic>
        <p:nvPicPr>
          <p:cNvPr id="69" name="Picture 68" descr="A close up of a logo&#10;&#10;Description automatically generated">
            <a:extLst>
              <a:ext uri="{FF2B5EF4-FFF2-40B4-BE49-F238E27FC236}">
                <a16:creationId xmlns:a16="http://schemas.microsoft.com/office/drawing/2014/main" id="{1A8D4D40-5926-7E4E-9409-346D94F9A48B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767840" y="1770743"/>
            <a:ext cx="1440000" cy="14400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501BCBFB-16E0-674E-8BFA-C2B8B84A3463}"/>
              </a:ext>
            </a:extLst>
          </p:cNvPr>
          <p:cNvSpPr txBox="1"/>
          <p:nvPr userDrawn="1"/>
        </p:nvSpPr>
        <p:spPr>
          <a:xfrm>
            <a:off x="194118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DCBDD38-CEDC-4C45-9F16-63397D74B2D5}"/>
              </a:ext>
            </a:extLst>
          </p:cNvPr>
          <p:cNvSpPr txBox="1"/>
          <p:nvPr userDrawn="1"/>
        </p:nvSpPr>
        <p:spPr>
          <a:xfrm>
            <a:off x="326706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A73E3EA-1058-0945-B47B-B01E5F27DF8C}"/>
              </a:ext>
            </a:extLst>
          </p:cNvPr>
          <p:cNvGrpSpPr/>
          <p:nvPr userDrawn="1"/>
        </p:nvGrpSpPr>
        <p:grpSpPr>
          <a:xfrm>
            <a:off x="418424" y="9898"/>
            <a:ext cx="1440001" cy="1717254"/>
            <a:chOff x="4441292" y="451373"/>
            <a:chExt cx="1440001" cy="1717254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9029692-0A8B-9946-AE15-00C1B5C63887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107" name="Picture 106" descr="A picture containing object, clock&#10;&#10;Description automatically generated">
              <a:extLst>
                <a:ext uri="{FF2B5EF4-FFF2-40B4-BE49-F238E27FC236}">
                  <a16:creationId xmlns:a16="http://schemas.microsoft.com/office/drawing/2014/main" id="{7A1BE080-7C5A-CD46-A875-A8840BBA2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441292" y="451373"/>
              <a:ext cx="1440001" cy="1440001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CD871D3-5D9B-C445-B58A-3F400D10C036}"/>
              </a:ext>
            </a:extLst>
          </p:cNvPr>
          <p:cNvGrpSpPr/>
          <p:nvPr userDrawn="1"/>
        </p:nvGrpSpPr>
        <p:grpSpPr>
          <a:xfrm>
            <a:off x="3015807" y="0"/>
            <a:ext cx="1580322" cy="1530453"/>
            <a:chOff x="2063552" y="405538"/>
            <a:chExt cx="1580322" cy="1530453"/>
          </a:xfrm>
        </p:grpSpPr>
        <p:pic>
          <p:nvPicPr>
            <p:cNvPr id="109" name="Picture 10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5E5B0A6-749C-B448-A592-2864D8A39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E521F28-9561-AD44-B722-533CBBE7DDCF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chnology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BB9F985-9B0F-E047-B510-1BB9EF36F33E}"/>
              </a:ext>
            </a:extLst>
          </p:cNvPr>
          <p:cNvGrpSpPr/>
          <p:nvPr userDrawn="1"/>
        </p:nvGrpSpPr>
        <p:grpSpPr>
          <a:xfrm>
            <a:off x="8563826" y="20904"/>
            <a:ext cx="1580322" cy="1501025"/>
            <a:chOff x="5750970" y="2169250"/>
            <a:chExt cx="1580322" cy="1501025"/>
          </a:xfrm>
        </p:grpSpPr>
        <p:pic>
          <p:nvPicPr>
            <p:cNvPr id="112" name="Picture 111" descr="A close up of a logo&#10;&#10;Description automatically generated">
              <a:extLst>
                <a:ext uri="{FF2B5EF4-FFF2-40B4-BE49-F238E27FC236}">
                  <a16:creationId xmlns:a16="http://schemas.microsoft.com/office/drawing/2014/main" id="{83428831-0B07-C443-A5D9-527124647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FB0C301-92BC-E541-B57F-525F1CEE2CEA}"/>
                </a:ext>
              </a:extLst>
            </p:cNvPr>
            <p:cNvSpPr txBox="1"/>
            <p:nvPr/>
          </p:nvSpPr>
          <p:spPr>
            <a:xfrm>
              <a:off x="5750970" y="33932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rusted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A064281-FE15-D047-AB93-75FFD984539C}"/>
              </a:ext>
            </a:extLst>
          </p:cNvPr>
          <p:cNvGrpSpPr/>
          <p:nvPr userDrawn="1"/>
        </p:nvGrpSpPr>
        <p:grpSpPr>
          <a:xfrm>
            <a:off x="4381418" y="1961"/>
            <a:ext cx="1580322" cy="1537449"/>
            <a:chOff x="3896140" y="3968750"/>
            <a:chExt cx="1580322" cy="1537449"/>
          </a:xfrm>
        </p:grpSpPr>
        <p:pic>
          <p:nvPicPr>
            <p:cNvPr id="115" name="Picture 114" descr="A close up of a logo&#10;&#10;Description automatically generated">
              <a:extLst>
                <a:ext uri="{FF2B5EF4-FFF2-40B4-BE49-F238E27FC236}">
                  <a16:creationId xmlns:a16="http://schemas.microsoft.com/office/drawing/2014/main" id="{7A4E366A-C689-9F45-9BE2-7565B861A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3E2AF2E-D974-BC44-82F4-AAA15C760FD0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lemetry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F05FAF8-30CF-B54D-A9D8-9AD47435166B}"/>
              </a:ext>
            </a:extLst>
          </p:cNvPr>
          <p:cNvGrpSpPr/>
          <p:nvPr userDrawn="1"/>
        </p:nvGrpSpPr>
        <p:grpSpPr>
          <a:xfrm>
            <a:off x="5774501" y="0"/>
            <a:ext cx="1580322" cy="1555646"/>
            <a:chOff x="1638370" y="428315"/>
            <a:chExt cx="1580322" cy="1555646"/>
          </a:xfrm>
        </p:grpSpPr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60DA4B5-6EAA-E84C-AD7B-B149EBD9CD91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in</a:t>
              </a:r>
            </a:p>
          </p:txBody>
        </p:sp>
        <p:pic>
          <p:nvPicPr>
            <p:cNvPr id="119" name="Picture 11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A2C1789-8CA5-0B48-A125-F634DA7011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701611" y="428315"/>
              <a:ext cx="1441450" cy="1441450"/>
            </a:xfrm>
            <a:prstGeom prst="rect">
              <a:avLst/>
            </a:prstGeom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52128973-2794-CD4A-967B-7EA3F6DA1F82}"/>
              </a:ext>
            </a:extLst>
          </p:cNvPr>
          <p:cNvGrpSpPr/>
          <p:nvPr userDrawn="1"/>
        </p:nvGrpSpPr>
        <p:grpSpPr>
          <a:xfrm>
            <a:off x="1699390" y="0"/>
            <a:ext cx="1440000" cy="1738862"/>
            <a:chOff x="5837032" y="429765"/>
            <a:chExt cx="1440000" cy="1738862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1E22EBBD-946D-EE4B-A99A-9BC7B6497A4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Saving</a:t>
              </a:r>
            </a:p>
          </p:txBody>
        </p:sp>
        <p:pic>
          <p:nvPicPr>
            <p:cNvPr id="122" name="Picture 121" descr="A close up of a sign&#10;&#10;Description automatically generated">
              <a:extLst>
                <a:ext uri="{FF2B5EF4-FFF2-40B4-BE49-F238E27FC236}">
                  <a16:creationId xmlns:a16="http://schemas.microsoft.com/office/drawing/2014/main" id="{8C332DCE-70D7-B94D-A86F-41FCCE60F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0E466CF5-77E6-2849-825F-BCE63DDCA0FC}"/>
              </a:ext>
            </a:extLst>
          </p:cNvPr>
          <p:cNvGrpSpPr/>
          <p:nvPr userDrawn="1"/>
        </p:nvGrpSpPr>
        <p:grpSpPr>
          <a:xfrm>
            <a:off x="7139575" y="9709"/>
            <a:ext cx="1580322" cy="1548606"/>
            <a:chOff x="1638370" y="435355"/>
            <a:chExt cx="1580322" cy="1548606"/>
          </a:xfrm>
        </p:grpSpPr>
        <p:pic>
          <p:nvPicPr>
            <p:cNvPr id="124" name="Picture 123" descr="A close up of a logo&#10;&#10;Description automatically generated">
              <a:extLst>
                <a:ext uri="{FF2B5EF4-FFF2-40B4-BE49-F238E27FC236}">
                  <a16:creationId xmlns:a16="http://schemas.microsoft.com/office/drawing/2014/main" id="{29C8F395-99FF-CB41-9A35-870DA67F2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753119" y="435355"/>
              <a:ext cx="1440000" cy="1440000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11004237-79D8-FF41-BB20-F72958AB83CA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ermal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132D0852-F109-4840-8B7D-22633932F88B}"/>
              </a:ext>
            </a:extLst>
          </p:cNvPr>
          <p:cNvGrpSpPr/>
          <p:nvPr userDrawn="1"/>
        </p:nvGrpSpPr>
        <p:grpSpPr>
          <a:xfrm>
            <a:off x="9951586" y="0"/>
            <a:ext cx="1580322" cy="1530453"/>
            <a:chOff x="3896140" y="405538"/>
            <a:chExt cx="1580322" cy="1530453"/>
          </a:xfrm>
        </p:grpSpPr>
        <p:pic>
          <p:nvPicPr>
            <p:cNvPr id="127" name="Picture 126" descr="A close up of a sign&#10;&#10;Description automatically generated">
              <a:extLst>
                <a:ext uri="{FF2B5EF4-FFF2-40B4-BE49-F238E27FC236}">
                  <a16:creationId xmlns:a16="http://schemas.microsoft.com/office/drawing/2014/main" id="{F253349E-D85B-1A40-A086-F689B655B8B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8875A09-5C32-D144-B13C-55E5EB13EEC9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User interfa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5360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7E0ADF6-E402-3146-B6DE-495BAF74F338}"/>
              </a:ext>
            </a:extLst>
          </p:cNvPr>
          <p:cNvGrpSpPr/>
          <p:nvPr userDrawn="1"/>
        </p:nvGrpSpPr>
        <p:grpSpPr>
          <a:xfrm>
            <a:off x="2060687" y="1219765"/>
            <a:ext cx="1580322" cy="1823574"/>
            <a:chOff x="2060687" y="335183"/>
            <a:chExt cx="1580322" cy="182357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7080020-DBD7-7D4A-A601-0D373779B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70415" y="335183"/>
              <a:ext cx="1560866" cy="1560866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4B66BA5-5251-7D4A-ADB0-F06CA12C04E2}"/>
                </a:ext>
              </a:extLst>
            </p:cNvPr>
            <p:cNvSpPr txBox="1"/>
            <p:nvPr/>
          </p:nvSpPr>
          <p:spPr>
            <a:xfrm>
              <a:off x="2060687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 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311CBF-35F9-7B42-AFD0-7388FA15E194}"/>
              </a:ext>
            </a:extLst>
          </p:cNvPr>
          <p:cNvGrpSpPr/>
          <p:nvPr userDrawn="1"/>
        </p:nvGrpSpPr>
        <p:grpSpPr>
          <a:xfrm>
            <a:off x="3896140" y="1219765"/>
            <a:ext cx="1580322" cy="1823574"/>
            <a:chOff x="3896140" y="335183"/>
            <a:chExt cx="1580322" cy="1823574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3C9B6E8E-D382-C54D-B03F-EC03B231D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05868" y="335183"/>
              <a:ext cx="1560866" cy="1560866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7E95FD9-B3BE-3946-88C9-18D9AF591AE3}"/>
                </a:ext>
              </a:extLst>
            </p:cNvPr>
            <p:cNvSpPr txBox="1"/>
            <p:nvPr/>
          </p:nvSpPr>
          <p:spPr>
            <a:xfrm>
              <a:off x="389614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Harvested Rainwater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7A2DF56-7F4E-B74F-9EF8-22EB940B3D8F}"/>
              </a:ext>
            </a:extLst>
          </p:cNvPr>
          <p:cNvGrpSpPr/>
          <p:nvPr userDrawn="1"/>
        </p:nvGrpSpPr>
        <p:grpSpPr>
          <a:xfrm>
            <a:off x="5750970" y="1219765"/>
            <a:ext cx="1580322" cy="1823574"/>
            <a:chOff x="5750970" y="335183"/>
            <a:chExt cx="1580322" cy="182357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397EC76-47B1-5F40-8B0A-CCCC7E2D7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60698" y="335183"/>
              <a:ext cx="1560866" cy="1560866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AC4E3AF-BD61-5C4F-A121-07463167A4A2}"/>
                </a:ext>
              </a:extLst>
            </p:cNvPr>
            <p:cNvSpPr txBox="1"/>
            <p:nvPr/>
          </p:nvSpPr>
          <p:spPr>
            <a:xfrm>
              <a:off x="575097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 (PETS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A3D937-5DA9-6540-A3B4-35AB5AD80573}"/>
              </a:ext>
            </a:extLst>
          </p:cNvPr>
          <p:cNvGrpSpPr/>
          <p:nvPr userDrawn="1"/>
        </p:nvGrpSpPr>
        <p:grpSpPr>
          <a:xfrm>
            <a:off x="7667309" y="1219765"/>
            <a:ext cx="1580322" cy="1823574"/>
            <a:chOff x="7667309" y="335183"/>
            <a:chExt cx="1580322" cy="1823574"/>
          </a:xfrm>
        </p:grpSpPr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4199837F-648B-3E49-8C70-6CCBA8CB9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677037" y="335183"/>
              <a:ext cx="1560866" cy="1560866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3DD6A3E-810A-E149-B8DC-16C65669000C}"/>
                </a:ext>
              </a:extLst>
            </p:cNvPr>
            <p:cNvSpPr txBox="1"/>
            <p:nvPr/>
          </p:nvSpPr>
          <p:spPr>
            <a:xfrm>
              <a:off x="7667309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ustainable Disposabl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A435C9-18ED-7C47-B379-E289CBD0D831}"/>
              </a:ext>
            </a:extLst>
          </p:cNvPr>
          <p:cNvGrpSpPr/>
          <p:nvPr userDrawn="1"/>
        </p:nvGrpSpPr>
        <p:grpSpPr>
          <a:xfrm>
            <a:off x="9480376" y="1219765"/>
            <a:ext cx="1580322" cy="1823574"/>
            <a:chOff x="9480376" y="335183"/>
            <a:chExt cx="1580322" cy="1823574"/>
          </a:xfrm>
        </p:grpSpPr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B2DFCE71-6805-1940-98AC-BE0857ADF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490104" y="335183"/>
              <a:ext cx="1560866" cy="1560866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D4A8CB-B54E-F342-AD99-33B14AF80D1A}"/>
                </a:ext>
              </a:extLst>
            </p:cNvPr>
            <p:cNvSpPr txBox="1"/>
            <p:nvPr/>
          </p:nvSpPr>
          <p:spPr>
            <a:xfrm>
              <a:off x="9480376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ldlife Conserv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C275B83-58F3-4C41-A29B-A8449C9A03FC}"/>
              </a:ext>
            </a:extLst>
          </p:cNvPr>
          <p:cNvGrpSpPr/>
          <p:nvPr userDrawn="1"/>
        </p:nvGrpSpPr>
        <p:grpSpPr>
          <a:xfrm>
            <a:off x="366479" y="2970743"/>
            <a:ext cx="1580322" cy="1876512"/>
            <a:chOff x="366479" y="2086161"/>
            <a:chExt cx="1580322" cy="187651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D0B128-566C-9946-8291-F34F48BC9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76207" y="2086161"/>
              <a:ext cx="1560866" cy="156086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A6ED507-A5BD-5E41-A120-C59F75E0D899}"/>
                </a:ext>
              </a:extLst>
            </p:cNvPr>
            <p:cNvSpPr txBox="1"/>
            <p:nvPr/>
          </p:nvSpPr>
          <p:spPr>
            <a:xfrm>
              <a:off x="36647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Waste to Landfill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88C6F2-E90C-9D4F-BB44-9C228DB01E7B}"/>
              </a:ext>
            </a:extLst>
          </p:cNvPr>
          <p:cNvGrpSpPr/>
          <p:nvPr userDrawn="1"/>
        </p:nvGrpSpPr>
        <p:grpSpPr>
          <a:xfrm>
            <a:off x="5750970" y="2970743"/>
            <a:ext cx="1580322" cy="1876512"/>
            <a:chOff x="5750970" y="2086161"/>
            <a:chExt cx="1580322" cy="1876512"/>
          </a:xfrm>
        </p:grpSpPr>
        <p:pic>
          <p:nvPicPr>
            <p:cNvPr id="21" name="Picture 20" descr="A close up of a logo&#10;&#10;Description automatically generated">
              <a:extLst>
                <a:ext uri="{FF2B5EF4-FFF2-40B4-BE49-F238E27FC236}">
                  <a16:creationId xmlns:a16="http://schemas.microsoft.com/office/drawing/2014/main" id="{40AF79D2-ABB6-6249-AB90-819D80E27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60698" y="2086161"/>
              <a:ext cx="1560866" cy="1560866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6D520A-1850-6240-AF9C-C53B4319489F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erve Precious Water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E86519-8C0E-7E4A-B35D-EA1C68D21516}"/>
              </a:ext>
            </a:extLst>
          </p:cNvPr>
          <p:cNvGrpSpPr/>
          <p:nvPr userDrawn="1"/>
        </p:nvGrpSpPr>
        <p:grpSpPr>
          <a:xfrm>
            <a:off x="366479" y="4789815"/>
            <a:ext cx="1580322" cy="1823732"/>
            <a:chOff x="366479" y="3905233"/>
            <a:chExt cx="1580322" cy="182373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4DD2E8F-EA5D-BE4D-9771-D7938B9CF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76207" y="3905233"/>
              <a:ext cx="1560866" cy="1560866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FCDF5E6-CEA8-974B-9E45-8BA498AE4982}"/>
                </a:ext>
              </a:extLst>
            </p:cNvPr>
            <p:cNvSpPr txBox="1"/>
            <p:nvPr/>
          </p:nvSpPr>
          <p:spPr>
            <a:xfrm>
              <a:off x="366479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ivert Waste </a:t>
              </a:r>
              <a:br>
                <a:rPr lang="en-US" sz="1200" dirty="0"/>
              </a:br>
              <a:r>
                <a:rPr lang="en-US" sz="1200" dirty="0"/>
                <a:t>From Landfill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6554505-D36A-6B4A-B149-925F6F387039}"/>
              </a:ext>
            </a:extLst>
          </p:cNvPr>
          <p:cNvGrpSpPr/>
          <p:nvPr userDrawn="1"/>
        </p:nvGrpSpPr>
        <p:grpSpPr>
          <a:xfrm>
            <a:off x="2060687" y="4789815"/>
            <a:ext cx="1580322" cy="1639066"/>
            <a:chOff x="2060687" y="3905233"/>
            <a:chExt cx="1580322" cy="1639066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A87986D-6D26-B049-ACB6-D09710666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070415" y="3905233"/>
              <a:ext cx="1560866" cy="156086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A0E7E4B-4EED-EF45-AD38-AB6BBD575001}"/>
                </a:ext>
              </a:extLst>
            </p:cNvPr>
            <p:cNvSpPr txBox="1"/>
            <p:nvPr/>
          </p:nvSpPr>
          <p:spPr>
            <a:xfrm>
              <a:off x="2060687" y="52673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Car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59AC5-5161-3542-A44B-87C140EF1AD7}"/>
              </a:ext>
            </a:extLst>
          </p:cNvPr>
          <p:cNvGrpSpPr/>
          <p:nvPr userDrawn="1"/>
        </p:nvGrpSpPr>
        <p:grpSpPr>
          <a:xfrm>
            <a:off x="3896140" y="4789815"/>
            <a:ext cx="1580322" cy="1823732"/>
            <a:chOff x="3896140" y="3905233"/>
            <a:chExt cx="1580322" cy="1823732"/>
          </a:xfrm>
        </p:grpSpPr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3118C172-C374-7148-8AF8-91DA1163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905868" y="3905233"/>
              <a:ext cx="1560866" cy="1560866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8D30B9-2D0D-5447-B451-99762172B567}"/>
                </a:ext>
              </a:extLst>
            </p:cNvPr>
            <p:cNvSpPr txBox="1"/>
            <p:nvPr/>
          </p:nvSpPr>
          <p:spPr>
            <a:xfrm>
              <a:off x="3896140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FE88D3-964D-F04D-982F-D50679D1A931}"/>
              </a:ext>
            </a:extLst>
          </p:cNvPr>
          <p:cNvGrpSpPr/>
          <p:nvPr userDrawn="1"/>
        </p:nvGrpSpPr>
        <p:grpSpPr>
          <a:xfrm>
            <a:off x="9480376" y="2970743"/>
            <a:ext cx="1580322" cy="1876512"/>
            <a:chOff x="9480376" y="2086161"/>
            <a:chExt cx="1580322" cy="1876512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B81C42D-1A62-0E42-9368-8AB6785A055B}"/>
                </a:ext>
              </a:extLst>
            </p:cNvPr>
            <p:cNvSpPr txBox="1"/>
            <p:nvPr/>
          </p:nvSpPr>
          <p:spPr>
            <a:xfrm>
              <a:off x="9480376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duce Carbon Emissions</a:t>
              </a:r>
            </a:p>
          </p:txBody>
        </p: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8C3D0B-F69D-584A-B789-F78D1EE92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490104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34229A7-5746-1545-9D95-5DB5D524B8B6}"/>
              </a:ext>
            </a:extLst>
          </p:cNvPr>
          <p:cNvGrpSpPr/>
          <p:nvPr userDrawn="1"/>
        </p:nvGrpSpPr>
        <p:grpSpPr>
          <a:xfrm>
            <a:off x="7667309" y="2970743"/>
            <a:ext cx="1580322" cy="1876512"/>
            <a:chOff x="7667309" y="2086161"/>
            <a:chExt cx="1580322" cy="187651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FCA6388-B3D7-E04A-9FFD-911C1AD95D4E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Upcycling Solutions</a:t>
              </a:r>
            </a:p>
          </p:txBody>
        </p:sp>
        <p:pic>
          <p:nvPicPr>
            <p:cNvPr id="37" name="Picture 36" descr="A close up of a logo&#10;&#10;Description automatically generated">
              <a:extLst>
                <a:ext uri="{FF2B5EF4-FFF2-40B4-BE49-F238E27FC236}">
                  <a16:creationId xmlns:a16="http://schemas.microsoft.com/office/drawing/2014/main" id="{87D98C90-3A4F-924E-866C-A3BD078DC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677037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5319109-DF02-FB4B-A59E-90747F79DBD5}"/>
              </a:ext>
            </a:extLst>
          </p:cNvPr>
          <p:cNvGrpSpPr/>
          <p:nvPr userDrawn="1"/>
        </p:nvGrpSpPr>
        <p:grpSpPr>
          <a:xfrm>
            <a:off x="3896140" y="2970743"/>
            <a:ext cx="1580322" cy="1691846"/>
            <a:chOff x="3896140" y="2086161"/>
            <a:chExt cx="1580322" cy="169184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69ACBB5-7413-064B-976E-6770C7943827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458CDF8-B795-7B49-9715-EAF36754E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05868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B72E4C2-6ABB-FC4C-ABD8-C3F418B7756B}"/>
              </a:ext>
            </a:extLst>
          </p:cNvPr>
          <p:cNvGrpSpPr/>
          <p:nvPr userDrawn="1"/>
        </p:nvGrpSpPr>
        <p:grpSpPr>
          <a:xfrm>
            <a:off x="2060687" y="2970743"/>
            <a:ext cx="1580322" cy="1876512"/>
            <a:chOff x="2060687" y="2086161"/>
            <a:chExt cx="1580322" cy="187651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7521234-615B-9B46-946E-CCDAC01ACD92}"/>
                </a:ext>
              </a:extLst>
            </p:cNvPr>
            <p:cNvSpPr txBox="1"/>
            <p:nvPr/>
          </p:nvSpPr>
          <p:spPr>
            <a:xfrm>
              <a:off x="2060687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Vehicles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8AC1DD03-B1F9-6B4C-AA85-870734290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070415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48BFC73-B6AF-004C-B3A9-6E0BA209E43D}"/>
              </a:ext>
            </a:extLst>
          </p:cNvPr>
          <p:cNvGrpSpPr/>
          <p:nvPr userDrawn="1"/>
        </p:nvGrpSpPr>
        <p:grpSpPr>
          <a:xfrm>
            <a:off x="366479" y="1219765"/>
            <a:ext cx="1580322" cy="1638908"/>
            <a:chOff x="366479" y="1219765"/>
            <a:chExt cx="1580322" cy="1638908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6E7A0CA-1D4D-C14A-847A-285EFAADE9AA}"/>
                </a:ext>
              </a:extLst>
            </p:cNvPr>
            <p:cNvSpPr txBox="1"/>
            <p:nvPr/>
          </p:nvSpPr>
          <p:spPr>
            <a:xfrm>
              <a:off x="366479" y="258167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T Plastic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AA491AB-E6B6-604B-BC91-441D57CCB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76207" y="1219765"/>
              <a:ext cx="1560866" cy="1560866"/>
            </a:xfrm>
            <a:prstGeom prst="rect">
              <a:avLst/>
            </a:prstGeom>
          </p:spPr>
        </p:pic>
      </p:grpSp>
      <p:sp>
        <p:nvSpPr>
          <p:cNvPr id="47" name="Title 4">
            <a:extLst>
              <a:ext uri="{FF2B5EF4-FFF2-40B4-BE49-F238E27FC236}">
                <a16:creationId xmlns:a16="http://schemas.microsoft.com/office/drawing/2014/main" id="{77074F7F-7772-E54E-8E65-51F80B009F05}"/>
              </a:ext>
            </a:extLst>
          </p:cNvPr>
          <p:cNvSpPr txBox="1">
            <a:spLocks/>
          </p:cNvSpPr>
          <p:nvPr userDrawn="1"/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net Passionate Icons</a:t>
            </a:r>
            <a:br>
              <a:rPr lang="en-I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559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3101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4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239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582F58F-84F7-A348-85DD-03FEC9C57F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599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5" t="27833" r="42531" b="51236"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nsert backdrop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F7D7FD-2E4D-764B-8614-8BB948EDA1D8}"/>
              </a:ext>
            </a:extLst>
          </p:cNvPr>
          <p:cNvSpPr/>
          <p:nvPr userDrawn="1"/>
        </p:nvSpPr>
        <p:spPr>
          <a:xfrm>
            <a:off x="5562600" y="3456947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Right click and use the crop function to size your image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Scale and position your image to fit inside this area.</a:t>
            </a:r>
            <a:br>
              <a:rPr lang="en-US" sz="1400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379344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95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857338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5B61BF-F308-884F-835C-950D755857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3114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385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8F8528-A255-6045-B279-EFF4A71A06DD}"/>
              </a:ext>
            </a:extLst>
          </p:cNvPr>
          <p:cNvSpPr/>
          <p:nvPr userDrawn="1"/>
        </p:nvSpPr>
        <p:spPr>
          <a:xfrm>
            <a:off x="10979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14" y="2432441"/>
            <a:ext cx="899998" cy="439534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2E7FB9-B022-AB4A-BAC0-F149A0629C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13" y="2992990"/>
            <a:ext cx="899998" cy="4395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00D63A-3C2D-3140-BC56-D1370DC4894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13" y="4298362"/>
            <a:ext cx="899998" cy="43953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9E988D2-9BC7-BB40-B379-300A8F82E8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41" y="2434511"/>
            <a:ext cx="899998" cy="28294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AA5258F-A7C4-504C-A201-2E2E3883AF7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41" y="2744742"/>
            <a:ext cx="899998" cy="28294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514FBC5-ECB4-6E4B-918D-248C86BC33B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41" y="3621350"/>
            <a:ext cx="899998" cy="33076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Logo Asset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EEEF11F-B58A-FD47-AD30-84622B7E652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13" y="3550163"/>
            <a:ext cx="899999" cy="4395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E37C99C-700A-5A47-8187-38196CD7BE7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5774" y="2452612"/>
            <a:ext cx="2184530" cy="52921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B8D4501-51DF-8449-83DA-B5724F011D8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5774" y="4190510"/>
            <a:ext cx="1998598" cy="547386"/>
          </a:xfrm>
          <a:prstGeom prst="rect">
            <a:avLst/>
          </a:prstGeom>
        </p:spPr>
      </p:pic>
      <p:pic>
        <p:nvPicPr>
          <p:cNvPr id="17" name="Picture 16" descr="A close up of a sign&#10;&#10;Description automatically generated">
            <a:extLst>
              <a:ext uri="{FF2B5EF4-FFF2-40B4-BE49-F238E27FC236}">
                <a16:creationId xmlns:a16="http://schemas.microsoft.com/office/drawing/2014/main" id="{D60CCDB2-0EE1-6543-84A2-4D6FAFFC9AC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9676" y="3220067"/>
            <a:ext cx="899998" cy="2113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AD87397-2A55-3448-9CF3-31235031B11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5774" y="3621350"/>
            <a:ext cx="2254404" cy="43650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881D252-0CE7-8149-AA1C-F3C162BA843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1028" y="3050202"/>
            <a:ext cx="2261893" cy="43795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32639EA-3281-6442-A50C-851F285B3942}"/>
              </a:ext>
            </a:extLst>
          </p:cNvPr>
          <p:cNvSpPr txBox="1"/>
          <p:nvPr userDrawn="1"/>
        </p:nvSpPr>
        <p:spPr>
          <a:xfrm>
            <a:off x="7045693" y="1474269"/>
            <a:ext cx="22619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access logos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a logo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logos can then be pasted onto a slide of your choosing.</a:t>
            </a:r>
          </a:p>
        </p:txBody>
      </p:sp>
    </p:spTree>
    <p:extLst>
      <p:ext uri="{BB962C8B-B14F-4D97-AF65-F5344CB8AC3E}">
        <p14:creationId xmlns:p14="http://schemas.microsoft.com/office/powerpoint/2010/main" val="1626248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</a:lstStyle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Right click and use the crop function to size your image box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Scale and position your image to fit inside this area.</a:t>
            </a:r>
            <a:br>
              <a:rPr lang="en-US" sz="2000" dirty="0"/>
            </a:br>
            <a:endParaRPr lang="en-US" sz="2000" dirty="0"/>
          </a:p>
          <a:p>
            <a:pPr lvl="0"/>
            <a:endParaRPr lang="en-US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870329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169344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570170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006964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992628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324363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405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52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4B06EC-548A-3A41-9515-77E050010F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785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658206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pic>
        <p:nvPicPr>
          <p:cNvPr id="187" name="Picture 186" descr="A group of people in a dark room&#10;&#10;Description automatically generated">
            <a:extLst>
              <a:ext uri="{FF2B5EF4-FFF2-40B4-BE49-F238E27FC236}">
                <a16:creationId xmlns:a16="http://schemas.microsoft.com/office/drawing/2014/main" id="{84355E12-4DC3-A24D-A7D7-89987EA9EB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2411" y="0"/>
            <a:ext cx="10609589" cy="6858000"/>
          </a:xfrm>
          <a:prstGeom prst="rect">
            <a:avLst/>
          </a:prstGeom>
        </p:spPr>
      </p:pic>
      <p:sp>
        <p:nvSpPr>
          <p:cNvPr id="188" name="Content Placeholder 2">
            <a:extLst>
              <a:ext uri="{FF2B5EF4-FFF2-40B4-BE49-F238E27FC236}">
                <a16:creationId xmlns:a16="http://schemas.microsoft.com/office/drawing/2014/main" id="{FF714AA7-CEE4-5F47-99FA-AE15DDF9FB8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259617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D2F7360-C85C-A545-9AC3-C8303F5241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001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188145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A08F8D-242C-EC41-A05E-7744BFBBC7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411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01CB732-A621-8440-A42B-A3E72ABEF6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977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56A60E4-0332-914F-93F8-9A7AA9093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745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08C281-9C7A-294A-87E1-B2464303E763}"/>
              </a:ext>
            </a:extLst>
          </p:cNvPr>
          <p:cNvSpPr/>
          <p:nvPr userDrawn="1"/>
        </p:nvSpPr>
        <p:spPr>
          <a:xfrm>
            <a:off x="0" y="1"/>
            <a:ext cx="12181021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9" y="1745140"/>
            <a:ext cx="3527424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12113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8023"/>
            <a:ext cx="10934489" cy="54303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49577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E4BDEA-9ED9-9E4A-8299-1ED7EDA0B7BE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530DB3-6D36-8245-B9A4-DFAB045921B8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44A662-5109-9E46-BA25-7B6A075E7F85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C6B76F-1E4F-AC47-9415-689DE31A47F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168B1D-3168-D940-8927-A3A5BAAAFAF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Subtitle 2">
            <a:extLst>
              <a:ext uri="{FF2B5EF4-FFF2-40B4-BE49-F238E27FC236}">
                <a16:creationId xmlns:a16="http://schemas.microsoft.com/office/drawing/2014/main" id="{A69FF014-B939-B84A-B950-4DB7547889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B58088-83A5-AD46-ACC2-6FB2290F56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414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B3BBCE2E-3119-F04F-B262-DE7256C2C7A1}"/>
              </a:ext>
            </a:extLst>
          </p:cNvPr>
          <p:cNvSpPr/>
          <p:nvPr userDrawn="1"/>
        </p:nvSpPr>
        <p:spPr>
          <a:xfrm>
            <a:off x="373198" y="0"/>
            <a:ext cx="11807823" cy="4530723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8" y="1745140"/>
            <a:ext cx="3527425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745140"/>
            <a:ext cx="3556001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01453" y="1745140"/>
            <a:ext cx="3556002" cy="254746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32288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E05B4EB-48E0-2742-B1AE-279309679E4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332288" y="4688681"/>
            <a:ext cx="3527425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CAB8C08-8214-6A4E-A4D8-C6B318A0AFD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3888" y="4688681"/>
            <a:ext cx="3556001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ECE91E5-64B2-9844-9A5C-E74D42AB53F9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8001453" y="4688681"/>
            <a:ext cx="3556002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06BC46-0E61-E540-B5BD-BCDF424A6C78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D66A452-9491-0747-91FC-E3C7677DDB5C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3775A9-4829-B74C-9440-0DEA4FFD7D3E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4152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736726"/>
            <a:ext cx="261815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736726"/>
            <a:ext cx="2627312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736726"/>
            <a:ext cx="259238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736726"/>
            <a:ext cx="2627313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B9EAB2A-56B1-E542-B42E-A1585F7F0D9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406405" y="1272949"/>
            <a:ext cx="2598735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0E97C0-517F-494A-9ECE-ABF5BF8D5F5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3888" y="1272949"/>
            <a:ext cx="2627311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6CB81E-2868-C24A-A2D5-F8A38CC80E0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6197605" y="1272949"/>
            <a:ext cx="259873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5484F9-15AE-E747-8437-F25FF8A7112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940800" y="1272949"/>
            <a:ext cx="262731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8A60D2C3-77F9-EA4D-8FDD-D99DA6EE91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3623"/>
            <a:ext cx="10968449" cy="512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Main Titl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AC9DD0D-4687-204C-B610-9E8509660368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23888" y="4801560"/>
            <a:ext cx="10944223" cy="12492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50B2B7B-B299-584F-83B1-8A6E2DAD24C1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1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7E5DAF-191D-4648-A2A4-AC5ABD21B32D}"/>
              </a:ext>
            </a:extLst>
          </p:cNvPr>
          <p:cNvCxnSpPr>
            <a:cxnSpLocks/>
          </p:cNvCxnSpPr>
          <p:nvPr userDrawn="1"/>
        </p:nvCxnSpPr>
        <p:spPr>
          <a:xfrm>
            <a:off x="3406405" y="1125538"/>
            <a:ext cx="261815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3C4C2E8-8905-214A-A6DA-BC1350B2EC69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A5E08C-7312-384E-B73D-6651839252B3}"/>
              </a:ext>
            </a:extLst>
          </p:cNvPr>
          <p:cNvCxnSpPr>
            <a:cxnSpLocks/>
          </p:cNvCxnSpPr>
          <p:nvPr userDrawn="1"/>
        </p:nvCxnSpPr>
        <p:spPr>
          <a:xfrm>
            <a:off x="89408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838D76C-8F40-194F-A2DC-75834602A1A6}"/>
              </a:ext>
            </a:extLst>
          </p:cNvPr>
          <p:cNvCxnSpPr>
            <a:cxnSpLocks/>
          </p:cNvCxnSpPr>
          <p:nvPr userDrawn="1"/>
        </p:nvCxnSpPr>
        <p:spPr>
          <a:xfrm>
            <a:off x="629925" y="4944428"/>
            <a:ext cx="31156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94EDC1BE-5A2F-9141-AD5F-0F7879D6BE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78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3B371F-F73D-7848-955E-6F4A47C7D7A0}"/>
              </a:ext>
            </a:extLst>
          </p:cNvPr>
          <p:cNvSpPr/>
          <p:nvPr userDrawn="1"/>
        </p:nvSpPr>
        <p:spPr>
          <a:xfrm>
            <a:off x="5232400" y="512763"/>
            <a:ext cx="4500563" cy="271747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9BCB5-7570-8940-9AC8-67AF9BFB7BFC}"/>
              </a:ext>
            </a:extLst>
          </p:cNvPr>
          <p:cNvSpPr/>
          <p:nvPr userDrawn="1"/>
        </p:nvSpPr>
        <p:spPr>
          <a:xfrm>
            <a:off x="5228384" y="3362277"/>
            <a:ext cx="3567953" cy="237387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02A2A2-091B-3843-8E8D-C5130D918C0B}"/>
              </a:ext>
            </a:extLst>
          </p:cNvPr>
          <p:cNvSpPr/>
          <p:nvPr userDrawn="1"/>
        </p:nvSpPr>
        <p:spPr>
          <a:xfrm>
            <a:off x="8947152" y="3362277"/>
            <a:ext cx="3244848" cy="237648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B59B44-4EB0-684F-AB52-741961638BCF}"/>
              </a:ext>
            </a:extLst>
          </p:cNvPr>
          <p:cNvSpPr/>
          <p:nvPr userDrawn="1"/>
        </p:nvSpPr>
        <p:spPr>
          <a:xfrm>
            <a:off x="9861552" y="501927"/>
            <a:ext cx="2330448" cy="272831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04AF4BF-EF8E-5246-A68A-86D5DCC9D8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560844" y="1459681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0D1934E5-DFFE-D64A-AC88-7270E46A22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7306656" y="1513469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BE6F2F-98ED-E740-8C3A-11E55932FF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021806" y="4122199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D554C6E-14A7-F240-A7FE-4B4921CCB3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9955726" y="4108752"/>
            <a:ext cx="1150938" cy="1004936"/>
          </a:xfrm>
          <a:prstGeom prst="rect">
            <a:avLst/>
          </a:prstGeom>
        </p:spPr>
      </p:pic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D0040FA-429B-3340-98A6-8EDBE6F6C15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400" y="501926"/>
            <a:ext cx="4500563" cy="2714866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25E71D81-56C6-4741-8183-0B428AFAEF52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5838" y="499315"/>
            <a:ext cx="2316162" cy="2717477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663DCAF0-0A11-9744-996C-8D17C975A9D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1" y="3373115"/>
            <a:ext cx="3251200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BD990BB-3AB6-874E-8F35-63EA9033F064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5232400" y="3373116"/>
            <a:ext cx="3563937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0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06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198804" y="0"/>
            <a:ext cx="798221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Imag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CD41DA-5299-F245-B635-25684774BD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685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map&#10;&#10;Description automatically generated">
            <a:extLst>
              <a:ext uri="{FF2B5EF4-FFF2-40B4-BE49-F238E27FC236}">
                <a16:creationId xmlns:a16="http://schemas.microsoft.com/office/drawing/2014/main" id="{BD34BBF7-F237-CC4A-B3CD-B5C10BA9F6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6745" y="777711"/>
            <a:ext cx="10624276" cy="608028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5BAECDA-3C87-BF41-AD8F-C04F616F40D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</p:spTree>
    <p:extLst>
      <p:ext uri="{BB962C8B-B14F-4D97-AF65-F5344CB8AC3E}">
        <p14:creationId xmlns:p14="http://schemas.microsoft.com/office/powerpoint/2010/main" val="682169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733" y="71563"/>
            <a:ext cx="1592580" cy="703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045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D3A9F48F-DEB8-D54B-9A3F-D74D7B3BDB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E83591B-96D8-4D47-B22F-66A56E777A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6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CB6B763-9BD5-DD42-876D-86BF240D60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C0519C4-C654-324F-A1C1-D78DB6CBA7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8693107-CCA3-A44F-A088-CA97182B2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E3C12AD-F3DE-8345-83C1-ED4A54A6FA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913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27396510-F944-4741-BA3C-017EE0787E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F86B7C-BE1A-8143-ADB4-6DDB056CB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3603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270B3F9-86D7-C949-8435-04D9B62A3D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44DA6B8-C25A-AE4C-8728-B2D0905C2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6968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s and fon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4DB3BC1-51BC-FA4C-B894-20464786F5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uideline Slide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5058055-1CEA-8F4A-B28D-6EBF057B1F66}"/>
              </a:ext>
            </a:extLst>
          </p:cNvPr>
          <p:cNvSpPr txBox="1"/>
          <p:nvPr userDrawn="1"/>
        </p:nvSpPr>
        <p:spPr>
          <a:xfrm>
            <a:off x="4198976" y="1454019"/>
            <a:ext cx="3609474" cy="51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3200" dirty="0">
                <a:latin typeface="Century Gothic" panose="020B0502020202020204" pitchFamily="34" charset="0"/>
              </a:rPr>
              <a:t>Title </a:t>
            </a:r>
            <a:r>
              <a:rPr lang="en-US" sz="3200" b="0" i="0" dirty="0">
                <a:latin typeface="Century Gothic" panose="020B0502020202020204" pitchFamily="34" charset="0"/>
              </a:rPr>
              <a:t>Size 3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latin typeface="Century Gothic" panose="020B0502020202020204" pitchFamily="34" charset="0"/>
              </a:rPr>
              <a:t>Title </a:t>
            </a:r>
            <a:r>
              <a:rPr lang="en-US" sz="4000" b="0" i="0" dirty="0">
                <a:latin typeface="Century Gothic" panose="020B0502020202020204" pitchFamily="34" charset="0"/>
              </a:rPr>
              <a:t>Size 4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latin typeface="Century Gothic" panose="020B0502020202020204" pitchFamily="34" charset="0"/>
              </a:rPr>
              <a:t>Title </a:t>
            </a:r>
            <a:r>
              <a:rPr lang="en-US" sz="4800" b="0" i="0" dirty="0">
                <a:latin typeface="Century Gothic" panose="020B0502020202020204" pitchFamily="34" charset="0"/>
              </a:rPr>
              <a:t>Size 4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Subtitle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i="0" dirty="0">
                <a:latin typeface="Century Gothic" panose="020B0502020202020204" pitchFamily="34" charset="0"/>
              </a:rPr>
              <a:t>Subtitle Size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i="0" dirty="0">
                <a:latin typeface="Century Gothic" panose="020B0502020202020204" pitchFamily="34" charset="0"/>
              </a:rPr>
              <a:t>Subtitle Size 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0" i="0" dirty="0">
                <a:latin typeface="Century Gothic" panose="020B0502020202020204" pitchFamily="34" charset="0"/>
              </a:rPr>
              <a:t>Subtitle Size 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latin typeface="Century Gothic" panose="020B0502020202020204" pitchFamily="34" charset="0"/>
              </a:rPr>
              <a:t>Body Copy Size 1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dirty="0">
                <a:latin typeface="Century Gothic" panose="020B0502020202020204" pitchFamily="34" charset="0"/>
              </a:rPr>
              <a:t>Body Copy Size 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0" i="0" dirty="0">
                <a:latin typeface="Century Gothic" panose="020B0502020202020204" pitchFamily="34" charset="0"/>
              </a:rPr>
              <a:t>Body Copy Size 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Body Copy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endParaRPr lang="en-US" sz="3200" b="0" i="0" dirty="0">
              <a:latin typeface="Century Gothic" panose="020B0502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A9601FA-2C65-E743-B839-2BC0AA447EFA}"/>
              </a:ext>
            </a:extLst>
          </p:cNvPr>
          <p:cNvGrpSpPr/>
          <p:nvPr userDrawn="1"/>
        </p:nvGrpSpPr>
        <p:grpSpPr>
          <a:xfrm>
            <a:off x="623887" y="1457766"/>
            <a:ext cx="3625820" cy="4943755"/>
            <a:chOff x="-6257760" y="707017"/>
            <a:chExt cx="3625820" cy="494375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BD78F41-BB0F-F94F-B712-97D86AE976FB}"/>
                </a:ext>
              </a:extLst>
            </p:cNvPr>
            <p:cNvSpPr/>
            <p:nvPr/>
          </p:nvSpPr>
          <p:spPr>
            <a:xfrm>
              <a:off x="-6246609" y="707017"/>
              <a:ext cx="881743" cy="881743"/>
            </a:xfrm>
            <a:prstGeom prst="ellipse">
              <a:avLst/>
            </a:prstGeom>
            <a:solidFill>
              <a:srgbClr val="0941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BCF57C2-460B-E046-8C9E-C10EFA6D7193}"/>
                </a:ext>
              </a:extLst>
            </p:cNvPr>
            <p:cNvSpPr/>
            <p:nvPr/>
          </p:nvSpPr>
          <p:spPr>
            <a:xfrm>
              <a:off x="-6246609" y="1726714"/>
              <a:ext cx="881743" cy="881743"/>
            </a:xfrm>
            <a:prstGeom prst="ellipse">
              <a:avLst/>
            </a:prstGeom>
            <a:solidFill>
              <a:srgbClr val="2382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5F50ABA-AC03-BB42-A8AC-FAC93E74E2FA}"/>
                </a:ext>
              </a:extLst>
            </p:cNvPr>
            <p:cNvSpPr/>
            <p:nvPr/>
          </p:nvSpPr>
          <p:spPr>
            <a:xfrm>
              <a:off x="-6246609" y="2740819"/>
              <a:ext cx="881743" cy="881743"/>
            </a:xfrm>
            <a:prstGeom prst="ellipse">
              <a:avLst/>
            </a:prstGeom>
            <a:solidFill>
              <a:srgbClr val="F7A4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78521A9-75E7-4548-A46B-547A9ACB0A3D}"/>
                </a:ext>
              </a:extLst>
            </p:cNvPr>
            <p:cNvSpPr/>
            <p:nvPr/>
          </p:nvSpPr>
          <p:spPr>
            <a:xfrm>
              <a:off x="-6257760" y="3754924"/>
              <a:ext cx="881743" cy="881743"/>
            </a:xfrm>
            <a:prstGeom prst="ellipse">
              <a:avLst/>
            </a:prstGeom>
            <a:solidFill>
              <a:srgbClr val="0FA0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BF5A9BF-9E01-A946-A6D0-4A399D564919}"/>
                </a:ext>
              </a:extLst>
            </p:cNvPr>
            <p:cNvSpPr/>
            <p:nvPr/>
          </p:nvSpPr>
          <p:spPr>
            <a:xfrm>
              <a:off x="-6257760" y="4769029"/>
              <a:ext cx="881743" cy="881743"/>
            </a:xfrm>
            <a:prstGeom prst="ellipse">
              <a:avLst/>
            </a:prstGeom>
            <a:solidFill>
              <a:srgbClr val="C09A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474E757-2D7D-E84A-8F90-67963898E9A5}"/>
                </a:ext>
              </a:extLst>
            </p:cNvPr>
            <p:cNvSpPr txBox="1"/>
            <p:nvPr/>
          </p:nvSpPr>
          <p:spPr>
            <a:xfrm>
              <a:off x="-5235635" y="293357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Orang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0 / 42 / 87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247 / 164 / 45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FBDF904-4B20-C644-BF8D-76EF3776FFF5}"/>
                </a:ext>
              </a:extLst>
            </p:cNvPr>
            <p:cNvSpPr txBox="1"/>
            <p:nvPr/>
          </p:nvSpPr>
          <p:spPr>
            <a:xfrm>
              <a:off x="-5235635" y="191247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0 / 33 / 4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 / 141 / 198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8FEDB90-7B3E-404B-BEE7-B7222F3FF624}"/>
                </a:ext>
              </a:extLst>
            </p:cNvPr>
            <p:cNvSpPr txBox="1"/>
            <p:nvPr/>
          </p:nvSpPr>
          <p:spPr>
            <a:xfrm>
              <a:off x="-5235635" y="851395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100 / 72 / 0 / 18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0 / 66 / 137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2223326-CD12-D04E-AD0D-8F5551660336}"/>
                </a:ext>
              </a:extLst>
            </p:cNvPr>
            <p:cNvSpPr txBox="1"/>
            <p:nvPr/>
          </p:nvSpPr>
          <p:spPr>
            <a:xfrm>
              <a:off x="-5235635" y="396009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Green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1 / 5 / 95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5 / 160 / 66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42560D3-17B6-DD47-A272-449E80C687E5}"/>
                </a:ext>
              </a:extLst>
            </p:cNvPr>
            <p:cNvSpPr txBox="1"/>
            <p:nvPr/>
          </p:nvSpPr>
          <p:spPr>
            <a:xfrm>
              <a:off x="-5235635" y="496178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Gold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30 / 40 / 70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2 / 154 / 9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92314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8F8528-A255-6045-B279-EFF4A71A06DD}"/>
              </a:ext>
            </a:extLst>
          </p:cNvPr>
          <p:cNvSpPr/>
          <p:nvPr userDrawn="1"/>
        </p:nvSpPr>
        <p:spPr>
          <a:xfrm>
            <a:off x="10979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0414" y="2432441"/>
            <a:ext cx="899998" cy="439534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2E7FB9-B022-AB4A-BAC0-F149A0629C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0413" y="2992990"/>
            <a:ext cx="899998" cy="4395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00D63A-3C2D-3140-BC56-D1370DC4894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413" y="4298362"/>
            <a:ext cx="899998" cy="43953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Logo Asset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EEEF11F-B58A-FD47-AD30-84622B7E652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60413" y="3550163"/>
            <a:ext cx="899999" cy="4395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E37C99C-700A-5A47-8187-38196CD7BE7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35774" y="2452612"/>
            <a:ext cx="2184530" cy="52921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AD87397-2A55-3448-9CF3-31235031B11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35774" y="3621350"/>
            <a:ext cx="2254404" cy="43650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881D252-0CE7-8149-AA1C-F3C162BA843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61028" y="3050202"/>
            <a:ext cx="2261893" cy="43795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32639EA-3281-6442-A50C-851F285B3942}"/>
              </a:ext>
            </a:extLst>
          </p:cNvPr>
          <p:cNvSpPr txBox="1"/>
          <p:nvPr userDrawn="1"/>
        </p:nvSpPr>
        <p:spPr>
          <a:xfrm>
            <a:off x="7045693" y="1474269"/>
            <a:ext cx="22619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access logos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a logo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logos can then be pasted onto a slide of your choosing.</a:t>
            </a:r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98ABB886-0820-4715-ADDC-41111014FE7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66125" y="5398798"/>
            <a:ext cx="1029365" cy="180000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6F32CB3A-309E-4D2D-BD70-68D3374137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3025" b="28570"/>
          <a:stretch/>
        </p:blipFill>
        <p:spPr>
          <a:xfrm>
            <a:off x="508640" y="6142344"/>
            <a:ext cx="1411974" cy="180000"/>
          </a:xfrm>
          <a:prstGeom prst="rect">
            <a:avLst/>
          </a:prstGeom>
        </p:spPr>
      </p:pic>
      <p:pic>
        <p:nvPicPr>
          <p:cNvPr id="9" name="Picture 8" descr="A drawing of a face&#10;&#10;Description automatically generated">
            <a:extLst>
              <a:ext uri="{FF2B5EF4-FFF2-40B4-BE49-F238E27FC236}">
                <a16:creationId xmlns:a16="http://schemas.microsoft.com/office/drawing/2014/main" id="{D04224BB-CFCF-4D9B-9787-5E84BE0E792E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60413" y="5398798"/>
            <a:ext cx="929931" cy="180000"/>
          </a:xfrm>
          <a:prstGeom prst="rect">
            <a:avLst/>
          </a:prstGeom>
        </p:spPr>
      </p:pic>
      <p:pic>
        <p:nvPicPr>
          <p:cNvPr id="23" name="Picture 22" descr="A picture containing drawing&#10;&#10;Description automatically generated">
            <a:extLst>
              <a:ext uri="{FF2B5EF4-FFF2-40B4-BE49-F238E27FC236}">
                <a16:creationId xmlns:a16="http://schemas.microsoft.com/office/drawing/2014/main" id="{B04ACDCF-7CFD-451C-880A-7C21FA5967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3334" r="4727" b="26813"/>
          <a:stretch/>
        </p:blipFill>
        <p:spPr>
          <a:xfrm>
            <a:off x="2190613" y="6142344"/>
            <a:ext cx="687400" cy="180000"/>
          </a:xfrm>
          <a:prstGeom prst="rect">
            <a:avLst/>
          </a:prstGeom>
        </p:spPr>
      </p:pic>
      <p:pic>
        <p:nvPicPr>
          <p:cNvPr id="26" name="Picture 25" descr="A picture containing drawing&#10;&#10;Description automatically generated">
            <a:extLst>
              <a:ext uri="{FF2B5EF4-FFF2-40B4-BE49-F238E27FC236}">
                <a16:creationId xmlns:a16="http://schemas.microsoft.com/office/drawing/2014/main" id="{8DA1F2F7-E2D9-4C3C-9B87-E4B8D798EC51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71271" y="6128399"/>
            <a:ext cx="968505" cy="1800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8B7D624-6E7C-4D48-91A6-BD72368CC9C7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71271" y="5470798"/>
            <a:ext cx="120374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43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ingspan locations 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pic>
        <p:nvPicPr>
          <p:cNvPr id="187" name="Picture 186" descr="A group of people in a dark room&#10;&#10;Description automatically generated">
            <a:extLst>
              <a:ext uri="{FF2B5EF4-FFF2-40B4-BE49-F238E27FC236}">
                <a16:creationId xmlns:a16="http://schemas.microsoft.com/office/drawing/2014/main" id="{84355E12-4DC3-A24D-A7D7-89987EA9EB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82411" y="0"/>
            <a:ext cx="10609589" cy="6858000"/>
          </a:xfrm>
          <a:prstGeom prst="rect">
            <a:avLst/>
          </a:prstGeom>
        </p:spPr>
      </p:pic>
      <p:sp>
        <p:nvSpPr>
          <p:cNvPr id="188" name="Content Placeholder 2">
            <a:extLst>
              <a:ext uri="{FF2B5EF4-FFF2-40B4-BE49-F238E27FC236}">
                <a16:creationId xmlns:a16="http://schemas.microsoft.com/office/drawing/2014/main" id="{FF714AA7-CEE4-5F47-99FA-AE15DDF9FB8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008299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ingspan lo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map&#10;&#10;Description automatically generated">
            <a:extLst>
              <a:ext uri="{FF2B5EF4-FFF2-40B4-BE49-F238E27FC236}">
                <a16:creationId xmlns:a16="http://schemas.microsoft.com/office/drawing/2014/main" id="{BD34BBF7-F237-CC4A-B3CD-B5C10BA9F6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6745" y="777711"/>
            <a:ext cx="10624276" cy="608028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5BAECDA-3C87-BF41-AD8F-C04F616F40D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</p:spTree>
    <p:extLst>
      <p:ext uri="{BB962C8B-B14F-4D97-AF65-F5344CB8AC3E}">
        <p14:creationId xmlns:p14="http://schemas.microsoft.com/office/powerpoint/2010/main" val="1454617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0D7B03-0C58-0644-9EC7-D53C1D3087E4}"/>
              </a:ext>
            </a:extLst>
          </p:cNvPr>
          <p:cNvGrpSpPr/>
          <p:nvPr userDrawn="1"/>
        </p:nvGrpSpPr>
        <p:grpSpPr>
          <a:xfrm>
            <a:off x="1254681" y="1287006"/>
            <a:ext cx="9682637" cy="5156348"/>
            <a:chOff x="837718" y="2166032"/>
            <a:chExt cx="7093287" cy="3777427"/>
          </a:xfrm>
          <a:solidFill>
            <a:srgbClr val="09417A"/>
          </a:solidFill>
        </p:grpSpPr>
        <p:sp>
          <p:nvSpPr>
            <p:cNvPr id="6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DAF49FA4-B6FB-0F46-A0BA-21C9F57D1D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7718" y="2418601"/>
              <a:ext cx="990263" cy="467668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640446B4-3040-1D4B-840B-0E361CC5EE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72923" y="4820778"/>
              <a:ext cx="177968" cy="194284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01A6F51-C84B-9F47-9EC2-7970EFACE1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1736" y="4608454"/>
              <a:ext cx="268222" cy="281712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5AA18849-39FE-9B41-9D26-DBDF9DB3B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266" y="3838259"/>
              <a:ext cx="236443" cy="176243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D07A088-BF3A-0F44-AC89-393767370D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594016"/>
              <a:ext cx="193222" cy="180406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DD9D767A-7288-1348-84A7-DFED66876D8C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58018"/>
              <a:ext cx="13983" cy="33306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4A198BF-2931-E64C-805B-C2052042E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71" y="3090267"/>
              <a:ext cx="381360" cy="234528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3F5C7D8D-54BB-6146-8610-67E6A95F95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9211" y="3714749"/>
              <a:ext cx="195765" cy="419097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27D2E16E-A5D5-B24D-A2E3-A55D1BD5D3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2902" y="4032542"/>
              <a:ext cx="307630" cy="327507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BDD54B73-5DEE-864C-B0CA-377024D2AF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86029" y="2982023"/>
              <a:ext cx="1262300" cy="682768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2986076-BC4B-B947-B867-E7D21C467CD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2228" y="5232936"/>
              <a:ext cx="119493" cy="134611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62380EB0-BAB6-B54C-AC02-1A836BC10A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80120" y="2678108"/>
              <a:ext cx="185595" cy="290038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1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71DA14FD-819A-9346-80DF-9C39A7306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8946" y="3625934"/>
              <a:ext cx="108051" cy="112407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2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21ED622D-F845-4A49-B303-2D39675ADCB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3770" y="2901534"/>
              <a:ext cx="359749" cy="22065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4D19FE5E-7193-F34E-9986-9D11AFB391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8433" y="4260131"/>
              <a:ext cx="125848" cy="16236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F0D3446-BF62-3A4A-AFBA-4C01FAB82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996" y="3166593"/>
              <a:ext cx="325427" cy="212325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5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BB07076-388E-A34F-A6CC-09DDD04CF9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47499" y="3183246"/>
              <a:ext cx="428393" cy="17763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6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95C5FB4E-E02F-4648-A39E-B7564C1606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5038" y="3320631"/>
              <a:ext cx="87712" cy="19983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7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1671B8CE-94A9-1D4F-98F0-02BCD8AD49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5799" y="4064460"/>
              <a:ext cx="45763" cy="141549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9EA8586-F1DD-0147-8BEA-63245D8588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5142" y="3799402"/>
              <a:ext cx="199578" cy="417710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FA18E-509B-6F4E-B1F6-83832338418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7161" y="4407232"/>
              <a:ext cx="247883" cy="305303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619D18B-1B62-1C4A-AF21-FECBE870D2F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6237" y="3216551"/>
              <a:ext cx="177968" cy="123509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1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923B25CB-9D3E-3945-BBEE-20C381783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2011" y="3660628"/>
              <a:ext cx="38136" cy="9436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2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CEC19507-D2E4-3D46-B0B7-BD5DEBF24E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317856"/>
              <a:ext cx="144917" cy="14571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9D78D97-75EA-1742-BDB4-A9E6A56343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3025043"/>
              <a:ext cx="92797" cy="55510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4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026FE73A-891F-D144-B368-53D5C2C5B6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52581" y="2471335"/>
              <a:ext cx="223731" cy="348323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5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1F8F3C2-9E49-D547-BB98-83EDD700C9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416" y="5106653"/>
              <a:ext cx="33051" cy="47183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6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90AD4590-428C-7845-881F-AD9A60FF4E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397" y="4208785"/>
              <a:ext cx="94069" cy="117958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968A0D37-FD84-814B-B9F3-FC60D033BFB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2512" y="4106092"/>
              <a:ext cx="54661" cy="106856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8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3F5F92B-7E04-904F-A705-6A334CD194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25458" y="3138838"/>
              <a:ext cx="282206" cy="216487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6081DFCA-3607-5F4B-A84F-853A57D02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0300" y="4036705"/>
              <a:ext cx="230087" cy="38995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85663" y="4568210"/>
              <a:ext cx="119493" cy="122121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1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3B0B63E-08BE-024E-8D98-7EAE9C7725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5802" y="3048634"/>
              <a:ext cx="67373" cy="43020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2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F4BDB682-36AD-FF49-9375-C22F06C516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4447" y="2977860"/>
              <a:ext cx="115679" cy="51347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3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10CFEAE4-D597-064F-AA2C-04C7326E18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7068" y="4092214"/>
              <a:ext cx="67373" cy="9436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4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FF44D0B-D47E-0F4D-BE0D-80079287A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9694" y="3900706"/>
              <a:ext cx="134747" cy="129060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5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A848B51-A257-B141-A263-BE224F057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66344"/>
              <a:ext cx="477971" cy="448240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DE846F17-9F01-EF48-962A-D0A9F82C6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365" y="4407232"/>
              <a:ext cx="48306" cy="5134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7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372E6C68-F958-F445-8B73-E7939351B5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33963" y="2716965"/>
              <a:ext cx="97882" cy="421873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F42B9E93-C135-AE4A-A75B-415E4E29E0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17837" y="2196562"/>
              <a:ext cx="2916129" cy="1013050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ED648A8-9E07-0949-9E20-4C80C17ADD1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3013941"/>
              <a:ext cx="198307" cy="12906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B02953AA-348B-2F4E-BD82-9FC16DCE81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2420" y="3634260"/>
              <a:ext cx="21610" cy="4995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2DFD4982-A5B9-4E4F-8E73-67E0780CD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4345" y="3856299"/>
              <a:ext cx="44492" cy="2081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BEA959A1-E334-C94B-8EE0-1F52439F8E2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4018" y="3186021"/>
              <a:ext cx="73730" cy="144325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EFEBD36-86E7-2A46-B431-7A131B104F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9785" y="2834922"/>
              <a:ext cx="200849" cy="158202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4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D605A7B9-5938-034F-BA38-0471753AA7E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80570" y="3846585"/>
              <a:ext cx="230087" cy="42326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1BAB6D50-490A-6047-9A62-6C0F2F27253B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4765" y="4376702"/>
              <a:ext cx="302545" cy="52456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6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5C147906-B4DE-0A4C-B4E8-22D5959DAC6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7481" y="4923471"/>
              <a:ext cx="193222" cy="23869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19558" y="4430823"/>
              <a:ext cx="350851" cy="255344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8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5FEAE546-523E-AC42-A6B1-19CA1E780CA9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1713" y="4106092"/>
              <a:ext cx="130933" cy="680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50BCDF8-3135-5248-93F6-AE4B61D5D3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2168" y="3328958"/>
              <a:ext cx="338139" cy="370527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BCF68BDE-2130-F843-B4A7-1E94A1A95C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4213" y="3888217"/>
              <a:ext cx="30509" cy="22204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6BFC5A4-5C32-5749-9975-344F30D10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8014" y="3667566"/>
              <a:ext cx="174154" cy="237304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2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BB354FDB-0A58-9F46-9FC3-6BA252ED1BF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39445" y="2222930"/>
              <a:ext cx="438563" cy="52595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3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AB4B013-C271-2B47-9FB4-4E78AE94D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3173" y="3983971"/>
              <a:ext cx="269494" cy="2719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4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B3E8443-69F6-7041-AD17-3D1DC6B9C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969" y="3711974"/>
              <a:ext cx="357206" cy="331670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5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3DECCEF-2270-784E-BCAF-F10E57D8B3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3832" y="3957604"/>
              <a:ext cx="105509" cy="116570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21679" y="5350895"/>
              <a:ext cx="409326" cy="34554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BF31AF5-9264-CD44-86C0-EBDC749118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6297" y="2925126"/>
              <a:ext cx="137289" cy="134611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0A28748-E3AD-BD4A-85B0-B8D548584FB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8597" y="2872392"/>
              <a:ext cx="87712" cy="7355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9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E76FF854-0325-AE44-9D8C-AAB4FE65959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8019" y="3513528"/>
              <a:ext cx="189408" cy="11657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AE04FF1B-7800-154B-94D8-D2E361BBBA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5293" y="4858247"/>
              <a:ext cx="307630" cy="342772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811D5E9C-14A7-3A40-8667-0C42E33A39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5480" y="3569037"/>
              <a:ext cx="204663" cy="52734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2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25240E4B-B718-7F43-898D-8636267733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4789" y="4675065"/>
              <a:ext cx="246612" cy="47044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F7E9F73A-3DBC-3A43-B6D7-A4584C9A4D0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593" y="3360876"/>
              <a:ext cx="273307" cy="23314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4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176C0E46-7111-3D41-BC06-D17DC19DB77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2583" y="3143001"/>
              <a:ext cx="36864" cy="4718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5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D797893-1110-BE47-837C-5D9227211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89460" y="2905698"/>
              <a:ext cx="676278" cy="292813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FFF037F-C801-AE4A-A50B-D97EC55A8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96" y="3008390"/>
              <a:ext cx="69916" cy="8326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7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59AA8A-CB58-F746-8029-88751D885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0860" y="3452467"/>
              <a:ext cx="600006" cy="513464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8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E8824692-E2E0-5547-AD8D-0E5BD8CC3AA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17413" y="3351162"/>
              <a:ext cx="10170" cy="9715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9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2171320-371D-9B4B-A33C-220B752FE4E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606506"/>
              <a:ext cx="277121" cy="353874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0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5219B2B8-0AB4-874F-8AEB-AA738990DB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2492" y="3667566"/>
              <a:ext cx="373732" cy="42326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D08ED4CE-9296-2C4B-9BE4-04F85D2B35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9041" y="4186581"/>
              <a:ext cx="99153" cy="154040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990497EC-2119-3B4A-9C01-FCF50F5A68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0399" y="4168541"/>
              <a:ext cx="221189" cy="185957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2E37103F-4E40-6D49-A1C0-07C4AA1E7C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4535" y="4644535"/>
              <a:ext cx="75000" cy="22065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DE19BEA9-2759-8944-BD58-5E193AC6E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4452" y="4726412"/>
              <a:ext cx="191951" cy="383016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5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AF9052D-38A6-BB49-BC34-33F4416CB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346" y="3176306"/>
              <a:ext cx="53390" cy="44408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6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95E272BC-A097-824E-861A-D3A5637968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1987" y="2962594"/>
              <a:ext cx="16525" cy="1526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7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4BF7B08-758B-5042-9A32-DC5C0BD7D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9448" y="2790515"/>
              <a:ext cx="109323" cy="6938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8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3E7960AF-38D7-9E49-B1FD-EC0C15E6E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4445" y="3038921"/>
              <a:ext cx="5085" cy="8326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927E917-C6EC-1F4A-80D6-7E5988E20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3435814"/>
              <a:ext cx="354664" cy="38995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D28C5CB-C809-4F49-87FB-592C56054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0119" y="4133847"/>
              <a:ext cx="99153" cy="122121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2B34936F-976E-5945-8C5F-5214E9E139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3432" y="5189917"/>
              <a:ext cx="53390" cy="5689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14DE609C-CC3F-2D44-8380-22A8EC6CD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9959" y="3395569"/>
              <a:ext cx="34322" cy="55510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3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3CAFEBC2-E7F5-9849-B0D5-18B1C15F69E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2747495"/>
              <a:ext cx="137289" cy="6383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2EB0F508-E6AA-F04B-82F6-8E7C7F7D25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7261" y="3739729"/>
              <a:ext cx="193222" cy="244242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5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5995702-DA7F-4B41-BB2D-A3AD2E217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3101" y="3155491"/>
              <a:ext cx="216104" cy="10963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440E35C6-8F30-F14A-B7B1-6C286308BC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6911" y="3526017"/>
              <a:ext cx="44492" cy="43020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7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9FC9D387-1716-764D-A419-8571984317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19978" y="3285938"/>
              <a:ext cx="87712" cy="14987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1C36E996-9AD7-5745-A5D8-0FF94C28B5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46248" y="3162429"/>
              <a:ext cx="105509" cy="14710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9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10D2CB17-EB05-C64B-9880-8096F1E8A3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4244866"/>
              <a:ext cx="180510" cy="26783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7A27997-3D41-CA49-9CEA-857713EFB7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2819658"/>
              <a:ext cx="811025" cy="40938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4F29EEC-989F-7449-BDA9-F5E9B2181E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434426"/>
              <a:ext cx="90255" cy="117958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2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82F50A72-6FFD-8C4A-975D-2CF4DE9BDD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291" y="3856299"/>
              <a:ext cx="50848" cy="1804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3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504A868F-9630-B647-ABBE-0395C868D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69554" y="3090267"/>
              <a:ext cx="282206" cy="60089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63A4F46-4B32-FD4C-8313-C85B87DCBC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57242" y="3044472"/>
              <a:ext cx="250426" cy="292813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DFE9D0B4-0AEF-AE43-A484-16F8863A49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1060" y="3430263"/>
              <a:ext cx="33051" cy="112407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6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C40B0C6-ABA4-1E40-AF04-AD7D0F94F34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8001" y="2822433"/>
              <a:ext cx="90255" cy="104081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375E5BA3-5F93-5342-A775-E6524381F3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5129" y="3320631"/>
              <a:ext cx="221189" cy="231753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8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C269DEC-7FEA-AC4E-8BB1-4A1DB5957B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9198" y="3249857"/>
              <a:ext cx="463987" cy="414935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0989" y="4217111"/>
              <a:ext cx="1052552" cy="457954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A53D257F-B7C2-FB42-ACA9-5F81B765DD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36492" y="3356713"/>
              <a:ext cx="629243" cy="829868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1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BEEC59A-C859-5F41-A790-C40C37A32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3508" y="2532395"/>
              <a:ext cx="184323" cy="77713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0DE3950-C8D1-AC49-BB7F-8E7082EEA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4277" y="3005615"/>
              <a:ext cx="137289" cy="7771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3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CA5F6AD-6B1B-B847-B0A5-B10A62834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9509" y="3924298"/>
              <a:ext cx="143645" cy="8604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4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4BDD70F8-F59A-194D-ACA9-35B086EE3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1631" y="3814667"/>
              <a:ext cx="63560" cy="54122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5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4A896B05-7090-ED49-89FC-3C32DBB7D11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940" y="4214336"/>
              <a:ext cx="66102" cy="104081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6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E15ED31E-A063-F749-8C3E-9DBE6BF3C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1125" y="4138010"/>
              <a:ext cx="105509" cy="20538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7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D3C30FB3-8756-D646-8F89-F128731296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8423" y="4015889"/>
              <a:ext cx="59746" cy="55510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8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D9AF898F-AB32-0B4B-9B68-8490A53965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60" y="4018665"/>
              <a:ext cx="167798" cy="155427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9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E8CEF630-CD55-CC40-99C6-BFFFB89428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136" y="3870176"/>
              <a:ext cx="95339" cy="117958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54B9099-7E7B-7443-88B7-E3F47D0E83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14434" y="2166032"/>
              <a:ext cx="902551" cy="537056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1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6D8E5FEE-4A9D-2241-96D8-E5910411B1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7075" y="3194347"/>
              <a:ext cx="171611" cy="194284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2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360C1EA2-A8C0-0B40-B87A-ADA32B43BBA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2070" y="4063072"/>
              <a:ext cx="105509" cy="181794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3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F171FAA-1AC8-6F42-B558-1ADF7502645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2832147"/>
              <a:ext cx="181781" cy="206774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A732323D-F9C5-3A42-A22B-D99008E03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1316" y="3143001"/>
              <a:ext cx="148730" cy="7355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5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9C03-4491-9541-8611-3DE2526D62B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254" y="3986746"/>
              <a:ext cx="68645" cy="1804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6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B29C833E-78A1-3144-AE83-3685EFDC460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7920" y="4308702"/>
              <a:ext cx="134747" cy="180406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7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09A6D4BC-0CBA-1944-B8B0-BDCB5890BE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25884" y="2932064"/>
              <a:ext cx="293646" cy="27616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8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8FD2806-F4C2-BC4E-A283-7F5C4220F76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7667" y="2447744"/>
              <a:ext cx="203392" cy="252569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9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0327DD2A-68B7-684E-801A-1DC19D1D10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55976" y="3956216"/>
              <a:ext cx="340681" cy="32473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0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A2F3B1DF-EAE0-E346-B3A5-B5E2E210F9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346" y="2708639"/>
              <a:ext cx="111865" cy="54122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1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832A0616-B6C3-3142-94E2-F09D320E1A0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7163" y="3866013"/>
              <a:ext cx="155086" cy="16097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2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DF39F4F-EF0F-B64E-A406-70972C8CB50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4311477"/>
              <a:ext cx="47034" cy="38857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2C386AC4-3C1B-4D46-9A48-A3DE9F884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627" y="3968706"/>
              <a:ext cx="54661" cy="38857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C2C610D7-DD19-B147-9A77-39DCEA31B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313" y="3480222"/>
              <a:ext cx="254240" cy="283099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5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83D85B79-4B7A-9E43-B64E-A1A34F9C8D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38579" y="4332294"/>
              <a:ext cx="133475" cy="18595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35656" y="4611229"/>
              <a:ext cx="80085" cy="41632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7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C7FD8FF-083B-954C-A87E-E6863FCFDD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292" y="3814667"/>
              <a:ext cx="80085" cy="58285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8A8F7F21-18B6-C644-B3EE-228B6966FA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469" y="4018665"/>
              <a:ext cx="38136" cy="4857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F3EFAEAB-F135-F64F-94D1-82860E49B7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91564" y="2759985"/>
              <a:ext cx="88984" cy="83264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0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64F99F6-EC3C-3C4F-8DCB-C18A2DFF4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0378" y="2937615"/>
              <a:ext cx="136018" cy="680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1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CE846B08-B010-8540-A687-A13636C35D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670" y="3367814"/>
              <a:ext cx="48306" cy="30530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2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8E4C-3A8A-5746-B003-F1639CC13B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195358" y="3718913"/>
              <a:ext cx="237714" cy="9575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3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2EF9A2D4-36FF-8A4F-B138-7E7AB60CEF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3429" y="3062512"/>
              <a:ext cx="118221" cy="97142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4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05D78167-1A54-1D4A-9E20-B34CCF8E6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0035" y="4074174"/>
              <a:ext cx="141103" cy="181794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68C0568-35DB-C14D-B883-EC35C27CCC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35611" y="4060297"/>
              <a:ext cx="77543" cy="80489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6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8C0F3DB1-61AF-A742-9925-ACD308B9E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0548" y="4225437"/>
              <a:ext cx="434750" cy="53428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7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7605DDEA-60BD-DA43-A460-2E1C06BD57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2581" y="4272621"/>
              <a:ext cx="172883" cy="245630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8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5D5A8D6-264B-0342-A508-322110CB9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84342" y="4024216"/>
              <a:ext cx="279664" cy="47322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9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4A195178-707F-EA44-BDFC-6A2541D8C3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10615" y="4877675"/>
              <a:ext cx="372461" cy="106578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0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0319B322-D9B9-6248-867F-8D18BC0BBC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9712" y="2866841"/>
              <a:ext cx="1179672" cy="99362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F1B21333-AFF9-6746-804A-62D7F335F93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5971" y="3711974"/>
              <a:ext cx="238985" cy="45379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19C86435-F022-D445-AD83-576A5B8DE2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28853" y="4067235"/>
              <a:ext cx="294918" cy="245630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3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A28E9468-5E2A-0B46-B3D7-9AB65F3B1D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3402" y="2174358"/>
              <a:ext cx="1796203" cy="1014438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4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9746559D-C56A-3D42-BFC1-A5ACDDE6DA8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5378" y="4004787"/>
              <a:ext cx="175425" cy="326119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5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1E4A2EF-BD0B-EA49-A6F0-BCE0C0822F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2262" y="3965931"/>
              <a:ext cx="122035" cy="117958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5676EECF-3CD9-2D4D-A1D5-75A25C96944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79" y="4447476"/>
              <a:ext cx="43221" cy="58285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4D0E7A1-E73C-6241-8945-207006017BD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72493" y="3952053"/>
              <a:ext cx="184323" cy="158202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057A09AC-6876-F149-AD03-92551D0D49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6482" y="3127736"/>
              <a:ext cx="127120" cy="7910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9EDD2BF4-A4D8-0149-9A23-EFBEB04C4A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05105" y="4228213"/>
              <a:ext cx="897466" cy="110741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0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0EDA2F90-F4C0-8940-A03F-04E3C4578A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0888" y="4881839"/>
              <a:ext cx="208477" cy="256732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DC5CDCDB-9496-E042-B45B-274B38A2E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2837" y="3095817"/>
              <a:ext cx="85170" cy="8326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2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549DBB26-4102-8A4C-9E36-6524310DD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13157" y="4652861"/>
              <a:ext cx="287291" cy="373302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3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CDDAA2D9-E8A5-194E-8995-3C233B4BF0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8869" y="3574588"/>
              <a:ext cx="75000" cy="47183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4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FA3774AE-27A4-244E-B083-A8EDCA0EF6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410" y="4026991"/>
              <a:ext cx="71187" cy="174855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B6ED8C5F-70A3-E946-912C-AF64DA3A8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5865" y="3853523"/>
              <a:ext cx="34322" cy="7493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E06E570C-12DE-7149-8DEA-961D105725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4783" y="2926513"/>
              <a:ext cx="72458" cy="54122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7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182CE3BD-C442-7F45-B9CA-6FDE5314C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8699" y="3625934"/>
              <a:ext cx="120763" cy="14987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C0D8E9D-97C9-5741-9090-340132988C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7753" y="2798841"/>
              <a:ext cx="183053" cy="130448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BC42B544-8F2D-0846-96C3-0D1B5E39E9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2250" y="3627322"/>
              <a:ext cx="8898" cy="1942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C3A1C4F4-DDDB-E64E-9F8C-5D4166505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3190184"/>
              <a:ext cx="116950" cy="102693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7949E105-52FD-5046-A31F-9BC1F196A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9530" y="2993125"/>
              <a:ext cx="147459" cy="7077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94975" y="4679229"/>
              <a:ext cx="915263" cy="936725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3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55469E7-E7D1-3348-A69B-4D2A653C613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2673" y="3205449"/>
              <a:ext cx="71187" cy="7493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4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B3DEFFCF-AAB1-3642-91C5-DE4810571B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58921" y="4998409"/>
              <a:ext cx="352122" cy="859011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7521A6CE-6F98-0B44-99C1-A63D4DE0F1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65293" y="4498823"/>
              <a:ext cx="286019" cy="389955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CB02392A-E2CE-3148-85AE-BCEA1D57B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9189" y="3170755"/>
              <a:ext cx="10170" cy="5551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7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75732-6B7B-B545-80F9-EE99846E28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6221" y="3324795"/>
              <a:ext cx="476699" cy="513464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8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28186DFD-64FA-474B-8D41-2F04044AE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5295" y="3170755"/>
              <a:ext cx="47034" cy="8604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AA1E7552-2310-4D44-AD53-799CC30727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70803" y="5006735"/>
              <a:ext cx="366105" cy="359425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0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977D33B-3CDB-3345-B37D-D72D2A34168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2930" y="3285938"/>
              <a:ext cx="292376" cy="25950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181" name="Group 340">
              <a:extLst>
                <a:ext uri="{FF2B5EF4-FFF2-40B4-BE49-F238E27FC236}">
                  <a16:creationId xmlns:a16="http://schemas.microsoft.com/office/drawing/2014/main" id="{C58EA603-7266-DE48-8A2A-92C7FADF26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07667" y="3072226"/>
              <a:ext cx="88984" cy="119346"/>
              <a:chOff x="2184" y="1242"/>
              <a:chExt cx="257" cy="316"/>
            </a:xfrm>
            <a:grpFill/>
          </p:grpSpPr>
          <p:sp>
            <p:nvSpPr>
              <p:cNvPr id="18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69AE035-7B4F-164B-A9A9-E7FD0AFED4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A648D03-405F-FB4A-9FD3-D4DDC98B11C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2" name="Freeform 8">
              <a:extLst>
                <a:ext uri="{FF2B5EF4-FFF2-40B4-BE49-F238E27FC236}">
                  <a16:creationId xmlns:a16="http://schemas.microsoft.com/office/drawing/2014/main" id="{FD68E863-4757-814A-8DFE-A41707FF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042" y="3717611"/>
              <a:ext cx="388418" cy="415994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9">
              <a:extLst>
                <a:ext uri="{FF2B5EF4-FFF2-40B4-BE49-F238E27FC236}">
                  <a16:creationId xmlns:a16="http://schemas.microsoft.com/office/drawing/2014/main" id="{8B0634EF-FC5F-C744-8278-7C6F7A41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011" y="4027375"/>
              <a:ext cx="279661" cy="255310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560D582-DEA8-E74C-B2B7-4A0667BA1F5A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1365738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 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0D7B03-0C58-0644-9EC7-D53C1D3087E4}"/>
              </a:ext>
            </a:extLst>
          </p:cNvPr>
          <p:cNvGrpSpPr/>
          <p:nvPr userDrawn="1"/>
        </p:nvGrpSpPr>
        <p:grpSpPr>
          <a:xfrm>
            <a:off x="1254681" y="1287006"/>
            <a:ext cx="9682637" cy="5156348"/>
            <a:chOff x="837718" y="2166032"/>
            <a:chExt cx="7093287" cy="3777427"/>
          </a:xfrm>
          <a:solidFill>
            <a:srgbClr val="09417A"/>
          </a:solidFill>
        </p:grpSpPr>
        <p:sp>
          <p:nvSpPr>
            <p:cNvPr id="6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DAF49FA4-B6FB-0F46-A0BA-21C9F57D1D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7718" y="2418601"/>
              <a:ext cx="990263" cy="467668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640446B4-3040-1D4B-840B-0E361CC5EE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72923" y="4820778"/>
              <a:ext cx="177968" cy="194284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01A6F51-C84B-9F47-9EC2-7970EFACE1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1736" y="4608454"/>
              <a:ext cx="268222" cy="281712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5AA18849-39FE-9B41-9D26-DBDF9DB3B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266" y="3838259"/>
              <a:ext cx="236443" cy="176243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D07A088-BF3A-0F44-AC89-393767370D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594016"/>
              <a:ext cx="193222" cy="180406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DD9D767A-7288-1348-84A7-DFED66876D8C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58018"/>
              <a:ext cx="13983" cy="33306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4A198BF-2931-E64C-805B-C2052042E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71" y="3090267"/>
              <a:ext cx="381360" cy="234528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3F5C7D8D-54BB-6146-8610-67E6A95F95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9211" y="3714749"/>
              <a:ext cx="195765" cy="419097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27D2E16E-A5D5-B24D-A2E3-A55D1BD5D3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2902" y="4032542"/>
              <a:ext cx="307630" cy="327507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BDD54B73-5DEE-864C-B0CA-377024D2AF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86029" y="2982023"/>
              <a:ext cx="1262300" cy="682768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2986076-BC4B-B947-B867-E7D21C467CD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2228" y="5232936"/>
              <a:ext cx="119493" cy="134611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62380EB0-BAB6-B54C-AC02-1A836BC10A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80120" y="2678108"/>
              <a:ext cx="185595" cy="290038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1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71DA14FD-819A-9346-80DF-9C39A7306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8946" y="3625934"/>
              <a:ext cx="108051" cy="112407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2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21ED622D-F845-4A49-B303-2D39675ADCB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3770" y="2901534"/>
              <a:ext cx="359749" cy="22065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4D19FE5E-7193-F34E-9986-9D11AFB391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8433" y="4260131"/>
              <a:ext cx="125848" cy="16236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F0D3446-BF62-3A4A-AFBA-4C01FAB82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996" y="3166593"/>
              <a:ext cx="325427" cy="212325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5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BB07076-388E-A34F-A6CC-09DDD04CF9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47499" y="3183246"/>
              <a:ext cx="428393" cy="17763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6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95C5FB4E-E02F-4648-A39E-B7564C1606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5038" y="3320631"/>
              <a:ext cx="87712" cy="19983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7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1671B8CE-94A9-1D4F-98F0-02BCD8AD49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5799" y="4064460"/>
              <a:ext cx="45763" cy="141549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9EA8586-F1DD-0147-8BEA-63245D8588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5142" y="3799402"/>
              <a:ext cx="199578" cy="417710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FA18E-509B-6F4E-B1F6-83832338418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7161" y="4407232"/>
              <a:ext cx="247883" cy="305303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619D18B-1B62-1C4A-AF21-FECBE870D2F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6237" y="3216551"/>
              <a:ext cx="177968" cy="123509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1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923B25CB-9D3E-3945-BBEE-20C381783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2011" y="3660628"/>
              <a:ext cx="38136" cy="9436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2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CEC19507-D2E4-3D46-B0B7-BD5DEBF24E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317856"/>
              <a:ext cx="144917" cy="14571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9D78D97-75EA-1742-BDB4-A9E6A56343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3025043"/>
              <a:ext cx="92797" cy="55510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4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026FE73A-891F-D144-B368-53D5C2C5B6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52581" y="2471335"/>
              <a:ext cx="223731" cy="348323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5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1F8F3C2-9E49-D547-BB98-83EDD700C9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416" y="5106653"/>
              <a:ext cx="33051" cy="47183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6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90AD4590-428C-7845-881F-AD9A60FF4E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397" y="4208785"/>
              <a:ext cx="94069" cy="117958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968A0D37-FD84-814B-B9F3-FC60D033BFB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2512" y="4106092"/>
              <a:ext cx="54661" cy="106856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8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3F5F92B-7E04-904F-A705-6A334CD194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25458" y="3138838"/>
              <a:ext cx="282206" cy="216487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6081DFCA-3607-5F4B-A84F-853A57D02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0300" y="4036705"/>
              <a:ext cx="230087" cy="38995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85663" y="4568210"/>
              <a:ext cx="119493" cy="122121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1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3B0B63E-08BE-024E-8D98-7EAE9C7725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5802" y="3048634"/>
              <a:ext cx="67373" cy="43020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2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F4BDB682-36AD-FF49-9375-C22F06C516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4447" y="2977860"/>
              <a:ext cx="115679" cy="51347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3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10CFEAE4-D597-064F-AA2C-04C7326E18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7068" y="4092214"/>
              <a:ext cx="67373" cy="9436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4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FF44D0B-D47E-0F4D-BE0D-80079287A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9694" y="3900706"/>
              <a:ext cx="134747" cy="129060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5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A848B51-A257-B141-A263-BE224F057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66344"/>
              <a:ext cx="477971" cy="448240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DE846F17-9F01-EF48-962A-D0A9F82C6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365" y="4407232"/>
              <a:ext cx="48306" cy="5134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7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372E6C68-F958-F445-8B73-E7939351B5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33963" y="2716965"/>
              <a:ext cx="97882" cy="421873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F42B9E93-C135-AE4A-A75B-415E4E29E0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17837" y="2196562"/>
              <a:ext cx="2916129" cy="1013050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ED648A8-9E07-0949-9E20-4C80C17ADD1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3013941"/>
              <a:ext cx="198307" cy="12906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B02953AA-348B-2F4E-BD82-9FC16DCE81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2420" y="3634260"/>
              <a:ext cx="21610" cy="4995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2DFD4982-A5B9-4E4F-8E73-67E0780CD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4345" y="3856299"/>
              <a:ext cx="44492" cy="2081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BEA959A1-E334-C94B-8EE0-1F52439F8E2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4018" y="3186021"/>
              <a:ext cx="73730" cy="144325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EFEBD36-86E7-2A46-B431-7A131B104F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9785" y="2834922"/>
              <a:ext cx="200849" cy="158202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4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D605A7B9-5938-034F-BA38-0471753AA7E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80570" y="3846585"/>
              <a:ext cx="230087" cy="42326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1BAB6D50-490A-6047-9A62-6C0F2F27253B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4765" y="4376702"/>
              <a:ext cx="302545" cy="52456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6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5C147906-B4DE-0A4C-B4E8-22D5959DAC6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7481" y="4923471"/>
              <a:ext cx="193222" cy="23869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19558" y="4430823"/>
              <a:ext cx="350851" cy="255344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8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5FEAE546-523E-AC42-A6B1-19CA1E780CA9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1713" y="4106092"/>
              <a:ext cx="130933" cy="680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50BCDF8-3135-5248-93F6-AE4B61D5D3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2168" y="3328958"/>
              <a:ext cx="338139" cy="370527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BCF68BDE-2130-F843-B4A7-1E94A1A95C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4213" y="3888217"/>
              <a:ext cx="30509" cy="22204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6BFC5A4-5C32-5749-9975-344F30D10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8014" y="3667566"/>
              <a:ext cx="174154" cy="237304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2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BB354FDB-0A58-9F46-9FC3-6BA252ED1BF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39445" y="2222930"/>
              <a:ext cx="438563" cy="52595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3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AB4B013-C271-2B47-9FB4-4E78AE94D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3173" y="3983971"/>
              <a:ext cx="269494" cy="2719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4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B3E8443-69F6-7041-AD17-3D1DC6B9C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969" y="3711974"/>
              <a:ext cx="357206" cy="331670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5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3DECCEF-2270-784E-BCAF-F10E57D8B3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3832" y="3957604"/>
              <a:ext cx="105509" cy="116570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21679" y="5350895"/>
              <a:ext cx="409326" cy="34554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BF31AF5-9264-CD44-86C0-EBDC749118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6297" y="2925126"/>
              <a:ext cx="137289" cy="134611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0A28748-E3AD-BD4A-85B0-B8D548584FB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8597" y="2872392"/>
              <a:ext cx="87712" cy="7355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9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E76FF854-0325-AE44-9D8C-AAB4FE65959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8019" y="3513528"/>
              <a:ext cx="189408" cy="11657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AE04FF1B-7800-154B-94D8-D2E361BBBA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5293" y="4858247"/>
              <a:ext cx="307630" cy="342772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811D5E9C-14A7-3A40-8667-0C42E33A39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5480" y="3569037"/>
              <a:ext cx="204663" cy="52734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2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25240E4B-B718-7F43-898D-8636267733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4789" y="4675065"/>
              <a:ext cx="246612" cy="47044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F7E9F73A-3DBC-3A43-B6D7-A4584C9A4D0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593" y="3360876"/>
              <a:ext cx="273307" cy="23314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4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176C0E46-7111-3D41-BC06-D17DC19DB77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2583" y="3143001"/>
              <a:ext cx="36864" cy="4718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5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D797893-1110-BE47-837C-5D9227211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89460" y="2905698"/>
              <a:ext cx="676278" cy="292813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FFF037F-C801-AE4A-A50B-D97EC55A8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96" y="3008390"/>
              <a:ext cx="69916" cy="8326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7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59AA8A-CB58-F746-8029-88751D885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0860" y="3452467"/>
              <a:ext cx="600006" cy="513464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8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E8824692-E2E0-5547-AD8D-0E5BD8CC3AA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17413" y="3351162"/>
              <a:ext cx="10170" cy="9715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9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2171320-371D-9B4B-A33C-220B752FE4E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606506"/>
              <a:ext cx="277121" cy="353874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0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5219B2B8-0AB4-874F-8AEB-AA738990DB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2492" y="3667566"/>
              <a:ext cx="373732" cy="42326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D08ED4CE-9296-2C4B-9BE4-04F85D2B35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9041" y="4186581"/>
              <a:ext cx="99153" cy="154040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990497EC-2119-3B4A-9C01-FCF50F5A68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0399" y="4168541"/>
              <a:ext cx="221189" cy="185957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2E37103F-4E40-6D49-A1C0-07C4AA1E7C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4535" y="4644535"/>
              <a:ext cx="75000" cy="22065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DE19BEA9-2759-8944-BD58-5E193AC6E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4452" y="4726412"/>
              <a:ext cx="191951" cy="383016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5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AF9052D-38A6-BB49-BC34-33F4416CB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346" y="3176306"/>
              <a:ext cx="53390" cy="44408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6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95E272BC-A097-824E-861A-D3A5637968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1987" y="2962594"/>
              <a:ext cx="16525" cy="1526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7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4BF7B08-758B-5042-9A32-DC5C0BD7D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9448" y="2790515"/>
              <a:ext cx="109323" cy="6938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8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3E7960AF-38D7-9E49-B1FD-EC0C15E6E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4445" y="3038921"/>
              <a:ext cx="5085" cy="8326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927E917-C6EC-1F4A-80D6-7E5988E20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3435814"/>
              <a:ext cx="354664" cy="38995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D28C5CB-C809-4F49-87FB-592C56054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0119" y="4133847"/>
              <a:ext cx="99153" cy="122121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2B34936F-976E-5945-8C5F-5214E9E139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3432" y="5189917"/>
              <a:ext cx="53390" cy="5689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14DE609C-CC3F-2D44-8380-22A8EC6CD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9959" y="3395569"/>
              <a:ext cx="34322" cy="55510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3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3CAFEBC2-E7F5-9849-B0D5-18B1C15F69E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2747495"/>
              <a:ext cx="137289" cy="6383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2EB0F508-E6AA-F04B-82F6-8E7C7F7D25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7261" y="3739729"/>
              <a:ext cx="193222" cy="244242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5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5995702-DA7F-4B41-BB2D-A3AD2E217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3101" y="3155491"/>
              <a:ext cx="216104" cy="10963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440E35C6-8F30-F14A-B7B1-6C286308BC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6911" y="3526017"/>
              <a:ext cx="44492" cy="43020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7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9FC9D387-1716-764D-A419-8571984317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19978" y="3285938"/>
              <a:ext cx="87712" cy="14987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1C36E996-9AD7-5745-A5D8-0FF94C28B5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46248" y="3162429"/>
              <a:ext cx="105509" cy="14710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9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10D2CB17-EB05-C64B-9880-8096F1E8A3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4244866"/>
              <a:ext cx="180510" cy="26783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7A27997-3D41-CA49-9CEA-857713EFB7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2819658"/>
              <a:ext cx="811025" cy="40938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4F29EEC-989F-7449-BDA9-F5E9B2181E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434426"/>
              <a:ext cx="90255" cy="117958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2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82F50A72-6FFD-8C4A-975D-2CF4DE9BDD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291" y="3856299"/>
              <a:ext cx="50848" cy="1804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3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504A868F-9630-B647-ABBE-0395C868D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69554" y="3090267"/>
              <a:ext cx="282206" cy="60089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63A4F46-4B32-FD4C-8313-C85B87DCBC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57242" y="3044472"/>
              <a:ext cx="250426" cy="292813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DFE9D0B4-0AEF-AE43-A484-16F8863A49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1060" y="3430263"/>
              <a:ext cx="33051" cy="112407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6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C40B0C6-ABA4-1E40-AF04-AD7D0F94F34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8001" y="2822433"/>
              <a:ext cx="90255" cy="104081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375E5BA3-5F93-5342-A775-E6524381F3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5129" y="3320631"/>
              <a:ext cx="221189" cy="231753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8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C269DEC-7FEA-AC4E-8BB1-4A1DB5957B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9198" y="3249857"/>
              <a:ext cx="463987" cy="414935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0989" y="4217111"/>
              <a:ext cx="1052552" cy="457954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A53D257F-B7C2-FB42-ACA9-5F81B765DD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36492" y="3356713"/>
              <a:ext cx="629243" cy="829868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1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BEEC59A-C859-5F41-A790-C40C37A32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3508" y="2532395"/>
              <a:ext cx="184323" cy="77713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0DE3950-C8D1-AC49-BB7F-8E7082EEA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4277" y="3005615"/>
              <a:ext cx="137289" cy="7771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3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CA5F6AD-6B1B-B847-B0A5-B10A62834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9509" y="3924298"/>
              <a:ext cx="143645" cy="8604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4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4BDD70F8-F59A-194D-ACA9-35B086EE3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1631" y="3814667"/>
              <a:ext cx="63560" cy="54122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5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4A896B05-7090-ED49-89FC-3C32DBB7D11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940" y="4214336"/>
              <a:ext cx="66102" cy="104081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6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E15ED31E-A063-F749-8C3E-9DBE6BF3C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1125" y="4138010"/>
              <a:ext cx="105509" cy="20538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7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D3C30FB3-8756-D646-8F89-F128731296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8423" y="4015889"/>
              <a:ext cx="59746" cy="55510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8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D9AF898F-AB32-0B4B-9B68-8490A53965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60" y="4018665"/>
              <a:ext cx="167798" cy="155427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9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E8CEF630-CD55-CC40-99C6-BFFFB89428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136" y="3870176"/>
              <a:ext cx="95339" cy="117958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54B9099-7E7B-7443-88B7-E3F47D0E83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14434" y="2166032"/>
              <a:ext cx="902551" cy="537056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1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6D8E5FEE-4A9D-2241-96D8-E5910411B1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7075" y="3194347"/>
              <a:ext cx="171611" cy="194284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2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360C1EA2-A8C0-0B40-B87A-ADA32B43BBA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2070" y="4063072"/>
              <a:ext cx="105509" cy="181794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3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F171FAA-1AC8-6F42-B558-1ADF7502645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2832147"/>
              <a:ext cx="181781" cy="206774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A732323D-F9C5-3A42-A22B-D99008E03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1316" y="3143001"/>
              <a:ext cx="148730" cy="7355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5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9C03-4491-9541-8611-3DE2526D62B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254" y="3986746"/>
              <a:ext cx="68645" cy="1804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6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B29C833E-78A1-3144-AE83-3685EFDC460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7920" y="4308702"/>
              <a:ext cx="134747" cy="180406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7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09A6D4BC-0CBA-1944-B8B0-BDCB5890BE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25884" y="2932064"/>
              <a:ext cx="293646" cy="27616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8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8FD2806-F4C2-BC4E-A283-7F5C4220F76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7667" y="2447744"/>
              <a:ext cx="203392" cy="252569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9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0327DD2A-68B7-684E-801A-1DC19D1D10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55976" y="3956216"/>
              <a:ext cx="340681" cy="32473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0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A2F3B1DF-EAE0-E346-B3A5-B5E2E210F9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346" y="2708639"/>
              <a:ext cx="111865" cy="54122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1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832A0616-B6C3-3142-94E2-F09D320E1A0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7163" y="3866013"/>
              <a:ext cx="155086" cy="16097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2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DF39F4F-EF0F-B64E-A406-70972C8CB50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4311477"/>
              <a:ext cx="47034" cy="38857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2C386AC4-3C1B-4D46-9A48-A3DE9F884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627" y="3968706"/>
              <a:ext cx="54661" cy="38857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C2C610D7-DD19-B147-9A77-39DCEA31B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313" y="3480222"/>
              <a:ext cx="254240" cy="283099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5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83D85B79-4B7A-9E43-B64E-A1A34F9C8D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38579" y="4332294"/>
              <a:ext cx="133475" cy="18595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35656" y="4611229"/>
              <a:ext cx="80085" cy="41632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7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C7FD8FF-083B-954C-A87E-E6863FCFDD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292" y="3814667"/>
              <a:ext cx="80085" cy="58285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8A8F7F21-18B6-C644-B3EE-228B6966FA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469" y="4018665"/>
              <a:ext cx="38136" cy="4857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F3EFAEAB-F135-F64F-94D1-82860E49B7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91564" y="2759985"/>
              <a:ext cx="88984" cy="83264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0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64F99F6-EC3C-3C4F-8DCB-C18A2DFF4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0378" y="2937615"/>
              <a:ext cx="136018" cy="680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1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CE846B08-B010-8540-A687-A13636C35D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670" y="3367814"/>
              <a:ext cx="48306" cy="30530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2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8E4C-3A8A-5746-B003-F1639CC13B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195358" y="3718913"/>
              <a:ext cx="237714" cy="9575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3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2EF9A2D4-36FF-8A4F-B138-7E7AB60CEF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3429" y="3062512"/>
              <a:ext cx="118221" cy="97142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4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05D78167-1A54-1D4A-9E20-B34CCF8E6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0035" y="4074174"/>
              <a:ext cx="141103" cy="181794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68C0568-35DB-C14D-B883-EC35C27CCC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35611" y="4060297"/>
              <a:ext cx="77543" cy="80489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6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8C0F3DB1-61AF-A742-9925-ACD308B9E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0548" y="4225437"/>
              <a:ext cx="434750" cy="53428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7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7605DDEA-60BD-DA43-A460-2E1C06BD57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2581" y="4272621"/>
              <a:ext cx="172883" cy="245630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8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5D5A8D6-264B-0342-A508-322110CB9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84342" y="4024216"/>
              <a:ext cx="279664" cy="47322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9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4A195178-707F-EA44-BDFC-6A2541D8C3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10615" y="4877675"/>
              <a:ext cx="372461" cy="106578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0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0319B322-D9B9-6248-867F-8D18BC0BBC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9712" y="2866841"/>
              <a:ext cx="1179672" cy="99362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F1B21333-AFF9-6746-804A-62D7F335F93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5971" y="3711974"/>
              <a:ext cx="238985" cy="45379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19C86435-F022-D445-AD83-576A5B8DE2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28853" y="4067235"/>
              <a:ext cx="294918" cy="245630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3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A28E9468-5E2A-0B46-B3D7-9AB65F3B1D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3402" y="2174358"/>
              <a:ext cx="1796203" cy="1014438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4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9746559D-C56A-3D42-BFC1-A5ACDDE6DA8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5378" y="4004787"/>
              <a:ext cx="175425" cy="326119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5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1E4A2EF-BD0B-EA49-A6F0-BCE0C0822F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2262" y="3965931"/>
              <a:ext cx="122035" cy="117958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5676EECF-3CD9-2D4D-A1D5-75A25C96944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79" y="4447476"/>
              <a:ext cx="43221" cy="58285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4D0E7A1-E73C-6241-8945-207006017BD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72493" y="3952053"/>
              <a:ext cx="184323" cy="158202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057A09AC-6876-F149-AD03-92551D0D49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6482" y="3127736"/>
              <a:ext cx="127120" cy="7910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9EDD2BF4-A4D8-0149-9A23-EFBEB04C4A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05105" y="4228213"/>
              <a:ext cx="897466" cy="110741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0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0EDA2F90-F4C0-8940-A03F-04E3C4578A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0888" y="4881839"/>
              <a:ext cx="208477" cy="256732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DC5CDCDB-9496-E042-B45B-274B38A2E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2837" y="3095817"/>
              <a:ext cx="85170" cy="8326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2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549DBB26-4102-8A4C-9E36-6524310DD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13157" y="4652861"/>
              <a:ext cx="287291" cy="373302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3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CDDAA2D9-E8A5-194E-8995-3C233B4BF0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8869" y="3574588"/>
              <a:ext cx="75000" cy="47183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4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FA3774AE-27A4-244E-B083-A8EDCA0EF6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410" y="4026991"/>
              <a:ext cx="71187" cy="174855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B6ED8C5F-70A3-E946-912C-AF64DA3A8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5865" y="3853523"/>
              <a:ext cx="34322" cy="7493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E06E570C-12DE-7149-8DEA-961D105725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4783" y="2926513"/>
              <a:ext cx="72458" cy="54122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7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182CE3BD-C442-7F45-B9CA-6FDE5314C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8699" y="3625934"/>
              <a:ext cx="120763" cy="14987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C0D8E9D-97C9-5741-9090-340132988C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7753" y="2798841"/>
              <a:ext cx="183053" cy="130448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BC42B544-8F2D-0846-96C3-0D1B5E39E9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2250" y="3627322"/>
              <a:ext cx="8898" cy="1942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C3A1C4F4-DDDB-E64E-9F8C-5D4166505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3190184"/>
              <a:ext cx="116950" cy="102693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7949E105-52FD-5046-A31F-9BC1F196A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9530" y="2993125"/>
              <a:ext cx="147459" cy="7077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94975" y="4679229"/>
              <a:ext cx="915263" cy="936725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3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55469E7-E7D1-3348-A69B-4D2A653C613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2673" y="3205449"/>
              <a:ext cx="71187" cy="7493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4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B3DEFFCF-AAB1-3642-91C5-DE4810571B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58921" y="4998409"/>
              <a:ext cx="352122" cy="859011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7521A6CE-6F98-0B44-99C1-A63D4DE0F1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65293" y="4498823"/>
              <a:ext cx="286019" cy="389955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CB02392A-E2CE-3148-85AE-BCEA1D57B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9189" y="3170755"/>
              <a:ext cx="10170" cy="5551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7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75732-6B7B-B545-80F9-EE99846E28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6221" y="3324795"/>
              <a:ext cx="476699" cy="513464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8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28186DFD-64FA-474B-8D41-2F04044AE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5295" y="3170755"/>
              <a:ext cx="47034" cy="8604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AA1E7552-2310-4D44-AD53-799CC30727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70803" y="5006735"/>
              <a:ext cx="366105" cy="359425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0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977D33B-3CDB-3345-B37D-D72D2A34168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2930" y="3285938"/>
              <a:ext cx="292376" cy="25950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181" name="Group 340">
              <a:extLst>
                <a:ext uri="{FF2B5EF4-FFF2-40B4-BE49-F238E27FC236}">
                  <a16:creationId xmlns:a16="http://schemas.microsoft.com/office/drawing/2014/main" id="{C58EA603-7266-DE48-8A2A-92C7FADF26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07667" y="3072226"/>
              <a:ext cx="88984" cy="119346"/>
              <a:chOff x="2184" y="1242"/>
              <a:chExt cx="257" cy="316"/>
            </a:xfrm>
            <a:grpFill/>
          </p:grpSpPr>
          <p:sp>
            <p:nvSpPr>
              <p:cNvPr id="18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69AE035-7B4F-164B-A9A9-E7FD0AFED4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A648D03-405F-FB4A-9FD3-D4DDC98B11C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2" name="Freeform 8">
              <a:extLst>
                <a:ext uri="{FF2B5EF4-FFF2-40B4-BE49-F238E27FC236}">
                  <a16:creationId xmlns:a16="http://schemas.microsoft.com/office/drawing/2014/main" id="{FD68E863-4757-814A-8DFE-A41707FF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042" y="3717611"/>
              <a:ext cx="388418" cy="415994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9">
              <a:extLst>
                <a:ext uri="{FF2B5EF4-FFF2-40B4-BE49-F238E27FC236}">
                  <a16:creationId xmlns:a16="http://schemas.microsoft.com/office/drawing/2014/main" id="{8B0634EF-FC5F-C744-8278-7C6F7A41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011" y="4027375"/>
              <a:ext cx="279661" cy="255310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560D582-DEA8-E74C-B2B7-4A0667BA1F5A}"/>
              </a:ext>
            </a:extLst>
          </p:cNvPr>
          <p:cNvSpPr txBox="1"/>
          <p:nvPr userDrawn="1"/>
        </p:nvSpPr>
        <p:spPr>
          <a:xfrm>
            <a:off x="462013" y="2723949"/>
            <a:ext cx="226193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 You can highlight countries by double clicking on it and click drawing tools&gt;format&gt;shape fill and select a brand </a:t>
            </a:r>
            <a:r>
              <a:rPr lang="en-US" sz="1200" dirty="0" err="1"/>
              <a:t>colour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97845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urope Map 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Europe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CD78BE-D550-3246-8FEB-D416FAC204D3}"/>
              </a:ext>
            </a:extLst>
          </p:cNvPr>
          <p:cNvGrpSpPr/>
          <p:nvPr userDrawn="1"/>
        </p:nvGrpSpPr>
        <p:grpSpPr>
          <a:xfrm>
            <a:off x="5188350" y="889056"/>
            <a:ext cx="7003650" cy="5968944"/>
            <a:chOff x="2140350" y="889056"/>
            <a:chExt cx="7003650" cy="5968944"/>
          </a:xfrm>
          <a:solidFill>
            <a:srgbClr val="09417A"/>
          </a:solidFill>
        </p:grpSpPr>
        <p:sp>
          <p:nvSpPr>
            <p:cNvPr id="24" name="Schweiz" descr="© INSCALE GmbH, 05.05.2010&#10;http://www.presentationload.com/">
              <a:extLst>
                <a:ext uri="{FF2B5EF4-FFF2-40B4-BE49-F238E27FC236}">
                  <a16:creationId xmlns:a16="http://schemas.microsoft.com/office/drawing/2014/main" id="{0535A40E-70FD-D749-B162-DC04351056F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795" y="4950314"/>
              <a:ext cx="496724" cy="308596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Niederlande" descr="© INSCALE GmbH, 05.05.2010&#10;http://www.presentationload.com/">
              <a:extLst>
                <a:ext uri="{FF2B5EF4-FFF2-40B4-BE49-F238E27FC236}">
                  <a16:creationId xmlns:a16="http://schemas.microsoft.com/office/drawing/2014/main" id="{0DCA152D-5DDD-B948-BCED-F5B1025605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99514" y="4054230"/>
              <a:ext cx="401010" cy="420814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Belgien" descr="© INSCALE GmbH, 05.05.2010&#10;http://www.presentationload.com/">
              <a:extLst>
                <a:ext uri="{FF2B5EF4-FFF2-40B4-BE49-F238E27FC236}">
                  <a16:creationId xmlns:a16="http://schemas.microsoft.com/office/drawing/2014/main" id="{2172DDBA-DAA5-E949-A629-02FCD0C8C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8652" y="4354575"/>
              <a:ext cx="384507" cy="316847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Luxemburg" descr="© INSCALE GmbH, 05.05.2010&#10;http://www.presentationload.com/">
              <a:extLst>
                <a:ext uri="{FF2B5EF4-FFF2-40B4-BE49-F238E27FC236}">
                  <a16:creationId xmlns:a16="http://schemas.microsoft.com/office/drawing/2014/main" id="{78A776CD-D227-524B-ADEE-E471815288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5598" y="4570757"/>
              <a:ext cx="84162" cy="118817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Däne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C6F5416-35DB-0D4D-A2D2-08A7E76DCB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539" y="3400732"/>
              <a:ext cx="640296" cy="488473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Öster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285B4E3B-DD89-CA4E-81BB-B697A13BA9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1953" y="4758886"/>
              <a:ext cx="820172" cy="407611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Vereinigtes König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C9A0A0F0-FBC1-DF4A-8C0E-F29B4DB0CB3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20917" y="2849549"/>
              <a:ext cx="853178" cy="1597439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I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3F1B05C-8F35-D049-B939-DC4F4DDD4F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94169" y="3570708"/>
              <a:ext cx="486822" cy="552833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51C3C924-F01B-9441-898E-A9937FDC4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350" y="5564207"/>
              <a:ext cx="483523" cy="802020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Zypern" descr="© INSCALE GmbH, 05.05.2010&#10;http://www.presentationload.com/">
              <a:extLst>
                <a:ext uri="{FF2B5EF4-FFF2-40B4-BE49-F238E27FC236}">
                  <a16:creationId xmlns:a16="http://schemas.microsoft.com/office/drawing/2014/main" id="{B4366EEE-FEB3-8048-B035-64847330C6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0649" y="6377778"/>
              <a:ext cx="267340" cy="255788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Bosnien und Herzegowina" descr="© INSCALE GmbH, 05.05.2010&#10;http://www.presentationload.com/">
              <a:extLst>
                <a:ext uri="{FF2B5EF4-FFF2-40B4-BE49-F238E27FC236}">
                  <a16:creationId xmlns:a16="http://schemas.microsoft.com/office/drawing/2014/main" id="{B471F671-CFAF-FF41-AAF4-11A16BD358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5156" y="5323271"/>
              <a:ext cx="473621" cy="405961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Alb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57A54FD-ABAE-6B45-8616-11F2359A57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3924" y="5696227"/>
              <a:ext cx="240936" cy="457119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Mazedo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20BD5DB-52E3-E246-A72E-7B5EEE4E1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4095" y="5706128"/>
              <a:ext cx="301996" cy="250837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Norwegen" descr="© INSCALE GmbH, 05.05.2010&#10;http://www.presentationload.com/">
              <a:extLst>
                <a:ext uri="{FF2B5EF4-FFF2-40B4-BE49-F238E27FC236}">
                  <a16:creationId xmlns:a16="http://schemas.microsoft.com/office/drawing/2014/main" id="{629EDFA3-5E72-A84A-A5CA-5AA9A68875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85008" y="1263662"/>
              <a:ext cx="1648597" cy="2099114"/>
            </a:xfrm>
            <a:custGeom>
              <a:avLst/>
              <a:gdLst/>
              <a:ahLst/>
              <a:cxnLst>
                <a:cxn ang="0">
                  <a:pos x="626" y="61"/>
                </a:cxn>
                <a:cxn ang="0">
                  <a:pos x="605" y="40"/>
                </a:cxn>
                <a:cxn ang="0">
                  <a:pos x="586" y="22"/>
                </a:cxn>
                <a:cxn ang="0">
                  <a:pos x="547" y="55"/>
                </a:cxn>
                <a:cxn ang="0">
                  <a:pos x="532" y="46"/>
                </a:cxn>
                <a:cxn ang="0">
                  <a:pos x="465" y="77"/>
                </a:cxn>
                <a:cxn ang="0">
                  <a:pos x="445" y="116"/>
                </a:cxn>
                <a:cxn ang="0">
                  <a:pos x="410" y="132"/>
                </a:cxn>
                <a:cxn ang="0">
                  <a:pos x="380" y="181"/>
                </a:cxn>
                <a:cxn ang="0">
                  <a:pos x="374" y="209"/>
                </a:cxn>
                <a:cxn ang="0">
                  <a:pos x="330" y="227"/>
                </a:cxn>
                <a:cxn ang="0">
                  <a:pos x="331" y="254"/>
                </a:cxn>
                <a:cxn ang="0">
                  <a:pos x="331" y="290"/>
                </a:cxn>
                <a:cxn ang="0">
                  <a:pos x="275" y="339"/>
                </a:cxn>
                <a:cxn ang="0">
                  <a:pos x="261" y="381"/>
                </a:cxn>
                <a:cxn ang="0">
                  <a:pos x="252" y="428"/>
                </a:cxn>
                <a:cxn ang="0">
                  <a:pos x="198" y="471"/>
                </a:cxn>
                <a:cxn ang="0">
                  <a:pos x="224" y="509"/>
                </a:cxn>
                <a:cxn ang="0">
                  <a:pos x="141" y="534"/>
                </a:cxn>
                <a:cxn ang="0">
                  <a:pos x="122" y="571"/>
                </a:cxn>
                <a:cxn ang="0">
                  <a:pos x="96" y="584"/>
                </a:cxn>
                <a:cxn ang="0">
                  <a:pos x="69" y="595"/>
                </a:cxn>
                <a:cxn ang="0">
                  <a:pos x="26" y="611"/>
                </a:cxn>
                <a:cxn ang="0">
                  <a:pos x="23" y="650"/>
                </a:cxn>
                <a:cxn ang="0">
                  <a:pos x="83" y="675"/>
                </a:cxn>
                <a:cxn ang="0">
                  <a:pos x="74" y="678"/>
                </a:cxn>
                <a:cxn ang="0">
                  <a:pos x="38" y="704"/>
                </a:cxn>
                <a:cxn ang="0">
                  <a:pos x="55" y="723"/>
                </a:cxn>
                <a:cxn ang="0">
                  <a:pos x="42" y="766"/>
                </a:cxn>
                <a:cxn ang="0">
                  <a:pos x="26" y="785"/>
                </a:cxn>
                <a:cxn ang="0">
                  <a:pos x="34" y="813"/>
                </a:cxn>
                <a:cxn ang="0">
                  <a:pos x="65" y="873"/>
                </a:cxn>
                <a:cxn ang="0">
                  <a:pos x="182" y="789"/>
                </a:cxn>
                <a:cxn ang="0">
                  <a:pos x="230" y="815"/>
                </a:cxn>
                <a:cxn ang="0">
                  <a:pos x="305" y="482"/>
                </a:cxn>
                <a:cxn ang="0">
                  <a:pos x="443" y="205"/>
                </a:cxn>
                <a:cxn ang="0">
                  <a:pos x="595" y="78"/>
                </a:cxn>
                <a:cxn ang="0">
                  <a:pos x="18" y="803"/>
                </a:cxn>
                <a:cxn ang="0">
                  <a:pos x="10" y="767"/>
                </a:cxn>
                <a:cxn ang="0">
                  <a:pos x="14" y="743"/>
                </a:cxn>
                <a:cxn ang="0">
                  <a:pos x="10" y="711"/>
                </a:cxn>
                <a:cxn ang="0">
                  <a:pos x="8" y="699"/>
                </a:cxn>
                <a:cxn ang="0">
                  <a:pos x="7" y="680"/>
                </a:cxn>
                <a:cxn ang="0">
                  <a:pos x="15" y="632"/>
                </a:cxn>
                <a:cxn ang="0">
                  <a:pos x="44" y="600"/>
                </a:cxn>
                <a:cxn ang="0">
                  <a:pos x="58" y="582"/>
                </a:cxn>
                <a:cxn ang="0">
                  <a:pos x="106" y="551"/>
                </a:cxn>
                <a:cxn ang="0">
                  <a:pos x="123" y="537"/>
                </a:cxn>
                <a:cxn ang="0">
                  <a:pos x="162" y="515"/>
                </a:cxn>
                <a:cxn ang="0">
                  <a:pos x="259" y="367"/>
                </a:cxn>
                <a:cxn ang="0">
                  <a:pos x="264" y="359"/>
                </a:cxn>
                <a:cxn ang="0">
                  <a:pos x="301" y="294"/>
                </a:cxn>
                <a:cxn ang="0">
                  <a:pos x="351" y="208"/>
                </a:cxn>
                <a:cxn ang="0">
                  <a:pos x="296" y="220"/>
                </a:cxn>
                <a:cxn ang="0">
                  <a:pos x="362" y="187"/>
                </a:cxn>
                <a:cxn ang="0">
                  <a:pos x="322" y="218"/>
                </a:cxn>
                <a:cxn ang="0">
                  <a:pos x="320" y="183"/>
                </a:cxn>
                <a:cxn ang="0">
                  <a:pos x="367" y="152"/>
                </a:cxn>
                <a:cxn ang="0">
                  <a:pos x="411" y="97"/>
                </a:cxn>
                <a:cxn ang="0">
                  <a:pos x="407" y="97"/>
                </a:cxn>
                <a:cxn ang="0">
                  <a:pos x="492" y="40"/>
                </a:cxn>
                <a:cxn ang="0">
                  <a:pos x="514" y="56"/>
                </a:cxn>
                <a:cxn ang="0">
                  <a:pos x="538" y="19"/>
                </a:cxn>
              </a:cxnLst>
              <a:rect l="0" t="0" r="r" b="b"/>
              <a:pathLst>
                <a:path w="690" h="880">
                  <a:moveTo>
                    <a:pt x="685" y="71"/>
                  </a:moveTo>
                  <a:cubicBezTo>
                    <a:pt x="685" y="68"/>
                    <a:pt x="685" y="68"/>
                    <a:pt x="685" y="68"/>
                  </a:cubicBezTo>
                  <a:cubicBezTo>
                    <a:pt x="681" y="68"/>
                    <a:pt x="681" y="68"/>
                    <a:pt x="681" y="68"/>
                  </a:cubicBezTo>
                  <a:cubicBezTo>
                    <a:pt x="681" y="68"/>
                    <a:pt x="681" y="66"/>
                    <a:pt x="678" y="66"/>
                  </a:cubicBezTo>
                  <a:cubicBezTo>
                    <a:pt x="673" y="66"/>
                    <a:pt x="673" y="66"/>
                    <a:pt x="673" y="66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3" y="76"/>
                    <a:pt x="673" y="76"/>
                    <a:pt x="673" y="76"/>
                  </a:cubicBezTo>
                  <a:cubicBezTo>
                    <a:pt x="673" y="72"/>
                    <a:pt x="673" y="72"/>
                    <a:pt x="673" y="72"/>
                  </a:cubicBezTo>
                  <a:cubicBezTo>
                    <a:pt x="668" y="64"/>
                    <a:pt x="668" y="64"/>
                    <a:pt x="668" y="64"/>
                  </a:cubicBezTo>
                  <a:cubicBezTo>
                    <a:pt x="666" y="64"/>
                    <a:pt x="666" y="64"/>
                    <a:pt x="666" y="64"/>
                  </a:cubicBezTo>
                  <a:cubicBezTo>
                    <a:pt x="668" y="72"/>
                    <a:pt x="668" y="72"/>
                    <a:pt x="668" y="72"/>
                  </a:cubicBezTo>
                  <a:cubicBezTo>
                    <a:pt x="666" y="76"/>
                    <a:pt x="666" y="76"/>
                    <a:pt x="666" y="76"/>
                  </a:cubicBezTo>
                  <a:cubicBezTo>
                    <a:pt x="664" y="73"/>
                    <a:pt x="664" y="73"/>
                    <a:pt x="664" y="73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59" y="77"/>
                    <a:pt x="659" y="77"/>
                    <a:pt x="659" y="77"/>
                  </a:cubicBezTo>
                  <a:cubicBezTo>
                    <a:pt x="659" y="77"/>
                    <a:pt x="656" y="81"/>
                    <a:pt x="655" y="81"/>
                  </a:cubicBezTo>
                  <a:cubicBezTo>
                    <a:pt x="654" y="80"/>
                    <a:pt x="655" y="77"/>
                    <a:pt x="656" y="75"/>
                  </a:cubicBezTo>
                  <a:cubicBezTo>
                    <a:pt x="657" y="74"/>
                    <a:pt x="657" y="67"/>
                    <a:pt x="654" y="66"/>
                  </a:cubicBezTo>
                  <a:cubicBezTo>
                    <a:pt x="652" y="64"/>
                    <a:pt x="649" y="71"/>
                    <a:pt x="649" y="71"/>
                  </a:cubicBezTo>
                  <a:cubicBezTo>
                    <a:pt x="647" y="71"/>
                    <a:pt x="647" y="71"/>
                    <a:pt x="647" y="71"/>
                  </a:cubicBezTo>
                  <a:cubicBezTo>
                    <a:pt x="647" y="71"/>
                    <a:pt x="653" y="64"/>
                    <a:pt x="649" y="62"/>
                  </a:cubicBezTo>
                  <a:cubicBezTo>
                    <a:pt x="645" y="59"/>
                    <a:pt x="641" y="62"/>
                    <a:pt x="641" y="62"/>
                  </a:cubicBezTo>
                  <a:cubicBezTo>
                    <a:pt x="637" y="59"/>
                    <a:pt x="637" y="59"/>
                    <a:pt x="637" y="59"/>
                  </a:cubicBezTo>
                  <a:cubicBezTo>
                    <a:pt x="633" y="61"/>
                    <a:pt x="633" y="61"/>
                    <a:pt x="633" y="61"/>
                  </a:cubicBezTo>
                  <a:cubicBezTo>
                    <a:pt x="632" y="59"/>
                    <a:pt x="632" y="59"/>
                    <a:pt x="632" y="59"/>
                  </a:cubicBezTo>
                  <a:cubicBezTo>
                    <a:pt x="632" y="59"/>
                    <a:pt x="629" y="62"/>
                    <a:pt x="626" y="61"/>
                  </a:cubicBezTo>
                  <a:cubicBezTo>
                    <a:pt x="624" y="60"/>
                    <a:pt x="626" y="58"/>
                    <a:pt x="626" y="58"/>
                  </a:cubicBezTo>
                  <a:cubicBezTo>
                    <a:pt x="626" y="57"/>
                    <a:pt x="624" y="56"/>
                    <a:pt x="625" y="53"/>
                  </a:cubicBezTo>
                  <a:cubicBezTo>
                    <a:pt x="625" y="51"/>
                    <a:pt x="646" y="57"/>
                    <a:pt x="646" y="57"/>
                  </a:cubicBezTo>
                  <a:cubicBezTo>
                    <a:pt x="646" y="57"/>
                    <a:pt x="655" y="57"/>
                    <a:pt x="662" y="52"/>
                  </a:cubicBezTo>
                  <a:cubicBezTo>
                    <a:pt x="668" y="47"/>
                    <a:pt x="666" y="41"/>
                    <a:pt x="666" y="41"/>
                  </a:cubicBezTo>
                  <a:cubicBezTo>
                    <a:pt x="666" y="41"/>
                    <a:pt x="678" y="35"/>
                    <a:pt x="677" y="30"/>
                  </a:cubicBezTo>
                  <a:cubicBezTo>
                    <a:pt x="675" y="26"/>
                    <a:pt x="667" y="28"/>
                    <a:pt x="667" y="28"/>
                  </a:cubicBezTo>
                  <a:cubicBezTo>
                    <a:pt x="667" y="28"/>
                    <a:pt x="664" y="24"/>
                    <a:pt x="661" y="24"/>
                  </a:cubicBezTo>
                  <a:cubicBezTo>
                    <a:pt x="656" y="24"/>
                    <a:pt x="652" y="27"/>
                    <a:pt x="652" y="27"/>
                  </a:cubicBezTo>
                  <a:cubicBezTo>
                    <a:pt x="655" y="19"/>
                    <a:pt x="655" y="19"/>
                    <a:pt x="655" y="19"/>
                  </a:cubicBezTo>
                  <a:cubicBezTo>
                    <a:pt x="651" y="19"/>
                    <a:pt x="651" y="19"/>
                    <a:pt x="651" y="19"/>
                  </a:cubicBezTo>
                  <a:cubicBezTo>
                    <a:pt x="651" y="19"/>
                    <a:pt x="652" y="16"/>
                    <a:pt x="648" y="16"/>
                  </a:cubicBezTo>
                  <a:cubicBezTo>
                    <a:pt x="644" y="15"/>
                    <a:pt x="645" y="21"/>
                    <a:pt x="642" y="21"/>
                  </a:cubicBezTo>
                  <a:cubicBezTo>
                    <a:pt x="640" y="22"/>
                    <a:pt x="642" y="16"/>
                    <a:pt x="640" y="16"/>
                  </a:cubicBezTo>
                  <a:cubicBezTo>
                    <a:pt x="639" y="16"/>
                    <a:pt x="632" y="22"/>
                    <a:pt x="632" y="22"/>
                  </a:cubicBezTo>
                  <a:cubicBezTo>
                    <a:pt x="632" y="15"/>
                    <a:pt x="632" y="15"/>
                    <a:pt x="632" y="15"/>
                  </a:cubicBezTo>
                  <a:cubicBezTo>
                    <a:pt x="632" y="15"/>
                    <a:pt x="629" y="10"/>
                    <a:pt x="622" y="11"/>
                  </a:cubicBezTo>
                  <a:cubicBezTo>
                    <a:pt x="615" y="11"/>
                    <a:pt x="616" y="22"/>
                    <a:pt x="616" y="22"/>
                  </a:cubicBezTo>
                  <a:cubicBezTo>
                    <a:pt x="617" y="25"/>
                    <a:pt x="617" y="25"/>
                    <a:pt x="617" y="25"/>
                  </a:cubicBezTo>
                  <a:cubicBezTo>
                    <a:pt x="616" y="36"/>
                    <a:pt x="616" y="36"/>
                    <a:pt x="616" y="36"/>
                  </a:cubicBezTo>
                  <a:cubicBezTo>
                    <a:pt x="619" y="36"/>
                    <a:pt x="619" y="36"/>
                    <a:pt x="619" y="36"/>
                  </a:cubicBezTo>
                  <a:cubicBezTo>
                    <a:pt x="619" y="39"/>
                    <a:pt x="619" y="39"/>
                    <a:pt x="619" y="39"/>
                  </a:cubicBezTo>
                  <a:cubicBezTo>
                    <a:pt x="614" y="39"/>
                    <a:pt x="614" y="39"/>
                    <a:pt x="614" y="39"/>
                  </a:cubicBezTo>
                  <a:cubicBezTo>
                    <a:pt x="613" y="35"/>
                    <a:pt x="613" y="35"/>
                    <a:pt x="613" y="35"/>
                  </a:cubicBezTo>
                  <a:cubicBezTo>
                    <a:pt x="608" y="40"/>
                    <a:pt x="608" y="40"/>
                    <a:pt x="608" y="40"/>
                  </a:cubicBezTo>
                  <a:cubicBezTo>
                    <a:pt x="605" y="40"/>
                    <a:pt x="605" y="40"/>
                    <a:pt x="605" y="40"/>
                  </a:cubicBezTo>
                  <a:cubicBezTo>
                    <a:pt x="605" y="42"/>
                    <a:pt x="605" y="42"/>
                    <a:pt x="605" y="42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603" y="37"/>
                    <a:pt x="606" y="34"/>
                    <a:pt x="608" y="33"/>
                  </a:cubicBezTo>
                  <a:cubicBezTo>
                    <a:pt x="610" y="31"/>
                    <a:pt x="612" y="25"/>
                    <a:pt x="610" y="22"/>
                  </a:cubicBezTo>
                  <a:cubicBezTo>
                    <a:pt x="609" y="21"/>
                    <a:pt x="605" y="26"/>
                    <a:pt x="604" y="28"/>
                  </a:cubicBezTo>
                  <a:cubicBezTo>
                    <a:pt x="604" y="30"/>
                    <a:pt x="599" y="32"/>
                    <a:pt x="599" y="32"/>
                  </a:cubicBezTo>
                  <a:cubicBezTo>
                    <a:pt x="599" y="32"/>
                    <a:pt x="601" y="29"/>
                    <a:pt x="602" y="28"/>
                  </a:cubicBezTo>
                  <a:cubicBezTo>
                    <a:pt x="603" y="27"/>
                    <a:pt x="606" y="21"/>
                    <a:pt x="606" y="21"/>
                  </a:cubicBezTo>
                  <a:cubicBezTo>
                    <a:pt x="602" y="21"/>
                    <a:pt x="602" y="21"/>
                    <a:pt x="602" y="21"/>
                  </a:cubicBezTo>
                  <a:cubicBezTo>
                    <a:pt x="601" y="21"/>
                    <a:pt x="598" y="25"/>
                    <a:pt x="598" y="25"/>
                  </a:cubicBezTo>
                  <a:cubicBezTo>
                    <a:pt x="598" y="25"/>
                    <a:pt x="598" y="22"/>
                    <a:pt x="599" y="21"/>
                  </a:cubicBezTo>
                  <a:cubicBezTo>
                    <a:pt x="599" y="19"/>
                    <a:pt x="604" y="19"/>
                    <a:pt x="608" y="18"/>
                  </a:cubicBezTo>
                  <a:cubicBezTo>
                    <a:pt x="613" y="17"/>
                    <a:pt x="612" y="5"/>
                    <a:pt x="612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5"/>
                    <a:pt x="604" y="8"/>
                    <a:pt x="603" y="6"/>
                  </a:cubicBezTo>
                  <a:cubicBezTo>
                    <a:pt x="601" y="6"/>
                    <a:pt x="604" y="2"/>
                    <a:pt x="602" y="1"/>
                  </a:cubicBezTo>
                  <a:cubicBezTo>
                    <a:pt x="600" y="0"/>
                    <a:pt x="598" y="5"/>
                    <a:pt x="596" y="5"/>
                  </a:cubicBezTo>
                  <a:cubicBezTo>
                    <a:pt x="593" y="6"/>
                    <a:pt x="591" y="1"/>
                    <a:pt x="587" y="2"/>
                  </a:cubicBezTo>
                  <a:cubicBezTo>
                    <a:pt x="584" y="4"/>
                    <a:pt x="591" y="11"/>
                    <a:pt x="589" y="11"/>
                  </a:cubicBezTo>
                  <a:cubicBezTo>
                    <a:pt x="587" y="12"/>
                    <a:pt x="585" y="9"/>
                    <a:pt x="581" y="8"/>
                  </a:cubicBezTo>
                  <a:cubicBezTo>
                    <a:pt x="577" y="8"/>
                    <a:pt x="584" y="13"/>
                    <a:pt x="584" y="13"/>
                  </a:cubicBezTo>
                  <a:cubicBezTo>
                    <a:pt x="581" y="14"/>
                    <a:pt x="581" y="14"/>
                    <a:pt x="581" y="14"/>
                  </a:cubicBezTo>
                  <a:cubicBezTo>
                    <a:pt x="583" y="17"/>
                    <a:pt x="583" y="17"/>
                    <a:pt x="583" y="17"/>
                  </a:cubicBezTo>
                  <a:cubicBezTo>
                    <a:pt x="586" y="17"/>
                    <a:pt x="586" y="17"/>
                    <a:pt x="586" y="17"/>
                  </a:cubicBezTo>
                  <a:cubicBezTo>
                    <a:pt x="593" y="21"/>
                    <a:pt x="593" y="21"/>
                    <a:pt x="593" y="21"/>
                  </a:cubicBezTo>
                  <a:cubicBezTo>
                    <a:pt x="586" y="22"/>
                    <a:pt x="586" y="22"/>
                    <a:pt x="586" y="22"/>
                  </a:cubicBezTo>
                  <a:cubicBezTo>
                    <a:pt x="587" y="27"/>
                    <a:pt x="587" y="27"/>
                    <a:pt x="587" y="27"/>
                  </a:cubicBezTo>
                  <a:cubicBezTo>
                    <a:pt x="583" y="27"/>
                    <a:pt x="583" y="27"/>
                    <a:pt x="583" y="27"/>
                  </a:cubicBezTo>
                  <a:cubicBezTo>
                    <a:pt x="583" y="30"/>
                    <a:pt x="583" y="30"/>
                    <a:pt x="583" y="30"/>
                  </a:cubicBezTo>
                  <a:cubicBezTo>
                    <a:pt x="585" y="31"/>
                    <a:pt x="585" y="31"/>
                    <a:pt x="585" y="31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7" y="36"/>
                    <a:pt x="587" y="36"/>
                    <a:pt x="587" y="36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87" y="45"/>
                    <a:pt x="587" y="45"/>
                    <a:pt x="587" y="45"/>
                  </a:cubicBezTo>
                  <a:cubicBezTo>
                    <a:pt x="580" y="45"/>
                    <a:pt x="580" y="45"/>
                    <a:pt x="580" y="45"/>
                  </a:cubicBezTo>
                  <a:cubicBezTo>
                    <a:pt x="576" y="55"/>
                    <a:pt x="576" y="55"/>
                    <a:pt x="576" y="55"/>
                  </a:cubicBezTo>
                  <a:cubicBezTo>
                    <a:pt x="574" y="35"/>
                    <a:pt x="574" y="35"/>
                    <a:pt x="574" y="35"/>
                  </a:cubicBezTo>
                  <a:cubicBezTo>
                    <a:pt x="569" y="37"/>
                    <a:pt x="569" y="37"/>
                    <a:pt x="569" y="37"/>
                  </a:cubicBezTo>
                  <a:cubicBezTo>
                    <a:pt x="575" y="26"/>
                    <a:pt x="575" y="26"/>
                    <a:pt x="575" y="26"/>
                  </a:cubicBezTo>
                  <a:cubicBezTo>
                    <a:pt x="573" y="24"/>
                    <a:pt x="573" y="24"/>
                    <a:pt x="573" y="24"/>
                  </a:cubicBezTo>
                  <a:cubicBezTo>
                    <a:pt x="573" y="24"/>
                    <a:pt x="574" y="17"/>
                    <a:pt x="569" y="17"/>
                  </a:cubicBezTo>
                  <a:cubicBezTo>
                    <a:pt x="564" y="18"/>
                    <a:pt x="564" y="32"/>
                    <a:pt x="564" y="32"/>
                  </a:cubicBezTo>
                  <a:cubicBezTo>
                    <a:pt x="560" y="33"/>
                    <a:pt x="560" y="33"/>
                    <a:pt x="560" y="33"/>
                  </a:cubicBezTo>
                  <a:cubicBezTo>
                    <a:pt x="560" y="33"/>
                    <a:pt x="561" y="41"/>
                    <a:pt x="558" y="45"/>
                  </a:cubicBezTo>
                  <a:cubicBezTo>
                    <a:pt x="556" y="50"/>
                    <a:pt x="550" y="60"/>
                    <a:pt x="550" y="60"/>
                  </a:cubicBezTo>
                  <a:cubicBezTo>
                    <a:pt x="550" y="60"/>
                    <a:pt x="555" y="62"/>
                    <a:pt x="554" y="65"/>
                  </a:cubicBezTo>
                  <a:cubicBezTo>
                    <a:pt x="553" y="68"/>
                    <a:pt x="551" y="73"/>
                    <a:pt x="551" y="73"/>
                  </a:cubicBezTo>
                  <a:cubicBezTo>
                    <a:pt x="549" y="78"/>
                    <a:pt x="549" y="78"/>
                    <a:pt x="549" y="78"/>
                  </a:cubicBezTo>
                  <a:cubicBezTo>
                    <a:pt x="546" y="74"/>
                    <a:pt x="546" y="74"/>
                    <a:pt x="546" y="74"/>
                  </a:cubicBezTo>
                  <a:cubicBezTo>
                    <a:pt x="544" y="77"/>
                    <a:pt x="544" y="77"/>
                    <a:pt x="544" y="77"/>
                  </a:cubicBezTo>
                  <a:cubicBezTo>
                    <a:pt x="541" y="71"/>
                    <a:pt x="541" y="71"/>
                    <a:pt x="541" y="71"/>
                  </a:cubicBezTo>
                  <a:cubicBezTo>
                    <a:pt x="547" y="55"/>
                    <a:pt x="547" y="55"/>
                    <a:pt x="547" y="55"/>
                  </a:cubicBezTo>
                  <a:cubicBezTo>
                    <a:pt x="542" y="55"/>
                    <a:pt x="542" y="55"/>
                    <a:pt x="542" y="55"/>
                  </a:cubicBezTo>
                  <a:cubicBezTo>
                    <a:pt x="541" y="52"/>
                    <a:pt x="541" y="52"/>
                    <a:pt x="541" y="52"/>
                  </a:cubicBezTo>
                  <a:cubicBezTo>
                    <a:pt x="553" y="34"/>
                    <a:pt x="553" y="34"/>
                    <a:pt x="553" y="34"/>
                  </a:cubicBezTo>
                  <a:cubicBezTo>
                    <a:pt x="551" y="32"/>
                    <a:pt x="551" y="32"/>
                    <a:pt x="551" y="32"/>
                  </a:cubicBezTo>
                  <a:cubicBezTo>
                    <a:pt x="551" y="32"/>
                    <a:pt x="556" y="25"/>
                    <a:pt x="554" y="24"/>
                  </a:cubicBezTo>
                  <a:cubicBezTo>
                    <a:pt x="552" y="22"/>
                    <a:pt x="546" y="29"/>
                    <a:pt x="546" y="29"/>
                  </a:cubicBezTo>
                  <a:cubicBezTo>
                    <a:pt x="546" y="22"/>
                    <a:pt x="546" y="22"/>
                    <a:pt x="546" y="22"/>
                  </a:cubicBezTo>
                  <a:cubicBezTo>
                    <a:pt x="540" y="22"/>
                    <a:pt x="540" y="22"/>
                    <a:pt x="540" y="22"/>
                  </a:cubicBezTo>
                  <a:cubicBezTo>
                    <a:pt x="542" y="26"/>
                    <a:pt x="542" y="26"/>
                    <a:pt x="542" y="26"/>
                  </a:cubicBezTo>
                  <a:cubicBezTo>
                    <a:pt x="541" y="31"/>
                    <a:pt x="541" y="31"/>
                    <a:pt x="541" y="31"/>
                  </a:cubicBezTo>
                  <a:cubicBezTo>
                    <a:pt x="537" y="26"/>
                    <a:pt x="537" y="26"/>
                    <a:pt x="537" y="26"/>
                  </a:cubicBezTo>
                  <a:cubicBezTo>
                    <a:pt x="534" y="29"/>
                    <a:pt x="534" y="29"/>
                    <a:pt x="534" y="29"/>
                  </a:cubicBezTo>
                  <a:cubicBezTo>
                    <a:pt x="535" y="24"/>
                    <a:pt x="535" y="24"/>
                    <a:pt x="535" y="24"/>
                  </a:cubicBezTo>
                  <a:cubicBezTo>
                    <a:pt x="534" y="22"/>
                    <a:pt x="534" y="22"/>
                    <a:pt x="534" y="22"/>
                  </a:cubicBezTo>
                  <a:cubicBezTo>
                    <a:pt x="532" y="26"/>
                    <a:pt x="532" y="26"/>
                    <a:pt x="532" y="26"/>
                  </a:cubicBezTo>
                  <a:cubicBezTo>
                    <a:pt x="525" y="21"/>
                    <a:pt x="525" y="21"/>
                    <a:pt x="525" y="21"/>
                  </a:cubicBezTo>
                  <a:cubicBezTo>
                    <a:pt x="523" y="27"/>
                    <a:pt x="523" y="27"/>
                    <a:pt x="523" y="27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6" y="31"/>
                    <a:pt x="526" y="31"/>
                    <a:pt x="526" y="31"/>
                  </a:cubicBezTo>
                  <a:cubicBezTo>
                    <a:pt x="526" y="35"/>
                    <a:pt x="526" y="35"/>
                    <a:pt x="526" y="35"/>
                  </a:cubicBezTo>
                  <a:cubicBezTo>
                    <a:pt x="523" y="34"/>
                    <a:pt x="523" y="34"/>
                    <a:pt x="523" y="3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9"/>
                    <a:pt x="519" y="39"/>
                    <a:pt x="519" y="39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46"/>
                    <a:pt x="532" y="46"/>
                    <a:pt x="532" y="46"/>
                  </a:cubicBezTo>
                  <a:cubicBezTo>
                    <a:pt x="532" y="48"/>
                    <a:pt x="532" y="48"/>
                    <a:pt x="532" y="48"/>
                  </a:cubicBezTo>
                  <a:cubicBezTo>
                    <a:pt x="532" y="48"/>
                    <a:pt x="530" y="46"/>
                    <a:pt x="527" y="45"/>
                  </a:cubicBezTo>
                  <a:cubicBezTo>
                    <a:pt x="525" y="43"/>
                    <a:pt x="521" y="43"/>
                    <a:pt x="521" y="43"/>
                  </a:cubicBezTo>
                  <a:cubicBezTo>
                    <a:pt x="520" y="53"/>
                    <a:pt x="520" y="53"/>
                    <a:pt x="520" y="53"/>
                  </a:cubicBezTo>
                  <a:cubicBezTo>
                    <a:pt x="522" y="52"/>
                    <a:pt x="522" y="52"/>
                    <a:pt x="522" y="52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25" y="58"/>
                    <a:pt x="522" y="57"/>
                    <a:pt x="519" y="56"/>
                  </a:cubicBezTo>
                  <a:cubicBezTo>
                    <a:pt x="515" y="56"/>
                    <a:pt x="514" y="59"/>
                    <a:pt x="514" y="59"/>
                  </a:cubicBezTo>
                  <a:cubicBezTo>
                    <a:pt x="505" y="75"/>
                    <a:pt x="505" y="75"/>
                    <a:pt x="505" y="75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4" y="78"/>
                    <a:pt x="504" y="78"/>
                    <a:pt x="504" y="78"/>
                  </a:cubicBezTo>
                  <a:cubicBezTo>
                    <a:pt x="508" y="83"/>
                    <a:pt x="508" y="83"/>
                    <a:pt x="508" y="83"/>
                  </a:cubicBezTo>
                  <a:cubicBezTo>
                    <a:pt x="505" y="85"/>
                    <a:pt x="505" y="85"/>
                    <a:pt x="505" y="85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04" y="92"/>
                    <a:pt x="504" y="92"/>
                    <a:pt x="504" y="92"/>
                  </a:cubicBezTo>
                  <a:cubicBezTo>
                    <a:pt x="499" y="83"/>
                    <a:pt x="499" y="83"/>
                    <a:pt x="499" y="83"/>
                  </a:cubicBezTo>
                  <a:cubicBezTo>
                    <a:pt x="486" y="91"/>
                    <a:pt x="486" y="91"/>
                    <a:pt x="486" y="91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6" y="89"/>
                    <a:pt x="497" y="83"/>
                    <a:pt x="498" y="79"/>
                  </a:cubicBezTo>
                  <a:cubicBezTo>
                    <a:pt x="499" y="76"/>
                    <a:pt x="489" y="78"/>
                    <a:pt x="489" y="78"/>
                  </a:cubicBezTo>
                  <a:cubicBezTo>
                    <a:pt x="489" y="78"/>
                    <a:pt x="486" y="75"/>
                    <a:pt x="484" y="78"/>
                  </a:cubicBezTo>
                  <a:cubicBezTo>
                    <a:pt x="481" y="81"/>
                    <a:pt x="487" y="84"/>
                    <a:pt x="487" y="84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1" y="76"/>
                    <a:pt x="476" y="76"/>
                  </a:cubicBezTo>
                  <a:cubicBezTo>
                    <a:pt x="472" y="76"/>
                    <a:pt x="472" y="82"/>
                    <a:pt x="472" y="82"/>
                  </a:cubicBezTo>
                  <a:cubicBezTo>
                    <a:pt x="465" y="77"/>
                    <a:pt x="465" y="77"/>
                    <a:pt x="465" y="77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464" y="80"/>
                    <a:pt x="460" y="79"/>
                    <a:pt x="458" y="82"/>
                  </a:cubicBezTo>
                  <a:cubicBezTo>
                    <a:pt x="456" y="87"/>
                    <a:pt x="465" y="87"/>
                    <a:pt x="465" y="87"/>
                  </a:cubicBezTo>
                  <a:cubicBezTo>
                    <a:pt x="462" y="90"/>
                    <a:pt x="462" y="90"/>
                    <a:pt x="462" y="90"/>
                  </a:cubicBezTo>
                  <a:cubicBezTo>
                    <a:pt x="472" y="92"/>
                    <a:pt x="472" y="92"/>
                    <a:pt x="472" y="92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3" y="94"/>
                    <a:pt x="473" y="94"/>
                    <a:pt x="473" y="94"/>
                  </a:cubicBezTo>
                  <a:cubicBezTo>
                    <a:pt x="474" y="95"/>
                    <a:pt x="474" y="95"/>
                    <a:pt x="474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7"/>
                    <a:pt x="478" y="97"/>
                    <a:pt x="478" y="97"/>
                  </a:cubicBezTo>
                  <a:cubicBezTo>
                    <a:pt x="475" y="97"/>
                    <a:pt x="475" y="97"/>
                    <a:pt x="475" y="97"/>
                  </a:cubicBezTo>
                  <a:cubicBezTo>
                    <a:pt x="478" y="103"/>
                    <a:pt x="478" y="103"/>
                    <a:pt x="478" y="103"/>
                  </a:cubicBezTo>
                  <a:cubicBezTo>
                    <a:pt x="478" y="106"/>
                    <a:pt x="478" y="106"/>
                    <a:pt x="478" y="106"/>
                  </a:cubicBezTo>
                  <a:cubicBezTo>
                    <a:pt x="478" y="106"/>
                    <a:pt x="484" y="110"/>
                    <a:pt x="482" y="111"/>
                  </a:cubicBezTo>
                  <a:cubicBezTo>
                    <a:pt x="479" y="112"/>
                    <a:pt x="474" y="103"/>
                    <a:pt x="474" y="103"/>
                  </a:cubicBezTo>
                  <a:cubicBezTo>
                    <a:pt x="469" y="100"/>
                    <a:pt x="469" y="100"/>
                    <a:pt x="469" y="100"/>
                  </a:cubicBezTo>
                  <a:cubicBezTo>
                    <a:pt x="469" y="100"/>
                    <a:pt x="465" y="94"/>
                    <a:pt x="460" y="94"/>
                  </a:cubicBezTo>
                  <a:cubicBezTo>
                    <a:pt x="457" y="94"/>
                    <a:pt x="459" y="100"/>
                    <a:pt x="459" y="100"/>
                  </a:cubicBezTo>
                  <a:cubicBezTo>
                    <a:pt x="461" y="104"/>
                    <a:pt x="461" y="104"/>
                    <a:pt x="461" y="104"/>
                  </a:cubicBezTo>
                  <a:cubicBezTo>
                    <a:pt x="458" y="106"/>
                    <a:pt x="458" y="106"/>
                    <a:pt x="458" y="106"/>
                  </a:cubicBezTo>
                  <a:cubicBezTo>
                    <a:pt x="456" y="111"/>
                    <a:pt x="456" y="111"/>
                    <a:pt x="456" y="111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57" y="102"/>
                    <a:pt x="457" y="102"/>
                    <a:pt x="457" y="102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1" y="106"/>
                    <a:pt x="451" y="106"/>
                    <a:pt x="451" y="106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448" y="124"/>
                    <a:pt x="448" y="124"/>
                    <a:pt x="448" y="124"/>
                  </a:cubicBezTo>
                  <a:cubicBezTo>
                    <a:pt x="452" y="129"/>
                    <a:pt x="452" y="129"/>
                    <a:pt x="452" y="129"/>
                  </a:cubicBezTo>
                  <a:cubicBezTo>
                    <a:pt x="444" y="126"/>
                    <a:pt x="444" y="126"/>
                    <a:pt x="444" y="126"/>
                  </a:cubicBezTo>
                  <a:cubicBezTo>
                    <a:pt x="442" y="140"/>
                    <a:pt x="442" y="140"/>
                    <a:pt x="442" y="140"/>
                  </a:cubicBezTo>
                  <a:cubicBezTo>
                    <a:pt x="440" y="140"/>
                    <a:pt x="440" y="140"/>
                    <a:pt x="440" y="140"/>
                  </a:cubicBezTo>
                  <a:cubicBezTo>
                    <a:pt x="436" y="147"/>
                    <a:pt x="436" y="147"/>
                    <a:pt x="436" y="147"/>
                  </a:cubicBezTo>
                  <a:cubicBezTo>
                    <a:pt x="434" y="144"/>
                    <a:pt x="434" y="144"/>
                    <a:pt x="434" y="144"/>
                  </a:cubicBezTo>
                  <a:cubicBezTo>
                    <a:pt x="439" y="138"/>
                    <a:pt x="439" y="138"/>
                    <a:pt x="439" y="138"/>
                  </a:cubicBezTo>
                  <a:cubicBezTo>
                    <a:pt x="441" y="129"/>
                    <a:pt x="441" y="129"/>
                    <a:pt x="441" y="129"/>
                  </a:cubicBezTo>
                  <a:cubicBezTo>
                    <a:pt x="440" y="128"/>
                    <a:pt x="440" y="128"/>
                    <a:pt x="440" y="128"/>
                  </a:cubicBezTo>
                  <a:cubicBezTo>
                    <a:pt x="443" y="125"/>
                    <a:pt x="443" y="125"/>
                    <a:pt x="443" y="125"/>
                  </a:cubicBezTo>
                  <a:cubicBezTo>
                    <a:pt x="441" y="120"/>
                    <a:pt x="441" y="120"/>
                    <a:pt x="441" y="120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09"/>
                    <a:pt x="439" y="102"/>
                    <a:pt x="439" y="102"/>
                  </a:cubicBezTo>
                  <a:cubicBezTo>
                    <a:pt x="434" y="106"/>
                    <a:pt x="434" y="106"/>
                    <a:pt x="434" y="106"/>
                  </a:cubicBezTo>
                  <a:cubicBezTo>
                    <a:pt x="434" y="106"/>
                    <a:pt x="435" y="112"/>
                    <a:pt x="432" y="115"/>
                  </a:cubicBezTo>
                  <a:cubicBezTo>
                    <a:pt x="428" y="118"/>
                    <a:pt x="431" y="124"/>
                    <a:pt x="431" y="124"/>
                  </a:cubicBezTo>
                  <a:cubicBezTo>
                    <a:pt x="434" y="126"/>
                    <a:pt x="434" y="126"/>
                    <a:pt x="434" y="126"/>
                  </a:cubicBezTo>
                  <a:cubicBezTo>
                    <a:pt x="429" y="128"/>
                    <a:pt x="429" y="128"/>
                    <a:pt x="429" y="128"/>
                  </a:cubicBezTo>
                  <a:cubicBezTo>
                    <a:pt x="429" y="137"/>
                    <a:pt x="429" y="137"/>
                    <a:pt x="429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7" y="124"/>
                    <a:pt x="427" y="124"/>
                    <a:pt x="427" y="124"/>
                  </a:cubicBezTo>
                  <a:cubicBezTo>
                    <a:pt x="426" y="124"/>
                    <a:pt x="426" y="124"/>
                    <a:pt x="426" y="124"/>
                  </a:cubicBezTo>
                  <a:cubicBezTo>
                    <a:pt x="426" y="113"/>
                    <a:pt x="426" y="113"/>
                    <a:pt x="426" y="113"/>
                  </a:cubicBezTo>
                  <a:cubicBezTo>
                    <a:pt x="426" y="113"/>
                    <a:pt x="421" y="115"/>
                    <a:pt x="413" y="119"/>
                  </a:cubicBezTo>
                  <a:cubicBezTo>
                    <a:pt x="405" y="121"/>
                    <a:pt x="410" y="132"/>
                    <a:pt x="410" y="132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3" y="132"/>
                    <a:pt x="413" y="134"/>
                    <a:pt x="412" y="137"/>
                  </a:cubicBezTo>
                  <a:cubicBezTo>
                    <a:pt x="411" y="139"/>
                    <a:pt x="416" y="142"/>
                    <a:pt x="420" y="142"/>
                  </a:cubicBezTo>
                  <a:cubicBezTo>
                    <a:pt x="424" y="143"/>
                    <a:pt x="424" y="150"/>
                    <a:pt x="424" y="150"/>
                  </a:cubicBezTo>
                  <a:cubicBezTo>
                    <a:pt x="427" y="151"/>
                    <a:pt x="427" y="151"/>
                    <a:pt x="427" y="151"/>
                  </a:cubicBezTo>
                  <a:cubicBezTo>
                    <a:pt x="425" y="152"/>
                    <a:pt x="425" y="152"/>
                    <a:pt x="425" y="152"/>
                  </a:cubicBezTo>
                  <a:cubicBezTo>
                    <a:pt x="425" y="152"/>
                    <a:pt x="421" y="150"/>
                    <a:pt x="421" y="147"/>
                  </a:cubicBezTo>
                  <a:cubicBezTo>
                    <a:pt x="421" y="144"/>
                    <a:pt x="416" y="144"/>
                    <a:pt x="412" y="143"/>
                  </a:cubicBezTo>
                  <a:cubicBezTo>
                    <a:pt x="410" y="143"/>
                    <a:pt x="407" y="134"/>
                    <a:pt x="407" y="134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9" y="136"/>
                    <a:pt x="400" y="140"/>
                    <a:pt x="402" y="143"/>
                  </a:cubicBezTo>
                  <a:cubicBezTo>
                    <a:pt x="405" y="146"/>
                    <a:pt x="409" y="147"/>
                    <a:pt x="409" y="147"/>
                  </a:cubicBezTo>
                  <a:cubicBezTo>
                    <a:pt x="409" y="147"/>
                    <a:pt x="405" y="148"/>
                    <a:pt x="402" y="146"/>
                  </a:cubicBezTo>
                  <a:cubicBezTo>
                    <a:pt x="399" y="145"/>
                    <a:pt x="394" y="138"/>
                    <a:pt x="394" y="138"/>
                  </a:cubicBezTo>
                  <a:cubicBezTo>
                    <a:pt x="390" y="139"/>
                    <a:pt x="390" y="139"/>
                    <a:pt x="390" y="139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92" y="159"/>
                    <a:pt x="392" y="159"/>
                    <a:pt x="392" y="159"/>
                  </a:cubicBezTo>
                  <a:cubicBezTo>
                    <a:pt x="380" y="160"/>
                    <a:pt x="380" y="160"/>
                    <a:pt x="380" y="160"/>
                  </a:cubicBezTo>
                  <a:cubicBezTo>
                    <a:pt x="384" y="165"/>
                    <a:pt x="384" y="165"/>
                    <a:pt x="384" y="165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84" y="174"/>
                    <a:pt x="384" y="174"/>
                    <a:pt x="384" y="174"/>
                  </a:cubicBezTo>
                  <a:cubicBezTo>
                    <a:pt x="387" y="176"/>
                    <a:pt x="387" y="176"/>
                    <a:pt x="387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0" y="181"/>
                    <a:pt x="380" y="181"/>
                    <a:pt x="380" y="181"/>
                  </a:cubicBezTo>
                  <a:cubicBezTo>
                    <a:pt x="385" y="183"/>
                    <a:pt x="385" y="183"/>
                    <a:pt x="385" y="183"/>
                  </a:cubicBezTo>
                  <a:cubicBezTo>
                    <a:pt x="377" y="183"/>
                    <a:pt x="377" y="183"/>
                    <a:pt x="377" y="183"/>
                  </a:cubicBezTo>
                  <a:cubicBezTo>
                    <a:pt x="371" y="184"/>
                    <a:pt x="377" y="187"/>
                    <a:pt x="377" y="187"/>
                  </a:cubicBezTo>
                  <a:cubicBezTo>
                    <a:pt x="382" y="189"/>
                    <a:pt x="382" y="189"/>
                    <a:pt x="382" y="189"/>
                  </a:cubicBezTo>
                  <a:cubicBezTo>
                    <a:pt x="382" y="189"/>
                    <a:pt x="375" y="187"/>
                    <a:pt x="372" y="188"/>
                  </a:cubicBezTo>
                  <a:cubicBezTo>
                    <a:pt x="370" y="188"/>
                    <a:pt x="371" y="190"/>
                    <a:pt x="371" y="190"/>
                  </a:cubicBezTo>
                  <a:cubicBezTo>
                    <a:pt x="375" y="191"/>
                    <a:pt x="375" y="191"/>
                    <a:pt x="375" y="191"/>
                  </a:cubicBezTo>
                  <a:cubicBezTo>
                    <a:pt x="374" y="195"/>
                    <a:pt x="374" y="195"/>
                    <a:pt x="374" y="195"/>
                  </a:cubicBezTo>
                  <a:cubicBezTo>
                    <a:pt x="374" y="192"/>
                    <a:pt x="374" y="192"/>
                    <a:pt x="374" y="192"/>
                  </a:cubicBezTo>
                  <a:cubicBezTo>
                    <a:pt x="370" y="191"/>
                    <a:pt x="370" y="191"/>
                    <a:pt x="370" y="191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91"/>
                    <a:pt x="367" y="191"/>
                    <a:pt x="367" y="191"/>
                  </a:cubicBezTo>
                  <a:cubicBezTo>
                    <a:pt x="367" y="191"/>
                    <a:pt x="366" y="192"/>
                    <a:pt x="361" y="192"/>
                  </a:cubicBezTo>
                  <a:cubicBezTo>
                    <a:pt x="357" y="192"/>
                    <a:pt x="357" y="200"/>
                    <a:pt x="357" y="200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68" y="203"/>
                    <a:pt x="369" y="205"/>
                    <a:pt x="372" y="205"/>
                  </a:cubicBezTo>
                  <a:cubicBezTo>
                    <a:pt x="375" y="205"/>
                    <a:pt x="382" y="199"/>
                    <a:pt x="382" y="199"/>
                  </a:cubicBezTo>
                  <a:cubicBezTo>
                    <a:pt x="380" y="203"/>
                    <a:pt x="380" y="203"/>
                    <a:pt x="380" y="203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76" y="207"/>
                    <a:pt x="376" y="207"/>
                    <a:pt x="376" y="207"/>
                  </a:cubicBezTo>
                  <a:cubicBezTo>
                    <a:pt x="376" y="213"/>
                    <a:pt x="376" y="213"/>
                    <a:pt x="376" y="213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4" y="209"/>
                    <a:pt x="374" y="209"/>
                    <a:pt x="374" y="209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211"/>
                    <a:pt x="364" y="208"/>
                    <a:pt x="361" y="208"/>
                  </a:cubicBezTo>
                  <a:cubicBezTo>
                    <a:pt x="358" y="207"/>
                    <a:pt x="353" y="209"/>
                    <a:pt x="351" y="213"/>
                  </a:cubicBezTo>
                  <a:cubicBezTo>
                    <a:pt x="348" y="215"/>
                    <a:pt x="355" y="215"/>
                    <a:pt x="358" y="216"/>
                  </a:cubicBezTo>
                  <a:cubicBezTo>
                    <a:pt x="362" y="217"/>
                    <a:pt x="361" y="221"/>
                    <a:pt x="361" y="221"/>
                  </a:cubicBezTo>
                  <a:cubicBezTo>
                    <a:pt x="364" y="223"/>
                    <a:pt x="364" y="223"/>
                    <a:pt x="364" y="223"/>
                  </a:cubicBezTo>
                  <a:cubicBezTo>
                    <a:pt x="363" y="224"/>
                    <a:pt x="363" y="224"/>
                    <a:pt x="363" y="224"/>
                  </a:cubicBezTo>
                  <a:cubicBezTo>
                    <a:pt x="363" y="224"/>
                    <a:pt x="359" y="221"/>
                    <a:pt x="357" y="219"/>
                  </a:cubicBezTo>
                  <a:cubicBezTo>
                    <a:pt x="355" y="217"/>
                    <a:pt x="348" y="216"/>
                    <a:pt x="348" y="216"/>
                  </a:cubicBezTo>
                  <a:cubicBezTo>
                    <a:pt x="347" y="218"/>
                    <a:pt x="347" y="218"/>
                    <a:pt x="347" y="218"/>
                  </a:cubicBezTo>
                  <a:cubicBezTo>
                    <a:pt x="353" y="219"/>
                    <a:pt x="353" y="219"/>
                    <a:pt x="353" y="219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52" y="223"/>
                    <a:pt x="352" y="223"/>
                    <a:pt x="352" y="223"/>
                  </a:cubicBezTo>
                  <a:cubicBezTo>
                    <a:pt x="355" y="222"/>
                    <a:pt x="355" y="222"/>
                    <a:pt x="355" y="222"/>
                  </a:cubicBezTo>
                  <a:cubicBezTo>
                    <a:pt x="358" y="223"/>
                    <a:pt x="358" y="223"/>
                    <a:pt x="358" y="223"/>
                  </a:cubicBezTo>
                  <a:cubicBezTo>
                    <a:pt x="351" y="226"/>
                    <a:pt x="351" y="226"/>
                    <a:pt x="351" y="226"/>
                  </a:cubicBezTo>
                  <a:cubicBezTo>
                    <a:pt x="352" y="230"/>
                    <a:pt x="352" y="230"/>
                    <a:pt x="352" y="230"/>
                  </a:cubicBezTo>
                  <a:cubicBezTo>
                    <a:pt x="352" y="230"/>
                    <a:pt x="354" y="229"/>
                    <a:pt x="356" y="231"/>
                  </a:cubicBezTo>
                  <a:cubicBezTo>
                    <a:pt x="357" y="233"/>
                    <a:pt x="352" y="236"/>
                    <a:pt x="348" y="235"/>
                  </a:cubicBezTo>
                  <a:cubicBezTo>
                    <a:pt x="345" y="233"/>
                    <a:pt x="346" y="221"/>
                    <a:pt x="346" y="221"/>
                  </a:cubicBezTo>
                  <a:cubicBezTo>
                    <a:pt x="343" y="221"/>
                    <a:pt x="343" y="221"/>
                    <a:pt x="343" y="221"/>
                  </a:cubicBezTo>
                  <a:cubicBezTo>
                    <a:pt x="338" y="230"/>
                    <a:pt x="338" y="230"/>
                    <a:pt x="338" y="230"/>
                  </a:cubicBezTo>
                  <a:cubicBezTo>
                    <a:pt x="337" y="224"/>
                    <a:pt x="337" y="224"/>
                    <a:pt x="337" y="224"/>
                  </a:cubicBezTo>
                  <a:cubicBezTo>
                    <a:pt x="335" y="224"/>
                    <a:pt x="335" y="224"/>
                    <a:pt x="335" y="224"/>
                  </a:cubicBezTo>
                  <a:cubicBezTo>
                    <a:pt x="334" y="229"/>
                    <a:pt x="334" y="229"/>
                    <a:pt x="334" y="229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27" y="235"/>
                    <a:pt x="327" y="235"/>
                    <a:pt x="327" y="235"/>
                  </a:cubicBezTo>
                  <a:cubicBezTo>
                    <a:pt x="329" y="238"/>
                    <a:pt x="329" y="238"/>
                    <a:pt x="329" y="238"/>
                  </a:cubicBezTo>
                  <a:cubicBezTo>
                    <a:pt x="331" y="237"/>
                    <a:pt x="331" y="237"/>
                    <a:pt x="331" y="237"/>
                  </a:cubicBezTo>
                  <a:cubicBezTo>
                    <a:pt x="331" y="234"/>
                    <a:pt x="331" y="234"/>
                    <a:pt x="331" y="234"/>
                  </a:cubicBezTo>
                  <a:cubicBezTo>
                    <a:pt x="335" y="232"/>
                    <a:pt x="335" y="232"/>
                    <a:pt x="335" y="232"/>
                  </a:cubicBezTo>
                  <a:cubicBezTo>
                    <a:pt x="337" y="234"/>
                    <a:pt x="337" y="234"/>
                    <a:pt x="337" y="234"/>
                  </a:cubicBezTo>
                  <a:cubicBezTo>
                    <a:pt x="333" y="237"/>
                    <a:pt x="333" y="237"/>
                    <a:pt x="333" y="237"/>
                  </a:cubicBezTo>
                  <a:cubicBezTo>
                    <a:pt x="335" y="238"/>
                    <a:pt x="335" y="238"/>
                    <a:pt x="335" y="238"/>
                  </a:cubicBezTo>
                  <a:cubicBezTo>
                    <a:pt x="335" y="238"/>
                    <a:pt x="339" y="238"/>
                    <a:pt x="341" y="239"/>
                  </a:cubicBezTo>
                  <a:cubicBezTo>
                    <a:pt x="343" y="239"/>
                    <a:pt x="340" y="236"/>
                    <a:pt x="340" y="234"/>
                  </a:cubicBezTo>
                  <a:cubicBezTo>
                    <a:pt x="340" y="233"/>
                    <a:pt x="344" y="234"/>
                    <a:pt x="345" y="236"/>
                  </a:cubicBezTo>
                  <a:cubicBezTo>
                    <a:pt x="346" y="238"/>
                    <a:pt x="344" y="242"/>
                    <a:pt x="343" y="242"/>
                  </a:cubicBezTo>
                  <a:cubicBezTo>
                    <a:pt x="341" y="244"/>
                    <a:pt x="342" y="242"/>
                    <a:pt x="339" y="240"/>
                  </a:cubicBezTo>
                  <a:cubicBezTo>
                    <a:pt x="336" y="239"/>
                    <a:pt x="334" y="244"/>
                    <a:pt x="330" y="244"/>
                  </a:cubicBezTo>
                  <a:cubicBezTo>
                    <a:pt x="327" y="244"/>
                    <a:pt x="322" y="245"/>
                    <a:pt x="322" y="245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2" y="248"/>
                    <a:pt x="322" y="248"/>
                    <a:pt x="322" y="248"/>
                  </a:cubicBezTo>
                  <a:cubicBezTo>
                    <a:pt x="318" y="248"/>
                    <a:pt x="318" y="248"/>
                    <a:pt x="318" y="248"/>
                  </a:cubicBezTo>
                  <a:cubicBezTo>
                    <a:pt x="315" y="252"/>
                    <a:pt x="315" y="252"/>
                    <a:pt x="315" y="252"/>
                  </a:cubicBezTo>
                  <a:cubicBezTo>
                    <a:pt x="321" y="253"/>
                    <a:pt x="321" y="253"/>
                    <a:pt x="321" y="253"/>
                  </a:cubicBezTo>
                  <a:cubicBezTo>
                    <a:pt x="315" y="256"/>
                    <a:pt x="315" y="256"/>
                    <a:pt x="315" y="256"/>
                  </a:cubicBezTo>
                  <a:cubicBezTo>
                    <a:pt x="315" y="256"/>
                    <a:pt x="318" y="260"/>
                    <a:pt x="322" y="258"/>
                  </a:cubicBezTo>
                  <a:cubicBezTo>
                    <a:pt x="327" y="256"/>
                    <a:pt x="331" y="249"/>
                    <a:pt x="331" y="249"/>
                  </a:cubicBezTo>
                  <a:cubicBezTo>
                    <a:pt x="342" y="256"/>
                    <a:pt x="342" y="256"/>
                    <a:pt x="342" y="256"/>
                  </a:cubicBezTo>
                  <a:cubicBezTo>
                    <a:pt x="334" y="253"/>
                    <a:pt x="334" y="253"/>
                    <a:pt x="334" y="253"/>
                  </a:cubicBezTo>
                  <a:cubicBezTo>
                    <a:pt x="331" y="254"/>
                    <a:pt x="331" y="254"/>
                    <a:pt x="331" y="254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29" y="256"/>
                    <a:pt x="329" y="256"/>
                    <a:pt x="329" y="256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0" y="263"/>
                    <a:pt x="330" y="263"/>
                    <a:pt x="330" y="263"/>
                  </a:cubicBezTo>
                  <a:cubicBezTo>
                    <a:pt x="328" y="267"/>
                    <a:pt x="328" y="267"/>
                    <a:pt x="328" y="267"/>
                  </a:cubicBezTo>
                  <a:cubicBezTo>
                    <a:pt x="329" y="269"/>
                    <a:pt x="335" y="267"/>
                    <a:pt x="335" y="267"/>
                  </a:cubicBezTo>
                  <a:cubicBezTo>
                    <a:pt x="339" y="265"/>
                    <a:pt x="339" y="265"/>
                    <a:pt x="339" y="265"/>
                  </a:cubicBezTo>
                  <a:cubicBezTo>
                    <a:pt x="336" y="274"/>
                    <a:pt x="336" y="274"/>
                    <a:pt x="336" y="274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7" y="278"/>
                    <a:pt x="337" y="278"/>
                    <a:pt x="337" y="278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1"/>
                    <a:pt x="339" y="281"/>
                    <a:pt x="337" y="280"/>
                  </a:cubicBezTo>
                  <a:cubicBezTo>
                    <a:pt x="335" y="280"/>
                    <a:pt x="333" y="271"/>
                    <a:pt x="331" y="270"/>
                  </a:cubicBezTo>
                  <a:cubicBezTo>
                    <a:pt x="329" y="270"/>
                    <a:pt x="327" y="271"/>
                    <a:pt x="327" y="271"/>
                  </a:cubicBezTo>
                  <a:cubicBezTo>
                    <a:pt x="327" y="271"/>
                    <a:pt x="325" y="267"/>
                    <a:pt x="322" y="266"/>
                  </a:cubicBezTo>
                  <a:cubicBezTo>
                    <a:pt x="319" y="266"/>
                    <a:pt x="313" y="273"/>
                    <a:pt x="313" y="273"/>
                  </a:cubicBezTo>
                  <a:cubicBezTo>
                    <a:pt x="321" y="274"/>
                    <a:pt x="321" y="274"/>
                    <a:pt x="321" y="274"/>
                  </a:cubicBezTo>
                  <a:cubicBezTo>
                    <a:pt x="321" y="274"/>
                    <a:pt x="318" y="276"/>
                    <a:pt x="314" y="276"/>
                  </a:cubicBezTo>
                  <a:cubicBezTo>
                    <a:pt x="312" y="276"/>
                    <a:pt x="313" y="279"/>
                    <a:pt x="312" y="281"/>
                  </a:cubicBezTo>
                  <a:cubicBezTo>
                    <a:pt x="310" y="283"/>
                    <a:pt x="306" y="285"/>
                    <a:pt x="306" y="285"/>
                  </a:cubicBezTo>
                  <a:cubicBezTo>
                    <a:pt x="317" y="285"/>
                    <a:pt x="317" y="285"/>
                    <a:pt x="317" y="285"/>
                  </a:cubicBezTo>
                  <a:cubicBezTo>
                    <a:pt x="322" y="285"/>
                    <a:pt x="327" y="282"/>
                    <a:pt x="327" y="282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35" y="285"/>
                    <a:pt x="335" y="285"/>
                    <a:pt x="335" y="285"/>
                  </a:cubicBezTo>
                  <a:cubicBezTo>
                    <a:pt x="334" y="295"/>
                    <a:pt x="334" y="295"/>
                    <a:pt x="334" y="295"/>
                  </a:cubicBezTo>
                  <a:cubicBezTo>
                    <a:pt x="331" y="290"/>
                    <a:pt x="331" y="290"/>
                    <a:pt x="331" y="290"/>
                  </a:cubicBezTo>
                  <a:cubicBezTo>
                    <a:pt x="323" y="287"/>
                    <a:pt x="323" y="287"/>
                    <a:pt x="323" y="287"/>
                  </a:cubicBezTo>
                  <a:cubicBezTo>
                    <a:pt x="318" y="294"/>
                    <a:pt x="318" y="294"/>
                    <a:pt x="318" y="294"/>
                  </a:cubicBezTo>
                  <a:cubicBezTo>
                    <a:pt x="321" y="287"/>
                    <a:pt x="321" y="287"/>
                    <a:pt x="321" y="287"/>
                  </a:cubicBezTo>
                  <a:cubicBezTo>
                    <a:pt x="308" y="288"/>
                    <a:pt x="308" y="288"/>
                    <a:pt x="308" y="288"/>
                  </a:cubicBezTo>
                  <a:cubicBezTo>
                    <a:pt x="303" y="302"/>
                    <a:pt x="303" y="302"/>
                    <a:pt x="303" y="302"/>
                  </a:cubicBezTo>
                  <a:cubicBezTo>
                    <a:pt x="297" y="301"/>
                    <a:pt x="297" y="301"/>
                    <a:pt x="297" y="301"/>
                  </a:cubicBezTo>
                  <a:cubicBezTo>
                    <a:pt x="296" y="304"/>
                    <a:pt x="296" y="304"/>
                    <a:pt x="296" y="304"/>
                  </a:cubicBezTo>
                  <a:cubicBezTo>
                    <a:pt x="296" y="304"/>
                    <a:pt x="295" y="303"/>
                    <a:pt x="290" y="305"/>
                  </a:cubicBezTo>
                  <a:cubicBezTo>
                    <a:pt x="284" y="308"/>
                    <a:pt x="284" y="311"/>
                    <a:pt x="284" y="311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286" y="316"/>
                    <a:pt x="286" y="316"/>
                    <a:pt x="286" y="316"/>
                  </a:cubicBezTo>
                  <a:cubicBezTo>
                    <a:pt x="281" y="317"/>
                    <a:pt x="281" y="317"/>
                    <a:pt x="281" y="317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79" y="321"/>
                    <a:pt x="279" y="321"/>
                    <a:pt x="279" y="321"/>
                  </a:cubicBezTo>
                  <a:cubicBezTo>
                    <a:pt x="276" y="321"/>
                    <a:pt x="276" y="321"/>
                    <a:pt x="276" y="321"/>
                  </a:cubicBezTo>
                  <a:cubicBezTo>
                    <a:pt x="282" y="327"/>
                    <a:pt x="282" y="327"/>
                    <a:pt x="282" y="327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75" y="331"/>
                    <a:pt x="275" y="331"/>
                    <a:pt x="275" y="331"/>
                  </a:cubicBezTo>
                  <a:cubicBezTo>
                    <a:pt x="277" y="333"/>
                    <a:pt x="277" y="333"/>
                    <a:pt x="277" y="333"/>
                  </a:cubicBezTo>
                  <a:cubicBezTo>
                    <a:pt x="281" y="332"/>
                    <a:pt x="281" y="332"/>
                    <a:pt x="281" y="332"/>
                  </a:cubicBezTo>
                  <a:cubicBezTo>
                    <a:pt x="287" y="335"/>
                    <a:pt x="287" y="335"/>
                    <a:pt x="287" y="335"/>
                  </a:cubicBezTo>
                  <a:cubicBezTo>
                    <a:pt x="287" y="335"/>
                    <a:pt x="282" y="334"/>
                    <a:pt x="279" y="335"/>
                  </a:cubicBezTo>
                  <a:cubicBezTo>
                    <a:pt x="276" y="336"/>
                    <a:pt x="278" y="339"/>
                    <a:pt x="278" y="339"/>
                  </a:cubicBezTo>
                  <a:cubicBezTo>
                    <a:pt x="275" y="339"/>
                    <a:pt x="275" y="339"/>
                    <a:pt x="275" y="339"/>
                  </a:cubicBezTo>
                  <a:cubicBezTo>
                    <a:pt x="275" y="335"/>
                    <a:pt x="275" y="335"/>
                    <a:pt x="275" y="335"/>
                  </a:cubicBezTo>
                  <a:cubicBezTo>
                    <a:pt x="271" y="334"/>
                    <a:pt x="271" y="334"/>
                    <a:pt x="271" y="334"/>
                  </a:cubicBezTo>
                  <a:cubicBezTo>
                    <a:pt x="270" y="336"/>
                    <a:pt x="270" y="336"/>
                    <a:pt x="270" y="336"/>
                  </a:cubicBezTo>
                  <a:cubicBezTo>
                    <a:pt x="273" y="340"/>
                    <a:pt x="273" y="340"/>
                    <a:pt x="273" y="340"/>
                  </a:cubicBezTo>
                  <a:cubicBezTo>
                    <a:pt x="273" y="340"/>
                    <a:pt x="270" y="346"/>
                    <a:pt x="272" y="348"/>
                  </a:cubicBezTo>
                  <a:cubicBezTo>
                    <a:pt x="275" y="350"/>
                    <a:pt x="284" y="347"/>
                    <a:pt x="284" y="348"/>
                  </a:cubicBezTo>
                  <a:cubicBezTo>
                    <a:pt x="284" y="349"/>
                    <a:pt x="275" y="350"/>
                    <a:pt x="275" y="350"/>
                  </a:cubicBezTo>
                  <a:cubicBezTo>
                    <a:pt x="271" y="356"/>
                    <a:pt x="271" y="356"/>
                    <a:pt x="271" y="35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85" y="351"/>
                    <a:pt x="285" y="351"/>
                    <a:pt x="285" y="351"/>
                  </a:cubicBezTo>
                  <a:cubicBezTo>
                    <a:pt x="287" y="351"/>
                    <a:pt x="287" y="351"/>
                    <a:pt x="287" y="351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0" y="353"/>
                    <a:pt x="290" y="353"/>
                    <a:pt x="290" y="353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285" y="360"/>
                    <a:pt x="285" y="360"/>
                    <a:pt x="285" y="360"/>
                  </a:cubicBezTo>
                  <a:cubicBezTo>
                    <a:pt x="285" y="360"/>
                    <a:pt x="286" y="355"/>
                    <a:pt x="285" y="353"/>
                  </a:cubicBezTo>
                  <a:cubicBezTo>
                    <a:pt x="282" y="351"/>
                    <a:pt x="277" y="356"/>
                    <a:pt x="275" y="357"/>
                  </a:cubicBezTo>
                  <a:cubicBezTo>
                    <a:pt x="273" y="359"/>
                    <a:pt x="263" y="360"/>
                    <a:pt x="262" y="363"/>
                  </a:cubicBezTo>
                  <a:cubicBezTo>
                    <a:pt x="260" y="366"/>
                    <a:pt x="269" y="364"/>
                    <a:pt x="269" y="364"/>
                  </a:cubicBezTo>
                  <a:cubicBezTo>
                    <a:pt x="268" y="371"/>
                    <a:pt x="268" y="371"/>
                    <a:pt x="268" y="371"/>
                  </a:cubicBezTo>
                  <a:cubicBezTo>
                    <a:pt x="274" y="375"/>
                    <a:pt x="274" y="375"/>
                    <a:pt x="274" y="375"/>
                  </a:cubicBezTo>
                  <a:cubicBezTo>
                    <a:pt x="274" y="375"/>
                    <a:pt x="262" y="372"/>
                    <a:pt x="261" y="375"/>
                  </a:cubicBezTo>
                  <a:cubicBezTo>
                    <a:pt x="259" y="378"/>
                    <a:pt x="261" y="381"/>
                    <a:pt x="261" y="381"/>
                  </a:cubicBezTo>
                  <a:cubicBezTo>
                    <a:pt x="259" y="381"/>
                    <a:pt x="259" y="381"/>
                    <a:pt x="259" y="381"/>
                  </a:cubicBezTo>
                  <a:cubicBezTo>
                    <a:pt x="257" y="383"/>
                    <a:pt x="257" y="383"/>
                    <a:pt x="257" y="383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7"/>
                    <a:pt x="256" y="386"/>
                    <a:pt x="253" y="389"/>
                  </a:cubicBezTo>
                  <a:cubicBezTo>
                    <a:pt x="249" y="391"/>
                    <a:pt x="254" y="398"/>
                    <a:pt x="254" y="398"/>
                  </a:cubicBezTo>
                  <a:cubicBezTo>
                    <a:pt x="258" y="399"/>
                    <a:pt x="258" y="399"/>
                    <a:pt x="258" y="399"/>
                  </a:cubicBezTo>
                  <a:cubicBezTo>
                    <a:pt x="259" y="405"/>
                    <a:pt x="259" y="405"/>
                    <a:pt x="259" y="405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49" y="396"/>
                    <a:pt x="249" y="396"/>
                    <a:pt x="249" y="396"/>
                  </a:cubicBezTo>
                  <a:cubicBezTo>
                    <a:pt x="247" y="404"/>
                    <a:pt x="247" y="404"/>
                    <a:pt x="247" y="404"/>
                  </a:cubicBezTo>
                  <a:cubicBezTo>
                    <a:pt x="252" y="404"/>
                    <a:pt x="252" y="404"/>
                    <a:pt x="252" y="404"/>
                  </a:cubicBezTo>
                  <a:cubicBezTo>
                    <a:pt x="252" y="404"/>
                    <a:pt x="248" y="406"/>
                    <a:pt x="246" y="409"/>
                  </a:cubicBezTo>
                  <a:cubicBezTo>
                    <a:pt x="244" y="411"/>
                    <a:pt x="246" y="416"/>
                    <a:pt x="246" y="416"/>
                  </a:cubicBezTo>
                  <a:cubicBezTo>
                    <a:pt x="241" y="418"/>
                    <a:pt x="241" y="418"/>
                    <a:pt x="241" y="418"/>
                  </a:cubicBezTo>
                  <a:cubicBezTo>
                    <a:pt x="243" y="420"/>
                    <a:pt x="243" y="420"/>
                    <a:pt x="243" y="420"/>
                  </a:cubicBezTo>
                  <a:cubicBezTo>
                    <a:pt x="248" y="416"/>
                    <a:pt x="248" y="416"/>
                    <a:pt x="248" y="416"/>
                  </a:cubicBezTo>
                  <a:cubicBezTo>
                    <a:pt x="248" y="413"/>
                    <a:pt x="248" y="413"/>
                    <a:pt x="248" y="413"/>
                  </a:cubicBezTo>
                  <a:cubicBezTo>
                    <a:pt x="253" y="411"/>
                    <a:pt x="253" y="411"/>
                    <a:pt x="253" y="411"/>
                  </a:cubicBezTo>
                  <a:cubicBezTo>
                    <a:pt x="249" y="415"/>
                    <a:pt x="249" y="415"/>
                    <a:pt x="249" y="415"/>
                  </a:cubicBezTo>
                  <a:cubicBezTo>
                    <a:pt x="254" y="419"/>
                    <a:pt x="254" y="419"/>
                    <a:pt x="254" y="419"/>
                  </a:cubicBezTo>
                  <a:cubicBezTo>
                    <a:pt x="253" y="423"/>
                    <a:pt x="253" y="423"/>
                    <a:pt x="253" y="423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1" y="414"/>
                    <a:pt x="271" y="414"/>
                    <a:pt x="271" y="414"/>
                  </a:cubicBezTo>
                  <a:cubicBezTo>
                    <a:pt x="256" y="427"/>
                    <a:pt x="256" y="427"/>
                    <a:pt x="256" y="427"/>
                  </a:cubicBezTo>
                  <a:cubicBezTo>
                    <a:pt x="252" y="428"/>
                    <a:pt x="252" y="428"/>
                    <a:pt x="252" y="428"/>
                  </a:cubicBezTo>
                  <a:cubicBezTo>
                    <a:pt x="249" y="421"/>
                    <a:pt x="249" y="421"/>
                    <a:pt x="249" y="421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43" y="424"/>
                    <a:pt x="243" y="424"/>
                    <a:pt x="243" y="424"/>
                  </a:cubicBezTo>
                  <a:cubicBezTo>
                    <a:pt x="243" y="424"/>
                    <a:pt x="239" y="424"/>
                    <a:pt x="239" y="426"/>
                  </a:cubicBezTo>
                  <a:cubicBezTo>
                    <a:pt x="239" y="427"/>
                    <a:pt x="235" y="435"/>
                    <a:pt x="231" y="435"/>
                  </a:cubicBezTo>
                  <a:cubicBezTo>
                    <a:pt x="228" y="436"/>
                    <a:pt x="222" y="440"/>
                    <a:pt x="222" y="440"/>
                  </a:cubicBezTo>
                  <a:cubicBezTo>
                    <a:pt x="224" y="442"/>
                    <a:pt x="224" y="442"/>
                    <a:pt x="224" y="442"/>
                  </a:cubicBezTo>
                  <a:cubicBezTo>
                    <a:pt x="224" y="442"/>
                    <a:pt x="216" y="446"/>
                    <a:pt x="221" y="450"/>
                  </a:cubicBezTo>
                  <a:cubicBezTo>
                    <a:pt x="224" y="452"/>
                    <a:pt x="231" y="441"/>
                    <a:pt x="231" y="441"/>
                  </a:cubicBezTo>
                  <a:cubicBezTo>
                    <a:pt x="242" y="436"/>
                    <a:pt x="242" y="436"/>
                    <a:pt x="242" y="436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8" y="446"/>
                    <a:pt x="232" y="447"/>
                    <a:pt x="228" y="450"/>
                  </a:cubicBezTo>
                  <a:cubicBezTo>
                    <a:pt x="223" y="452"/>
                    <a:pt x="226" y="457"/>
                    <a:pt x="226" y="457"/>
                  </a:cubicBezTo>
                  <a:cubicBezTo>
                    <a:pt x="223" y="458"/>
                    <a:pt x="223" y="458"/>
                    <a:pt x="223" y="458"/>
                  </a:cubicBezTo>
                  <a:cubicBezTo>
                    <a:pt x="219" y="455"/>
                    <a:pt x="219" y="455"/>
                    <a:pt x="219" y="455"/>
                  </a:cubicBezTo>
                  <a:cubicBezTo>
                    <a:pt x="215" y="457"/>
                    <a:pt x="215" y="457"/>
                    <a:pt x="215" y="457"/>
                  </a:cubicBezTo>
                  <a:cubicBezTo>
                    <a:pt x="215" y="457"/>
                    <a:pt x="219" y="463"/>
                    <a:pt x="221" y="465"/>
                  </a:cubicBezTo>
                  <a:cubicBezTo>
                    <a:pt x="222" y="467"/>
                    <a:pt x="231" y="459"/>
                    <a:pt x="231" y="459"/>
                  </a:cubicBezTo>
                  <a:cubicBezTo>
                    <a:pt x="226" y="468"/>
                    <a:pt x="226" y="468"/>
                    <a:pt x="226" y="468"/>
                  </a:cubicBezTo>
                  <a:cubicBezTo>
                    <a:pt x="221" y="471"/>
                    <a:pt x="221" y="471"/>
                    <a:pt x="221" y="471"/>
                  </a:cubicBezTo>
                  <a:cubicBezTo>
                    <a:pt x="213" y="459"/>
                    <a:pt x="213" y="459"/>
                    <a:pt x="213" y="459"/>
                  </a:cubicBezTo>
                  <a:cubicBezTo>
                    <a:pt x="204" y="467"/>
                    <a:pt x="204" y="467"/>
                    <a:pt x="204" y="467"/>
                  </a:cubicBezTo>
                  <a:cubicBezTo>
                    <a:pt x="207" y="470"/>
                    <a:pt x="207" y="470"/>
                    <a:pt x="207" y="470"/>
                  </a:cubicBezTo>
                  <a:cubicBezTo>
                    <a:pt x="200" y="468"/>
                    <a:pt x="200" y="468"/>
                    <a:pt x="200" y="468"/>
                  </a:cubicBezTo>
                  <a:cubicBezTo>
                    <a:pt x="198" y="471"/>
                    <a:pt x="198" y="471"/>
                    <a:pt x="198" y="471"/>
                  </a:cubicBezTo>
                  <a:cubicBezTo>
                    <a:pt x="203" y="474"/>
                    <a:pt x="203" y="474"/>
                    <a:pt x="203" y="474"/>
                  </a:cubicBezTo>
                  <a:cubicBezTo>
                    <a:pt x="198" y="475"/>
                    <a:pt x="198" y="475"/>
                    <a:pt x="198" y="475"/>
                  </a:cubicBezTo>
                  <a:cubicBezTo>
                    <a:pt x="198" y="475"/>
                    <a:pt x="189" y="485"/>
                    <a:pt x="188" y="486"/>
                  </a:cubicBezTo>
                  <a:cubicBezTo>
                    <a:pt x="188" y="487"/>
                    <a:pt x="191" y="490"/>
                    <a:pt x="191" y="490"/>
                  </a:cubicBezTo>
                  <a:cubicBezTo>
                    <a:pt x="184" y="489"/>
                    <a:pt x="184" y="489"/>
                    <a:pt x="184" y="489"/>
                  </a:cubicBezTo>
                  <a:cubicBezTo>
                    <a:pt x="182" y="498"/>
                    <a:pt x="182" y="498"/>
                    <a:pt x="182" y="498"/>
                  </a:cubicBezTo>
                  <a:cubicBezTo>
                    <a:pt x="182" y="498"/>
                    <a:pt x="188" y="498"/>
                    <a:pt x="188" y="500"/>
                  </a:cubicBezTo>
                  <a:cubicBezTo>
                    <a:pt x="188" y="502"/>
                    <a:pt x="179" y="504"/>
                    <a:pt x="174" y="505"/>
                  </a:cubicBezTo>
                  <a:cubicBezTo>
                    <a:pt x="169" y="507"/>
                    <a:pt x="169" y="517"/>
                    <a:pt x="169" y="517"/>
                  </a:cubicBezTo>
                  <a:cubicBezTo>
                    <a:pt x="169" y="517"/>
                    <a:pt x="184" y="509"/>
                    <a:pt x="183" y="514"/>
                  </a:cubicBezTo>
                  <a:cubicBezTo>
                    <a:pt x="183" y="518"/>
                    <a:pt x="176" y="517"/>
                    <a:pt x="176" y="517"/>
                  </a:cubicBezTo>
                  <a:cubicBezTo>
                    <a:pt x="177" y="520"/>
                    <a:pt x="177" y="520"/>
                    <a:pt x="177" y="520"/>
                  </a:cubicBezTo>
                  <a:cubicBezTo>
                    <a:pt x="182" y="522"/>
                    <a:pt x="182" y="522"/>
                    <a:pt x="182" y="52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181" y="529"/>
                    <a:pt x="181" y="529"/>
                    <a:pt x="181" y="529"/>
                  </a:cubicBezTo>
                  <a:cubicBezTo>
                    <a:pt x="198" y="520"/>
                    <a:pt x="198" y="520"/>
                    <a:pt x="198" y="520"/>
                  </a:cubicBezTo>
                  <a:cubicBezTo>
                    <a:pt x="198" y="520"/>
                    <a:pt x="202" y="517"/>
                    <a:pt x="203" y="516"/>
                  </a:cubicBezTo>
                  <a:cubicBezTo>
                    <a:pt x="205" y="515"/>
                    <a:pt x="206" y="513"/>
                    <a:pt x="209" y="512"/>
                  </a:cubicBezTo>
                  <a:cubicBezTo>
                    <a:pt x="211" y="512"/>
                    <a:pt x="213" y="508"/>
                    <a:pt x="213" y="505"/>
                  </a:cubicBezTo>
                  <a:cubicBezTo>
                    <a:pt x="213" y="502"/>
                    <a:pt x="202" y="507"/>
                    <a:pt x="202" y="507"/>
                  </a:cubicBezTo>
                  <a:cubicBezTo>
                    <a:pt x="202" y="507"/>
                    <a:pt x="209" y="502"/>
                    <a:pt x="212" y="500"/>
                  </a:cubicBezTo>
                  <a:cubicBezTo>
                    <a:pt x="214" y="499"/>
                    <a:pt x="215" y="494"/>
                    <a:pt x="221" y="494"/>
                  </a:cubicBezTo>
                  <a:cubicBezTo>
                    <a:pt x="225" y="494"/>
                    <a:pt x="226" y="498"/>
                    <a:pt x="226" y="498"/>
                  </a:cubicBezTo>
                  <a:cubicBezTo>
                    <a:pt x="215" y="503"/>
                    <a:pt x="215" y="503"/>
                    <a:pt x="215" y="503"/>
                  </a:cubicBezTo>
                  <a:cubicBezTo>
                    <a:pt x="214" y="506"/>
                    <a:pt x="214" y="506"/>
                    <a:pt x="214" y="506"/>
                  </a:cubicBezTo>
                  <a:cubicBezTo>
                    <a:pt x="214" y="506"/>
                    <a:pt x="223" y="506"/>
                    <a:pt x="224" y="509"/>
                  </a:cubicBezTo>
                  <a:cubicBezTo>
                    <a:pt x="224" y="513"/>
                    <a:pt x="214" y="515"/>
                    <a:pt x="211" y="516"/>
                  </a:cubicBezTo>
                  <a:cubicBezTo>
                    <a:pt x="208" y="516"/>
                    <a:pt x="203" y="521"/>
                    <a:pt x="202" y="524"/>
                  </a:cubicBezTo>
                  <a:cubicBezTo>
                    <a:pt x="202" y="528"/>
                    <a:pt x="206" y="522"/>
                    <a:pt x="208" y="523"/>
                  </a:cubicBezTo>
                  <a:cubicBezTo>
                    <a:pt x="209" y="525"/>
                    <a:pt x="206" y="526"/>
                    <a:pt x="205" y="528"/>
                  </a:cubicBezTo>
                  <a:cubicBezTo>
                    <a:pt x="203" y="530"/>
                    <a:pt x="208" y="531"/>
                    <a:pt x="208" y="531"/>
                  </a:cubicBezTo>
                  <a:cubicBezTo>
                    <a:pt x="205" y="533"/>
                    <a:pt x="205" y="533"/>
                    <a:pt x="205" y="533"/>
                  </a:cubicBezTo>
                  <a:cubicBezTo>
                    <a:pt x="205" y="533"/>
                    <a:pt x="194" y="530"/>
                    <a:pt x="188" y="532"/>
                  </a:cubicBezTo>
                  <a:cubicBezTo>
                    <a:pt x="181" y="534"/>
                    <a:pt x="187" y="539"/>
                    <a:pt x="187" y="539"/>
                  </a:cubicBezTo>
                  <a:cubicBezTo>
                    <a:pt x="180" y="538"/>
                    <a:pt x="180" y="538"/>
                    <a:pt x="180" y="538"/>
                  </a:cubicBezTo>
                  <a:cubicBezTo>
                    <a:pt x="175" y="540"/>
                    <a:pt x="175" y="540"/>
                    <a:pt x="175" y="540"/>
                  </a:cubicBezTo>
                  <a:cubicBezTo>
                    <a:pt x="180" y="532"/>
                    <a:pt x="180" y="532"/>
                    <a:pt x="180" y="532"/>
                  </a:cubicBezTo>
                  <a:cubicBezTo>
                    <a:pt x="175" y="518"/>
                    <a:pt x="175" y="518"/>
                    <a:pt x="175" y="518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6" y="523"/>
                    <a:pt x="166" y="523"/>
                    <a:pt x="166" y="523"/>
                  </a:cubicBezTo>
                  <a:cubicBezTo>
                    <a:pt x="158" y="526"/>
                    <a:pt x="158" y="526"/>
                    <a:pt x="158" y="526"/>
                  </a:cubicBezTo>
                  <a:cubicBezTo>
                    <a:pt x="157" y="530"/>
                    <a:pt x="157" y="530"/>
                    <a:pt x="157" y="530"/>
                  </a:cubicBezTo>
                  <a:cubicBezTo>
                    <a:pt x="164" y="531"/>
                    <a:pt x="164" y="531"/>
                    <a:pt x="164" y="531"/>
                  </a:cubicBezTo>
                  <a:cubicBezTo>
                    <a:pt x="157" y="532"/>
                    <a:pt x="157" y="532"/>
                    <a:pt x="157" y="532"/>
                  </a:cubicBezTo>
                  <a:cubicBezTo>
                    <a:pt x="156" y="536"/>
                    <a:pt x="156" y="536"/>
                    <a:pt x="156" y="536"/>
                  </a:cubicBezTo>
                  <a:cubicBezTo>
                    <a:pt x="162" y="537"/>
                    <a:pt x="162" y="537"/>
                    <a:pt x="162" y="537"/>
                  </a:cubicBezTo>
                  <a:cubicBezTo>
                    <a:pt x="150" y="539"/>
                    <a:pt x="150" y="539"/>
                    <a:pt x="150" y="539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47" y="534"/>
                    <a:pt x="147" y="534"/>
                    <a:pt x="147" y="534"/>
                  </a:cubicBezTo>
                  <a:cubicBezTo>
                    <a:pt x="145" y="532"/>
                    <a:pt x="145" y="532"/>
                    <a:pt x="145" y="532"/>
                  </a:cubicBezTo>
                  <a:cubicBezTo>
                    <a:pt x="141" y="534"/>
                    <a:pt x="141" y="534"/>
                    <a:pt x="141" y="534"/>
                  </a:cubicBezTo>
                  <a:cubicBezTo>
                    <a:pt x="145" y="538"/>
                    <a:pt x="145" y="538"/>
                    <a:pt x="145" y="538"/>
                  </a:cubicBezTo>
                  <a:cubicBezTo>
                    <a:pt x="138" y="538"/>
                    <a:pt x="138" y="538"/>
                    <a:pt x="138" y="538"/>
                  </a:cubicBezTo>
                  <a:cubicBezTo>
                    <a:pt x="134" y="541"/>
                    <a:pt x="134" y="541"/>
                    <a:pt x="134" y="541"/>
                  </a:cubicBezTo>
                  <a:cubicBezTo>
                    <a:pt x="139" y="547"/>
                    <a:pt x="139" y="547"/>
                    <a:pt x="139" y="547"/>
                  </a:cubicBezTo>
                  <a:cubicBezTo>
                    <a:pt x="143" y="548"/>
                    <a:pt x="143" y="548"/>
                    <a:pt x="143" y="548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5" y="552"/>
                    <a:pt x="135" y="552"/>
                    <a:pt x="135" y="552"/>
                  </a:cubicBezTo>
                  <a:cubicBezTo>
                    <a:pt x="126" y="551"/>
                    <a:pt x="126" y="551"/>
                    <a:pt x="126" y="551"/>
                  </a:cubicBezTo>
                  <a:cubicBezTo>
                    <a:pt x="126" y="555"/>
                    <a:pt x="126" y="555"/>
                    <a:pt x="126" y="555"/>
                  </a:cubicBezTo>
                  <a:cubicBezTo>
                    <a:pt x="132" y="563"/>
                    <a:pt x="132" y="563"/>
                    <a:pt x="132" y="563"/>
                  </a:cubicBezTo>
                  <a:cubicBezTo>
                    <a:pt x="138" y="561"/>
                    <a:pt x="138" y="561"/>
                    <a:pt x="138" y="561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2" y="566"/>
                    <a:pt x="132" y="566"/>
                    <a:pt x="132" y="566"/>
                  </a:cubicBezTo>
                  <a:cubicBezTo>
                    <a:pt x="137" y="568"/>
                    <a:pt x="137" y="568"/>
                    <a:pt x="137" y="568"/>
                  </a:cubicBezTo>
                  <a:cubicBezTo>
                    <a:pt x="135" y="569"/>
                    <a:pt x="135" y="569"/>
                    <a:pt x="135" y="569"/>
                  </a:cubicBezTo>
                  <a:cubicBezTo>
                    <a:pt x="130" y="567"/>
                    <a:pt x="130" y="567"/>
                    <a:pt x="130" y="567"/>
                  </a:cubicBezTo>
                  <a:cubicBezTo>
                    <a:pt x="129" y="561"/>
                    <a:pt x="129" y="561"/>
                    <a:pt x="129" y="561"/>
                  </a:cubicBezTo>
                  <a:cubicBezTo>
                    <a:pt x="123" y="552"/>
                    <a:pt x="123" y="552"/>
                    <a:pt x="123" y="552"/>
                  </a:cubicBezTo>
                  <a:cubicBezTo>
                    <a:pt x="114" y="557"/>
                    <a:pt x="114" y="557"/>
                    <a:pt x="114" y="557"/>
                  </a:cubicBezTo>
                  <a:cubicBezTo>
                    <a:pt x="116" y="558"/>
                    <a:pt x="116" y="558"/>
                    <a:pt x="116" y="558"/>
                  </a:cubicBezTo>
                  <a:cubicBezTo>
                    <a:pt x="118" y="558"/>
                    <a:pt x="118" y="558"/>
                    <a:pt x="118" y="558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32" y="577"/>
                    <a:pt x="132" y="577"/>
                    <a:pt x="132" y="577"/>
                  </a:cubicBezTo>
                  <a:cubicBezTo>
                    <a:pt x="133" y="579"/>
                    <a:pt x="133" y="579"/>
                    <a:pt x="133" y="579"/>
                  </a:cubicBezTo>
                  <a:cubicBezTo>
                    <a:pt x="122" y="571"/>
                    <a:pt x="122" y="571"/>
                    <a:pt x="122" y="571"/>
                  </a:cubicBezTo>
                  <a:cubicBezTo>
                    <a:pt x="122" y="562"/>
                    <a:pt x="122" y="562"/>
                    <a:pt x="122" y="562"/>
                  </a:cubicBezTo>
                  <a:cubicBezTo>
                    <a:pt x="113" y="562"/>
                    <a:pt x="113" y="562"/>
                    <a:pt x="113" y="562"/>
                  </a:cubicBezTo>
                  <a:cubicBezTo>
                    <a:pt x="111" y="565"/>
                    <a:pt x="111" y="565"/>
                    <a:pt x="111" y="565"/>
                  </a:cubicBezTo>
                  <a:cubicBezTo>
                    <a:pt x="112" y="560"/>
                    <a:pt x="112" y="560"/>
                    <a:pt x="112" y="560"/>
                  </a:cubicBezTo>
                  <a:cubicBezTo>
                    <a:pt x="108" y="560"/>
                    <a:pt x="108" y="560"/>
                    <a:pt x="108" y="560"/>
                  </a:cubicBezTo>
                  <a:cubicBezTo>
                    <a:pt x="107" y="563"/>
                    <a:pt x="107" y="563"/>
                    <a:pt x="107" y="563"/>
                  </a:cubicBezTo>
                  <a:cubicBezTo>
                    <a:pt x="101" y="564"/>
                    <a:pt x="101" y="564"/>
                    <a:pt x="101" y="564"/>
                  </a:cubicBezTo>
                  <a:cubicBezTo>
                    <a:pt x="96" y="557"/>
                    <a:pt x="96" y="557"/>
                    <a:pt x="96" y="557"/>
                  </a:cubicBezTo>
                  <a:cubicBezTo>
                    <a:pt x="96" y="557"/>
                    <a:pt x="92" y="557"/>
                    <a:pt x="85" y="562"/>
                  </a:cubicBezTo>
                  <a:cubicBezTo>
                    <a:pt x="80" y="567"/>
                    <a:pt x="93" y="567"/>
                    <a:pt x="94" y="569"/>
                  </a:cubicBezTo>
                  <a:cubicBezTo>
                    <a:pt x="94" y="571"/>
                    <a:pt x="91" y="570"/>
                    <a:pt x="88" y="570"/>
                  </a:cubicBezTo>
                  <a:cubicBezTo>
                    <a:pt x="83" y="571"/>
                    <a:pt x="87" y="577"/>
                    <a:pt x="87" y="577"/>
                  </a:cubicBezTo>
                  <a:cubicBezTo>
                    <a:pt x="87" y="577"/>
                    <a:pt x="104" y="571"/>
                    <a:pt x="105" y="573"/>
                  </a:cubicBezTo>
                  <a:cubicBezTo>
                    <a:pt x="106" y="575"/>
                    <a:pt x="99" y="575"/>
                    <a:pt x="99" y="575"/>
                  </a:cubicBezTo>
                  <a:cubicBezTo>
                    <a:pt x="99" y="578"/>
                    <a:pt x="99" y="578"/>
                    <a:pt x="99" y="578"/>
                  </a:cubicBezTo>
                  <a:cubicBezTo>
                    <a:pt x="99" y="578"/>
                    <a:pt x="108" y="575"/>
                    <a:pt x="113" y="573"/>
                  </a:cubicBezTo>
                  <a:cubicBezTo>
                    <a:pt x="118" y="573"/>
                    <a:pt x="122" y="579"/>
                    <a:pt x="122" y="579"/>
                  </a:cubicBezTo>
                  <a:cubicBezTo>
                    <a:pt x="122" y="579"/>
                    <a:pt x="117" y="576"/>
                    <a:pt x="114" y="575"/>
                  </a:cubicBezTo>
                  <a:cubicBezTo>
                    <a:pt x="112" y="575"/>
                    <a:pt x="104" y="578"/>
                    <a:pt x="104" y="578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2" y="581"/>
                    <a:pt x="102" y="581"/>
                    <a:pt x="102" y="581"/>
                  </a:cubicBezTo>
                  <a:cubicBezTo>
                    <a:pt x="100" y="582"/>
                    <a:pt x="100" y="582"/>
                    <a:pt x="100" y="582"/>
                  </a:cubicBezTo>
                  <a:cubicBezTo>
                    <a:pt x="102" y="586"/>
                    <a:pt x="102" y="586"/>
                    <a:pt x="102" y="586"/>
                  </a:cubicBezTo>
                  <a:cubicBezTo>
                    <a:pt x="108" y="586"/>
                    <a:pt x="108" y="586"/>
                    <a:pt x="108" y="586"/>
                  </a:cubicBezTo>
                  <a:cubicBezTo>
                    <a:pt x="104" y="591"/>
                    <a:pt x="104" y="591"/>
                    <a:pt x="104" y="591"/>
                  </a:cubicBezTo>
                  <a:cubicBezTo>
                    <a:pt x="96" y="584"/>
                    <a:pt x="96" y="584"/>
                    <a:pt x="96" y="584"/>
                  </a:cubicBezTo>
                  <a:cubicBezTo>
                    <a:pt x="92" y="582"/>
                    <a:pt x="92" y="582"/>
                    <a:pt x="92" y="582"/>
                  </a:cubicBezTo>
                  <a:cubicBezTo>
                    <a:pt x="92" y="585"/>
                    <a:pt x="92" y="585"/>
                    <a:pt x="92" y="585"/>
                  </a:cubicBezTo>
                  <a:cubicBezTo>
                    <a:pt x="92" y="585"/>
                    <a:pt x="90" y="581"/>
                    <a:pt x="87" y="580"/>
                  </a:cubicBezTo>
                  <a:cubicBezTo>
                    <a:pt x="83" y="579"/>
                    <a:pt x="83" y="583"/>
                    <a:pt x="83" y="583"/>
                  </a:cubicBezTo>
                  <a:cubicBezTo>
                    <a:pt x="83" y="583"/>
                    <a:pt x="81" y="581"/>
                    <a:pt x="80" y="580"/>
                  </a:cubicBezTo>
                  <a:cubicBezTo>
                    <a:pt x="78" y="580"/>
                    <a:pt x="74" y="583"/>
                    <a:pt x="74" y="583"/>
                  </a:cubicBezTo>
                  <a:cubicBezTo>
                    <a:pt x="74" y="583"/>
                    <a:pt x="72" y="582"/>
                    <a:pt x="69" y="581"/>
                  </a:cubicBezTo>
                  <a:cubicBezTo>
                    <a:pt x="66" y="581"/>
                    <a:pt x="65" y="584"/>
                    <a:pt x="63" y="587"/>
                  </a:cubicBezTo>
                  <a:cubicBezTo>
                    <a:pt x="62" y="589"/>
                    <a:pt x="74" y="586"/>
                    <a:pt x="74" y="586"/>
                  </a:cubicBezTo>
                  <a:cubicBezTo>
                    <a:pt x="74" y="586"/>
                    <a:pt x="82" y="592"/>
                    <a:pt x="84" y="594"/>
                  </a:cubicBezTo>
                  <a:cubicBezTo>
                    <a:pt x="85" y="595"/>
                    <a:pt x="84" y="600"/>
                    <a:pt x="84" y="600"/>
                  </a:cubicBezTo>
                  <a:cubicBezTo>
                    <a:pt x="87" y="603"/>
                    <a:pt x="87" y="603"/>
                    <a:pt x="87" y="603"/>
                  </a:cubicBezTo>
                  <a:cubicBezTo>
                    <a:pt x="92" y="604"/>
                    <a:pt x="92" y="604"/>
                    <a:pt x="92" y="604"/>
                  </a:cubicBezTo>
                  <a:cubicBezTo>
                    <a:pt x="94" y="603"/>
                    <a:pt x="94" y="603"/>
                    <a:pt x="94" y="603"/>
                  </a:cubicBezTo>
                  <a:cubicBezTo>
                    <a:pt x="93" y="605"/>
                    <a:pt x="93" y="605"/>
                    <a:pt x="93" y="605"/>
                  </a:cubicBezTo>
                  <a:cubicBezTo>
                    <a:pt x="85" y="605"/>
                    <a:pt x="85" y="605"/>
                    <a:pt x="85" y="605"/>
                  </a:cubicBezTo>
                  <a:cubicBezTo>
                    <a:pt x="87" y="608"/>
                    <a:pt x="87" y="608"/>
                    <a:pt x="87" y="608"/>
                  </a:cubicBezTo>
                  <a:cubicBezTo>
                    <a:pt x="83" y="614"/>
                    <a:pt x="83" y="614"/>
                    <a:pt x="83" y="614"/>
                  </a:cubicBezTo>
                  <a:cubicBezTo>
                    <a:pt x="85" y="616"/>
                    <a:pt x="85" y="616"/>
                    <a:pt x="85" y="616"/>
                  </a:cubicBezTo>
                  <a:cubicBezTo>
                    <a:pt x="80" y="615"/>
                    <a:pt x="80" y="615"/>
                    <a:pt x="80" y="615"/>
                  </a:cubicBezTo>
                  <a:cubicBezTo>
                    <a:pt x="84" y="607"/>
                    <a:pt x="84" y="607"/>
                    <a:pt x="84" y="607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82" y="594"/>
                    <a:pt x="82" y="594"/>
                    <a:pt x="82" y="594"/>
                  </a:cubicBezTo>
                  <a:cubicBezTo>
                    <a:pt x="73" y="593"/>
                    <a:pt x="73" y="593"/>
                    <a:pt x="73" y="593"/>
                  </a:cubicBezTo>
                  <a:cubicBezTo>
                    <a:pt x="73" y="597"/>
                    <a:pt x="73" y="597"/>
                    <a:pt x="73" y="597"/>
                  </a:cubicBezTo>
                  <a:cubicBezTo>
                    <a:pt x="69" y="595"/>
                    <a:pt x="69" y="595"/>
                    <a:pt x="69" y="595"/>
                  </a:cubicBezTo>
                  <a:cubicBezTo>
                    <a:pt x="66" y="595"/>
                    <a:pt x="66" y="595"/>
                    <a:pt x="66" y="595"/>
                  </a:cubicBezTo>
                  <a:cubicBezTo>
                    <a:pt x="72" y="611"/>
                    <a:pt x="72" y="611"/>
                    <a:pt x="72" y="611"/>
                  </a:cubicBezTo>
                  <a:cubicBezTo>
                    <a:pt x="71" y="613"/>
                    <a:pt x="71" y="613"/>
                    <a:pt x="71" y="613"/>
                  </a:cubicBezTo>
                  <a:cubicBezTo>
                    <a:pt x="68" y="607"/>
                    <a:pt x="68" y="607"/>
                    <a:pt x="68" y="607"/>
                  </a:cubicBezTo>
                  <a:cubicBezTo>
                    <a:pt x="65" y="602"/>
                    <a:pt x="65" y="602"/>
                    <a:pt x="65" y="602"/>
                  </a:cubicBezTo>
                  <a:cubicBezTo>
                    <a:pt x="65" y="602"/>
                    <a:pt x="66" y="598"/>
                    <a:pt x="63" y="597"/>
                  </a:cubicBezTo>
                  <a:cubicBezTo>
                    <a:pt x="61" y="596"/>
                    <a:pt x="52" y="603"/>
                    <a:pt x="52" y="603"/>
                  </a:cubicBezTo>
                  <a:cubicBezTo>
                    <a:pt x="56" y="607"/>
                    <a:pt x="56" y="607"/>
                    <a:pt x="56" y="607"/>
                  </a:cubicBezTo>
                  <a:cubicBezTo>
                    <a:pt x="50" y="607"/>
                    <a:pt x="50" y="607"/>
                    <a:pt x="50" y="607"/>
                  </a:cubicBezTo>
                  <a:cubicBezTo>
                    <a:pt x="50" y="607"/>
                    <a:pt x="52" y="608"/>
                    <a:pt x="55" y="610"/>
                  </a:cubicBezTo>
                  <a:cubicBezTo>
                    <a:pt x="57" y="613"/>
                    <a:pt x="61" y="616"/>
                    <a:pt x="61" y="616"/>
                  </a:cubicBezTo>
                  <a:cubicBezTo>
                    <a:pt x="55" y="615"/>
                    <a:pt x="55" y="615"/>
                    <a:pt x="55" y="615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8" y="617"/>
                    <a:pt x="48" y="617"/>
                    <a:pt x="48" y="617"/>
                  </a:cubicBezTo>
                  <a:cubicBezTo>
                    <a:pt x="51" y="610"/>
                    <a:pt x="51" y="610"/>
                    <a:pt x="51" y="610"/>
                  </a:cubicBezTo>
                  <a:cubicBezTo>
                    <a:pt x="51" y="610"/>
                    <a:pt x="50" y="608"/>
                    <a:pt x="46" y="608"/>
                  </a:cubicBezTo>
                  <a:cubicBezTo>
                    <a:pt x="42" y="608"/>
                    <a:pt x="43" y="612"/>
                    <a:pt x="43" y="612"/>
                  </a:cubicBezTo>
                  <a:cubicBezTo>
                    <a:pt x="43" y="612"/>
                    <a:pt x="40" y="608"/>
                    <a:pt x="38" y="608"/>
                  </a:cubicBezTo>
                  <a:cubicBezTo>
                    <a:pt x="34" y="608"/>
                    <a:pt x="33" y="612"/>
                    <a:pt x="33" y="612"/>
                  </a:cubicBezTo>
                  <a:cubicBezTo>
                    <a:pt x="39" y="615"/>
                    <a:pt x="39" y="615"/>
                    <a:pt x="39" y="615"/>
                  </a:cubicBezTo>
                  <a:cubicBezTo>
                    <a:pt x="38" y="616"/>
                    <a:pt x="38" y="616"/>
                    <a:pt x="38" y="616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32" y="609"/>
                    <a:pt x="32" y="609"/>
                    <a:pt x="32" y="609"/>
                  </a:cubicBezTo>
                  <a:cubicBezTo>
                    <a:pt x="28" y="605"/>
                    <a:pt x="28" y="605"/>
                    <a:pt x="28" y="605"/>
                  </a:cubicBezTo>
                  <a:cubicBezTo>
                    <a:pt x="25" y="609"/>
                    <a:pt x="25" y="609"/>
                    <a:pt x="25" y="609"/>
                  </a:cubicBezTo>
                  <a:cubicBezTo>
                    <a:pt x="26" y="611"/>
                    <a:pt x="26" y="611"/>
                    <a:pt x="26" y="611"/>
                  </a:cubicBezTo>
                  <a:cubicBezTo>
                    <a:pt x="26" y="611"/>
                    <a:pt x="32" y="616"/>
                    <a:pt x="32" y="618"/>
                  </a:cubicBezTo>
                  <a:cubicBezTo>
                    <a:pt x="31" y="621"/>
                    <a:pt x="25" y="620"/>
                    <a:pt x="25" y="624"/>
                  </a:cubicBezTo>
                  <a:cubicBezTo>
                    <a:pt x="25" y="627"/>
                    <a:pt x="34" y="623"/>
                    <a:pt x="34" y="623"/>
                  </a:cubicBezTo>
                  <a:cubicBezTo>
                    <a:pt x="50" y="627"/>
                    <a:pt x="50" y="627"/>
                    <a:pt x="50" y="627"/>
                  </a:cubicBezTo>
                  <a:cubicBezTo>
                    <a:pt x="49" y="628"/>
                    <a:pt x="49" y="628"/>
                    <a:pt x="49" y="628"/>
                  </a:cubicBezTo>
                  <a:cubicBezTo>
                    <a:pt x="64" y="632"/>
                    <a:pt x="64" y="632"/>
                    <a:pt x="64" y="632"/>
                  </a:cubicBezTo>
                  <a:cubicBezTo>
                    <a:pt x="71" y="629"/>
                    <a:pt x="71" y="629"/>
                    <a:pt x="71" y="629"/>
                  </a:cubicBezTo>
                  <a:cubicBezTo>
                    <a:pt x="78" y="631"/>
                    <a:pt x="78" y="631"/>
                    <a:pt x="78" y="631"/>
                  </a:cubicBezTo>
                  <a:cubicBezTo>
                    <a:pt x="78" y="632"/>
                    <a:pt x="78" y="632"/>
                    <a:pt x="78" y="632"/>
                  </a:cubicBezTo>
                  <a:cubicBezTo>
                    <a:pt x="72" y="631"/>
                    <a:pt x="72" y="631"/>
                    <a:pt x="72" y="631"/>
                  </a:cubicBezTo>
                  <a:cubicBezTo>
                    <a:pt x="65" y="633"/>
                    <a:pt x="65" y="633"/>
                    <a:pt x="65" y="633"/>
                  </a:cubicBezTo>
                  <a:cubicBezTo>
                    <a:pt x="56" y="631"/>
                    <a:pt x="56" y="631"/>
                    <a:pt x="56" y="631"/>
                  </a:cubicBezTo>
                  <a:cubicBezTo>
                    <a:pt x="55" y="633"/>
                    <a:pt x="55" y="633"/>
                    <a:pt x="55" y="633"/>
                  </a:cubicBezTo>
                  <a:cubicBezTo>
                    <a:pt x="55" y="633"/>
                    <a:pt x="42" y="626"/>
                    <a:pt x="35" y="626"/>
                  </a:cubicBezTo>
                  <a:cubicBezTo>
                    <a:pt x="28" y="626"/>
                    <a:pt x="29" y="629"/>
                    <a:pt x="29" y="629"/>
                  </a:cubicBezTo>
                  <a:cubicBezTo>
                    <a:pt x="29" y="629"/>
                    <a:pt x="28" y="629"/>
                    <a:pt x="25" y="631"/>
                  </a:cubicBezTo>
                  <a:cubicBezTo>
                    <a:pt x="23" y="632"/>
                    <a:pt x="25" y="635"/>
                    <a:pt x="25" y="635"/>
                  </a:cubicBezTo>
                  <a:cubicBezTo>
                    <a:pt x="25" y="635"/>
                    <a:pt x="19" y="634"/>
                    <a:pt x="17" y="638"/>
                  </a:cubicBezTo>
                  <a:cubicBezTo>
                    <a:pt x="16" y="641"/>
                    <a:pt x="19" y="642"/>
                    <a:pt x="19" y="642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2" y="646"/>
                    <a:pt x="32" y="646"/>
                    <a:pt x="32" y="646"/>
                  </a:cubicBezTo>
                  <a:cubicBezTo>
                    <a:pt x="26" y="644"/>
                    <a:pt x="26" y="644"/>
                    <a:pt x="26" y="644"/>
                  </a:cubicBezTo>
                  <a:cubicBezTo>
                    <a:pt x="24" y="646"/>
                    <a:pt x="24" y="646"/>
                    <a:pt x="24" y="646"/>
                  </a:cubicBezTo>
                  <a:cubicBezTo>
                    <a:pt x="28" y="648"/>
                    <a:pt x="28" y="648"/>
                    <a:pt x="28" y="648"/>
                  </a:cubicBezTo>
                  <a:cubicBezTo>
                    <a:pt x="23" y="648"/>
                    <a:pt x="23" y="648"/>
                    <a:pt x="23" y="648"/>
                  </a:cubicBezTo>
                  <a:cubicBezTo>
                    <a:pt x="23" y="650"/>
                    <a:pt x="23" y="650"/>
                    <a:pt x="23" y="650"/>
                  </a:cubicBezTo>
                  <a:cubicBezTo>
                    <a:pt x="32" y="652"/>
                    <a:pt x="32" y="652"/>
                    <a:pt x="32" y="652"/>
                  </a:cubicBezTo>
                  <a:cubicBezTo>
                    <a:pt x="17" y="655"/>
                    <a:pt x="17" y="655"/>
                    <a:pt x="17" y="655"/>
                  </a:cubicBezTo>
                  <a:cubicBezTo>
                    <a:pt x="17" y="657"/>
                    <a:pt x="17" y="657"/>
                    <a:pt x="17" y="657"/>
                  </a:cubicBezTo>
                  <a:cubicBezTo>
                    <a:pt x="20" y="657"/>
                    <a:pt x="20" y="657"/>
                    <a:pt x="20" y="657"/>
                  </a:cubicBezTo>
                  <a:cubicBezTo>
                    <a:pt x="20" y="660"/>
                    <a:pt x="20" y="660"/>
                    <a:pt x="20" y="660"/>
                  </a:cubicBezTo>
                  <a:cubicBezTo>
                    <a:pt x="30" y="660"/>
                    <a:pt x="30" y="660"/>
                    <a:pt x="30" y="660"/>
                  </a:cubicBezTo>
                  <a:cubicBezTo>
                    <a:pt x="17" y="663"/>
                    <a:pt x="17" y="663"/>
                    <a:pt x="17" y="663"/>
                  </a:cubicBezTo>
                  <a:cubicBezTo>
                    <a:pt x="15" y="667"/>
                    <a:pt x="15" y="667"/>
                    <a:pt x="15" y="667"/>
                  </a:cubicBezTo>
                  <a:cubicBezTo>
                    <a:pt x="22" y="670"/>
                    <a:pt x="22" y="670"/>
                    <a:pt x="22" y="670"/>
                  </a:cubicBezTo>
                  <a:cubicBezTo>
                    <a:pt x="18" y="670"/>
                    <a:pt x="18" y="670"/>
                    <a:pt x="18" y="670"/>
                  </a:cubicBezTo>
                  <a:cubicBezTo>
                    <a:pt x="23" y="675"/>
                    <a:pt x="23" y="675"/>
                    <a:pt x="23" y="675"/>
                  </a:cubicBezTo>
                  <a:cubicBezTo>
                    <a:pt x="26" y="675"/>
                    <a:pt x="26" y="675"/>
                    <a:pt x="26" y="675"/>
                  </a:cubicBezTo>
                  <a:cubicBezTo>
                    <a:pt x="28" y="677"/>
                    <a:pt x="28" y="677"/>
                    <a:pt x="28" y="677"/>
                  </a:cubicBezTo>
                  <a:cubicBezTo>
                    <a:pt x="48" y="672"/>
                    <a:pt x="48" y="672"/>
                    <a:pt x="48" y="672"/>
                  </a:cubicBezTo>
                  <a:cubicBezTo>
                    <a:pt x="46" y="675"/>
                    <a:pt x="46" y="675"/>
                    <a:pt x="46" y="675"/>
                  </a:cubicBezTo>
                  <a:cubicBezTo>
                    <a:pt x="55" y="674"/>
                    <a:pt x="55" y="674"/>
                    <a:pt x="55" y="674"/>
                  </a:cubicBezTo>
                  <a:cubicBezTo>
                    <a:pt x="55" y="674"/>
                    <a:pt x="56" y="677"/>
                    <a:pt x="61" y="677"/>
                  </a:cubicBezTo>
                  <a:cubicBezTo>
                    <a:pt x="65" y="677"/>
                    <a:pt x="63" y="668"/>
                    <a:pt x="63" y="668"/>
                  </a:cubicBezTo>
                  <a:cubicBezTo>
                    <a:pt x="66" y="667"/>
                    <a:pt x="66" y="667"/>
                    <a:pt x="66" y="667"/>
                  </a:cubicBezTo>
                  <a:cubicBezTo>
                    <a:pt x="71" y="661"/>
                    <a:pt x="71" y="661"/>
                    <a:pt x="71" y="661"/>
                  </a:cubicBezTo>
                  <a:cubicBezTo>
                    <a:pt x="72" y="662"/>
                    <a:pt x="72" y="662"/>
                    <a:pt x="72" y="662"/>
                  </a:cubicBezTo>
                  <a:cubicBezTo>
                    <a:pt x="67" y="670"/>
                    <a:pt x="67" y="670"/>
                    <a:pt x="67" y="670"/>
                  </a:cubicBezTo>
                  <a:cubicBezTo>
                    <a:pt x="69" y="674"/>
                    <a:pt x="69" y="674"/>
                    <a:pt x="69" y="674"/>
                  </a:cubicBezTo>
                  <a:cubicBezTo>
                    <a:pt x="79" y="675"/>
                    <a:pt x="79" y="675"/>
                    <a:pt x="79" y="675"/>
                  </a:cubicBezTo>
                  <a:cubicBezTo>
                    <a:pt x="83" y="671"/>
                    <a:pt x="83" y="671"/>
                    <a:pt x="83" y="671"/>
                  </a:cubicBezTo>
                  <a:cubicBezTo>
                    <a:pt x="83" y="675"/>
                    <a:pt x="83" y="675"/>
                    <a:pt x="83" y="675"/>
                  </a:cubicBezTo>
                  <a:cubicBezTo>
                    <a:pt x="76" y="677"/>
                    <a:pt x="76" y="677"/>
                    <a:pt x="76" y="677"/>
                  </a:cubicBezTo>
                  <a:cubicBezTo>
                    <a:pt x="78" y="679"/>
                    <a:pt x="78" y="679"/>
                    <a:pt x="78" y="679"/>
                  </a:cubicBezTo>
                  <a:cubicBezTo>
                    <a:pt x="90" y="675"/>
                    <a:pt x="90" y="675"/>
                    <a:pt x="90" y="675"/>
                  </a:cubicBezTo>
                  <a:cubicBezTo>
                    <a:pt x="89" y="668"/>
                    <a:pt x="89" y="668"/>
                    <a:pt x="89" y="668"/>
                  </a:cubicBezTo>
                  <a:cubicBezTo>
                    <a:pt x="89" y="668"/>
                    <a:pt x="91" y="664"/>
                    <a:pt x="93" y="661"/>
                  </a:cubicBezTo>
                  <a:cubicBezTo>
                    <a:pt x="94" y="659"/>
                    <a:pt x="98" y="656"/>
                    <a:pt x="98" y="656"/>
                  </a:cubicBezTo>
                  <a:cubicBezTo>
                    <a:pt x="99" y="658"/>
                    <a:pt x="99" y="658"/>
                    <a:pt x="99" y="658"/>
                  </a:cubicBezTo>
                  <a:cubicBezTo>
                    <a:pt x="99" y="658"/>
                    <a:pt x="97" y="660"/>
                    <a:pt x="95" y="662"/>
                  </a:cubicBezTo>
                  <a:cubicBezTo>
                    <a:pt x="93" y="663"/>
                    <a:pt x="90" y="668"/>
                    <a:pt x="90" y="668"/>
                  </a:cubicBezTo>
                  <a:cubicBezTo>
                    <a:pt x="92" y="671"/>
                    <a:pt x="92" y="671"/>
                    <a:pt x="92" y="671"/>
                  </a:cubicBezTo>
                  <a:cubicBezTo>
                    <a:pt x="93" y="675"/>
                    <a:pt x="93" y="675"/>
                    <a:pt x="93" y="675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98" y="676"/>
                    <a:pt x="98" y="676"/>
                    <a:pt x="98" y="676"/>
                  </a:cubicBezTo>
                  <a:cubicBezTo>
                    <a:pt x="96" y="676"/>
                    <a:pt x="96" y="676"/>
                    <a:pt x="96" y="676"/>
                  </a:cubicBezTo>
                  <a:cubicBezTo>
                    <a:pt x="92" y="677"/>
                    <a:pt x="92" y="677"/>
                    <a:pt x="92" y="677"/>
                  </a:cubicBezTo>
                  <a:cubicBezTo>
                    <a:pt x="92" y="680"/>
                    <a:pt x="92" y="680"/>
                    <a:pt x="92" y="680"/>
                  </a:cubicBezTo>
                  <a:cubicBezTo>
                    <a:pt x="88" y="678"/>
                    <a:pt x="88" y="678"/>
                    <a:pt x="88" y="678"/>
                  </a:cubicBezTo>
                  <a:cubicBezTo>
                    <a:pt x="80" y="680"/>
                    <a:pt x="80" y="680"/>
                    <a:pt x="80" y="680"/>
                  </a:cubicBezTo>
                  <a:cubicBezTo>
                    <a:pt x="80" y="686"/>
                    <a:pt x="80" y="686"/>
                    <a:pt x="80" y="686"/>
                  </a:cubicBezTo>
                  <a:cubicBezTo>
                    <a:pt x="82" y="691"/>
                    <a:pt x="82" y="691"/>
                    <a:pt x="82" y="691"/>
                  </a:cubicBezTo>
                  <a:cubicBezTo>
                    <a:pt x="79" y="688"/>
                    <a:pt x="79" y="688"/>
                    <a:pt x="79" y="688"/>
                  </a:cubicBezTo>
                  <a:cubicBezTo>
                    <a:pt x="76" y="690"/>
                    <a:pt x="76" y="690"/>
                    <a:pt x="76" y="690"/>
                  </a:cubicBezTo>
                  <a:cubicBezTo>
                    <a:pt x="78" y="686"/>
                    <a:pt x="78" y="686"/>
                    <a:pt x="78" y="686"/>
                  </a:cubicBezTo>
                  <a:cubicBezTo>
                    <a:pt x="77" y="681"/>
                    <a:pt x="77" y="681"/>
                    <a:pt x="77" y="68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4" y="678"/>
                    <a:pt x="74" y="678"/>
                    <a:pt x="74" y="678"/>
                  </a:cubicBezTo>
                  <a:cubicBezTo>
                    <a:pt x="74" y="678"/>
                    <a:pt x="67" y="676"/>
                    <a:pt x="66" y="675"/>
                  </a:cubicBezTo>
                  <a:cubicBezTo>
                    <a:pt x="65" y="675"/>
                    <a:pt x="64" y="679"/>
                    <a:pt x="64" y="679"/>
                  </a:cubicBezTo>
                  <a:cubicBezTo>
                    <a:pt x="56" y="680"/>
                    <a:pt x="56" y="680"/>
                    <a:pt x="56" y="680"/>
                  </a:cubicBezTo>
                  <a:cubicBezTo>
                    <a:pt x="56" y="678"/>
                    <a:pt x="56" y="678"/>
                    <a:pt x="56" y="678"/>
                  </a:cubicBezTo>
                  <a:cubicBezTo>
                    <a:pt x="42" y="676"/>
                    <a:pt x="42" y="676"/>
                    <a:pt x="42" y="676"/>
                  </a:cubicBezTo>
                  <a:cubicBezTo>
                    <a:pt x="41" y="678"/>
                    <a:pt x="41" y="678"/>
                    <a:pt x="41" y="678"/>
                  </a:cubicBezTo>
                  <a:cubicBezTo>
                    <a:pt x="39" y="676"/>
                    <a:pt x="39" y="676"/>
                    <a:pt x="39" y="676"/>
                  </a:cubicBezTo>
                  <a:cubicBezTo>
                    <a:pt x="33" y="678"/>
                    <a:pt x="33" y="678"/>
                    <a:pt x="33" y="678"/>
                  </a:cubicBezTo>
                  <a:cubicBezTo>
                    <a:pt x="31" y="681"/>
                    <a:pt x="31" y="681"/>
                    <a:pt x="31" y="681"/>
                  </a:cubicBezTo>
                  <a:cubicBezTo>
                    <a:pt x="24" y="680"/>
                    <a:pt x="24" y="680"/>
                    <a:pt x="24" y="680"/>
                  </a:cubicBezTo>
                  <a:cubicBezTo>
                    <a:pt x="24" y="680"/>
                    <a:pt x="23" y="678"/>
                    <a:pt x="19" y="678"/>
                  </a:cubicBezTo>
                  <a:cubicBezTo>
                    <a:pt x="16" y="678"/>
                    <a:pt x="15" y="682"/>
                    <a:pt x="15" y="682"/>
                  </a:cubicBezTo>
                  <a:cubicBezTo>
                    <a:pt x="18" y="686"/>
                    <a:pt x="18" y="686"/>
                    <a:pt x="18" y="686"/>
                  </a:cubicBezTo>
                  <a:cubicBezTo>
                    <a:pt x="14" y="687"/>
                    <a:pt x="14" y="687"/>
                    <a:pt x="14" y="687"/>
                  </a:cubicBezTo>
                  <a:cubicBezTo>
                    <a:pt x="14" y="687"/>
                    <a:pt x="14" y="692"/>
                    <a:pt x="18" y="693"/>
                  </a:cubicBezTo>
                  <a:cubicBezTo>
                    <a:pt x="22" y="695"/>
                    <a:pt x="24" y="691"/>
                    <a:pt x="24" y="691"/>
                  </a:cubicBezTo>
                  <a:cubicBezTo>
                    <a:pt x="28" y="691"/>
                    <a:pt x="28" y="691"/>
                    <a:pt x="28" y="691"/>
                  </a:cubicBezTo>
                  <a:cubicBezTo>
                    <a:pt x="27" y="692"/>
                    <a:pt x="27" y="692"/>
                    <a:pt x="27" y="692"/>
                  </a:cubicBezTo>
                  <a:cubicBezTo>
                    <a:pt x="27" y="692"/>
                    <a:pt x="23" y="692"/>
                    <a:pt x="22" y="697"/>
                  </a:cubicBezTo>
                  <a:cubicBezTo>
                    <a:pt x="20" y="703"/>
                    <a:pt x="27" y="704"/>
                    <a:pt x="27" y="704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7" y="707"/>
                    <a:pt x="27" y="707"/>
                    <a:pt x="27" y="707"/>
                  </a:cubicBezTo>
                  <a:cubicBezTo>
                    <a:pt x="30" y="707"/>
                    <a:pt x="30" y="707"/>
                    <a:pt x="30" y="707"/>
                  </a:cubicBezTo>
                  <a:cubicBezTo>
                    <a:pt x="30" y="707"/>
                    <a:pt x="29" y="705"/>
                    <a:pt x="29" y="703"/>
                  </a:cubicBezTo>
                  <a:cubicBezTo>
                    <a:pt x="29" y="702"/>
                    <a:pt x="32" y="701"/>
                    <a:pt x="32" y="701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8" y="704"/>
                    <a:pt x="36" y="708"/>
                    <a:pt x="35" y="711"/>
                  </a:cubicBezTo>
                  <a:cubicBezTo>
                    <a:pt x="34" y="714"/>
                    <a:pt x="34" y="719"/>
                    <a:pt x="34" y="719"/>
                  </a:cubicBezTo>
                  <a:cubicBezTo>
                    <a:pt x="25" y="720"/>
                    <a:pt x="25" y="720"/>
                    <a:pt x="25" y="720"/>
                  </a:cubicBezTo>
                  <a:cubicBezTo>
                    <a:pt x="25" y="720"/>
                    <a:pt x="24" y="713"/>
                    <a:pt x="19" y="714"/>
                  </a:cubicBezTo>
                  <a:cubicBezTo>
                    <a:pt x="15" y="715"/>
                    <a:pt x="19" y="723"/>
                    <a:pt x="19" y="723"/>
                  </a:cubicBezTo>
                  <a:cubicBezTo>
                    <a:pt x="19" y="723"/>
                    <a:pt x="15" y="723"/>
                    <a:pt x="15" y="727"/>
                  </a:cubicBezTo>
                  <a:cubicBezTo>
                    <a:pt x="15" y="731"/>
                    <a:pt x="18" y="730"/>
                    <a:pt x="18" y="730"/>
                  </a:cubicBezTo>
                  <a:cubicBezTo>
                    <a:pt x="17" y="733"/>
                    <a:pt x="17" y="733"/>
                    <a:pt x="17" y="733"/>
                  </a:cubicBezTo>
                  <a:cubicBezTo>
                    <a:pt x="22" y="738"/>
                    <a:pt x="22" y="738"/>
                    <a:pt x="22" y="738"/>
                  </a:cubicBezTo>
                  <a:cubicBezTo>
                    <a:pt x="26" y="735"/>
                    <a:pt x="26" y="735"/>
                    <a:pt x="26" y="735"/>
                  </a:cubicBezTo>
                  <a:cubicBezTo>
                    <a:pt x="29" y="727"/>
                    <a:pt x="29" y="727"/>
                    <a:pt x="29" y="727"/>
                  </a:cubicBezTo>
                  <a:cubicBezTo>
                    <a:pt x="27" y="734"/>
                    <a:pt x="27" y="734"/>
                    <a:pt x="27" y="734"/>
                  </a:cubicBezTo>
                  <a:cubicBezTo>
                    <a:pt x="27" y="738"/>
                    <a:pt x="27" y="738"/>
                    <a:pt x="27" y="738"/>
                  </a:cubicBezTo>
                  <a:cubicBezTo>
                    <a:pt x="32" y="738"/>
                    <a:pt x="32" y="738"/>
                    <a:pt x="32" y="738"/>
                  </a:cubicBezTo>
                  <a:cubicBezTo>
                    <a:pt x="33" y="739"/>
                    <a:pt x="31" y="743"/>
                    <a:pt x="31" y="743"/>
                  </a:cubicBezTo>
                  <a:cubicBezTo>
                    <a:pt x="32" y="744"/>
                    <a:pt x="32" y="744"/>
                    <a:pt x="32" y="744"/>
                  </a:cubicBezTo>
                  <a:cubicBezTo>
                    <a:pt x="30" y="744"/>
                    <a:pt x="30" y="744"/>
                    <a:pt x="30" y="744"/>
                  </a:cubicBezTo>
                  <a:cubicBezTo>
                    <a:pt x="30" y="746"/>
                    <a:pt x="30" y="746"/>
                    <a:pt x="30" y="746"/>
                  </a:cubicBezTo>
                  <a:cubicBezTo>
                    <a:pt x="34" y="750"/>
                    <a:pt x="34" y="750"/>
                    <a:pt x="34" y="750"/>
                  </a:cubicBezTo>
                  <a:cubicBezTo>
                    <a:pt x="38" y="745"/>
                    <a:pt x="38" y="745"/>
                    <a:pt x="38" y="745"/>
                  </a:cubicBezTo>
                  <a:cubicBezTo>
                    <a:pt x="38" y="738"/>
                    <a:pt x="38" y="738"/>
                    <a:pt x="38" y="738"/>
                  </a:cubicBezTo>
                  <a:cubicBezTo>
                    <a:pt x="40" y="737"/>
                    <a:pt x="40" y="737"/>
                    <a:pt x="40" y="737"/>
                  </a:cubicBezTo>
                  <a:cubicBezTo>
                    <a:pt x="42" y="731"/>
                    <a:pt x="42" y="731"/>
                    <a:pt x="42" y="731"/>
                  </a:cubicBezTo>
                  <a:cubicBezTo>
                    <a:pt x="42" y="731"/>
                    <a:pt x="45" y="734"/>
                    <a:pt x="47" y="731"/>
                  </a:cubicBezTo>
                  <a:cubicBezTo>
                    <a:pt x="48" y="730"/>
                    <a:pt x="47" y="726"/>
                    <a:pt x="47" y="726"/>
                  </a:cubicBezTo>
                  <a:cubicBezTo>
                    <a:pt x="47" y="726"/>
                    <a:pt x="49" y="725"/>
                    <a:pt x="55" y="723"/>
                  </a:cubicBezTo>
                  <a:cubicBezTo>
                    <a:pt x="59" y="720"/>
                    <a:pt x="64" y="720"/>
                    <a:pt x="64" y="720"/>
                  </a:cubicBezTo>
                  <a:cubicBezTo>
                    <a:pt x="64" y="722"/>
                    <a:pt x="64" y="722"/>
                    <a:pt x="64" y="722"/>
                  </a:cubicBezTo>
                  <a:cubicBezTo>
                    <a:pt x="71" y="719"/>
                    <a:pt x="71" y="719"/>
                    <a:pt x="71" y="719"/>
                  </a:cubicBezTo>
                  <a:cubicBezTo>
                    <a:pt x="72" y="715"/>
                    <a:pt x="72" y="715"/>
                    <a:pt x="72" y="715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3" y="719"/>
                    <a:pt x="73" y="719"/>
                    <a:pt x="73" y="719"/>
                  </a:cubicBezTo>
                  <a:cubicBezTo>
                    <a:pt x="77" y="720"/>
                    <a:pt x="77" y="720"/>
                    <a:pt x="77" y="720"/>
                  </a:cubicBezTo>
                  <a:cubicBezTo>
                    <a:pt x="77" y="720"/>
                    <a:pt x="68" y="721"/>
                    <a:pt x="65" y="726"/>
                  </a:cubicBezTo>
                  <a:cubicBezTo>
                    <a:pt x="62" y="731"/>
                    <a:pt x="63" y="735"/>
                    <a:pt x="62" y="738"/>
                  </a:cubicBezTo>
                  <a:cubicBezTo>
                    <a:pt x="62" y="740"/>
                    <a:pt x="58" y="743"/>
                    <a:pt x="58" y="743"/>
                  </a:cubicBezTo>
                  <a:cubicBezTo>
                    <a:pt x="62" y="726"/>
                    <a:pt x="62" y="726"/>
                    <a:pt x="62" y="726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62" y="723"/>
                    <a:pt x="58" y="724"/>
                    <a:pt x="56" y="726"/>
                  </a:cubicBezTo>
                  <a:cubicBezTo>
                    <a:pt x="52" y="727"/>
                    <a:pt x="47" y="735"/>
                    <a:pt x="47" y="735"/>
                  </a:cubicBezTo>
                  <a:cubicBezTo>
                    <a:pt x="47" y="735"/>
                    <a:pt x="44" y="736"/>
                    <a:pt x="44" y="739"/>
                  </a:cubicBezTo>
                  <a:cubicBezTo>
                    <a:pt x="45" y="742"/>
                    <a:pt x="50" y="740"/>
                    <a:pt x="48" y="742"/>
                  </a:cubicBezTo>
                  <a:cubicBezTo>
                    <a:pt x="47" y="743"/>
                    <a:pt x="43" y="743"/>
                    <a:pt x="41" y="745"/>
                  </a:cubicBezTo>
                  <a:cubicBezTo>
                    <a:pt x="39" y="747"/>
                    <a:pt x="39" y="752"/>
                    <a:pt x="39" y="752"/>
                  </a:cubicBezTo>
                  <a:cubicBezTo>
                    <a:pt x="32" y="752"/>
                    <a:pt x="32" y="752"/>
                    <a:pt x="32" y="752"/>
                  </a:cubicBezTo>
                  <a:cubicBezTo>
                    <a:pt x="28" y="757"/>
                    <a:pt x="28" y="757"/>
                    <a:pt x="28" y="757"/>
                  </a:cubicBezTo>
                  <a:cubicBezTo>
                    <a:pt x="33" y="762"/>
                    <a:pt x="33" y="762"/>
                    <a:pt x="33" y="762"/>
                  </a:cubicBezTo>
                  <a:cubicBezTo>
                    <a:pt x="39" y="759"/>
                    <a:pt x="39" y="759"/>
                    <a:pt x="39" y="759"/>
                  </a:cubicBezTo>
                  <a:cubicBezTo>
                    <a:pt x="38" y="764"/>
                    <a:pt x="38" y="764"/>
                    <a:pt x="38" y="764"/>
                  </a:cubicBezTo>
                  <a:cubicBezTo>
                    <a:pt x="40" y="765"/>
                    <a:pt x="40" y="765"/>
                    <a:pt x="40" y="765"/>
                  </a:cubicBezTo>
                  <a:cubicBezTo>
                    <a:pt x="46" y="760"/>
                    <a:pt x="46" y="760"/>
                    <a:pt x="46" y="760"/>
                  </a:cubicBezTo>
                  <a:cubicBezTo>
                    <a:pt x="42" y="766"/>
                    <a:pt x="42" y="766"/>
                    <a:pt x="42" y="766"/>
                  </a:cubicBezTo>
                  <a:cubicBezTo>
                    <a:pt x="44" y="768"/>
                    <a:pt x="44" y="768"/>
                    <a:pt x="44" y="768"/>
                  </a:cubicBezTo>
                  <a:cubicBezTo>
                    <a:pt x="34" y="765"/>
                    <a:pt x="34" y="765"/>
                    <a:pt x="34" y="765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72"/>
                    <a:pt x="34" y="772"/>
                    <a:pt x="34" y="772"/>
                  </a:cubicBezTo>
                  <a:cubicBezTo>
                    <a:pt x="26" y="768"/>
                    <a:pt x="26" y="768"/>
                    <a:pt x="26" y="768"/>
                  </a:cubicBezTo>
                  <a:cubicBezTo>
                    <a:pt x="23" y="770"/>
                    <a:pt x="23" y="770"/>
                    <a:pt x="23" y="770"/>
                  </a:cubicBezTo>
                  <a:cubicBezTo>
                    <a:pt x="20" y="778"/>
                    <a:pt x="20" y="778"/>
                    <a:pt x="20" y="778"/>
                  </a:cubicBezTo>
                  <a:cubicBezTo>
                    <a:pt x="18" y="780"/>
                    <a:pt x="18" y="780"/>
                    <a:pt x="18" y="780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9" y="767"/>
                    <a:pt x="19" y="767"/>
                    <a:pt x="19" y="767"/>
                  </a:cubicBezTo>
                  <a:cubicBezTo>
                    <a:pt x="18" y="771"/>
                    <a:pt x="18" y="771"/>
                    <a:pt x="18" y="771"/>
                  </a:cubicBezTo>
                  <a:cubicBezTo>
                    <a:pt x="15" y="771"/>
                    <a:pt x="15" y="771"/>
                    <a:pt x="15" y="771"/>
                  </a:cubicBezTo>
                  <a:cubicBezTo>
                    <a:pt x="10" y="780"/>
                    <a:pt x="10" y="780"/>
                    <a:pt x="10" y="780"/>
                  </a:cubicBezTo>
                  <a:cubicBezTo>
                    <a:pt x="13" y="793"/>
                    <a:pt x="13" y="793"/>
                    <a:pt x="13" y="793"/>
                  </a:cubicBezTo>
                  <a:cubicBezTo>
                    <a:pt x="14" y="792"/>
                    <a:pt x="14" y="792"/>
                    <a:pt x="14" y="792"/>
                  </a:cubicBezTo>
                  <a:cubicBezTo>
                    <a:pt x="14" y="800"/>
                    <a:pt x="14" y="800"/>
                    <a:pt x="14" y="800"/>
                  </a:cubicBezTo>
                  <a:cubicBezTo>
                    <a:pt x="17" y="800"/>
                    <a:pt x="17" y="800"/>
                    <a:pt x="17" y="800"/>
                  </a:cubicBezTo>
                  <a:cubicBezTo>
                    <a:pt x="17" y="793"/>
                    <a:pt x="17" y="793"/>
                    <a:pt x="17" y="793"/>
                  </a:cubicBezTo>
                  <a:cubicBezTo>
                    <a:pt x="22" y="792"/>
                    <a:pt x="22" y="792"/>
                    <a:pt x="22" y="792"/>
                  </a:cubicBezTo>
                  <a:cubicBezTo>
                    <a:pt x="22" y="789"/>
                    <a:pt x="22" y="789"/>
                    <a:pt x="22" y="789"/>
                  </a:cubicBezTo>
                  <a:cubicBezTo>
                    <a:pt x="25" y="791"/>
                    <a:pt x="25" y="791"/>
                    <a:pt x="25" y="791"/>
                  </a:cubicBezTo>
                  <a:cubicBezTo>
                    <a:pt x="23" y="794"/>
                    <a:pt x="23" y="794"/>
                    <a:pt x="23" y="794"/>
                  </a:cubicBezTo>
                  <a:cubicBezTo>
                    <a:pt x="24" y="796"/>
                    <a:pt x="24" y="796"/>
                    <a:pt x="24" y="796"/>
                  </a:cubicBezTo>
                  <a:cubicBezTo>
                    <a:pt x="32" y="788"/>
                    <a:pt x="32" y="788"/>
                    <a:pt x="32" y="788"/>
                  </a:cubicBezTo>
                  <a:cubicBezTo>
                    <a:pt x="30" y="784"/>
                    <a:pt x="30" y="784"/>
                    <a:pt x="30" y="784"/>
                  </a:cubicBezTo>
                  <a:cubicBezTo>
                    <a:pt x="26" y="785"/>
                    <a:pt x="26" y="785"/>
                    <a:pt x="26" y="785"/>
                  </a:cubicBezTo>
                  <a:cubicBezTo>
                    <a:pt x="31" y="782"/>
                    <a:pt x="31" y="782"/>
                    <a:pt x="31" y="782"/>
                  </a:cubicBezTo>
                  <a:cubicBezTo>
                    <a:pt x="32" y="778"/>
                    <a:pt x="32" y="778"/>
                    <a:pt x="32" y="778"/>
                  </a:cubicBezTo>
                  <a:cubicBezTo>
                    <a:pt x="34" y="783"/>
                    <a:pt x="34" y="783"/>
                    <a:pt x="34" y="783"/>
                  </a:cubicBezTo>
                  <a:cubicBezTo>
                    <a:pt x="39" y="784"/>
                    <a:pt x="39" y="784"/>
                    <a:pt x="39" y="784"/>
                  </a:cubicBezTo>
                  <a:cubicBezTo>
                    <a:pt x="35" y="785"/>
                    <a:pt x="35" y="785"/>
                    <a:pt x="35" y="785"/>
                  </a:cubicBezTo>
                  <a:cubicBezTo>
                    <a:pt x="36" y="788"/>
                    <a:pt x="36" y="788"/>
                    <a:pt x="36" y="788"/>
                  </a:cubicBezTo>
                  <a:cubicBezTo>
                    <a:pt x="41" y="786"/>
                    <a:pt x="41" y="786"/>
                    <a:pt x="41" y="786"/>
                  </a:cubicBezTo>
                  <a:cubicBezTo>
                    <a:pt x="43" y="780"/>
                    <a:pt x="43" y="780"/>
                    <a:pt x="43" y="780"/>
                  </a:cubicBezTo>
                  <a:cubicBezTo>
                    <a:pt x="45" y="778"/>
                    <a:pt x="45" y="778"/>
                    <a:pt x="45" y="778"/>
                  </a:cubicBezTo>
                  <a:cubicBezTo>
                    <a:pt x="47" y="773"/>
                    <a:pt x="47" y="773"/>
                    <a:pt x="47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7" y="780"/>
                    <a:pt x="47" y="780"/>
                    <a:pt x="47" y="780"/>
                  </a:cubicBezTo>
                  <a:cubicBezTo>
                    <a:pt x="52" y="777"/>
                    <a:pt x="52" y="777"/>
                    <a:pt x="52" y="777"/>
                  </a:cubicBezTo>
                  <a:cubicBezTo>
                    <a:pt x="52" y="778"/>
                    <a:pt x="52" y="778"/>
                    <a:pt x="52" y="778"/>
                  </a:cubicBezTo>
                  <a:cubicBezTo>
                    <a:pt x="45" y="782"/>
                    <a:pt x="45" y="782"/>
                    <a:pt x="45" y="782"/>
                  </a:cubicBezTo>
                  <a:cubicBezTo>
                    <a:pt x="44" y="788"/>
                    <a:pt x="44" y="788"/>
                    <a:pt x="44" y="788"/>
                  </a:cubicBezTo>
                  <a:cubicBezTo>
                    <a:pt x="38" y="790"/>
                    <a:pt x="38" y="790"/>
                    <a:pt x="38" y="790"/>
                  </a:cubicBezTo>
                  <a:cubicBezTo>
                    <a:pt x="40" y="792"/>
                    <a:pt x="40" y="792"/>
                    <a:pt x="40" y="792"/>
                  </a:cubicBezTo>
                  <a:cubicBezTo>
                    <a:pt x="40" y="792"/>
                    <a:pt x="41" y="790"/>
                    <a:pt x="44" y="791"/>
                  </a:cubicBezTo>
                  <a:cubicBezTo>
                    <a:pt x="46" y="792"/>
                    <a:pt x="41" y="796"/>
                    <a:pt x="41" y="796"/>
                  </a:cubicBezTo>
                  <a:cubicBezTo>
                    <a:pt x="49" y="793"/>
                    <a:pt x="49" y="793"/>
                    <a:pt x="49" y="793"/>
                  </a:cubicBezTo>
                  <a:cubicBezTo>
                    <a:pt x="49" y="793"/>
                    <a:pt x="42" y="797"/>
                    <a:pt x="41" y="798"/>
                  </a:cubicBezTo>
                  <a:cubicBezTo>
                    <a:pt x="39" y="799"/>
                    <a:pt x="36" y="803"/>
                    <a:pt x="36" y="803"/>
                  </a:cubicBezTo>
                  <a:cubicBezTo>
                    <a:pt x="38" y="805"/>
                    <a:pt x="38" y="805"/>
                    <a:pt x="38" y="805"/>
                  </a:cubicBezTo>
                  <a:cubicBezTo>
                    <a:pt x="31" y="807"/>
                    <a:pt x="31" y="807"/>
                    <a:pt x="31" y="807"/>
                  </a:cubicBezTo>
                  <a:cubicBezTo>
                    <a:pt x="34" y="813"/>
                    <a:pt x="34" y="813"/>
                    <a:pt x="34" y="813"/>
                  </a:cubicBezTo>
                  <a:cubicBezTo>
                    <a:pt x="35" y="817"/>
                    <a:pt x="35" y="817"/>
                    <a:pt x="35" y="817"/>
                  </a:cubicBezTo>
                  <a:cubicBezTo>
                    <a:pt x="43" y="813"/>
                    <a:pt x="43" y="813"/>
                    <a:pt x="43" y="813"/>
                  </a:cubicBezTo>
                  <a:cubicBezTo>
                    <a:pt x="50" y="814"/>
                    <a:pt x="50" y="814"/>
                    <a:pt x="50" y="814"/>
                  </a:cubicBezTo>
                  <a:cubicBezTo>
                    <a:pt x="44" y="815"/>
                    <a:pt x="44" y="815"/>
                    <a:pt x="44" y="815"/>
                  </a:cubicBezTo>
                  <a:cubicBezTo>
                    <a:pt x="38" y="819"/>
                    <a:pt x="38" y="819"/>
                    <a:pt x="38" y="819"/>
                  </a:cubicBezTo>
                  <a:cubicBezTo>
                    <a:pt x="38" y="822"/>
                    <a:pt x="38" y="822"/>
                    <a:pt x="38" y="822"/>
                  </a:cubicBezTo>
                  <a:cubicBezTo>
                    <a:pt x="30" y="816"/>
                    <a:pt x="30" y="816"/>
                    <a:pt x="30" y="816"/>
                  </a:cubicBezTo>
                  <a:cubicBezTo>
                    <a:pt x="25" y="820"/>
                    <a:pt x="25" y="820"/>
                    <a:pt x="25" y="820"/>
                  </a:cubicBezTo>
                  <a:cubicBezTo>
                    <a:pt x="25" y="814"/>
                    <a:pt x="25" y="814"/>
                    <a:pt x="25" y="814"/>
                  </a:cubicBezTo>
                  <a:cubicBezTo>
                    <a:pt x="19" y="812"/>
                    <a:pt x="19" y="812"/>
                    <a:pt x="19" y="812"/>
                  </a:cubicBezTo>
                  <a:cubicBezTo>
                    <a:pt x="20" y="820"/>
                    <a:pt x="20" y="820"/>
                    <a:pt x="20" y="820"/>
                  </a:cubicBezTo>
                  <a:cubicBezTo>
                    <a:pt x="18" y="821"/>
                    <a:pt x="18" y="821"/>
                    <a:pt x="18" y="821"/>
                  </a:cubicBezTo>
                  <a:cubicBezTo>
                    <a:pt x="17" y="824"/>
                    <a:pt x="17" y="824"/>
                    <a:pt x="17" y="824"/>
                  </a:cubicBezTo>
                  <a:cubicBezTo>
                    <a:pt x="14" y="829"/>
                    <a:pt x="14" y="829"/>
                    <a:pt x="14" y="829"/>
                  </a:cubicBezTo>
                  <a:cubicBezTo>
                    <a:pt x="14" y="829"/>
                    <a:pt x="18" y="841"/>
                    <a:pt x="23" y="844"/>
                  </a:cubicBezTo>
                  <a:cubicBezTo>
                    <a:pt x="26" y="847"/>
                    <a:pt x="29" y="849"/>
                    <a:pt x="31" y="853"/>
                  </a:cubicBezTo>
                  <a:cubicBezTo>
                    <a:pt x="33" y="857"/>
                    <a:pt x="49" y="863"/>
                    <a:pt x="49" y="863"/>
                  </a:cubicBezTo>
                  <a:cubicBezTo>
                    <a:pt x="50" y="866"/>
                    <a:pt x="50" y="866"/>
                    <a:pt x="50" y="866"/>
                  </a:cubicBezTo>
                  <a:cubicBezTo>
                    <a:pt x="53" y="862"/>
                    <a:pt x="53" y="862"/>
                    <a:pt x="53" y="862"/>
                  </a:cubicBezTo>
                  <a:cubicBezTo>
                    <a:pt x="58" y="865"/>
                    <a:pt x="58" y="865"/>
                    <a:pt x="58" y="865"/>
                  </a:cubicBezTo>
                  <a:cubicBezTo>
                    <a:pt x="48" y="872"/>
                    <a:pt x="48" y="872"/>
                    <a:pt x="48" y="872"/>
                  </a:cubicBezTo>
                  <a:cubicBezTo>
                    <a:pt x="50" y="876"/>
                    <a:pt x="50" y="876"/>
                    <a:pt x="50" y="876"/>
                  </a:cubicBezTo>
                  <a:cubicBezTo>
                    <a:pt x="58" y="876"/>
                    <a:pt x="58" y="876"/>
                    <a:pt x="58" y="876"/>
                  </a:cubicBezTo>
                  <a:cubicBezTo>
                    <a:pt x="56" y="873"/>
                    <a:pt x="56" y="873"/>
                    <a:pt x="56" y="873"/>
                  </a:cubicBezTo>
                  <a:cubicBezTo>
                    <a:pt x="60" y="871"/>
                    <a:pt x="60" y="871"/>
                    <a:pt x="60" y="871"/>
                  </a:cubicBezTo>
                  <a:cubicBezTo>
                    <a:pt x="65" y="873"/>
                    <a:pt x="65" y="873"/>
                    <a:pt x="65" y="873"/>
                  </a:cubicBezTo>
                  <a:cubicBezTo>
                    <a:pt x="60" y="875"/>
                    <a:pt x="60" y="875"/>
                    <a:pt x="60" y="875"/>
                  </a:cubicBezTo>
                  <a:cubicBezTo>
                    <a:pt x="64" y="879"/>
                    <a:pt x="64" y="879"/>
                    <a:pt x="64" y="879"/>
                  </a:cubicBezTo>
                  <a:cubicBezTo>
                    <a:pt x="68" y="877"/>
                    <a:pt x="68" y="877"/>
                    <a:pt x="68" y="877"/>
                  </a:cubicBezTo>
                  <a:cubicBezTo>
                    <a:pt x="68" y="877"/>
                    <a:pt x="74" y="880"/>
                    <a:pt x="80" y="880"/>
                  </a:cubicBezTo>
                  <a:cubicBezTo>
                    <a:pt x="85" y="880"/>
                    <a:pt x="88" y="878"/>
                    <a:pt x="92" y="877"/>
                  </a:cubicBezTo>
                  <a:cubicBezTo>
                    <a:pt x="96" y="876"/>
                    <a:pt x="101" y="870"/>
                    <a:pt x="101" y="870"/>
                  </a:cubicBezTo>
                  <a:cubicBezTo>
                    <a:pt x="101" y="877"/>
                    <a:pt x="101" y="877"/>
                    <a:pt x="101" y="877"/>
                  </a:cubicBezTo>
                  <a:cubicBezTo>
                    <a:pt x="124" y="857"/>
                    <a:pt x="124" y="857"/>
                    <a:pt x="124" y="857"/>
                  </a:cubicBezTo>
                  <a:cubicBezTo>
                    <a:pt x="124" y="853"/>
                    <a:pt x="124" y="853"/>
                    <a:pt x="124" y="853"/>
                  </a:cubicBezTo>
                  <a:cubicBezTo>
                    <a:pt x="142" y="839"/>
                    <a:pt x="142" y="839"/>
                    <a:pt x="142" y="839"/>
                  </a:cubicBezTo>
                  <a:cubicBezTo>
                    <a:pt x="141" y="835"/>
                    <a:pt x="141" y="835"/>
                    <a:pt x="141" y="835"/>
                  </a:cubicBezTo>
                  <a:cubicBezTo>
                    <a:pt x="145" y="836"/>
                    <a:pt x="145" y="836"/>
                    <a:pt x="145" y="836"/>
                  </a:cubicBezTo>
                  <a:cubicBezTo>
                    <a:pt x="150" y="830"/>
                    <a:pt x="150" y="830"/>
                    <a:pt x="150" y="830"/>
                  </a:cubicBezTo>
                  <a:cubicBezTo>
                    <a:pt x="146" y="828"/>
                    <a:pt x="146" y="828"/>
                    <a:pt x="146" y="828"/>
                  </a:cubicBezTo>
                  <a:cubicBezTo>
                    <a:pt x="161" y="817"/>
                    <a:pt x="161" y="817"/>
                    <a:pt x="161" y="817"/>
                  </a:cubicBezTo>
                  <a:cubicBezTo>
                    <a:pt x="156" y="810"/>
                    <a:pt x="156" y="810"/>
                    <a:pt x="156" y="810"/>
                  </a:cubicBezTo>
                  <a:cubicBezTo>
                    <a:pt x="159" y="812"/>
                    <a:pt x="159" y="812"/>
                    <a:pt x="159" y="812"/>
                  </a:cubicBezTo>
                  <a:cubicBezTo>
                    <a:pt x="167" y="821"/>
                    <a:pt x="167" y="821"/>
                    <a:pt x="167" y="821"/>
                  </a:cubicBezTo>
                  <a:cubicBezTo>
                    <a:pt x="180" y="817"/>
                    <a:pt x="180" y="817"/>
                    <a:pt x="180" y="817"/>
                  </a:cubicBezTo>
                  <a:cubicBezTo>
                    <a:pt x="181" y="805"/>
                    <a:pt x="181" y="805"/>
                    <a:pt x="181" y="805"/>
                  </a:cubicBezTo>
                  <a:cubicBezTo>
                    <a:pt x="184" y="808"/>
                    <a:pt x="184" y="808"/>
                    <a:pt x="184" y="808"/>
                  </a:cubicBezTo>
                  <a:cubicBezTo>
                    <a:pt x="188" y="806"/>
                    <a:pt x="188" y="806"/>
                    <a:pt x="188" y="806"/>
                  </a:cubicBezTo>
                  <a:cubicBezTo>
                    <a:pt x="186" y="803"/>
                    <a:pt x="186" y="803"/>
                    <a:pt x="186" y="803"/>
                  </a:cubicBezTo>
                  <a:cubicBezTo>
                    <a:pt x="189" y="803"/>
                    <a:pt x="189" y="803"/>
                    <a:pt x="189" y="803"/>
                  </a:cubicBezTo>
                  <a:cubicBezTo>
                    <a:pt x="188" y="791"/>
                    <a:pt x="188" y="791"/>
                    <a:pt x="188" y="791"/>
                  </a:cubicBezTo>
                  <a:cubicBezTo>
                    <a:pt x="182" y="789"/>
                    <a:pt x="182" y="789"/>
                    <a:pt x="182" y="789"/>
                  </a:cubicBezTo>
                  <a:cubicBezTo>
                    <a:pt x="179" y="782"/>
                    <a:pt x="179" y="782"/>
                    <a:pt x="179" y="782"/>
                  </a:cubicBezTo>
                  <a:cubicBezTo>
                    <a:pt x="183" y="785"/>
                    <a:pt x="183" y="785"/>
                    <a:pt x="183" y="785"/>
                  </a:cubicBezTo>
                  <a:cubicBezTo>
                    <a:pt x="183" y="776"/>
                    <a:pt x="183" y="776"/>
                    <a:pt x="183" y="776"/>
                  </a:cubicBezTo>
                  <a:cubicBezTo>
                    <a:pt x="178" y="771"/>
                    <a:pt x="178" y="771"/>
                    <a:pt x="178" y="771"/>
                  </a:cubicBezTo>
                  <a:cubicBezTo>
                    <a:pt x="181" y="770"/>
                    <a:pt x="181" y="770"/>
                    <a:pt x="181" y="770"/>
                  </a:cubicBezTo>
                  <a:cubicBezTo>
                    <a:pt x="186" y="773"/>
                    <a:pt x="186" y="773"/>
                    <a:pt x="186" y="773"/>
                  </a:cubicBezTo>
                  <a:cubicBezTo>
                    <a:pt x="186" y="785"/>
                    <a:pt x="186" y="785"/>
                    <a:pt x="186" y="785"/>
                  </a:cubicBezTo>
                  <a:cubicBezTo>
                    <a:pt x="186" y="785"/>
                    <a:pt x="191" y="784"/>
                    <a:pt x="192" y="781"/>
                  </a:cubicBezTo>
                  <a:cubicBezTo>
                    <a:pt x="192" y="776"/>
                    <a:pt x="189" y="773"/>
                    <a:pt x="189" y="773"/>
                  </a:cubicBezTo>
                  <a:cubicBezTo>
                    <a:pt x="189" y="773"/>
                    <a:pt x="189" y="767"/>
                    <a:pt x="190" y="762"/>
                  </a:cubicBezTo>
                  <a:cubicBezTo>
                    <a:pt x="190" y="758"/>
                    <a:pt x="197" y="759"/>
                    <a:pt x="199" y="762"/>
                  </a:cubicBezTo>
                  <a:cubicBezTo>
                    <a:pt x="200" y="765"/>
                    <a:pt x="197" y="769"/>
                    <a:pt x="197" y="769"/>
                  </a:cubicBezTo>
                  <a:cubicBezTo>
                    <a:pt x="195" y="764"/>
                    <a:pt x="195" y="764"/>
                    <a:pt x="195" y="764"/>
                  </a:cubicBezTo>
                  <a:cubicBezTo>
                    <a:pt x="193" y="769"/>
                    <a:pt x="193" y="769"/>
                    <a:pt x="193" y="769"/>
                  </a:cubicBezTo>
                  <a:cubicBezTo>
                    <a:pt x="194" y="776"/>
                    <a:pt x="194" y="776"/>
                    <a:pt x="194" y="776"/>
                  </a:cubicBezTo>
                  <a:cubicBezTo>
                    <a:pt x="194" y="788"/>
                    <a:pt x="194" y="788"/>
                    <a:pt x="194" y="788"/>
                  </a:cubicBezTo>
                  <a:cubicBezTo>
                    <a:pt x="192" y="789"/>
                    <a:pt x="192" y="789"/>
                    <a:pt x="192" y="789"/>
                  </a:cubicBezTo>
                  <a:cubicBezTo>
                    <a:pt x="195" y="800"/>
                    <a:pt x="195" y="800"/>
                    <a:pt x="195" y="800"/>
                  </a:cubicBezTo>
                  <a:cubicBezTo>
                    <a:pt x="198" y="798"/>
                    <a:pt x="198" y="798"/>
                    <a:pt x="198" y="798"/>
                  </a:cubicBezTo>
                  <a:cubicBezTo>
                    <a:pt x="199" y="809"/>
                    <a:pt x="199" y="809"/>
                    <a:pt x="199" y="809"/>
                  </a:cubicBezTo>
                  <a:cubicBezTo>
                    <a:pt x="208" y="810"/>
                    <a:pt x="208" y="810"/>
                    <a:pt x="208" y="810"/>
                  </a:cubicBezTo>
                  <a:cubicBezTo>
                    <a:pt x="211" y="808"/>
                    <a:pt x="211" y="808"/>
                    <a:pt x="211" y="808"/>
                  </a:cubicBezTo>
                  <a:cubicBezTo>
                    <a:pt x="212" y="814"/>
                    <a:pt x="212" y="814"/>
                    <a:pt x="212" y="814"/>
                  </a:cubicBezTo>
                  <a:cubicBezTo>
                    <a:pt x="212" y="814"/>
                    <a:pt x="220" y="809"/>
                    <a:pt x="221" y="814"/>
                  </a:cubicBezTo>
                  <a:cubicBezTo>
                    <a:pt x="222" y="819"/>
                    <a:pt x="219" y="828"/>
                    <a:pt x="223" y="828"/>
                  </a:cubicBezTo>
                  <a:cubicBezTo>
                    <a:pt x="227" y="828"/>
                    <a:pt x="228" y="822"/>
                    <a:pt x="230" y="815"/>
                  </a:cubicBezTo>
                  <a:cubicBezTo>
                    <a:pt x="232" y="808"/>
                    <a:pt x="236" y="800"/>
                    <a:pt x="236" y="800"/>
                  </a:cubicBezTo>
                  <a:cubicBezTo>
                    <a:pt x="236" y="800"/>
                    <a:pt x="227" y="782"/>
                    <a:pt x="230" y="780"/>
                  </a:cubicBezTo>
                  <a:cubicBezTo>
                    <a:pt x="232" y="776"/>
                    <a:pt x="238" y="777"/>
                    <a:pt x="238" y="773"/>
                  </a:cubicBezTo>
                  <a:cubicBezTo>
                    <a:pt x="239" y="768"/>
                    <a:pt x="232" y="767"/>
                    <a:pt x="237" y="764"/>
                  </a:cubicBezTo>
                  <a:cubicBezTo>
                    <a:pt x="241" y="760"/>
                    <a:pt x="252" y="766"/>
                    <a:pt x="256" y="754"/>
                  </a:cubicBezTo>
                  <a:cubicBezTo>
                    <a:pt x="259" y="741"/>
                    <a:pt x="255" y="738"/>
                    <a:pt x="256" y="734"/>
                  </a:cubicBezTo>
                  <a:cubicBezTo>
                    <a:pt x="257" y="729"/>
                    <a:pt x="265" y="733"/>
                    <a:pt x="262" y="725"/>
                  </a:cubicBezTo>
                  <a:cubicBezTo>
                    <a:pt x="260" y="718"/>
                    <a:pt x="254" y="704"/>
                    <a:pt x="254" y="704"/>
                  </a:cubicBezTo>
                  <a:cubicBezTo>
                    <a:pt x="252" y="695"/>
                    <a:pt x="252" y="695"/>
                    <a:pt x="252" y="695"/>
                  </a:cubicBezTo>
                  <a:cubicBezTo>
                    <a:pt x="247" y="689"/>
                    <a:pt x="247" y="689"/>
                    <a:pt x="247" y="689"/>
                  </a:cubicBezTo>
                  <a:cubicBezTo>
                    <a:pt x="256" y="686"/>
                    <a:pt x="256" y="686"/>
                    <a:pt x="256" y="686"/>
                  </a:cubicBezTo>
                  <a:cubicBezTo>
                    <a:pt x="256" y="686"/>
                    <a:pt x="264" y="692"/>
                    <a:pt x="266" y="680"/>
                  </a:cubicBezTo>
                  <a:cubicBezTo>
                    <a:pt x="270" y="668"/>
                    <a:pt x="269" y="664"/>
                    <a:pt x="265" y="660"/>
                  </a:cubicBezTo>
                  <a:cubicBezTo>
                    <a:pt x="261" y="657"/>
                    <a:pt x="256" y="654"/>
                    <a:pt x="256" y="654"/>
                  </a:cubicBezTo>
                  <a:cubicBezTo>
                    <a:pt x="246" y="644"/>
                    <a:pt x="246" y="644"/>
                    <a:pt x="246" y="644"/>
                  </a:cubicBezTo>
                  <a:cubicBezTo>
                    <a:pt x="252" y="609"/>
                    <a:pt x="252" y="609"/>
                    <a:pt x="252" y="609"/>
                  </a:cubicBezTo>
                  <a:cubicBezTo>
                    <a:pt x="244" y="586"/>
                    <a:pt x="244" y="586"/>
                    <a:pt x="244" y="586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4" y="567"/>
                    <a:pt x="244" y="567"/>
                    <a:pt x="244" y="567"/>
                  </a:cubicBezTo>
                  <a:cubicBezTo>
                    <a:pt x="248" y="561"/>
                    <a:pt x="248" y="561"/>
                    <a:pt x="248" y="561"/>
                  </a:cubicBezTo>
                  <a:cubicBezTo>
                    <a:pt x="241" y="542"/>
                    <a:pt x="241" y="542"/>
                    <a:pt x="241" y="542"/>
                  </a:cubicBezTo>
                  <a:cubicBezTo>
                    <a:pt x="249" y="531"/>
                    <a:pt x="249" y="531"/>
                    <a:pt x="249" y="531"/>
                  </a:cubicBezTo>
                  <a:cubicBezTo>
                    <a:pt x="246" y="522"/>
                    <a:pt x="246" y="522"/>
                    <a:pt x="246" y="522"/>
                  </a:cubicBezTo>
                  <a:cubicBezTo>
                    <a:pt x="246" y="522"/>
                    <a:pt x="258" y="494"/>
                    <a:pt x="270" y="491"/>
                  </a:cubicBezTo>
                  <a:cubicBezTo>
                    <a:pt x="280" y="488"/>
                    <a:pt x="300" y="494"/>
                    <a:pt x="300" y="494"/>
                  </a:cubicBezTo>
                  <a:cubicBezTo>
                    <a:pt x="305" y="482"/>
                    <a:pt x="305" y="482"/>
                    <a:pt x="305" y="48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309" y="425"/>
                    <a:pt x="309" y="425"/>
                    <a:pt x="309" y="425"/>
                  </a:cubicBezTo>
                  <a:cubicBezTo>
                    <a:pt x="310" y="415"/>
                    <a:pt x="310" y="415"/>
                    <a:pt x="310" y="415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3" y="390"/>
                    <a:pt x="313" y="390"/>
                    <a:pt x="313" y="390"/>
                  </a:cubicBezTo>
                  <a:cubicBezTo>
                    <a:pt x="315" y="378"/>
                    <a:pt x="315" y="378"/>
                    <a:pt x="315" y="378"/>
                  </a:cubicBezTo>
                  <a:cubicBezTo>
                    <a:pt x="311" y="358"/>
                    <a:pt x="311" y="358"/>
                    <a:pt x="311" y="358"/>
                  </a:cubicBezTo>
                  <a:cubicBezTo>
                    <a:pt x="324" y="356"/>
                    <a:pt x="324" y="356"/>
                    <a:pt x="324" y="356"/>
                  </a:cubicBezTo>
                  <a:cubicBezTo>
                    <a:pt x="337" y="346"/>
                    <a:pt x="337" y="346"/>
                    <a:pt x="337" y="346"/>
                  </a:cubicBezTo>
                  <a:cubicBezTo>
                    <a:pt x="334" y="333"/>
                    <a:pt x="334" y="333"/>
                    <a:pt x="334" y="333"/>
                  </a:cubicBezTo>
                  <a:cubicBezTo>
                    <a:pt x="334" y="333"/>
                    <a:pt x="339" y="332"/>
                    <a:pt x="341" y="326"/>
                  </a:cubicBezTo>
                  <a:cubicBezTo>
                    <a:pt x="343" y="319"/>
                    <a:pt x="341" y="314"/>
                    <a:pt x="347" y="308"/>
                  </a:cubicBezTo>
                  <a:cubicBezTo>
                    <a:pt x="355" y="300"/>
                    <a:pt x="361" y="298"/>
                    <a:pt x="359" y="292"/>
                  </a:cubicBezTo>
                  <a:cubicBezTo>
                    <a:pt x="358" y="284"/>
                    <a:pt x="351" y="273"/>
                    <a:pt x="351" y="273"/>
                  </a:cubicBezTo>
                  <a:cubicBezTo>
                    <a:pt x="351" y="266"/>
                    <a:pt x="351" y="266"/>
                    <a:pt x="351" y="266"/>
                  </a:cubicBezTo>
                  <a:cubicBezTo>
                    <a:pt x="351" y="266"/>
                    <a:pt x="359" y="268"/>
                    <a:pt x="360" y="263"/>
                  </a:cubicBezTo>
                  <a:cubicBezTo>
                    <a:pt x="360" y="258"/>
                    <a:pt x="364" y="241"/>
                    <a:pt x="364" y="241"/>
                  </a:cubicBezTo>
                  <a:cubicBezTo>
                    <a:pt x="378" y="226"/>
                    <a:pt x="378" y="226"/>
                    <a:pt x="378" y="226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4" y="234"/>
                    <a:pt x="397" y="223"/>
                    <a:pt x="399" y="218"/>
                  </a:cubicBezTo>
                  <a:cubicBezTo>
                    <a:pt x="400" y="213"/>
                    <a:pt x="397" y="198"/>
                    <a:pt x="397" y="198"/>
                  </a:cubicBezTo>
                  <a:cubicBezTo>
                    <a:pt x="405" y="193"/>
                    <a:pt x="405" y="193"/>
                    <a:pt x="405" y="193"/>
                  </a:cubicBezTo>
                  <a:cubicBezTo>
                    <a:pt x="409" y="198"/>
                    <a:pt x="409" y="198"/>
                    <a:pt x="409" y="198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43" y="205"/>
                    <a:pt x="443" y="205"/>
                    <a:pt x="443" y="205"/>
                  </a:cubicBezTo>
                  <a:cubicBezTo>
                    <a:pt x="450" y="195"/>
                    <a:pt x="450" y="195"/>
                    <a:pt x="450" y="195"/>
                  </a:cubicBezTo>
                  <a:cubicBezTo>
                    <a:pt x="442" y="191"/>
                    <a:pt x="442" y="191"/>
                    <a:pt x="442" y="191"/>
                  </a:cubicBezTo>
                  <a:cubicBezTo>
                    <a:pt x="442" y="191"/>
                    <a:pt x="450" y="182"/>
                    <a:pt x="449" y="174"/>
                  </a:cubicBezTo>
                  <a:cubicBezTo>
                    <a:pt x="448" y="168"/>
                    <a:pt x="441" y="159"/>
                    <a:pt x="441" y="159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5" y="154"/>
                    <a:pt x="455" y="154"/>
                    <a:pt x="455" y="154"/>
                  </a:cubicBezTo>
                  <a:cubicBezTo>
                    <a:pt x="455" y="154"/>
                    <a:pt x="464" y="159"/>
                    <a:pt x="466" y="157"/>
                  </a:cubicBezTo>
                  <a:cubicBezTo>
                    <a:pt x="467" y="155"/>
                    <a:pt x="459" y="148"/>
                    <a:pt x="465" y="144"/>
                  </a:cubicBezTo>
                  <a:cubicBezTo>
                    <a:pt x="469" y="139"/>
                    <a:pt x="478" y="142"/>
                    <a:pt x="478" y="142"/>
                  </a:cubicBezTo>
                  <a:cubicBezTo>
                    <a:pt x="478" y="142"/>
                    <a:pt x="485" y="152"/>
                    <a:pt x="490" y="157"/>
                  </a:cubicBezTo>
                  <a:cubicBezTo>
                    <a:pt x="497" y="163"/>
                    <a:pt x="499" y="172"/>
                    <a:pt x="499" y="172"/>
                  </a:cubicBezTo>
                  <a:cubicBezTo>
                    <a:pt x="504" y="171"/>
                    <a:pt x="504" y="171"/>
                    <a:pt x="504" y="171"/>
                  </a:cubicBezTo>
                  <a:cubicBezTo>
                    <a:pt x="515" y="171"/>
                    <a:pt x="515" y="171"/>
                    <a:pt x="515" y="171"/>
                  </a:cubicBezTo>
                  <a:cubicBezTo>
                    <a:pt x="522" y="175"/>
                    <a:pt x="522" y="175"/>
                    <a:pt x="522" y="175"/>
                  </a:cubicBezTo>
                  <a:cubicBezTo>
                    <a:pt x="531" y="169"/>
                    <a:pt x="531" y="169"/>
                    <a:pt x="531" y="169"/>
                  </a:cubicBezTo>
                  <a:cubicBezTo>
                    <a:pt x="531" y="169"/>
                    <a:pt x="533" y="161"/>
                    <a:pt x="539" y="161"/>
                  </a:cubicBezTo>
                  <a:cubicBezTo>
                    <a:pt x="544" y="161"/>
                    <a:pt x="546" y="166"/>
                    <a:pt x="546" y="166"/>
                  </a:cubicBezTo>
                  <a:cubicBezTo>
                    <a:pt x="558" y="167"/>
                    <a:pt x="558" y="167"/>
                    <a:pt x="558" y="167"/>
                  </a:cubicBezTo>
                  <a:cubicBezTo>
                    <a:pt x="565" y="174"/>
                    <a:pt x="565" y="174"/>
                    <a:pt x="565" y="174"/>
                  </a:cubicBezTo>
                  <a:cubicBezTo>
                    <a:pt x="565" y="174"/>
                    <a:pt x="567" y="161"/>
                    <a:pt x="570" y="157"/>
                  </a:cubicBezTo>
                  <a:cubicBezTo>
                    <a:pt x="572" y="154"/>
                    <a:pt x="575" y="150"/>
                    <a:pt x="575" y="144"/>
                  </a:cubicBezTo>
                  <a:cubicBezTo>
                    <a:pt x="574" y="139"/>
                    <a:pt x="572" y="130"/>
                    <a:pt x="572" y="130"/>
                  </a:cubicBezTo>
                  <a:cubicBezTo>
                    <a:pt x="574" y="97"/>
                    <a:pt x="574" y="97"/>
                    <a:pt x="574" y="97"/>
                  </a:cubicBezTo>
                  <a:cubicBezTo>
                    <a:pt x="577" y="93"/>
                    <a:pt x="577" y="93"/>
                    <a:pt x="577" y="93"/>
                  </a:cubicBezTo>
                  <a:cubicBezTo>
                    <a:pt x="577" y="93"/>
                    <a:pt x="576" y="81"/>
                    <a:pt x="582" y="79"/>
                  </a:cubicBezTo>
                  <a:cubicBezTo>
                    <a:pt x="588" y="76"/>
                    <a:pt x="595" y="78"/>
                    <a:pt x="595" y="78"/>
                  </a:cubicBezTo>
                  <a:cubicBezTo>
                    <a:pt x="595" y="78"/>
                    <a:pt x="604" y="66"/>
                    <a:pt x="610" y="65"/>
                  </a:cubicBezTo>
                  <a:cubicBezTo>
                    <a:pt x="616" y="64"/>
                    <a:pt x="625" y="77"/>
                    <a:pt x="625" y="77"/>
                  </a:cubicBezTo>
                  <a:cubicBezTo>
                    <a:pt x="648" y="80"/>
                    <a:pt x="648" y="80"/>
                    <a:pt x="648" y="80"/>
                  </a:cubicBezTo>
                  <a:cubicBezTo>
                    <a:pt x="655" y="91"/>
                    <a:pt x="655" y="91"/>
                    <a:pt x="655" y="91"/>
                  </a:cubicBezTo>
                  <a:cubicBezTo>
                    <a:pt x="655" y="91"/>
                    <a:pt x="647" y="105"/>
                    <a:pt x="647" y="110"/>
                  </a:cubicBezTo>
                  <a:cubicBezTo>
                    <a:pt x="647" y="116"/>
                    <a:pt x="650" y="121"/>
                    <a:pt x="650" y="121"/>
                  </a:cubicBezTo>
                  <a:cubicBezTo>
                    <a:pt x="650" y="121"/>
                    <a:pt x="654" y="125"/>
                    <a:pt x="656" y="123"/>
                  </a:cubicBezTo>
                  <a:cubicBezTo>
                    <a:pt x="659" y="121"/>
                    <a:pt x="658" y="107"/>
                    <a:pt x="658" y="107"/>
                  </a:cubicBezTo>
                  <a:cubicBezTo>
                    <a:pt x="658" y="107"/>
                    <a:pt x="655" y="108"/>
                    <a:pt x="656" y="105"/>
                  </a:cubicBezTo>
                  <a:cubicBezTo>
                    <a:pt x="657" y="102"/>
                    <a:pt x="661" y="102"/>
                    <a:pt x="663" y="100"/>
                  </a:cubicBezTo>
                  <a:cubicBezTo>
                    <a:pt x="666" y="98"/>
                    <a:pt x="665" y="93"/>
                    <a:pt x="666" y="93"/>
                  </a:cubicBezTo>
                  <a:cubicBezTo>
                    <a:pt x="668" y="92"/>
                    <a:pt x="674" y="94"/>
                    <a:pt x="674" y="90"/>
                  </a:cubicBezTo>
                  <a:cubicBezTo>
                    <a:pt x="674" y="85"/>
                    <a:pt x="669" y="78"/>
                    <a:pt x="669" y="78"/>
                  </a:cubicBezTo>
                  <a:cubicBezTo>
                    <a:pt x="669" y="78"/>
                    <a:pt x="673" y="78"/>
                    <a:pt x="675" y="79"/>
                  </a:cubicBezTo>
                  <a:cubicBezTo>
                    <a:pt x="678" y="79"/>
                    <a:pt x="685" y="87"/>
                    <a:pt x="687" y="80"/>
                  </a:cubicBezTo>
                  <a:cubicBezTo>
                    <a:pt x="690" y="74"/>
                    <a:pt x="685" y="71"/>
                    <a:pt x="685" y="71"/>
                  </a:cubicBezTo>
                  <a:close/>
                  <a:moveTo>
                    <a:pt x="8" y="787"/>
                  </a:moveTo>
                  <a:cubicBezTo>
                    <a:pt x="8" y="787"/>
                    <a:pt x="7" y="793"/>
                    <a:pt x="8" y="794"/>
                  </a:cubicBezTo>
                  <a:cubicBezTo>
                    <a:pt x="9" y="796"/>
                    <a:pt x="6" y="800"/>
                    <a:pt x="6" y="800"/>
                  </a:cubicBezTo>
                  <a:cubicBezTo>
                    <a:pt x="9" y="800"/>
                    <a:pt x="9" y="800"/>
                    <a:pt x="9" y="800"/>
                  </a:cubicBezTo>
                  <a:cubicBezTo>
                    <a:pt x="11" y="798"/>
                    <a:pt x="11" y="798"/>
                    <a:pt x="11" y="798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0" y="785"/>
                    <a:pt x="10" y="785"/>
                    <a:pt x="10" y="785"/>
                  </a:cubicBezTo>
                  <a:lnTo>
                    <a:pt x="8" y="787"/>
                  </a:lnTo>
                  <a:close/>
                  <a:moveTo>
                    <a:pt x="27" y="805"/>
                  </a:moveTo>
                  <a:cubicBezTo>
                    <a:pt x="18" y="803"/>
                    <a:pt x="18" y="803"/>
                    <a:pt x="18" y="803"/>
                  </a:cubicBezTo>
                  <a:cubicBezTo>
                    <a:pt x="26" y="808"/>
                    <a:pt x="26" y="808"/>
                    <a:pt x="26" y="808"/>
                  </a:cubicBezTo>
                  <a:lnTo>
                    <a:pt x="27" y="805"/>
                  </a:lnTo>
                  <a:close/>
                  <a:moveTo>
                    <a:pt x="36" y="794"/>
                  </a:moveTo>
                  <a:cubicBezTo>
                    <a:pt x="32" y="794"/>
                    <a:pt x="32" y="794"/>
                    <a:pt x="32" y="794"/>
                  </a:cubicBezTo>
                  <a:cubicBezTo>
                    <a:pt x="30" y="799"/>
                    <a:pt x="30" y="799"/>
                    <a:pt x="30" y="799"/>
                  </a:cubicBezTo>
                  <a:cubicBezTo>
                    <a:pt x="38" y="798"/>
                    <a:pt x="38" y="798"/>
                    <a:pt x="38" y="798"/>
                  </a:cubicBezTo>
                  <a:lnTo>
                    <a:pt x="36" y="794"/>
                  </a:lnTo>
                  <a:close/>
                  <a:moveTo>
                    <a:pt x="16" y="750"/>
                  </a:moveTo>
                  <a:cubicBezTo>
                    <a:pt x="16" y="753"/>
                    <a:pt x="16" y="753"/>
                    <a:pt x="16" y="753"/>
                  </a:cubicBezTo>
                  <a:cubicBezTo>
                    <a:pt x="14" y="754"/>
                    <a:pt x="14" y="754"/>
                    <a:pt x="14" y="754"/>
                  </a:cubicBezTo>
                  <a:cubicBezTo>
                    <a:pt x="14" y="754"/>
                    <a:pt x="16" y="762"/>
                    <a:pt x="20" y="762"/>
                  </a:cubicBezTo>
                  <a:cubicBezTo>
                    <a:pt x="26" y="762"/>
                    <a:pt x="22" y="753"/>
                    <a:pt x="22" y="753"/>
                  </a:cubicBezTo>
                  <a:cubicBezTo>
                    <a:pt x="17" y="750"/>
                    <a:pt x="17" y="750"/>
                    <a:pt x="17" y="750"/>
                  </a:cubicBezTo>
                  <a:lnTo>
                    <a:pt x="16" y="750"/>
                  </a:lnTo>
                  <a:close/>
                  <a:moveTo>
                    <a:pt x="15" y="768"/>
                  </a:moveTo>
                  <a:cubicBezTo>
                    <a:pt x="17" y="766"/>
                    <a:pt x="17" y="766"/>
                    <a:pt x="17" y="766"/>
                  </a:cubicBezTo>
                  <a:cubicBezTo>
                    <a:pt x="15" y="762"/>
                    <a:pt x="15" y="762"/>
                    <a:pt x="15" y="762"/>
                  </a:cubicBezTo>
                  <a:cubicBezTo>
                    <a:pt x="15" y="758"/>
                    <a:pt x="15" y="758"/>
                    <a:pt x="15" y="758"/>
                  </a:cubicBezTo>
                  <a:cubicBezTo>
                    <a:pt x="11" y="756"/>
                    <a:pt x="11" y="756"/>
                    <a:pt x="11" y="756"/>
                  </a:cubicBezTo>
                  <a:cubicBezTo>
                    <a:pt x="11" y="757"/>
                    <a:pt x="11" y="757"/>
                    <a:pt x="11" y="757"/>
                  </a:cubicBezTo>
                  <a:cubicBezTo>
                    <a:pt x="11" y="757"/>
                    <a:pt x="10" y="758"/>
                    <a:pt x="9" y="760"/>
                  </a:cubicBezTo>
                  <a:cubicBezTo>
                    <a:pt x="8" y="762"/>
                    <a:pt x="12" y="764"/>
                    <a:pt x="12" y="764"/>
                  </a:cubicBezTo>
                  <a:cubicBezTo>
                    <a:pt x="9" y="767"/>
                    <a:pt x="9" y="767"/>
                    <a:pt x="9" y="767"/>
                  </a:cubicBezTo>
                  <a:cubicBezTo>
                    <a:pt x="9" y="773"/>
                    <a:pt x="9" y="773"/>
                    <a:pt x="9" y="773"/>
                  </a:cubicBezTo>
                  <a:cubicBezTo>
                    <a:pt x="13" y="772"/>
                    <a:pt x="13" y="772"/>
                    <a:pt x="13" y="772"/>
                  </a:cubicBezTo>
                  <a:cubicBezTo>
                    <a:pt x="10" y="767"/>
                    <a:pt x="10" y="767"/>
                    <a:pt x="10" y="767"/>
                  </a:cubicBezTo>
                  <a:cubicBezTo>
                    <a:pt x="14" y="764"/>
                    <a:pt x="14" y="764"/>
                    <a:pt x="14" y="764"/>
                  </a:cubicBezTo>
                  <a:cubicBezTo>
                    <a:pt x="15" y="764"/>
                    <a:pt x="15" y="764"/>
                    <a:pt x="15" y="764"/>
                  </a:cubicBezTo>
                  <a:cubicBezTo>
                    <a:pt x="14" y="766"/>
                    <a:pt x="14" y="766"/>
                    <a:pt x="14" y="766"/>
                  </a:cubicBezTo>
                  <a:lnTo>
                    <a:pt x="15" y="768"/>
                  </a:lnTo>
                  <a:close/>
                  <a:moveTo>
                    <a:pt x="29" y="766"/>
                  </a:moveTo>
                  <a:cubicBezTo>
                    <a:pt x="33" y="764"/>
                    <a:pt x="33" y="764"/>
                    <a:pt x="33" y="764"/>
                  </a:cubicBezTo>
                  <a:cubicBezTo>
                    <a:pt x="27" y="759"/>
                    <a:pt x="27" y="759"/>
                    <a:pt x="27" y="759"/>
                  </a:cubicBezTo>
                  <a:cubicBezTo>
                    <a:pt x="25" y="761"/>
                    <a:pt x="25" y="761"/>
                    <a:pt x="25" y="761"/>
                  </a:cubicBezTo>
                  <a:lnTo>
                    <a:pt x="29" y="766"/>
                  </a:lnTo>
                  <a:close/>
                  <a:moveTo>
                    <a:pt x="28" y="743"/>
                  </a:moveTo>
                  <a:cubicBezTo>
                    <a:pt x="23" y="744"/>
                    <a:pt x="23" y="744"/>
                    <a:pt x="23" y="744"/>
                  </a:cubicBezTo>
                  <a:cubicBezTo>
                    <a:pt x="23" y="747"/>
                    <a:pt x="23" y="747"/>
                    <a:pt x="23" y="747"/>
                  </a:cubicBezTo>
                  <a:cubicBezTo>
                    <a:pt x="20" y="749"/>
                    <a:pt x="20" y="749"/>
                    <a:pt x="20" y="749"/>
                  </a:cubicBezTo>
                  <a:cubicBezTo>
                    <a:pt x="23" y="751"/>
                    <a:pt x="23" y="751"/>
                    <a:pt x="23" y="751"/>
                  </a:cubicBezTo>
                  <a:cubicBezTo>
                    <a:pt x="25" y="754"/>
                    <a:pt x="25" y="754"/>
                    <a:pt x="25" y="754"/>
                  </a:cubicBezTo>
                  <a:cubicBezTo>
                    <a:pt x="27" y="754"/>
                    <a:pt x="27" y="754"/>
                    <a:pt x="27" y="754"/>
                  </a:cubicBezTo>
                  <a:cubicBezTo>
                    <a:pt x="27" y="751"/>
                    <a:pt x="27" y="751"/>
                    <a:pt x="27" y="751"/>
                  </a:cubicBezTo>
                  <a:cubicBezTo>
                    <a:pt x="29" y="749"/>
                    <a:pt x="29" y="749"/>
                    <a:pt x="29" y="749"/>
                  </a:cubicBezTo>
                  <a:lnTo>
                    <a:pt x="28" y="743"/>
                  </a:lnTo>
                  <a:close/>
                  <a:moveTo>
                    <a:pt x="19" y="743"/>
                  </a:moveTo>
                  <a:cubicBezTo>
                    <a:pt x="16" y="746"/>
                    <a:pt x="19" y="747"/>
                    <a:pt x="20" y="746"/>
                  </a:cubicBezTo>
                  <a:cubicBezTo>
                    <a:pt x="23" y="744"/>
                    <a:pt x="22" y="740"/>
                    <a:pt x="19" y="743"/>
                  </a:cubicBezTo>
                  <a:close/>
                  <a:moveTo>
                    <a:pt x="10" y="738"/>
                  </a:moveTo>
                  <a:cubicBezTo>
                    <a:pt x="11" y="740"/>
                    <a:pt x="11" y="740"/>
                    <a:pt x="11" y="740"/>
                  </a:cubicBezTo>
                  <a:cubicBezTo>
                    <a:pt x="12" y="740"/>
                    <a:pt x="12" y="740"/>
                    <a:pt x="12" y="740"/>
                  </a:cubicBezTo>
                  <a:cubicBezTo>
                    <a:pt x="14" y="743"/>
                    <a:pt x="14" y="743"/>
                    <a:pt x="14" y="743"/>
                  </a:cubicBezTo>
                  <a:cubicBezTo>
                    <a:pt x="12" y="745"/>
                    <a:pt x="12" y="745"/>
                    <a:pt x="12" y="745"/>
                  </a:cubicBezTo>
                  <a:cubicBezTo>
                    <a:pt x="15" y="746"/>
                    <a:pt x="15" y="746"/>
                    <a:pt x="15" y="746"/>
                  </a:cubicBezTo>
                  <a:cubicBezTo>
                    <a:pt x="16" y="742"/>
                    <a:pt x="16" y="742"/>
                    <a:pt x="16" y="742"/>
                  </a:cubicBezTo>
                  <a:cubicBezTo>
                    <a:pt x="12" y="737"/>
                    <a:pt x="12" y="737"/>
                    <a:pt x="12" y="737"/>
                  </a:cubicBezTo>
                  <a:lnTo>
                    <a:pt x="10" y="738"/>
                  </a:lnTo>
                  <a:close/>
                  <a:moveTo>
                    <a:pt x="13" y="749"/>
                  </a:moveTo>
                  <a:cubicBezTo>
                    <a:pt x="11" y="746"/>
                    <a:pt x="11" y="746"/>
                    <a:pt x="11" y="746"/>
                  </a:cubicBezTo>
                  <a:cubicBezTo>
                    <a:pt x="8" y="749"/>
                    <a:pt x="8" y="749"/>
                    <a:pt x="8" y="749"/>
                  </a:cubicBezTo>
                  <a:cubicBezTo>
                    <a:pt x="9" y="751"/>
                    <a:pt x="9" y="751"/>
                    <a:pt x="9" y="751"/>
                  </a:cubicBezTo>
                  <a:lnTo>
                    <a:pt x="13" y="749"/>
                  </a:lnTo>
                  <a:close/>
                  <a:moveTo>
                    <a:pt x="41" y="738"/>
                  </a:moveTo>
                  <a:cubicBezTo>
                    <a:pt x="39" y="740"/>
                    <a:pt x="39" y="740"/>
                    <a:pt x="39" y="740"/>
                  </a:cubicBezTo>
                  <a:cubicBezTo>
                    <a:pt x="40" y="744"/>
                    <a:pt x="40" y="744"/>
                    <a:pt x="40" y="744"/>
                  </a:cubicBezTo>
                  <a:cubicBezTo>
                    <a:pt x="43" y="741"/>
                    <a:pt x="43" y="741"/>
                    <a:pt x="43" y="741"/>
                  </a:cubicBezTo>
                  <a:lnTo>
                    <a:pt x="41" y="738"/>
                  </a:lnTo>
                  <a:close/>
                  <a:moveTo>
                    <a:pt x="9" y="733"/>
                  </a:moveTo>
                  <a:cubicBezTo>
                    <a:pt x="11" y="734"/>
                    <a:pt x="13" y="734"/>
                    <a:pt x="13" y="734"/>
                  </a:cubicBezTo>
                  <a:cubicBezTo>
                    <a:pt x="11" y="729"/>
                    <a:pt x="11" y="729"/>
                    <a:pt x="11" y="729"/>
                  </a:cubicBezTo>
                  <a:cubicBezTo>
                    <a:pt x="13" y="727"/>
                    <a:pt x="13" y="727"/>
                    <a:pt x="13" y="727"/>
                  </a:cubicBezTo>
                  <a:cubicBezTo>
                    <a:pt x="10" y="719"/>
                    <a:pt x="10" y="719"/>
                    <a:pt x="10" y="719"/>
                  </a:cubicBezTo>
                  <a:cubicBezTo>
                    <a:pt x="9" y="722"/>
                    <a:pt x="9" y="722"/>
                    <a:pt x="9" y="722"/>
                  </a:cubicBezTo>
                  <a:cubicBezTo>
                    <a:pt x="11" y="726"/>
                    <a:pt x="11" y="726"/>
                    <a:pt x="11" y="726"/>
                  </a:cubicBezTo>
                  <a:cubicBezTo>
                    <a:pt x="7" y="727"/>
                    <a:pt x="7" y="727"/>
                    <a:pt x="7" y="727"/>
                  </a:cubicBezTo>
                  <a:cubicBezTo>
                    <a:pt x="7" y="727"/>
                    <a:pt x="7" y="731"/>
                    <a:pt x="9" y="733"/>
                  </a:cubicBezTo>
                  <a:close/>
                  <a:moveTo>
                    <a:pt x="16" y="715"/>
                  </a:moveTo>
                  <a:cubicBezTo>
                    <a:pt x="10" y="711"/>
                    <a:pt x="10" y="711"/>
                    <a:pt x="10" y="711"/>
                  </a:cubicBezTo>
                  <a:cubicBezTo>
                    <a:pt x="9" y="712"/>
                    <a:pt x="9" y="712"/>
                    <a:pt x="9" y="712"/>
                  </a:cubicBezTo>
                  <a:cubicBezTo>
                    <a:pt x="12" y="714"/>
                    <a:pt x="12" y="714"/>
                    <a:pt x="12" y="714"/>
                  </a:cubicBezTo>
                  <a:cubicBezTo>
                    <a:pt x="12" y="718"/>
                    <a:pt x="12" y="718"/>
                    <a:pt x="12" y="718"/>
                  </a:cubicBezTo>
                  <a:cubicBezTo>
                    <a:pt x="14" y="721"/>
                    <a:pt x="14" y="721"/>
                    <a:pt x="14" y="721"/>
                  </a:cubicBezTo>
                  <a:cubicBezTo>
                    <a:pt x="17" y="721"/>
                    <a:pt x="17" y="721"/>
                    <a:pt x="17" y="721"/>
                  </a:cubicBezTo>
                  <a:lnTo>
                    <a:pt x="16" y="715"/>
                  </a:lnTo>
                  <a:close/>
                  <a:moveTo>
                    <a:pt x="24" y="713"/>
                  </a:moveTo>
                  <a:cubicBezTo>
                    <a:pt x="28" y="719"/>
                    <a:pt x="28" y="719"/>
                    <a:pt x="28" y="719"/>
                  </a:cubicBezTo>
                  <a:cubicBezTo>
                    <a:pt x="32" y="717"/>
                    <a:pt x="32" y="717"/>
                    <a:pt x="32" y="717"/>
                  </a:cubicBezTo>
                  <a:cubicBezTo>
                    <a:pt x="34" y="706"/>
                    <a:pt x="34" y="706"/>
                    <a:pt x="34" y="706"/>
                  </a:cubicBezTo>
                  <a:cubicBezTo>
                    <a:pt x="33" y="705"/>
                    <a:pt x="33" y="705"/>
                    <a:pt x="33" y="705"/>
                  </a:cubicBezTo>
                  <a:cubicBezTo>
                    <a:pt x="29" y="710"/>
                    <a:pt x="29" y="710"/>
                    <a:pt x="29" y="710"/>
                  </a:cubicBezTo>
                  <a:cubicBezTo>
                    <a:pt x="29" y="710"/>
                    <a:pt x="28" y="710"/>
                    <a:pt x="26" y="711"/>
                  </a:cubicBezTo>
                  <a:cubicBezTo>
                    <a:pt x="24" y="711"/>
                    <a:pt x="24" y="713"/>
                    <a:pt x="24" y="713"/>
                  </a:cubicBezTo>
                  <a:close/>
                  <a:moveTo>
                    <a:pt x="22" y="703"/>
                  </a:moveTo>
                  <a:cubicBezTo>
                    <a:pt x="13" y="694"/>
                    <a:pt x="13" y="694"/>
                    <a:pt x="13" y="694"/>
                  </a:cubicBezTo>
                  <a:cubicBezTo>
                    <a:pt x="12" y="695"/>
                    <a:pt x="12" y="695"/>
                    <a:pt x="12" y="695"/>
                  </a:cubicBezTo>
                  <a:cubicBezTo>
                    <a:pt x="18" y="703"/>
                    <a:pt x="18" y="703"/>
                    <a:pt x="18" y="703"/>
                  </a:cubicBezTo>
                  <a:cubicBezTo>
                    <a:pt x="17" y="705"/>
                    <a:pt x="17" y="705"/>
                    <a:pt x="17" y="705"/>
                  </a:cubicBezTo>
                  <a:cubicBezTo>
                    <a:pt x="15" y="704"/>
                    <a:pt x="15" y="704"/>
                    <a:pt x="15" y="704"/>
                  </a:cubicBezTo>
                  <a:cubicBezTo>
                    <a:pt x="20" y="711"/>
                    <a:pt x="20" y="711"/>
                    <a:pt x="20" y="711"/>
                  </a:cubicBezTo>
                  <a:cubicBezTo>
                    <a:pt x="23" y="711"/>
                    <a:pt x="25" y="708"/>
                    <a:pt x="25" y="708"/>
                  </a:cubicBezTo>
                  <a:cubicBezTo>
                    <a:pt x="23" y="705"/>
                    <a:pt x="23" y="705"/>
                    <a:pt x="23" y="705"/>
                  </a:cubicBezTo>
                  <a:lnTo>
                    <a:pt x="22" y="703"/>
                  </a:lnTo>
                  <a:close/>
                  <a:moveTo>
                    <a:pt x="9" y="699"/>
                  </a:moveTo>
                  <a:cubicBezTo>
                    <a:pt x="8" y="699"/>
                    <a:pt x="8" y="699"/>
                    <a:pt x="8" y="699"/>
                  </a:cubicBezTo>
                  <a:cubicBezTo>
                    <a:pt x="8" y="699"/>
                    <a:pt x="10" y="703"/>
                    <a:pt x="11" y="704"/>
                  </a:cubicBezTo>
                  <a:cubicBezTo>
                    <a:pt x="12" y="705"/>
                    <a:pt x="14" y="707"/>
                    <a:pt x="14" y="707"/>
                  </a:cubicBezTo>
                  <a:cubicBezTo>
                    <a:pt x="14" y="707"/>
                    <a:pt x="15" y="705"/>
                    <a:pt x="13" y="703"/>
                  </a:cubicBezTo>
                  <a:cubicBezTo>
                    <a:pt x="12" y="701"/>
                    <a:pt x="9" y="699"/>
                    <a:pt x="9" y="699"/>
                  </a:cubicBezTo>
                  <a:close/>
                  <a:moveTo>
                    <a:pt x="10" y="707"/>
                  </a:moveTo>
                  <a:cubicBezTo>
                    <a:pt x="9" y="707"/>
                    <a:pt x="10" y="709"/>
                    <a:pt x="11" y="710"/>
                  </a:cubicBezTo>
                  <a:cubicBezTo>
                    <a:pt x="12" y="710"/>
                    <a:pt x="16" y="712"/>
                    <a:pt x="16" y="712"/>
                  </a:cubicBezTo>
                  <a:cubicBezTo>
                    <a:pt x="16" y="710"/>
                    <a:pt x="16" y="710"/>
                    <a:pt x="16" y="710"/>
                  </a:cubicBezTo>
                  <a:cubicBezTo>
                    <a:pt x="16" y="710"/>
                    <a:pt x="11" y="707"/>
                    <a:pt x="10" y="707"/>
                  </a:cubicBezTo>
                  <a:close/>
                  <a:moveTo>
                    <a:pt x="9" y="693"/>
                  </a:moveTo>
                  <a:cubicBezTo>
                    <a:pt x="7" y="695"/>
                    <a:pt x="7" y="695"/>
                    <a:pt x="7" y="695"/>
                  </a:cubicBezTo>
                  <a:cubicBezTo>
                    <a:pt x="11" y="698"/>
                    <a:pt x="11" y="698"/>
                    <a:pt x="11" y="698"/>
                  </a:cubicBezTo>
                  <a:lnTo>
                    <a:pt x="9" y="693"/>
                  </a:lnTo>
                  <a:close/>
                  <a:moveTo>
                    <a:pt x="10" y="692"/>
                  </a:moveTo>
                  <a:cubicBezTo>
                    <a:pt x="9" y="687"/>
                    <a:pt x="9" y="687"/>
                    <a:pt x="9" y="687"/>
                  </a:cubicBezTo>
                  <a:cubicBezTo>
                    <a:pt x="7" y="689"/>
                    <a:pt x="7" y="689"/>
                    <a:pt x="7" y="689"/>
                  </a:cubicBezTo>
                  <a:lnTo>
                    <a:pt x="10" y="692"/>
                  </a:lnTo>
                  <a:close/>
                  <a:moveTo>
                    <a:pt x="9" y="678"/>
                  </a:moveTo>
                  <a:cubicBezTo>
                    <a:pt x="11" y="676"/>
                    <a:pt x="11" y="676"/>
                    <a:pt x="11" y="676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15" y="676"/>
                    <a:pt x="15" y="674"/>
                  </a:cubicBezTo>
                  <a:cubicBezTo>
                    <a:pt x="15" y="671"/>
                    <a:pt x="12" y="670"/>
                    <a:pt x="12" y="670"/>
                  </a:cubicBezTo>
                  <a:cubicBezTo>
                    <a:pt x="10" y="671"/>
                    <a:pt x="10" y="671"/>
                    <a:pt x="10" y="671"/>
                  </a:cubicBezTo>
                  <a:cubicBezTo>
                    <a:pt x="10" y="671"/>
                    <a:pt x="8" y="675"/>
                    <a:pt x="9" y="678"/>
                  </a:cubicBezTo>
                  <a:close/>
                  <a:moveTo>
                    <a:pt x="6" y="680"/>
                  </a:moveTo>
                  <a:cubicBezTo>
                    <a:pt x="7" y="680"/>
                    <a:pt x="7" y="680"/>
                    <a:pt x="7" y="680"/>
                  </a:cubicBezTo>
                  <a:cubicBezTo>
                    <a:pt x="8" y="676"/>
                    <a:pt x="8" y="676"/>
                    <a:pt x="8" y="676"/>
                  </a:cubicBezTo>
                  <a:cubicBezTo>
                    <a:pt x="7" y="676"/>
                    <a:pt x="7" y="676"/>
                    <a:pt x="7" y="676"/>
                  </a:cubicBezTo>
                  <a:lnTo>
                    <a:pt x="6" y="680"/>
                  </a:lnTo>
                  <a:close/>
                  <a:moveTo>
                    <a:pt x="3" y="678"/>
                  </a:moveTo>
                  <a:cubicBezTo>
                    <a:pt x="0" y="678"/>
                    <a:pt x="1" y="681"/>
                    <a:pt x="2" y="681"/>
                  </a:cubicBezTo>
                  <a:cubicBezTo>
                    <a:pt x="4" y="682"/>
                    <a:pt x="7" y="677"/>
                    <a:pt x="3" y="678"/>
                  </a:cubicBezTo>
                  <a:close/>
                  <a:moveTo>
                    <a:pt x="7" y="661"/>
                  </a:moveTo>
                  <a:cubicBezTo>
                    <a:pt x="3" y="661"/>
                    <a:pt x="4" y="663"/>
                    <a:pt x="6" y="663"/>
                  </a:cubicBezTo>
                  <a:cubicBezTo>
                    <a:pt x="9" y="663"/>
                    <a:pt x="10" y="662"/>
                    <a:pt x="7" y="661"/>
                  </a:cubicBezTo>
                  <a:close/>
                  <a:moveTo>
                    <a:pt x="17" y="658"/>
                  </a:moveTo>
                  <a:cubicBezTo>
                    <a:pt x="14" y="657"/>
                    <a:pt x="14" y="657"/>
                    <a:pt x="14" y="657"/>
                  </a:cubicBezTo>
                  <a:cubicBezTo>
                    <a:pt x="11" y="660"/>
                    <a:pt x="11" y="660"/>
                    <a:pt x="11" y="660"/>
                  </a:cubicBezTo>
                  <a:cubicBezTo>
                    <a:pt x="13" y="662"/>
                    <a:pt x="13" y="662"/>
                    <a:pt x="13" y="662"/>
                  </a:cubicBezTo>
                  <a:lnTo>
                    <a:pt x="17" y="658"/>
                  </a:lnTo>
                  <a:close/>
                  <a:moveTo>
                    <a:pt x="18" y="649"/>
                  </a:moveTo>
                  <a:cubicBezTo>
                    <a:pt x="14" y="646"/>
                    <a:pt x="14" y="646"/>
                    <a:pt x="14" y="646"/>
                  </a:cubicBezTo>
                  <a:cubicBezTo>
                    <a:pt x="15" y="650"/>
                    <a:pt x="15" y="650"/>
                    <a:pt x="15" y="650"/>
                  </a:cubicBezTo>
                  <a:lnTo>
                    <a:pt x="18" y="649"/>
                  </a:lnTo>
                  <a:close/>
                  <a:moveTo>
                    <a:pt x="22" y="643"/>
                  </a:moveTo>
                  <a:cubicBezTo>
                    <a:pt x="17" y="645"/>
                    <a:pt x="17" y="645"/>
                    <a:pt x="17" y="645"/>
                  </a:cubicBezTo>
                  <a:cubicBezTo>
                    <a:pt x="22" y="647"/>
                    <a:pt x="22" y="647"/>
                    <a:pt x="22" y="647"/>
                  </a:cubicBezTo>
                  <a:lnTo>
                    <a:pt x="22" y="643"/>
                  </a:lnTo>
                  <a:close/>
                  <a:moveTo>
                    <a:pt x="14" y="639"/>
                  </a:moveTo>
                  <a:cubicBezTo>
                    <a:pt x="14" y="635"/>
                    <a:pt x="11" y="635"/>
                    <a:pt x="12" y="638"/>
                  </a:cubicBezTo>
                  <a:cubicBezTo>
                    <a:pt x="12" y="641"/>
                    <a:pt x="14" y="641"/>
                    <a:pt x="14" y="639"/>
                  </a:cubicBezTo>
                  <a:close/>
                  <a:moveTo>
                    <a:pt x="15" y="632"/>
                  </a:moveTo>
                  <a:cubicBezTo>
                    <a:pt x="24" y="629"/>
                    <a:pt x="24" y="629"/>
                    <a:pt x="24" y="629"/>
                  </a:cubicBezTo>
                  <a:cubicBezTo>
                    <a:pt x="25" y="626"/>
                    <a:pt x="25" y="626"/>
                    <a:pt x="25" y="626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15" y="623"/>
                    <a:pt x="15" y="623"/>
                    <a:pt x="15" y="623"/>
                  </a:cubicBezTo>
                  <a:cubicBezTo>
                    <a:pt x="15" y="626"/>
                    <a:pt x="15" y="626"/>
                    <a:pt x="15" y="626"/>
                  </a:cubicBezTo>
                  <a:cubicBezTo>
                    <a:pt x="12" y="627"/>
                    <a:pt x="12" y="627"/>
                    <a:pt x="12" y="627"/>
                  </a:cubicBezTo>
                  <a:cubicBezTo>
                    <a:pt x="16" y="628"/>
                    <a:pt x="16" y="628"/>
                    <a:pt x="16" y="628"/>
                  </a:cubicBezTo>
                  <a:lnTo>
                    <a:pt x="15" y="632"/>
                  </a:lnTo>
                  <a:close/>
                  <a:moveTo>
                    <a:pt x="12" y="630"/>
                  </a:moveTo>
                  <a:cubicBezTo>
                    <a:pt x="13" y="632"/>
                    <a:pt x="13" y="632"/>
                    <a:pt x="13" y="632"/>
                  </a:cubicBezTo>
                  <a:cubicBezTo>
                    <a:pt x="14" y="633"/>
                    <a:pt x="14" y="633"/>
                    <a:pt x="14" y="633"/>
                  </a:cubicBezTo>
                  <a:cubicBezTo>
                    <a:pt x="14" y="629"/>
                    <a:pt x="14" y="629"/>
                    <a:pt x="14" y="629"/>
                  </a:cubicBezTo>
                  <a:lnTo>
                    <a:pt x="12" y="630"/>
                  </a:lnTo>
                  <a:close/>
                  <a:moveTo>
                    <a:pt x="20" y="618"/>
                  </a:moveTo>
                  <a:cubicBezTo>
                    <a:pt x="22" y="619"/>
                    <a:pt x="22" y="623"/>
                    <a:pt x="22" y="623"/>
                  </a:cubicBezTo>
                  <a:cubicBezTo>
                    <a:pt x="25" y="623"/>
                    <a:pt x="25" y="623"/>
                    <a:pt x="25" y="623"/>
                  </a:cubicBezTo>
                  <a:cubicBezTo>
                    <a:pt x="25" y="616"/>
                    <a:pt x="25" y="616"/>
                    <a:pt x="25" y="616"/>
                  </a:cubicBezTo>
                  <a:cubicBezTo>
                    <a:pt x="20" y="615"/>
                    <a:pt x="20" y="615"/>
                    <a:pt x="20" y="615"/>
                  </a:cubicBezTo>
                  <a:cubicBezTo>
                    <a:pt x="20" y="615"/>
                    <a:pt x="18" y="617"/>
                    <a:pt x="20" y="618"/>
                  </a:cubicBezTo>
                  <a:close/>
                  <a:moveTo>
                    <a:pt x="36" y="604"/>
                  </a:moveTo>
                  <a:cubicBezTo>
                    <a:pt x="36" y="601"/>
                    <a:pt x="36" y="601"/>
                    <a:pt x="36" y="601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4"/>
                    <a:pt x="34" y="604"/>
                    <a:pt x="34" y="604"/>
                  </a:cubicBezTo>
                  <a:lnTo>
                    <a:pt x="36" y="604"/>
                  </a:lnTo>
                  <a:close/>
                  <a:moveTo>
                    <a:pt x="45" y="607"/>
                  </a:moveTo>
                  <a:cubicBezTo>
                    <a:pt x="48" y="605"/>
                    <a:pt x="48" y="601"/>
                    <a:pt x="44" y="600"/>
                  </a:cubicBezTo>
                  <a:cubicBezTo>
                    <a:pt x="40" y="598"/>
                    <a:pt x="40" y="603"/>
                    <a:pt x="40" y="603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7"/>
                    <a:pt x="42" y="608"/>
                    <a:pt x="45" y="607"/>
                  </a:cubicBezTo>
                  <a:close/>
                  <a:moveTo>
                    <a:pt x="42" y="598"/>
                  </a:moveTo>
                  <a:cubicBezTo>
                    <a:pt x="45" y="598"/>
                    <a:pt x="45" y="598"/>
                    <a:pt x="45" y="598"/>
                  </a:cubicBezTo>
                  <a:cubicBezTo>
                    <a:pt x="46" y="596"/>
                    <a:pt x="46" y="596"/>
                    <a:pt x="46" y="596"/>
                  </a:cubicBezTo>
                  <a:cubicBezTo>
                    <a:pt x="43" y="593"/>
                    <a:pt x="43" y="593"/>
                    <a:pt x="43" y="593"/>
                  </a:cubicBezTo>
                  <a:cubicBezTo>
                    <a:pt x="41" y="593"/>
                    <a:pt x="41" y="593"/>
                    <a:pt x="41" y="593"/>
                  </a:cubicBezTo>
                  <a:cubicBezTo>
                    <a:pt x="42" y="596"/>
                    <a:pt x="42" y="596"/>
                    <a:pt x="42" y="596"/>
                  </a:cubicBezTo>
                  <a:lnTo>
                    <a:pt x="42" y="598"/>
                  </a:lnTo>
                  <a:close/>
                  <a:moveTo>
                    <a:pt x="53" y="593"/>
                  </a:moveTo>
                  <a:cubicBezTo>
                    <a:pt x="49" y="594"/>
                    <a:pt x="49" y="594"/>
                    <a:pt x="49" y="594"/>
                  </a:cubicBezTo>
                  <a:cubicBezTo>
                    <a:pt x="49" y="603"/>
                    <a:pt x="49" y="603"/>
                    <a:pt x="49" y="603"/>
                  </a:cubicBezTo>
                  <a:cubicBezTo>
                    <a:pt x="57" y="598"/>
                    <a:pt x="57" y="598"/>
                    <a:pt x="57" y="598"/>
                  </a:cubicBezTo>
                  <a:lnTo>
                    <a:pt x="53" y="593"/>
                  </a:lnTo>
                  <a:close/>
                  <a:moveTo>
                    <a:pt x="57" y="593"/>
                  </a:moveTo>
                  <a:cubicBezTo>
                    <a:pt x="60" y="596"/>
                    <a:pt x="60" y="596"/>
                    <a:pt x="60" y="596"/>
                  </a:cubicBezTo>
                  <a:cubicBezTo>
                    <a:pt x="65" y="594"/>
                    <a:pt x="65" y="594"/>
                    <a:pt x="65" y="594"/>
                  </a:cubicBezTo>
                  <a:cubicBezTo>
                    <a:pt x="61" y="592"/>
                    <a:pt x="61" y="592"/>
                    <a:pt x="61" y="592"/>
                  </a:cubicBezTo>
                  <a:lnTo>
                    <a:pt x="57" y="593"/>
                  </a:lnTo>
                  <a:close/>
                  <a:moveTo>
                    <a:pt x="55" y="587"/>
                  </a:moveTo>
                  <a:cubicBezTo>
                    <a:pt x="51" y="591"/>
                    <a:pt x="51" y="591"/>
                    <a:pt x="51" y="591"/>
                  </a:cubicBezTo>
                  <a:cubicBezTo>
                    <a:pt x="58" y="591"/>
                    <a:pt x="58" y="591"/>
                    <a:pt x="58" y="591"/>
                  </a:cubicBezTo>
                  <a:lnTo>
                    <a:pt x="55" y="587"/>
                  </a:lnTo>
                  <a:close/>
                  <a:moveTo>
                    <a:pt x="57" y="586"/>
                  </a:moveTo>
                  <a:cubicBezTo>
                    <a:pt x="59" y="586"/>
                    <a:pt x="61" y="581"/>
                    <a:pt x="58" y="582"/>
                  </a:cubicBezTo>
                  <a:cubicBezTo>
                    <a:pt x="55" y="583"/>
                    <a:pt x="56" y="586"/>
                    <a:pt x="57" y="586"/>
                  </a:cubicBezTo>
                  <a:close/>
                  <a:moveTo>
                    <a:pt x="63" y="580"/>
                  </a:moveTo>
                  <a:cubicBezTo>
                    <a:pt x="59" y="579"/>
                    <a:pt x="59" y="579"/>
                    <a:pt x="59" y="579"/>
                  </a:cubicBezTo>
                  <a:cubicBezTo>
                    <a:pt x="62" y="582"/>
                    <a:pt x="62" y="582"/>
                    <a:pt x="62" y="582"/>
                  </a:cubicBezTo>
                  <a:lnTo>
                    <a:pt x="63" y="580"/>
                  </a:lnTo>
                  <a:close/>
                  <a:moveTo>
                    <a:pt x="63" y="577"/>
                  </a:moveTo>
                  <a:cubicBezTo>
                    <a:pt x="62" y="578"/>
                    <a:pt x="62" y="578"/>
                    <a:pt x="62" y="578"/>
                  </a:cubicBezTo>
                  <a:cubicBezTo>
                    <a:pt x="65" y="580"/>
                    <a:pt x="65" y="580"/>
                    <a:pt x="65" y="580"/>
                  </a:cubicBezTo>
                  <a:lnTo>
                    <a:pt x="63" y="577"/>
                  </a:lnTo>
                  <a:close/>
                  <a:moveTo>
                    <a:pt x="71" y="575"/>
                  </a:moveTo>
                  <a:cubicBezTo>
                    <a:pt x="71" y="571"/>
                    <a:pt x="71" y="571"/>
                    <a:pt x="71" y="571"/>
                  </a:cubicBezTo>
                  <a:cubicBezTo>
                    <a:pt x="69" y="571"/>
                    <a:pt x="69" y="571"/>
                    <a:pt x="69" y="571"/>
                  </a:cubicBezTo>
                  <a:cubicBezTo>
                    <a:pt x="69" y="575"/>
                    <a:pt x="69" y="575"/>
                    <a:pt x="69" y="575"/>
                  </a:cubicBezTo>
                  <a:lnTo>
                    <a:pt x="71" y="575"/>
                  </a:lnTo>
                  <a:close/>
                  <a:moveTo>
                    <a:pt x="80" y="578"/>
                  </a:moveTo>
                  <a:cubicBezTo>
                    <a:pt x="85" y="576"/>
                    <a:pt x="85" y="575"/>
                    <a:pt x="82" y="575"/>
                  </a:cubicBezTo>
                  <a:cubicBezTo>
                    <a:pt x="78" y="573"/>
                    <a:pt x="77" y="576"/>
                    <a:pt x="77" y="577"/>
                  </a:cubicBezTo>
                  <a:cubicBezTo>
                    <a:pt x="77" y="578"/>
                    <a:pt x="80" y="578"/>
                    <a:pt x="80" y="578"/>
                  </a:cubicBezTo>
                  <a:close/>
                  <a:moveTo>
                    <a:pt x="87" y="568"/>
                  </a:moveTo>
                  <a:cubicBezTo>
                    <a:pt x="82" y="567"/>
                    <a:pt x="82" y="567"/>
                    <a:pt x="82" y="567"/>
                  </a:cubicBezTo>
                  <a:cubicBezTo>
                    <a:pt x="80" y="568"/>
                    <a:pt x="80" y="568"/>
                    <a:pt x="80" y="568"/>
                  </a:cubicBezTo>
                  <a:cubicBezTo>
                    <a:pt x="83" y="571"/>
                    <a:pt x="83" y="571"/>
                    <a:pt x="83" y="571"/>
                  </a:cubicBezTo>
                  <a:lnTo>
                    <a:pt x="87" y="568"/>
                  </a:lnTo>
                  <a:close/>
                  <a:moveTo>
                    <a:pt x="110" y="557"/>
                  </a:moveTo>
                  <a:cubicBezTo>
                    <a:pt x="109" y="551"/>
                    <a:pt x="109" y="551"/>
                    <a:pt x="109" y="551"/>
                  </a:cubicBezTo>
                  <a:cubicBezTo>
                    <a:pt x="106" y="551"/>
                    <a:pt x="106" y="551"/>
                    <a:pt x="106" y="551"/>
                  </a:cubicBezTo>
                  <a:cubicBezTo>
                    <a:pt x="107" y="554"/>
                    <a:pt x="107" y="554"/>
                    <a:pt x="107" y="554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0" y="558"/>
                    <a:pt x="100" y="558"/>
                    <a:pt x="100" y="558"/>
                  </a:cubicBezTo>
                  <a:cubicBezTo>
                    <a:pt x="105" y="562"/>
                    <a:pt x="105" y="562"/>
                    <a:pt x="105" y="562"/>
                  </a:cubicBezTo>
                  <a:lnTo>
                    <a:pt x="110" y="557"/>
                  </a:lnTo>
                  <a:close/>
                  <a:moveTo>
                    <a:pt x="116" y="555"/>
                  </a:moveTo>
                  <a:cubicBezTo>
                    <a:pt x="116" y="552"/>
                    <a:pt x="116" y="552"/>
                    <a:pt x="116" y="552"/>
                  </a:cubicBezTo>
                  <a:cubicBezTo>
                    <a:pt x="111" y="553"/>
                    <a:pt x="111" y="553"/>
                    <a:pt x="111" y="553"/>
                  </a:cubicBezTo>
                  <a:cubicBezTo>
                    <a:pt x="112" y="557"/>
                    <a:pt x="112" y="557"/>
                    <a:pt x="112" y="557"/>
                  </a:cubicBezTo>
                  <a:lnTo>
                    <a:pt x="116" y="555"/>
                  </a:lnTo>
                  <a:close/>
                  <a:moveTo>
                    <a:pt x="113" y="548"/>
                  </a:moveTo>
                  <a:cubicBezTo>
                    <a:pt x="111" y="552"/>
                    <a:pt x="111" y="552"/>
                    <a:pt x="111" y="552"/>
                  </a:cubicBezTo>
                  <a:cubicBezTo>
                    <a:pt x="115" y="551"/>
                    <a:pt x="115" y="551"/>
                    <a:pt x="115" y="551"/>
                  </a:cubicBezTo>
                  <a:lnTo>
                    <a:pt x="113" y="548"/>
                  </a:lnTo>
                  <a:close/>
                  <a:moveTo>
                    <a:pt x="124" y="545"/>
                  </a:moveTo>
                  <a:cubicBezTo>
                    <a:pt x="117" y="545"/>
                    <a:pt x="121" y="549"/>
                    <a:pt x="123" y="549"/>
                  </a:cubicBezTo>
                  <a:cubicBezTo>
                    <a:pt x="126" y="550"/>
                    <a:pt x="130" y="545"/>
                    <a:pt x="124" y="545"/>
                  </a:cubicBezTo>
                  <a:close/>
                  <a:moveTo>
                    <a:pt x="135" y="547"/>
                  </a:moveTo>
                  <a:cubicBezTo>
                    <a:pt x="133" y="542"/>
                    <a:pt x="133" y="542"/>
                    <a:pt x="133" y="542"/>
                  </a:cubicBezTo>
                  <a:cubicBezTo>
                    <a:pt x="132" y="544"/>
                    <a:pt x="132" y="544"/>
                    <a:pt x="132" y="544"/>
                  </a:cubicBezTo>
                  <a:cubicBezTo>
                    <a:pt x="129" y="541"/>
                    <a:pt x="129" y="541"/>
                    <a:pt x="129" y="541"/>
                  </a:cubicBezTo>
                  <a:cubicBezTo>
                    <a:pt x="127" y="542"/>
                    <a:pt x="127" y="542"/>
                    <a:pt x="127" y="542"/>
                  </a:cubicBezTo>
                  <a:cubicBezTo>
                    <a:pt x="132" y="549"/>
                    <a:pt x="132" y="549"/>
                    <a:pt x="132" y="549"/>
                  </a:cubicBezTo>
                  <a:lnTo>
                    <a:pt x="135" y="547"/>
                  </a:lnTo>
                  <a:close/>
                  <a:moveTo>
                    <a:pt x="118" y="535"/>
                  </a:moveTo>
                  <a:cubicBezTo>
                    <a:pt x="123" y="537"/>
                    <a:pt x="123" y="537"/>
                    <a:pt x="123" y="537"/>
                  </a:cubicBezTo>
                  <a:cubicBezTo>
                    <a:pt x="127" y="536"/>
                    <a:pt x="127" y="536"/>
                    <a:pt x="127" y="536"/>
                  </a:cubicBezTo>
                  <a:cubicBezTo>
                    <a:pt x="127" y="536"/>
                    <a:pt x="127" y="529"/>
                    <a:pt x="123" y="530"/>
                  </a:cubicBezTo>
                  <a:cubicBezTo>
                    <a:pt x="117" y="530"/>
                    <a:pt x="115" y="531"/>
                    <a:pt x="115" y="531"/>
                  </a:cubicBezTo>
                  <a:cubicBezTo>
                    <a:pt x="116" y="535"/>
                    <a:pt x="116" y="535"/>
                    <a:pt x="116" y="535"/>
                  </a:cubicBezTo>
                  <a:lnTo>
                    <a:pt x="118" y="535"/>
                  </a:lnTo>
                  <a:close/>
                  <a:moveTo>
                    <a:pt x="138" y="522"/>
                  </a:moveTo>
                  <a:cubicBezTo>
                    <a:pt x="138" y="522"/>
                    <a:pt x="131" y="524"/>
                    <a:pt x="131" y="528"/>
                  </a:cubicBezTo>
                  <a:cubicBezTo>
                    <a:pt x="131" y="533"/>
                    <a:pt x="138" y="530"/>
                    <a:pt x="145" y="529"/>
                  </a:cubicBezTo>
                  <a:cubicBezTo>
                    <a:pt x="154" y="526"/>
                    <a:pt x="158" y="523"/>
                    <a:pt x="156" y="522"/>
                  </a:cubicBezTo>
                  <a:cubicBezTo>
                    <a:pt x="154" y="521"/>
                    <a:pt x="150" y="521"/>
                    <a:pt x="150" y="521"/>
                  </a:cubicBezTo>
                  <a:cubicBezTo>
                    <a:pt x="150" y="518"/>
                    <a:pt x="150" y="518"/>
                    <a:pt x="150" y="518"/>
                  </a:cubicBezTo>
                  <a:cubicBezTo>
                    <a:pt x="150" y="518"/>
                    <a:pt x="147" y="518"/>
                    <a:pt x="143" y="519"/>
                  </a:cubicBezTo>
                  <a:cubicBezTo>
                    <a:pt x="139" y="519"/>
                    <a:pt x="138" y="522"/>
                    <a:pt x="138" y="522"/>
                  </a:cubicBezTo>
                  <a:close/>
                  <a:moveTo>
                    <a:pt x="139" y="516"/>
                  </a:moveTo>
                  <a:cubicBezTo>
                    <a:pt x="147" y="514"/>
                    <a:pt x="147" y="514"/>
                    <a:pt x="147" y="514"/>
                  </a:cubicBezTo>
                  <a:cubicBezTo>
                    <a:pt x="146" y="508"/>
                    <a:pt x="146" y="508"/>
                    <a:pt x="146" y="508"/>
                  </a:cubicBezTo>
                  <a:cubicBezTo>
                    <a:pt x="146" y="508"/>
                    <a:pt x="142" y="513"/>
                    <a:pt x="139" y="513"/>
                  </a:cubicBezTo>
                  <a:cubicBezTo>
                    <a:pt x="137" y="514"/>
                    <a:pt x="131" y="515"/>
                    <a:pt x="131" y="515"/>
                  </a:cubicBezTo>
                  <a:cubicBezTo>
                    <a:pt x="132" y="516"/>
                    <a:pt x="132" y="516"/>
                    <a:pt x="132" y="516"/>
                  </a:cubicBezTo>
                  <a:lnTo>
                    <a:pt x="139" y="516"/>
                  </a:lnTo>
                  <a:close/>
                  <a:moveTo>
                    <a:pt x="159" y="517"/>
                  </a:moveTo>
                  <a:cubicBezTo>
                    <a:pt x="154" y="518"/>
                    <a:pt x="154" y="518"/>
                    <a:pt x="154" y="518"/>
                  </a:cubicBezTo>
                  <a:cubicBezTo>
                    <a:pt x="153" y="519"/>
                    <a:pt x="153" y="519"/>
                    <a:pt x="153" y="519"/>
                  </a:cubicBezTo>
                  <a:cubicBezTo>
                    <a:pt x="159" y="519"/>
                    <a:pt x="159" y="519"/>
                    <a:pt x="159" y="519"/>
                  </a:cubicBezTo>
                  <a:lnTo>
                    <a:pt x="159" y="517"/>
                  </a:lnTo>
                  <a:close/>
                  <a:moveTo>
                    <a:pt x="162" y="515"/>
                  </a:moveTo>
                  <a:cubicBezTo>
                    <a:pt x="162" y="521"/>
                    <a:pt x="162" y="521"/>
                    <a:pt x="162" y="521"/>
                  </a:cubicBezTo>
                  <a:cubicBezTo>
                    <a:pt x="166" y="519"/>
                    <a:pt x="166" y="519"/>
                    <a:pt x="166" y="519"/>
                  </a:cubicBezTo>
                  <a:lnTo>
                    <a:pt x="162" y="515"/>
                  </a:lnTo>
                  <a:close/>
                  <a:moveTo>
                    <a:pt x="235" y="425"/>
                  </a:moveTo>
                  <a:cubicBezTo>
                    <a:pt x="235" y="425"/>
                    <a:pt x="232" y="424"/>
                    <a:pt x="230" y="425"/>
                  </a:cubicBezTo>
                  <a:cubicBezTo>
                    <a:pt x="227" y="427"/>
                    <a:pt x="229" y="430"/>
                    <a:pt x="229" y="430"/>
                  </a:cubicBezTo>
                  <a:lnTo>
                    <a:pt x="235" y="425"/>
                  </a:lnTo>
                  <a:close/>
                  <a:moveTo>
                    <a:pt x="215" y="439"/>
                  </a:moveTo>
                  <a:cubicBezTo>
                    <a:pt x="216" y="439"/>
                    <a:pt x="214" y="441"/>
                    <a:pt x="214" y="441"/>
                  </a:cubicBezTo>
                  <a:cubicBezTo>
                    <a:pt x="216" y="443"/>
                    <a:pt x="216" y="443"/>
                    <a:pt x="216" y="443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9"/>
                    <a:pt x="220" y="434"/>
                    <a:pt x="214" y="435"/>
                  </a:cubicBezTo>
                  <a:cubicBezTo>
                    <a:pt x="210" y="436"/>
                    <a:pt x="207" y="440"/>
                    <a:pt x="207" y="440"/>
                  </a:cubicBezTo>
                  <a:cubicBezTo>
                    <a:pt x="210" y="442"/>
                    <a:pt x="210" y="442"/>
                    <a:pt x="210" y="442"/>
                  </a:cubicBezTo>
                  <a:cubicBezTo>
                    <a:pt x="210" y="442"/>
                    <a:pt x="214" y="438"/>
                    <a:pt x="215" y="439"/>
                  </a:cubicBezTo>
                  <a:close/>
                  <a:moveTo>
                    <a:pt x="239" y="396"/>
                  </a:moveTo>
                  <a:cubicBezTo>
                    <a:pt x="244" y="390"/>
                    <a:pt x="244" y="390"/>
                    <a:pt x="244" y="390"/>
                  </a:cubicBezTo>
                  <a:cubicBezTo>
                    <a:pt x="242" y="387"/>
                    <a:pt x="242" y="387"/>
                    <a:pt x="242" y="387"/>
                  </a:cubicBezTo>
                  <a:cubicBezTo>
                    <a:pt x="242" y="387"/>
                    <a:pt x="236" y="386"/>
                    <a:pt x="237" y="391"/>
                  </a:cubicBezTo>
                  <a:cubicBezTo>
                    <a:pt x="237" y="396"/>
                    <a:pt x="239" y="396"/>
                    <a:pt x="239" y="396"/>
                  </a:cubicBezTo>
                  <a:close/>
                  <a:moveTo>
                    <a:pt x="242" y="408"/>
                  </a:moveTo>
                  <a:cubicBezTo>
                    <a:pt x="244" y="408"/>
                    <a:pt x="244" y="408"/>
                    <a:pt x="244" y="408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4" y="402"/>
                    <a:pt x="244" y="402"/>
                    <a:pt x="244" y="402"/>
                  </a:cubicBezTo>
                  <a:lnTo>
                    <a:pt x="242" y="408"/>
                  </a:lnTo>
                  <a:close/>
                  <a:moveTo>
                    <a:pt x="259" y="367"/>
                  </a:moveTo>
                  <a:cubicBezTo>
                    <a:pt x="259" y="367"/>
                    <a:pt x="254" y="371"/>
                    <a:pt x="253" y="373"/>
                  </a:cubicBezTo>
                  <a:cubicBezTo>
                    <a:pt x="252" y="374"/>
                    <a:pt x="255" y="378"/>
                    <a:pt x="255" y="378"/>
                  </a:cubicBezTo>
                  <a:cubicBezTo>
                    <a:pt x="260" y="373"/>
                    <a:pt x="260" y="373"/>
                    <a:pt x="260" y="373"/>
                  </a:cubicBezTo>
                  <a:cubicBezTo>
                    <a:pt x="265" y="370"/>
                    <a:pt x="265" y="370"/>
                    <a:pt x="265" y="370"/>
                  </a:cubicBezTo>
                  <a:cubicBezTo>
                    <a:pt x="266" y="367"/>
                    <a:pt x="266" y="367"/>
                    <a:pt x="266" y="367"/>
                  </a:cubicBezTo>
                  <a:cubicBezTo>
                    <a:pt x="260" y="370"/>
                    <a:pt x="260" y="370"/>
                    <a:pt x="260" y="370"/>
                  </a:cubicBezTo>
                  <a:lnTo>
                    <a:pt x="259" y="367"/>
                  </a:lnTo>
                  <a:close/>
                  <a:moveTo>
                    <a:pt x="253" y="366"/>
                  </a:moveTo>
                  <a:cubicBezTo>
                    <a:pt x="259" y="363"/>
                    <a:pt x="259" y="363"/>
                    <a:pt x="259" y="363"/>
                  </a:cubicBezTo>
                  <a:cubicBezTo>
                    <a:pt x="260" y="360"/>
                    <a:pt x="260" y="360"/>
                    <a:pt x="260" y="360"/>
                  </a:cubicBezTo>
                  <a:cubicBezTo>
                    <a:pt x="258" y="359"/>
                    <a:pt x="258" y="359"/>
                    <a:pt x="258" y="359"/>
                  </a:cubicBezTo>
                  <a:cubicBezTo>
                    <a:pt x="260" y="357"/>
                    <a:pt x="260" y="357"/>
                    <a:pt x="260" y="357"/>
                  </a:cubicBezTo>
                  <a:cubicBezTo>
                    <a:pt x="259" y="353"/>
                    <a:pt x="259" y="353"/>
                    <a:pt x="259" y="353"/>
                  </a:cubicBezTo>
                  <a:cubicBezTo>
                    <a:pt x="255" y="356"/>
                    <a:pt x="255" y="356"/>
                    <a:pt x="255" y="356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2" y="363"/>
                    <a:pt x="252" y="363"/>
                    <a:pt x="252" y="363"/>
                  </a:cubicBezTo>
                  <a:lnTo>
                    <a:pt x="253" y="366"/>
                  </a:lnTo>
                  <a:close/>
                  <a:moveTo>
                    <a:pt x="263" y="349"/>
                  </a:moveTo>
                  <a:cubicBezTo>
                    <a:pt x="262" y="352"/>
                    <a:pt x="262" y="352"/>
                    <a:pt x="262" y="352"/>
                  </a:cubicBezTo>
                  <a:cubicBezTo>
                    <a:pt x="264" y="355"/>
                    <a:pt x="264" y="355"/>
                    <a:pt x="264" y="355"/>
                  </a:cubicBezTo>
                  <a:cubicBezTo>
                    <a:pt x="268" y="350"/>
                    <a:pt x="268" y="350"/>
                    <a:pt x="268" y="350"/>
                  </a:cubicBezTo>
                  <a:lnTo>
                    <a:pt x="263" y="349"/>
                  </a:lnTo>
                  <a:close/>
                  <a:moveTo>
                    <a:pt x="264" y="359"/>
                  </a:moveTo>
                  <a:cubicBezTo>
                    <a:pt x="265" y="357"/>
                    <a:pt x="265" y="357"/>
                    <a:pt x="265" y="357"/>
                  </a:cubicBezTo>
                  <a:cubicBezTo>
                    <a:pt x="262" y="357"/>
                    <a:pt x="262" y="357"/>
                    <a:pt x="262" y="357"/>
                  </a:cubicBezTo>
                  <a:lnTo>
                    <a:pt x="264" y="359"/>
                  </a:lnTo>
                  <a:close/>
                  <a:moveTo>
                    <a:pt x="266" y="343"/>
                  </a:moveTo>
                  <a:cubicBezTo>
                    <a:pt x="269" y="340"/>
                    <a:pt x="269" y="340"/>
                    <a:pt x="269" y="340"/>
                  </a:cubicBezTo>
                  <a:cubicBezTo>
                    <a:pt x="265" y="339"/>
                    <a:pt x="265" y="339"/>
                    <a:pt x="265" y="339"/>
                  </a:cubicBezTo>
                  <a:lnTo>
                    <a:pt x="266" y="343"/>
                  </a:lnTo>
                  <a:close/>
                  <a:moveTo>
                    <a:pt x="261" y="330"/>
                  </a:moveTo>
                  <a:cubicBezTo>
                    <a:pt x="258" y="329"/>
                    <a:pt x="258" y="329"/>
                    <a:pt x="258" y="329"/>
                  </a:cubicBezTo>
                  <a:cubicBezTo>
                    <a:pt x="257" y="333"/>
                    <a:pt x="257" y="333"/>
                    <a:pt x="257" y="333"/>
                  </a:cubicBezTo>
                  <a:cubicBezTo>
                    <a:pt x="260" y="332"/>
                    <a:pt x="260" y="332"/>
                    <a:pt x="260" y="332"/>
                  </a:cubicBezTo>
                  <a:lnTo>
                    <a:pt x="261" y="330"/>
                  </a:lnTo>
                  <a:close/>
                  <a:moveTo>
                    <a:pt x="272" y="351"/>
                  </a:moveTo>
                  <a:cubicBezTo>
                    <a:pt x="269" y="350"/>
                    <a:pt x="269" y="350"/>
                    <a:pt x="269" y="350"/>
                  </a:cubicBezTo>
                  <a:cubicBezTo>
                    <a:pt x="268" y="356"/>
                    <a:pt x="268" y="356"/>
                    <a:pt x="268" y="356"/>
                  </a:cubicBezTo>
                  <a:lnTo>
                    <a:pt x="272" y="351"/>
                  </a:lnTo>
                  <a:close/>
                  <a:moveTo>
                    <a:pt x="280" y="319"/>
                  </a:moveTo>
                  <a:cubicBezTo>
                    <a:pt x="278" y="317"/>
                    <a:pt x="278" y="317"/>
                    <a:pt x="278" y="317"/>
                  </a:cubicBezTo>
                  <a:cubicBezTo>
                    <a:pt x="276" y="320"/>
                    <a:pt x="276" y="320"/>
                    <a:pt x="276" y="320"/>
                  </a:cubicBezTo>
                  <a:lnTo>
                    <a:pt x="280" y="319"/>
                  </a:lnTo>
                  <a:close/>
                  <a:moveTo>
                    <a:pt x="284" y="313"/>
                  </a:moveTo>
                  <a:cubicBezTo>
                    <a:pt x="279" y="312"/>
                    <a:pt x="279" y="312"/>
                    <a:pt x="279" y="312"/>
                  </a:cubicBezTo>
                  <a:cubicBezTo>
                    <a:pt x="276" y="315"/>
                    <a:pt x="276" y="315"/>
                    <a:pt x="276" y="315"/>
                  </a:cubicBezTo>
                  <a:cubicBezTo>
                    <a:pt x="284" y="315"/>
                    <a:pt x="284" y="315"/>
                    <a:pt x="284" y="315"/>
                  </a:cubicBezTo>
                  <a:lnTo>
                    <a:pt x="284" y="313"/>
                  </a:lnTo>
                  <a:close/>
                  <a:moveTo>
                    <a:pt x="301" y="300"/>
                  </a:moveTo>
                  <a:cubicBezTo>
                    <a:pt x="304" y="290"/>
                    <a:pt x="304" y="290"/>
                    <a:pt x="304" y="290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1" y="294"/>
                    <a:pt x="301" y="294"/>
                    <a:pt x="301" y="294"/>
                  </a:cubicBezTo>
                  <a:cubicBezTo>
                    <a:pt x="297" y="292"/>
                    <a:pt x="297" y="292"/>
                    <a:pt x="297" y="292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300" y="298"/>
                    <a:pt x="300" y="298"/>
                    <a:pt x="300" y="298"/>
                  </a:cubicBezTo>
                  <a:cubicBezTo>
                    <a:pt x="300" y="300"/>
                    <a:pt x="300" y="300"/>
                    <a:pt x="300" y="300"/>
                  </a:cubicBezTo>
                  <a:lnTo>
                    <a:pt x="301" y="300"/>
                  </a:lnTo>
                  <a:close/>
                  <a:moveTo>
                    <a:pt x="305" y="276"/>
                  </a:moveTo>
                  <a:cubicBezTo>
                    <a:pt x="298" y="279"/>
                    <a:pt x="304" y="279"/>
                    <a:pt x="306" y="278"/>
                  </a:cubicBezTo>
                  <a:cubicBezTo>
                    <a:pt x="311" y="276"/>
                    <a:pt x="310" y="273"/>
                    <a:pt x="305" y="276"/>
                  </a:cubicBezTo>
                  <a:close/>
                  <a:moveTo>
                    <a:pt x="262" y="260"/>
                  </a:moveTo>
                  <a:cubicBezTo>
                    <a:pt x="260" y="266"/>
                    <a:pt x="260" y="266"/>
                    <a:pt x="260" y="266"/>
                  </a:cubicBezTo>
                  <a:cubicBezTo>
                    <a:pt x="265" y="263"/>
                    <a:pt x="265" y="263"/>
                    <a:pt x="265" y="263"/>
                  </a:cubicBezTo>
                  <a:lnTo>
                    <a:pt x="262" y="260"/>
                  </a:lnTo>
                  <a:close/>
                  <a:moveTo>
                    <a:pt x="320" y="244"/>
                  </a:moveTo>
                  <a:cubicBezTo>
                    <a:pt x="327" y="242"/>
                    <a:pt x="327" y="242"/>
                    <a:pt x="327" y="242"/>
                  </a:cubicBezTo>
                  <a:cubicBezTo>
                    <a:pt x="327" y="241"/>
                    <a:pt x="327" y="241"/>
                    <a:pt x="327" y="241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44"/>
                  </a:lnTo>
                  <a:close/>
                  <a:moveTo>
                    <a:pt x="323" y="236"/>
                  </a:moveTo>
                  <a:cubicBezTo>
                    <a:pt x="327" y="239"/>
                    <a:pt x="327" y="239"/>
                    <a:pt x="327" y="239"/>
                  </a:cubicBezTo>
                  <a:cubicBezTo>
                    <a:pt x="327" y="238"/>
                    <a:pt x="324" y="234"/>
                    <a:pt x="324" y="234"/>
                  </a:cubicBezTo>
                  <a:lnTo>
                    <a:pt x="323" y="236"/>
                  </a:lnTo>
                  <a:close/>
                  <a:moveTo>
                    <a:pt x="353" y="201"/>
                  </a:moveTo>
                  <a:cubicBezTo>
                    <a:pt x="346" y="195"/>
                    <a:pt x="347" y="207"/>
                    <a:pt x="347" y="207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45" y="210"/>
                    <a:pt x="345" y="210"/>
                    <a:pt x="345" y="210"/>
                  </a:cubicBezTo>
                  <a:cubicBezTo>
                    <a:pt x="351" y="208"/>
                    <a:pt x="351" y="208"/>
                    <a:pt x="351" y="208"/>
                  </a:cubicBezTo>
                  <a:cubicBezTo>
                    <a:pt x="351" y="208"/>
                    <a:pt x="358" y="206"/>
                    <a:pt x="353" y="201"/>
                  </a:cubicBezTo>
                  <a:close/>
                  <a:moveTo>
                    <a:pt x="343" y="217"/>
                  </a:moveTo>
                  <a:cubicBezTo>
                    <a:pt x="348" y="213"/>
                    <a:pt x="348" y="213"/>
                    <a:pt x="348" y="213"/>
                  </a:cubicBezTo>
                  <a:cubicBezTo>
                    <a:pt x="343" y="214"/>
                    <a:pt x="343" y="214"/>
                    <a:pt x="343" y="214"/>
                  </a:cubicBezTo>
                  <a:lnTo>
                    <a:pt x="343" y="217"/>
                  </a:lnTo>
                  <a:close/>
                  <a:moveTo>
                    <a:pt x="350" y="229"/>
                  </a:moveTo>
                  <a:cubicBezTo>
                    <a:pt x="348" y="232"/>
                    <a:pt x="348" y="232"/>
                    <a:pt x="348" y="232"/>
                  </a:cubicBezTo>
                  <a:cubicBezTo>
                    <a:pt x="354" y="232"/>
                    <a:pt x="354" y="232"/>
                    <a:pt x="354" y="232"/>
                  </a:cubicBezTo>
                  <a:lnTo>
                    <a:pt x="350" y="229"/>
                  </a:lnTo>
                  <a:close/>
                  <a:moveTo>
                    <a:pt x="265" y="251"/>
                  </a:moveTo>
                  <a:cubicBezTo>
                    <a:pt x="265" y="251"/>
                    <a:pt x="270" y="250"/>
                    <a:pt x="271" y="247"/>
                  </a:cubicBezTo>
                  <a:cubicBezTo>
                    <a:pt x="271" y="245"/>
                    <a:pt x="270" y="242"/>
                    <a:pt x="271" y="242"/>
                  </a:cubicBezTo>
                  <a:cubicBezTo>
                    <a:pt x="272" y="242"/>
                    <a:pt x="275" y="238"/>
                    <a:pt x="275" y="238"/>
                  </a:cubicBezTo>
                  <a:cubicBezTo>
                    <a:pt x="275" y="238"/>
                    <a:pt x="281" y="237"/>
                    <a:pt x="281" y="232"/>
                  </a:cubicBezTo>
                  <a:cubicBezTo>
                    <a:pt x="281" y="226"/>
                    <a:pt x="278" y="227"/>
                    <a:pt x="278" y="227"/>
                  </a:cubicBezTo>
                  <a:cubicBezTo>
                    <a:pt x="274" y="235"/>
                    <a:pt x="274" y="235"/>
                    <a:pt x="274" y="235"/>
                  </a:cubicBezTo>
                  <a:cubicBezTo>
                    <a:pt x="272" y="232"/>
                    <a:pt x="272" y="232"/>
                    <a:pt x="272" y="232"/>
                  </a:cubicBezTo>
                  <a:cubicBezTo>
                    <a:pt x="272" y="232"/>
                    <a:pt x="266" y="239"/>
                    <a:pt x="266" y="242"/>
                  </a:cubicBezTo>
                  <a:cubicBezTo>
                    <a:pt x="265" y="245"/>
                    <a:pt x="266" y="247"/>
                    <a:pt x="266" y="248"/>
                  </a:cubicBezTo>
                  <a:cubicBezTo>
                    <a:pt x="266" y="249"/>
                    <a:pt x="264" y="250"/>
                    <a:pt x="265" y="251"/>
                  </a:cubicBezTo>
                  <a:close/>
                  <a:moveTo>
                    <a:pt x="282" y="233"/>
                  </a:moveTo>
                  <a:cubicBezTo>
                    <a:pt x="282" y="233"/>
                    <a:pt x="287" y="233"/>
                    <a:pt x="289" y="232"/>
                  </a:cubicBezTo>
                  <a:cubicBezTo>
                    <a:pt x="292" y="231"/>
                    <a:pt x="290" y="226"/>
                    <a:pt x="290" y="226"/>
                  </a:cubicBezTo>
                  <a:cubicBezTo>
                    <a:pt x="290" y="226"/>
                    <a:pt x="297" y="222"/>
                    <a:pt x="301" y="221"/>
                  </a:cubicBezTo>
                  <a:cubicBezTo>
                    <a:pt x="303" y="220"/>
                    <a:pt x="298" y="215"/>
                    <a:pt x="296" y="215"/>
                  </a:cubicBezTo>
                  <a:cubicBezTo>
                    <a:pt x="293" y="215"/>
                    <a:pt x="298" y="219"/>
                    <a:pt x="296" y="220"/>
                  </a:cubicBezTo>
                  <a:cubicBezTo>
                    <a:pt x="294" y="221"/>
                    <a:pt x="292" y="215"/>
                    <a:pt x="292" y="215"/>
                  </a:cubicBezTo>
                  <a:cubicBezTo>
                    <a:pt x="288" y="219"/>
                    <a:pt x="288" y="219"/>
                    <a:pt x="288" y="219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85" y="223"/>
                    <a:pt x="285" y="223"/>
                    <a:pt x="285" y="223"/>
                  </a:cubicBezTo>
                  <a:cubicBezTo>
                    <a:pt x="282" y="224"/>
                    <a:pt x="282" y="224"/>
                    <a:pt x="282" y="224"/>
                  </a:cubicBezTo>
                  <a:cubicBezTo>
                    <a:pt x="282" y="227"/>
                    <a:pt x="282" y="227"/>
                    <a:pt x="282" y="227"/>
                  </a:cubicBezTo>
                  <a:cubicBezTo>
                    <a:pt x="284" y="229"/>
                    <a:pt x="284" y="229"/>
                    <a:pt x="284" y="229"/>
                  </a:cubicBezTo>
                  <a:lnTo>
                    <a:pt x="282" y="233"/>
                  </a:lnTo>
                  <a:close/>
                  <a:moveTo>
                    <a:pt x="303" y="221"/>
                  </a:moveTo>
                  <a:cubicBezTo>
                    <a:pt x="303" y="223"/>
                    <a:pt x="301" y="226"/>
                    <a:pt x="301" y="226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11" y="216"/>
                    <a:pt x="311" y="216"/>
                    <a:pt x="311" y="216"/>
                  </a:cubicBezTo>
                  <a:cubicBezTo>
                    <a:pt x="313" y="220"/>
                    <a:pt x="313" y="220"/>
                    <a:pt x="313" y="220"/>
                  </a:cubicBezTo>
                  <a:cubicBezTo>
                    <a:pt x="322" y="207"/>
                    <a:pt x="322" y="207"/>
                    <a:pt x="322" y="207"/>
                  </a:cubicBezTo>
                  <a:cubicBezTo>
                    <a:pt x="322" y="207"/>
                    <a:pt x="317" y="208"/>
                    <a:pt x="317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05" y="213"/>
                    <a:pt x="305" y="213"/>
                    <a:pt x="305" y="213"/>
                  </a:cubicBezTo>
                  <a:cubicBezTo>
                    <a:pt x="306" y="217"/>
                    <a:pt x="306" y="217"/>
                    <a:pt x="306" y="217"/>
                  </a:cubicBezTo>
                  <a:cubicBezTo>
                    <a:pt x="303" y="216"/>
                    <a:pt x="303" y="216"/>
                    <a:pt x="303" y="216"/>
                  </a:cubicBezTo>
                  <a:cubicBezTo>
                    <a:pt x="303" y="216"/>
                    <a:pt x="304" y="219"/>
                    <a:pt x="303" y="221"/>
                  </a:cubicBezTo>
                  <a:close/>
                  <a:moveTo>
                    <a:pt x="362" y="187"/>
                  </a:moveTo>
                  <a:cubicBezTo>
                    <a:pt x="362" y="187"/>
                    <a:pt x="366" y="187"/>
                    <a:pt x="367" y="186"/>
                  </a:cubicBezTo>
                  <a:cubicBezTo>
                    <a:pt x="369" y="186"/>
                    <a:pt x="372" y="184"/>
                    <a:pt x="372" y="184"/>
                  </a:cubicBezTo>
                  <a:cubicBezTo>
                    <a:pt x="367" y="178"/>
                    <a:pt x="367" y="178"/>
                    <a:pt x="367" y="178"/>
                  </a:cubicBezTo>
                  <a:lnTo>
                    <a:pt x="362" y="187"/>
                  </a:lnTo>
                  <a:close/>
                  <a:moveTo>
                    <a:pt x="378" y="177"/>
                  </a:moveTo>
                  <a:cubicBezTo>
                    <a:pt x="377" y="175"/>
                    <a:pt x="376" y="174"/>
                    <a:pt x="374" y="174"/>
                  </a:cubicBezTo>
                  <a:cubicBezTo>
                    <a:pt x="371" y="173"/>
                    <a:pt x="369" y="175"/>
                    <a:pt x="369" y="175"/>
                  </a:cubicBezTo>
                  <a:cubicBezTo>
                    <a:pt x="369" y="175"/>
                    <a:pt x="370" y="182"/>
                    <a:pt x="373" y="182"/>
                  </a:cubicBezTo>
                  <a:cubicBezTo>
                    <a:pt x="375" y="183"/>
                    <a:pt x="379" y="178"/>
                    <a:pt x="378" y="177"/>
                  </a:cubicBezTo>
                  <a:close/>
                  <a:moveTo>
                    <a:pt x="352" y="177"/>
                  </a:moveTo>
                  <a:cubicBezTo>
                    <a:pt x="355" y="179"/>
                    <a:pt x="357" y="179"/>
                    <a:pt x="357" y="179"/>
                  </a:cubicBezTo>
                  <a:cubicBezTo>
                    <a:pt x="357" y="174"/>
                    <a:pt x="357" y="174"/>
                    <a:pt x="357" y="174"/>
                  </a:cubicBezTo>
                  <a:cubicBezTo>
                    <a:pt x="350" y="171"/>
                    <a:pt x="350" y="171"/>
                    <a:pt x="350" y="171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50" y="177"/>
                    <a:pt x="352" y="177"/>
                  </a:cubicBezTo>
                  <a:close/>
                  <a:moveTo>
                    <a:pt x="348" y="178"/>
                  </a:moveTo>
                  <a:cubicBezTo>
                    <a:pt x="344" y="183"/>
                    <a:pt x="344" y="183"/>
                    <a:pt x="344" y="183"/>
                  </a:cubicBezTo>
                  <a:cubicBezTo>
                    <a:pt x="348" y="188"/>
                    <a:pt x="348" y="188"/>
                    <a:pt x="348" y="188"/>
                  </a:cubicBezTo>
                  <a:cubicBezTo>
                    <a:pt x="344" y="189"/>
                    <a:pt x="344" y="189"/>
                    <a:pt x="344" y="189"/>
                  </a:cubicBezTo>
                  <a:cubicBezTo>
                    <a:pt x="337" y="201"/>
                    <a:pt x="337" y="201"/>
                    <a:pt x="337" y="201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2" y="177"/>
                    <a:pt x="338" y="175"/>
                  </a:cubicBezTo>
                  <a:cubicBezTo>
                    <a:pt x="333" y="173"/>
                    <a:pt x="333" y="185"/>
                    <a:pt x="333" y="185"/>
                  </a:cubicBezTo>
                  <a:cubicBezTo>
                    <a:pt x="330" y="186"/>
                    <a:pt x="330" y="186"/>
                    <a:pt x="330" y="186"/>
                  </a:cubicBezTo>
                  <a:cubicBezTo>
                    <a:pt x="331" y="197"/>
                    <a:pt x="331" y="197"/>
                    <a:pt x="331" y="197"/>
                  </a:cubicBezTo>
                  <a:cubicBezTo>
                    <a:pt x="324" y="202"/>
                    <a:pt x="324" y="202"/>
                    <a:pt x="324" y="202"/>
                  </a:cubicBezTo>
                  <a:cubicBezTo>
                    <a:pt x="325" y="206"/>
                    <a:pt x="325" y="206"/>
                    <a:pt x="325" y="206"/>
                  </a:cubicBezTo>
                  <a:cubicBezTo>
                    <a:pt x="319" y="218"/>
                    <a:pt x="319" y="218"/>
                    <a:pt x="319" y="218"/>
                  </a:cubicBezTo>
                  <a:cubicBezTo>
                    <a:pt x="322" y="218"/>
                    <a:pt x="322" y="218"/>
                    <a:pt x="322" y="218"/>
                  </a:cubicBezTo>
                  <a:cubicBezTo>
                    <a:pt x="331" y="208"/>
                    <a:pt x="331" y="208"/>
                    <a:pt x="331" y="208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35" y="215"/>
                    <a:pt x="335" y="215"/>
                    <a:pt x="335" y="215"/>
                  </a:cubicBezTo>
                  <a:cubicBezTo>
                    <a:pt x="336" y="215"/>
                    <a:pt x="337" y="209"/>
                    <a:pt x="337" y="209"/>
                  </a:cubicBezTo>
                  <a:cubicBezTo>
                    <a:pt x="340" y="211"/>
                    <a:pt x="340" y="211"/>
                    <a:pt x="340" y="211"/>
                  </a:cubicBezTo>
                  <a:cubicBezTo>
                    <a:pt x="340" y="211"/>
                    <a:pt x="345" y="202"/>
                    <a:pt x="346" y="200"/>
                  </a:cubicBezTo>
                  <a:cubicBezTo>
                    <a:pt x="347" y="198"/>
                    <a:pt x="354" y="198"/>
                    <a:pt x="354" y="198"/>
                  </a:cubicBezTo>
                  <a:cubicBezTo>
                    <a:pt x="354" y="198"/>
                    <a:pt x="357" y="193"/>
                    <a:pt x="358" y="188"/>
                  </a:cubicBezTo>
                  <a:cubicBezTo>
                    <a:pt x="359" y="184"/>
                    <a:pt x="348" y="178"/>
                    <a:pt x="348" y="178"/>
                  </a:cubicBezTo>
                  <a:close/>
                  <a:moveTo>
                    <a:pt x="330" y="179"/>
                  </a:moveTo>
                  <a:cubicBezTo>
                    <a:pt x="330" y="174"/>
                    <a:pt x="330" y="174"/>
                    <a:pt x="330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43" y="162"/>
                    <a:pt x="343" y="162"/>
                    <a:pt x="343" y="162"/>
                  </a:cubicBezTo>
                  <a:cubicBezTo>
                    <a:pt x="343" y="162"/>
                    <a:pt x="351" y="146"/>
                    <a:pt x="341" y="155"/>
                  </a:cubicBezTo>
                  <a:cubicBezTo>
                    <a:pt x="331" y="162"/>
                    <a:pt x="326" y="174"/>
                    <a:pt x="327" y="177"/>
                  </a:cubicBezTo>
                  <a:cubicBezTo>
                    <a:pt x="328" y="181"/>
                    <a:pt x="330" y="179"/>
                    <a:pt x="330" y="179"/>
                  </a:cubicBezTo>
                  <a:close/>
                  <a:moveTo>
                    <a:pt x="312" y="197"/>
                  </a:moveTo>
                  <a:cubicBezTo>
                    <a:pt x="315" y="194"/>
                    <a:pt x="319" y="192"/>
                    <a:pt x="319" y="192"/>
                  </a:cubicBezTo>
                  <a:cubicBezTo>
                    <a:pt x="313" y="199"/>
                    <a:pt x="313" y="199"/>
                    <a:pt x="313" y="199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27" y="191"/>
                    <a:pt x="327" y="191"/>
                    <a:pt x="327" y="191"/>
                  </a:cubicBezTo>
                  <a:cubicBezTo>
                    <a:pt x="325" y="187"/>
                    <a:pt x="325" y="187"/>
                    <a:pt x="325" y="187"/>
                  </a:cubicBezTo>
                  <a:cubicBezTo>
                    <a:pt x="327" y="185"/>
                    <a:pt x="327" y="185"/>
                    <a:pt x="327" y="185"/>
                  </a:cubicBezTo>
                  <a:cubicBezTo>
                    <a:pt x="322" y="171"/>
                    <a:pt x="322" y="171"/>
                    <a:pt x="322" y="171"/>
                  </a:cubicBezTo>
                  <a:cubicBezTo>
                    <a:pt x="315" y="172"/>
                    <a:pt x="315" y="172"/>
                    <a:pt x="315" y="172"/>
                  </a:cubicBezTo>
                  <a:cubicBezTo>
                    <a:pt x="320" y="183"/>
                    <a:pt x="320" y="183"/>
                    <a:pt x="320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7" y="188"/>
                    <a:pt x="317" y="188"/>
                    <a:pt x="317" y="188"/>
                  </a:cubicBezTo>
                  <a:cubicBezTo>
                    <a:pt x="309" y="186"/>
                    <a:pt x="309" y="186"/>
                    <a:pt x="309" y="186"/>
                  </a:cubicBezTo>
                  <a:cubicBezTo>
                    <a:pt x="309" y="186"/>
                    <a:pt x="306" y="191"/>
                    <a:pt x="305" y="194"/>
                  </a:cubicBezTo>
                  <a:cubicBezTo>
                    <a:pt x="303" y="199"/>
                    <a:pt x="308" y="198"/>
                    <a:pt x="312" y="197"/>
                  </a:cubicBezTo>
                  <a:close/>
                  <a:moveTo>
                    <a:pt x="309" y="186"/>
                  </a:moveTo>
                  <a:cubicBezTo>
                    <a:pt x="309" y="186"/>
                    <a:pt x="309" y="186"/>
                    <a:pt x="309" y="186"/>
                  </a:cubicBezTo>
                  <a:moveTo>
                    <a:pt x="313" y="206"/>
                  </a:moveTo>
                  <a:cubicBezTo>
                    <a:pt x="322" y="206"/>
                    <a:pt x="319" y="202"/>
                    <a:pt x="313" y="202"/>
                  </a:cubicBezTo>
                  <a:cubicBezTo>
                    <a:pt x="307" y="202"/>
                    <a:pt x="306" y="206"/>
                    <a:pt x="313" y="206"/>
                  </a:cubicBezTo>
                  <a:close/>
                  <a:moveTo>
                    <a:pt x="361" y="157"/>
                  </a:moveTo>
                  <a:cubicBezTo>
                    <a:pt x="367" y="159"/>
                    <a:pt x="367" y="159"/>
                    <a:pt x="367" y="159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62" y="168"/>
                    <a:pt x="368" y="170"/>
                    <a:pt x="371" y="168"/>
                  </a:cubicBezTo>
                  <a:cubicBezTo>
                    <a:pt x="376" y="157"/>
                    <a:pt x="376" y="157"/>
                    <a:pt x="376" y="157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9" y="144"/>
                    <a:pt x="389" y="144"/>
                    <a:pt x="389" y="144"/>
                  </a:cubicBezTo>
                  <a:cubicBezTo>
                    <a:pt x="389" y="144"/>
                    <a:pt x="391" y="135"/>
                    <a:pt x="384" y="132"/>
                  </a:cubicBezTo>
                  <a:cubicBezTo>
                    <a:pt x="376" y="129"/>
                    <a:pt x="370" y="139"/>
                    <a:pt x="370" y="139"/>
                  </a:cubicBezTo>
                  <a:cubicBezTo>
                    <a:pt x="375" y="145"/>
                    <a:pt x="375" y="145"/>
                    <a:pt x="375" y="145"/>
                  </a:cubicBezTo>
                  <a:cubicBezTo>
                    <a:pt x="371" y="143"/>
                    <a:pt x="371" y="143"/>
                    <a:pt x="371" y="143"/>
                  </a:cubicBezTo>
                  <a:cubicBezTo>
                    <a:pt x="371" y="143"/>
                    <a:pt x="362" y="144"/>
                    <a:pt x="362" y="145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7" y="152"/>
                    <a:pt x="367" y="152"/>
                    <a:pt x="367" y="152"/>
                  </a:cubicBezTo>
                  <a:cubicBezTo>
                    <a:pt x="360" y="155"/>
                    <a:pt x="360" y="155"/>
                    <a:pt x="360" y="155"/>
                  </a:cubicBezTo>
                  <a:lnTo>
                    <a:pt x="361" y="157"/>
                  </a:lnTo>
                  <a:close/>
                  <a:moveTo>
                    <a:pt x="401" y="132"/>
                  </a:moveTo>
                  <a:cubicBezTo>
                    <a:pt x="406" y="130"/>
                    <a:pt x="406" y="127"/>
                    <a:pt x="406" y="127"/>
                  </a:cubicBezTo>
                  <a:cubicBezTo>
                    <a:pt x="404" y="127"/>
                    <a:pt x="404" y="127"/>
                    <a:pt x="404" y="127"/>
                  </a:cubicBezTo>
                  <a:cubicBezTo>
                    <a:pt x="404" y="127"/>
                    <a:pt x="405" y="121"/>
                    <a:pt x="407" y="120"/>
                  </a:cubicBezTo>
                  <a:cubicBezTo>
                    <a:pt x="408" y="119"/>
                    <a:pt x="410" y="118"/>
                    <a:pt x="410" y="118"/>
                  </a:cubicBezTo>
                  <a:cubicBezTo>
                    <a:pt x="410" y="118"/>
                    <a:pt x="408" y="111"/>
                    <a:pt x="403" y="112"/>
                  </a:cubicBezTo>
                  <a:cubicBezTo>
                    <a:pt x="399" y="112"/>
                    <a:pt x="401" y="119"/>
                    <a:pt x="401" y="119"/>
                  </a:cubicBezTo>
                  <a:cubicBezTo>
                    <a:pt x="397" y="118"/>
                    <a:pt x="397" y="118"/>
                    <a:pt x="397" y="118"/>
                  </a:cubicBezTo>
                  <a:cubicBezTo>
                    <a:pt x="393" y="121"/>
                    <a:pt x="393" y="121"/>
                    <a:pt x="393" y="121"/>
                  </a:cubicBezTo>
                  <a:cubicBezTo>
                    <a:pt x="394" y="124"/>
                    <a:pt x="394" y="124"/>
                    <a:pt x="394" y="124"/>
                  </a:cubicBezTo>
                  <a:cubicBezTo>
                    <a:pt x="390" y="123"/>
                    <a:pt x="390" y="123"/>
                    <a:pt x="390" y="123"/>
                  </a:cubicBezTo>
                  <a:cubicBezTo>
                    <a:pt x="389" y="126"/>
                    <a:pt x="389" y="126"/>
                    <a:pt x="389" y="126"/>
                  </a:cubicBezTo>
                  <a:cubicBezTo>
                    <a:pt x="390" y="129"/>
                    <a:pt x="390" y="129"/>
                    <a:pt x="390" y="129"/>
                  </a:cubicBezTo>
                  <a:cubicBezTo>
                    <a:pt x="388" y="128"/>
                    <a:pt x="388" y="128"/>
                    <a:pt x="388" y="128"/>
                  </a:cubicBezTo>
                  <a:cubicBezTo>
                    <a:pt x="388" y="132"/>
                    <a:pt x="388" y="132"/>
                    <a:pt x="388" y="132"/>
                  </a:cubicBezTo>
                  <a:cubicBezTo>
                    <a:pt x="388" y="132"/>
                    <a:pt x="395" y="134"/>
                    <a:pt x="401" y="132"/>
                  </a:cubicBezTo>
                  <a:close/>
                  <a:moveTo>
                    <a:pt x="408" y="111"/>
                  </a:moveTo>
                  <a:cubicBezTo>
                    <a:pt x="410" y="112"/>
                    <a:pt x="411" y="112"/>
                    <a:pt x="411" y="112"/>
                  </a:cubicBezTo>
                  <a:cubicBezTo>
                    <a:pt x="412" y="115"/>
                    <a:pt x="412" y="115"/>
                    <a:pt x="412" y="115"/>
                  </a:cubicBezTo>
                  <a:cubicBezTo>
                    <a:pt x="412" y="115"/>
                    <a:pt x="420" y="113"/>
                    <a:pt x="420" y="109"/>
                  </a:cubicBezTo>
                  <a:cubicBezTo>
                    <a:pt x="420" y="106"/>
                    <a:pt x="420" y="106"/>
                    <a:pt x="420" y="106"/>
                  </a:cubicBezTo>
                  <a:cubicBezTo>
                    <a:pt x="420" y="106"/>
                    <a:pt x="426" y="104"/>
                    <a:pt x="424" y="102"/>
                  </a:cubicBezTo>
                  <a:cubicBezTo>
                    <a:pt x="423" y="99"/>
                    <a:pt x="418" y="100"/>
                    <a:pt x="418" y="100"/>
                  </a:cubicBezTo>
                  <a:cubicBezTo>
                    <a:pt x="418" y="100"/>
                    <a:pt x="416" y="96"/>
                    <a:pt x="411" y="97"/>
                  </a:cubicBezTo>
                  <a:cubicBezTo>
                    <a:pt x="408" y="98"/>
                    <a:pt x="403" y="106"/>
                    <a:pt x="403" y="106"/>
                  </a:cubicBezTo>
                  <a:cubicBezTo>
                    <a:pt x="403" y="106"/>
                    <a:pt x="406" y="110"/>
                    <a:pt x="408" y="111"/>
                  </a:cubicBezTo>
                  <a:close/>
                  <a:moveTo>
                    <a:pt x="424" y="106"/>
                  </a:moveTo>
                  <a:cubicBezTo>
                    <a:pt x="421" y="111"/>
                    <a:pt x="421" y="111"/>
                    <a:pt x="421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33" y="100"/>
                    <a:pt x="433" y="100"/>
                    <a:pt x="433" y="100"/>
                  </a:cubicBezTo>
                  <a:cubicBezTo>
                    <a:pt x="429" y="100"/>
                    <a:pt x="429" y="100"/>
                    <a:pt x="429" y="100"/>
                  </a:cubicBezTo>
                  <a:lnTo>
                    <a:pt x="424" y="106"/>
                  </a:lnTo>
                  <a:close/>
                  <a:moveTo>
                    <a:pt x="426" y="97"/>
                  </a:moveTo>
                  <a:cubicBezTo>
                    <a:pt x="433" y="98"/>
                    <a:pt x="434" y="97"/>
                    <a:pt x="433" y="93"/>
                  </a:cubicBezTo>
                  <a:cubicBezTo>
                    <a:pt x="431" y="90"/>
                    <a:pt x="427" y="87"/>
                    <a:pt x="427" y="87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2" y="83"/>
                    <a:pt x="422" y="83"/>
                    <a:pt x="422" y="83"/>
                  </a:cubicBezTo>
                  <a:cubicBezTo>
                    <a:pt x="420" y="87"/>
                    <a:pt x="420" y="87"/>
                    <a:pt x="420" y="87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4" y="94"/>
                    <a:pt x="422" y="96"/>
                    <a:pt x="426" y="97"/>
                  </a:cubicBezTo>
                  <a:close/>
                  <a:moveTo>
                    <a:pt x="421" y="95"/>
                  </a:moveTo>
                  <a:cubicBezTo>
                    <a:pt x="417" y="91"/>
                    <a:pt x="417" y="91"/>
                    <a:pt x="417" y="91"/>
                  </a:cubicBezTo>
                  <a:cubicBezTo>
                    <a:pt x="417" y="94"/>
                    <a:pt x="417" y="94"/>
                    <a:pt x="417" y="94"/>
                  </a:cubicBezTo>
                  <a:lnTo>
                    <a:pt x="421" y="95"/>
                  </a:lnTo>
                  <a:close/>
                  <a:moveTo>
                    <a:pt x="413" y="95"/>
                  </a:moveTo>
                  <a:cubicBezTo>
                    <a:pt x="415" y="87"/>
                    <a:pt x="415" y="87"/>
                    <a:pt x="415" y="87"/>
                  </a:cubicBezTo>
                  <a:cubicBezTo>
                    <a:pt x="409" y="84"/>
                    <a:pt x="409" y="84"/>
                    <a:pt x="409" y="84"/>
                  </a:cubicBezTo>
                  <a:cubicBezTo>
                    <a:pt x="409" y="95"/>
                    <a:pt x="409" y="95"/>
                    <a:pt x="409" y="95"/>
                  </a:cubicBezTo>
                  <a:lnTo>
                    <a:pt x="413" y="95"/>
                  </a:lnTo>
                  <a:close/>
                  <a:moveTo>
                    <a:pt x="407" y="97"/>
                  </a:moveTo>
                  <a:cubicBezTo>
                    <a:pt x="403" y="94"/>
                    <a:pt x="403" y="94"/>
                    <a:pt x="403" y="94"/>
                  </a:cubicBezTo>
                  <a:cubicBezTo>
                    <a:pt x="403" y="98"/>
                    <a:pt x="403" y="98"/>
                    <a:pt x="403" y="98"/>
                  </a:cubicBezTo>
                  <a:cubicBezTo>
                    <a:pt x="397" y="96"/>
                    <a:pt x="397" y="96"/>
                    <a:pt x="397" y="96"/>
                  </a:cubicBezTo>
                  <a:cubicBezTo>
                    <a:pt x="400" y="103"/>
                    <a:pt x="400" y="103"/>
                    <a:pt x="400" y="103"/>
                  </a:cubicBezTo>
                  <a:lnTo>
                    <a:pt x="407" y="97"/>
                  </a:lnTo>
                  <a:close/>
                  <a:moveTo>
                    <a:pt x="443" y="96"/>
                  </a:moveTo>
                  <a:cubicBezTo>
                    <a:pt x="449" y="97"/>
                    <a:pt x="452" y="90"/>
                    <a:pt x="449" y="84"/>
                  </a:cubicBezTo>
                  <a:cubicBezTo>
                    <a:pt x="446" y="79"/>
                    <a:pt x="441" y="83"/>
                    <a:pt x="440" y="90"/>
                  </a:cubicBezTo>
                  <a:cubicBezTo>
                    <a:pt x="439" y="95"/>
                    <a:pt x="443" y="96"/>
                    <a:pt x="443" y="96"/>
                  </a:cubicBezTo>
                  <a:close/>
                  <a:moveTo>
                    <a:pt x="455" y="99"/>
                  </a:moveTo>
                  <a:cubicBezTo>
                    <a:pt x="451" y="96"/>
                    <a:pt x="451" y="96"/>
                    <a:pt x="451" y="96"/>
                  </a:cubicBezTo>
                  <a:cubicBezTo>
                    <a:pt x="451" y="96"/>
                    <a:pt x="449" y="99"/>
                    <a:pt x="448" y="100"/>
                  </a:cubicBezTo>
                  <a:lnTo>
                    <a:pt x="455" y="99"/>
                  </a:lnTo>
                  <a:close/>
                  <a:moveTo>
                    <a:pt x="445" y="105"/>
                  </a:moveTo>
                  <a:cubicBezTo>
                    <a:pt x="444" y="111"/>
                    <a:pt x="444" y="111"/>
                    <a:pt x="444" y="111"/>
                  </a:cubicBezTo>
                  <a:cubicBezTo>
                    <a:pt x="449" y="109"/>
                    <a:pt x="449" y="109"/>
                    <a:pt x="449" y="109"/>
                  </a:cubicBezTo>
                  <a:cubicBezTo>
                    <a:pt x="448" y="104"/>
                    <a:pt x="448" y="104"/>
                    <a:pt x="448" y="104"/>
                  </a:cubicBezTo>
                  <a:lnTo>
                    <a:pt x="445" y="105"/>
                  </a:lnTo>
                  <a:close/>
                  <a:moveTo>
                    <a:pt x="474" y="58"/>
                  </a:moveTo>
                  <a:cubicBezTo>
                    <a:pt x="479" y="58"/>
                    <a:pt x="479" y="58"/>
                    <a:pt x="479" y="58"/>
                  </a:cubicBezTo>
                  <a:cubicBezTo>
                    <a:pt x="476" y="63"/>
                    <a:pt x="476" y="63"/>
                    <a:pt x="476" y="63"/>
                  </a:cubicBezTo>
                  <a:cubicBezTo>
                    <a:pt x="478" y="65"/>
                    <a:pt x="484" y="64"/>
                    <a:pt x="492" y="60"/>
                  </a:cubicBezTo>
                  <a:cubicBezTo>
                    <a:pt x="500" y="56"/>
                    <a:pt x="497" y="50"/>
                    <a:pt x="497" y="50"/>
                  </a:cubicBezTo>
                  <a:cubicBezTo>
                    <a:pt x="504" y="41"/>
                    <a:pt x="504" y="41"/>
                    <a:pt x="504" y="41"/>
                  </a:cubicBezTo>
                  <a:cubicBezTo>
                    <a:pt x="500" y="36"/>
                    <a:pt x="500" y="36"/>
                    <a:pt x="500" y="36"/>
                  </a:cubicBezTo>
                  <a:cubicBezTo>
                    <a:pt x="492" y="40"/>
                    <a:pt x="492" y="40"/>
                    <a:pt x="492" y="40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88" y="44"/>
                    <a:pt x="488" y="44"/>
                    <a:pt x="488" y="44"/>
                  </a:cubicBezTo>
                  <a:cubicBezTo>
                    <a:pt x="486" y="46"/>
                    <a:pt x="486" y="46"/>
                    <a:pt x="486" y="46"/>
                  </a:cubicBezTo>
                  <a:cubicBezTo>
                    <a:pt x="490" y="52"/>
                    <a:pt x="490" y="52"/>
                    <a:pt x="490" y="52"/>
                  </a:cubicBezTo>
                  <a:cubicBezTo>
                    <a:pt x="483" y="48"/>
                    <a:pt x="483" y="48"/>
                    <a:pt x="483" y="48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79" y="53"/>
                    <a:pt x="479" y="53"/>
                    <a:pt x="479" y="53"/>
                  </a:cubicBezTo>
                  <a:cubicBezTo>
                    <a:pt x="472" y="55"/>
                    <a:pt x="472" y="55"/>
                    <a:pt x="472" y="55"/>
                  </a:cubicBezTo>
                  <a:lnTo>
                    <a:pt x="474" y="58"/>
                  </a:lnTo>
                  <a:close/>
                  <a:moveTo>
                    <a:pt x="484" y="73"/>
                  </a:moveTo>
                  <a:cubicBezTo>
                    <a:pt x="484" y="76"/>
                    <a:pt x="489" y="76"/>
                    <a:pt x="489" y="76"/>
                  </a:cubicBezTo>
                  <a:cubicBezTo>
                    <a:pt x="489" y="76"/>
                    <a:pt x="498" y="77"/>
                    <a:pt x="497" y="73"/>
                  </a:cubicBezTo>
                  <a:cubicBezTo>
                    <a:pt x="497" y="68"/>
                    <a:pt x="482" y="66"/>
                    <a:pt x="484" y="73"/>
                  </a:cubicBezTo>
                  <a:close/>
                  <a:moveTo>
                    <a:pt x="503" y="55"/>
                  </a:moveTo>
                  <a:cubicBezTo>
                    <a:pt x="501" y="59"/>
                    <a:pt x="501" y="59"/>
                    <a:pt x="501" y="59"/>
                  </a:cubicBezTo>
                  <a:cubicBezTo>
                    <a:pt x="499" y="57"/>
                    <a:pt x="499" y="57"/>
                    <a:pt x="499" y="57"/>
                  </a:cubicBezTo>
                  <a:cubicBezTo>
                    <a:pt x="493" y="66"/>
                    <a:pt x="493" y="66"/>
                    <a:pt x="493" y="66"/>
                  </a:cubicBezTo>
                  <a:cubicBezTo>
                    <a:pt x="499" y="68"/>
                    <a:pt x="499" y="68"/>
                    <a:pt x="499" y="68"/>
                  </a:cubicBezTo>
                  <a:cubicBezTo>
                    <a:pt x="500" y="66"/>
                    <a:pt x="500" y="66"/>
                    <a:pt x="500" y="66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4" y="72"/>
                    <a:pt x="504" y="72"/>
                    <a:pt x="504" y="72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05" y="48"/>
                    <a:pt x="505" y="48"/>
                    <a:pt x="505" y="48"/>
                  </a:cubicBezTo>
                  <a:cubicBezTo>
                    <a:pt x="501" y="50"/>
                    <a:pt x="501" y="50"/>
                    <a:pt x="501" y="50"/>
                  </a:cubicBezTo>
                  <a:lnTo>
                    <a:pt x="503" y="55"/>
                  </a:lnTo>
                  <a:close/>
                  <a:moveTo>
                    <a:pt x="514" y="56"/>
                  </a:moveTo>
                  <a:cubicBezTo>
                    <a:pt x="517" y="56"/>
                    <a:pt x="521" y="48"/>
                    <a:pt x="516" y="43"/>
                  </a:cubicBezTo>
                  <a:cubicBezTo>
                    <a:pt x="509" y="37"/>
                    <a:pt x="505" y="43"/>
                    <a:pt x="508" y="50"/>
                  </a:cubicBezTo>
                  <a:cubicBezTo>
                    <a:pt x="508" y="50"/>
                    <a:pt x="510" y="56"/>
                    <a:pt x="514" y="56"/>
                  </a:cubicBezTo>
                  <a:close/>
                  <a:moveTo>
                    <a:pt x="513" y="22"/>
                  </a:moveTo>
                  <a:cubicBezTo>
                    <a:pt x="506" y="22"/>
                    <a:pt x="511" y="30"/>
                    <a:pt x="511" y="30"/>
                  </a:cubicBezTo>
                  <a:cubicBezTo>
                    <a:pt x="517" y="29"/>
                    <a:pt x="518" y="22"/>
                    <a:pt x="513" y="22"/>
                  </a:cubicBezTo>
                  <a:close/>
                  <a:moveTo>
                    <a:pt x="528" y="14"/>
                  </a:moveTo>
                  <a:cubicBezTo>
                    <a:pt x="523" y="17"/>
                    <a:pt x="523" y="17"/>
                    <a:pt x="523" y="17"/>
                  </a:cubicBezTo>
                  <a:cubicBezTo>
                    <a:pt x="531" y="19"/>
                    <a:pt x="531" y="19"/>
                    <a:pt x="531" y="19"/>
                  </a:cubicBezTo>
                  <a:lnTo>
                    <a:pt x="528" y="14"/>
                  </a:lnTo>
                  <a:close/>
                  <a:moveTo>
                    <a:pt x="538" y="19"/>
                  </a:moveTo>
                  <a:cubicBezTo>
                    <a:pt x="539" y="19"/>
                    <a:pt x="541" y="17"/>
                    <a:pt x="541" y="17"/>
                  </a:cubicBezTo>
                  <a:cubicBezTo>
                    <a:pt x="541" y="20"/>
                    <a:pt x="541" y="20"/>
                    <a:pt x="541" y="20"/>
                  </a:cubicBezTo>
                  <a:cubicBezTo>
                    <a:pt x="548" y="22"/>
                    <a:pt x="548" y="22"/>
                    <a:pt x="548" y="22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559" y="12"/>
                    <a:pt x="559" y="12"/>
                    <a:pt x="559" y="12"/>
                  </a:cubicBezTo>
                  <a:cubicBezTo>
                    <a:pt x="553" y="16"/>
                    <a:pt x="553" y="16"/>
                    <a:pt x="553" y="16"/>
                  </a:cubicBezTo>
                  <a:cubicBezTo>
                    <a:pt x="550" y="14"/>
                    <a:pt x="550" y="14"/>
                    <a:pt x="550" y="14"/>
                  </a:cubicBezTo>
                  <a:cubicBezTo>
                    <a:pt x="555" y="10"/>
                    <a:pt x="555" y="10"/>
                    <a:pt x="555" y="10"/>
                  </a:cubicBezTo>
                  <a:cubicBezTo>
                    <a:pt x="552" y="6"/>
                    <a:pt x="552" y="6"/>
                    <a:pt x="552" y="6"/>
                  </a:cubicBezTo>
                  <a:cubicBezTo>
                    <a:pt x="550" y="10"/>
                    <a:pt x="550" y="10"/>
                    <a:pt x="550" y="10"/>
                  </a:cubicBezTo>
                  <a:cubicBezTo>
                    <a:pt x="548" y="5"/>
                    <a:pt x="548" y="5"/>
                    <a:pt x="548" y="5"/>
                  </a:cubicBezTo>
                  <a:cubicBezTo>
                    <a:pt x="544" y="8"/>
                    <a:pt x="544" y="8"/>
                    <a:pt x="544" y="8"/>
                  </a:cubicBezTo>
                  <a:cubicBezTo>
                    <a:pt x="546" y="12"/>
                    <a:pt x="546" y="12"/>
                    <a:pt x="546" y="12"/>
                  </a:cubicBezTo>
                  <a:cubicBezTo>
                    <a:pt x="537" y="14"/>
                    <a:pt x="537" y="14"/>
                    <a:pt x="537" y="14"/>
                  </a:cubicBezTo>
                  <a:lnTo>
                    <a:pt x="538" y="19"/>
                  </a:lnTo>
                  <a:close/>
                  <a:moveTo>
                    <a:pt x="658" y="62"/>
                  </a:moveTo>
                  <a:cubicBezTo>
                    <a:pt x="659" y="72"/>
                    <a:pt x="659" y="72"/>
                    <a:pt x="659" y="72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2" y="60"/>
                    <a:pt x="662" y="60"/>
                    <a:pt x="662" y="60"/>
                  </a:cubicBezTo>
                  <a:lnTo>
                    <a:pt x="658" y="6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Es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671E315-3C47-824F-A5A3-69AB71AF8C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9465" y="2996422"/>
              <a:ext cx="513227" cy="326749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Weiß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8C100FD-BEE3-1C42-8D88-5EE56446FF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3604" y="3489846"/>
              <a:ext cx="871330" cy="788819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Let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165B0C-0C09-8A4A-9C6B-43FD4A0558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8112" y="3255510"/>
              <a:ext cx="636995" cy="359755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Moldawien" descr="© INSCALE GmbH, 05.05.2010&#10;http://www.presentationload.com/">
              <a:extLst>
                <a:ext uri="{FF2B5EF4-FFF2-40B4-BE49-F238E27FC236}">
                  <a16:creationId xmlns:a16="http://schemas.microsoft.com/office/drawing/2014/main" id="{49A541BA-EE10-0C4F-96B4-A95A88D331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3924" y="4656571"/>
              <a:ext cx="429064" cy="448867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7" name="Fin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D681938-DCF9-3D4F-9FBD-19B7F7E68B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65919" y="1417135"/>
              <a:ext cx="912587" cy="1608991"/>
            </a:xfrm>
            <a:custGeom>
              <a:avLst/>
              <a:gdLst/>
              <a:ahLst/>
              <a:cxnLst>
                <a:cxn ang="0">
                  <a:pos x="318" y="380"/>
                </a:cxn>
                <a:cxn ang="0">
                  <a:pos x="302" y="312"/>
                </a:cxn>
                <a:cxn ang="0">
                  <a:pos x="283" y="281"/>
                </a:cxn>
                <a:cxn ang="0">
                  <a:pos x="264" y="225"/>
                </a:cxn>
                <a:cxn ang="0">
                  <a:pos x="205" y="113"/>
                </a:cxn>
                <a:cxn ang="0">
                  <a:pos x="202" y="27"/>
                </a:cxn>
                <a:cxn ang="0">
                  <a:pos x="124" y="29"/>
                </a:cxn>
                <a:cxn ang="0">
                  <a:pos x="105" y="103"/>
                </a:cxn>
                <a:cxn ang="0">
                  <a:pos x="51" y="107"/>
                </a:cxn>
                <a:cxn ang="0">
                  <a:pos x="2" y="90"/>
                </a:cxn>
                <a:cxn ang="0">
                  <a:pos x="23" y="108"/>
                </a:cxn>
                <a:cxn ang="0">
                  <a:pos x="63" y="131"/>
                </a:cxn>
                <a:cxn ang="0">
                  <a:pos x="86" y="186"/>
                </a:cxn>
                <a:cxn ang="0">
                  <a:pos x="106" y="229"/>
                </a:cxn>
                <a:cxn ang="0">
                  <a:pos x="116" y="275"/>
                </a:cxn>
                <a:cxn ang="0">
                  <a:pos x="147" y="294"/>
                </a:cxn>
                <a:cxn ang="0">
                  <a:pos x="163" y="331"/>
                </a:cxn>
                <a:cxn ang="0">
                  <a:pos x="147" y="355"/>
                </a:cxn>
                <a:cxn ang="0">
                  <a:pos x="131" y="401"/>
                </a:cxn>
                <a:cxn ang="0">
                  <a:pos x="108" y="414"/>
                </a:cxn>
                <a:cxn ang="0">
                  <a:pos x="111" y="430"/>
                </a:cxn>
                <a:cxn ang="0">
                  <a:pos x="96" y="438"/>
                </a:cxn>
                <a:cxn ang="0">
                  <a:pos x="80" y="462"/>
                </a:cxn>
                <a:cxn ang="0">
                  <a:pos x="77" y="486"/>
                </a:cxn>
                <a:cxn ang="0">
                  <a:pos x="80" y="523"/>
                </a:cxn>
                <a:cxn ang="0">
                  <a:pos x="91" y="559"/>
                </a:cxn>
                <a:cxn ang="0">
                  <a:pos x="93" y="572"/>
                </a:cxn>
                <a:cxn ang="0">
                  <a:pos x="95" y="598"/>
                </a:cxn>
                <a:cxn ang="0">
                  <a:pos x="95" y="613"/>
                </a:cxn>
                <a:cxn ang="0">
                  <a:pos x="104" y="635"/>
                </a:cxn>
                <a:cxn ang="0">
                  <a:pos x="118" y="635"/>
                </a:cxn>
                <a:cxn ang="0">
                  <a:pos x="144" y="645"/>
                </a:cxn>
                <a:cxn ang="0">
                  <a:pos x="157" y="656"/>
                </a:cxn>
                <a:cxn ang="0">
                  <a:pos x="161" y="666"/>
                </a:cxn>
                <a:cxn ang="0">
                  <a:pos x="189" y="654"/>
                </a:cxn>
                <a:cxn ang="0">
                  <a:pos x="206" y="645"/>
                </a:cxn>
                <a:cxn ang="0">
                  <a:pos x="248" y="626"/>
                </a:cxn>
                <a:cxn ang="0">
                  <a:pos x="260" y="617"/>
                </a:cxn>
                <a:cxn ang="0">
                  <a:pos x="293" y="603"/>
                </a:cxn>
                <a:cxn ang="0">
                  <a:pos x="328" y="554"/>
                </a:cxn>
                <a:cxn ang="0">
                  <a:pos x="382" y="418"/>
                </a:cxn>
                <a:cxn ang="0">
                  <a:pos x="60" y="653"/>
                </a:cxn>
                <a:cxn ang="0">
                  <a:pos x="45" y="651"/>
                </a:cxn>
                <a:cxn ang="0">
                  <a:pos x="50" y="670"/>
                </a:cxn>
                <a:cxn ang="0">
                  <a:pos x="39" y="658"/>
                </a:cxn>
                <a:cxn ang="0">
                  <a:pos x="55" y="670"/>
                </a:cxn>
                <a:cxn ang="0">
                  <a:pos x="107" y="657"/>
                </a:cxn>
                <a:cxn ang="0">
                  <a:pos x="113" y="654"/>
                </a:cxn>
                <a:cxn ang="0">
                  <a:pos x="148" y="643"/>
                </a:cxn>
                <a:cxn ang="0">
                  <a:pos x="136" y="655"/>
                </a:cxn>
                <a:cxn ang="0">
                  <a:pos x="147" y="649"/>
                </a:cxn>
                <a:cxn ang="0">
                  <a:pos x="112" y="643"/>
                </a:cxn>
                <a:cxn ang="0">
                  <a:pos x="99" y="634"/>
                </a:cxn>
                <a:cxn ang="0">
                  <a:pos x="94" y="628"/>
                </a:cxn>
                <a:cxn ang="0">
                  <a:pos x="175" y="667"/>
                </a:cxn>
                <a:cxn ang="0">
                  <a:pos x="62" y="461"/>
                </a:cxn>
                <a:cxn ang="0">
                  <a:pos x="72" y="456"/>
                </a:cxn>
                <a:cxn ang="0">
                  <a:pos x="157" y="329"/>
                </a:cxn>
                <a:cxn ang="0">
                  <a:pos x="153" y="336"/>
                </a:cxn>
                <a:cxn ang="0">
                  <a:pos x="243" y="631"/>
                </a:cxn>
                <a:cxn ang="0">
                  <a:pos x="265" y="614"/>
                </a:cxn>
              </a:cxnLst>
              <a:rect l="0" t="0" r="r" b="b"/>
              <a:pathLst>
                <a:path w="382" h="674">
                  <a:moveTo>
                    <a:pt x="382" y="418"/>
                  </a:moveTo>
                  <a:cubicBezTo>
                    <a:pt x="381" y="412"/>
                    <a:pt x="369" y="412"/>
                    <a:pt x="369" y="412"/>
                  </a:cubicBezTo>
                  <a:cubicBezTo>
                    <a:pt x="366" y="404"/>
                    <a:pt x="366" y="404"/>
                    <a:pt x="366" y="404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39" y="394"/>
                    <a:pt x="339" y="394"/>
                    <a:pt x="339" y="394"/>
                  </a:cubicBezTo>
                  <a:cubicBezTo>
                    <a:pt x="318" y="380"/>
                    <a:pt x="318" y="380"/>
                    <a:pt x="318" y="380"/>
                  </a:cubicBezTo>
                  <a:cubicBezTo>
                    <a:pt x="327" y="374"/>
                    <a:pt x="327" y="374"/>
                    <a:pt x="327" y="374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26" y="370"/>
                    <a:pt x="331" y="355"/>
                    <a:pt x="327" y="346"/>
                  </a:cubicBezTo>
                  <a:cubicBezTo>
                    <a:pt x="323" y="338"/>
                    <a:pt x="313" y="344"/>
                    <a:pt x="308" y="335"/>
                  </a:cubicBezTo>
                  <a:cubicBezTo>
                    <a:pt x="301" y="326"/>
                    <a:pt x="307" y="320"/>
                    <a:pt x="307" y="320"/>
                  </a:cubicBezTo>
                  <a:cubicBezTo>
                    <a:pt x="302" y="312"/>
                    <a:pt x="302" y="312"/>
                    <a:pt x="302" y="312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285" y="301"/>
                    <a:pt x="285" y="301"/>
                    <a:pt x="285" y="301"/>
                  </a:cubicBezTo>
                  <a:cubicBezTo>
                    <a:pt x="292" y="296"/>
                    <a:pt x="292" y="296"/>
                    <a:pt x="292" y="296"/>
                  </a:cubicBezTo>
                  <a:cubicBezTo>
                    <a:pt x="291" y="291"/>
                    <a:pt x="291" y="291"/>
                    <a:pt x="291" y="291"/>
                  </a:cubicBezTo>
                  <a:cubicBezTo>
                    <a:pt x="280" y="293"/>
                    <a:pt x="280" y="293"/>
                    <a:pt x="280" y="293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0" y="272"/>
                    <a:pt x="280" y="272"/>
                    <a:pt x="280" y="272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8" y="259"/>
                    <a:pt x="288" y="259"/>
                    <a:pt x="288" y="259"/>
                  </a:cubicBezTo>
                  <a:cubicBezTo>
                    <a:pt x="288" y="259"/>
                    <a:pt x="286" y="249"/>
                    <a:pt x="281" y="240"/>
                  </a:cubicBezTo>
                  <a:cubicBezTo>
                    <a:pt x="277" y="232"/>
                    <a:pt x="264" y="225"/>
                    <a:pt x="264" y="225"/>
                  </a:cubicBezTo>
                  <a:cubicBezTo>
                    <a:pt x="261" y="223"/>
                    <a:pt x="262" y="214"/>
                    <a:pt x="254" y="208"/>
                  </a:cubicBezTo>
                  <a:cubicBezTo>
                    <a:pt x="248" y="204"/>
                    <a:pt x="237" y="187"/>
                    <a:pt x="237" y="187"/>
                  </a:cubicBezTo>
                  <a:cubicBezTo>
                    <a:pt x="237" y="187"/>
                    <a:pt x="252" y="152"/>
                    <a:pt x="251" y="142"/>
                  </a:cubicBezTo>
                  <a:cubicBezTo>
                    <a:pt x="250" y="133"/>
                    <a:pt x="238" y="133"/>
                    <a:pt x="238" y="133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05" y="113"/>
                    <a:pt x="205" y="113"/>
                    <a:pt x="205" y="113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9" y="70"/>
                    <a:pt x="199" y="70"/>
                    <a:pt x="199" y="70"/>
                  </a:cubicBezTo>
                  <a:cubicBezTo>
                    <a:pt x="188" y="68"/>
                    <a:pt x="188" y="68"/>
                    <a:pt x="188" y="68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197" y="57"/>
                    <a:pt x="194" y="52"/>
                    <a:pt x="194" y="46"/>
                  </a:cubicBezTo>
                  <a:cubicBezTo>
                    <a:pt x="194" y="41"/>
                    <a:pt x="202" y="27"/>
                    <a:pt x="202" y="27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13"/>
                    <a:pt x="163" y="0"/>
                    <a:pt x="157" y="1"/>
                  </a:cubicBezTo>
                  <a:cubicBezTo>
                    <a:pt x="151" y="2"/>
                    <a:pt x="142" y="14"/>
                    <a:pt x="142" y="14"/>
                  </a:cubicBezTo>
                  <a:cubicBezTo>
                    <a:pt x="142" y="14"/>
                    <a:pt x="135" y="12"/>
                    <a:pt x="129" y="15"/>
                  </a:cubicBezTo>
                  <a:cubicBezTo>
                    <a:pt x="123" y="17"/>
                    <a:pt x="124" y="29"/>
                    <a:pt x="124" y="29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1" y="75"/>
                    <a:pt x="122" y="80"/>
                  </a:cubicBezTo>
                  <a:cubicBezTo>
                    <a:pt x="122" y="86"/>
                    <a:pt x="119" y="90"/>
                    <a:pt x="117" y="93"/>
                  </a:cubicBezTo>
                  <a:cubicBezTo>
                    <a:pt x="114" y="97"/>
                    <a:pt x="112" y="110"/>
                    <a:pt x="112" y="110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1" y="97"/>
                    <a:pt x="86" y="97"/>
                  </a:cubicBezTo>
                  <a:cubicBezTo>
                    <a:pt x="80" y="97"/>
                    <a:pt x="78" y="105"/>
                    <a:pt x="78" y="105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4" y="99"/>
                    <a:pt x="37" y="93"/>
                  </a:cubicBezTo>
                  <a:cubicBezTo>
                    <a:pt x="32" y="88"/>
                    <a:pt x="25" y="78"/>
                    <a:pt x="25" y="78"/>
                  </a:cubicBezTo>
                  <a:cubicBezTo>
                    <a:pt x="25" y="78"/>
                    <a:pt x="16" y="75"/>
                    <a:pt x="12" y="80"/>
                  </a:cubicBezTo>
                  <a:cubicBezTo>
                    <a:pt x="6" y="84"/>
                    <a:pt x="14" y="91"/>
                    <a:pt x="13" y="93"/>
                  </a:cubicBezTo>
                  <a:cubicBezTo>
                    <a:pt x="11" y="95"/>
                    <a:pt x="2" y="90"/>
                    <a:pt x="2" y="9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53" y="126"/>
                    <a:pt x="63" y="131"/>
                  </a:cubicBezTo>
                  <a:cubicBezTo>
                    <a:pt x="72" y="136"/>
                    <a:pt x="73" y="146"/>
                    <a:pt x="73" y="146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86" y="152"/>
                    <a:pt x="88" y="155"/>
                  </a:cubicBezTo>
                  <a:cubicBezTo>
                    <a:pt x="90" y="158"/>
                    <a:pt x="85" y="158"/>
                    <a:pt x="84" y="162"/>
                  </a:cubicBezTo>
                  <a:cubicBezTo>
                    <a:pt x="83" y="167"/>
                    <a:pt x="85" y="170"/>
                    <a:pt x="86" y="174"/>
                  </a:cubicBezTo>
                  <a:cubicBezTo>
                    <a:pt x="88" y="180"/>
                    <a:pt x="86" y="186"/>
                    <a:pt x="86" y="186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95" y="197"/>
                    <a:pt x="94" y="199"/>
                    <a:pt x="94" y="204"/>
                  </a:cubicBezTo>
                  <a:cubicBezTo>
                    <a:pt x="94" y="210"/>
                    <a:pt x="103" y="215"/>
                    <a:pt x="105" y="218"/>
                  </a:cubicBezTo>
                  <a:cubicBezTo>
                    <a:pt x="107" y="222"/>
                    <a:pt x="106" y="229"/>
                    <a:pt x="106" y="229"/>
                  </a:cubicBezTo>
                  <a:cubicBezTo>
                    <a:pt x="106" y="229"/>
                    <a:pt x="108" y="233"/>
                    <a:pt x="110" y="237"/>
                  </a:cubicBezTo>
                  <a:cubicBezTo>
                    <a:pt x="111" y="240"/>
                    <a:pt x="106" y="243"/>
                    <a:pt x="103" y="248"/>
                  </a:cubicBezTo>
                  <a:cubicBezTo>
                    <a:pt x="101" y="252"/>
                    <a:pt x="106" y="253"/>
                    <a:pt x="106" y="253"/>
                  </a:cubicBezTo>
                  <a:cubicBezTo>
                    <a:pt x="106" y="253"/>
                    <a:pt x="106" y="254"/>
                    <a:pt x="105" y="260"/>
                  </a:cubicBezTo>
                  <a:cubicBezTo>
                    <a:pt x="105" y="264"/>
                    <a:pt x="112" y="265"/>
                    <a:pt x="114" y="266"/>
                  </a:cubicBezTo>
                  <a:cubicBezTo>
                    <a:pt x="116" y="268"/>
                    <a:pt x="115" y="271"/>
                    <a:pt x="116" y="275"/>
                  </a:cubicBezTo>
                  <a:cubicBezTo>
                    <a:pt x="117" y="279"/>
                    <a:pt x="122" y="281"/>
                    <a:pt x="122" y="281"/>
                  </a:cubicBezTo>
                  <a:cubicBezTo>
                    <a:pt x="123" y="288"/>
                    <a:pt x="123" y="288"/>
                    <a:pt x="123" y="288"/>
                  </a:cubicBezTo>
                  <a:cubicBezTo>
                    <a:pt x="128" y="286"/>
                    <a:pt x="128" y="286"/>
                    <a:pt x="128" y="286"/>
                  </a:cubicBezTo>
                  <a:cubicBezTo>
                    <a:pt x="139" y="293"/>
                    <a:pt x="139" y="293"/>
                    <a:pt x="139" y="293"/>
                  </a:cubicBezTo>
                  <a:cubicBezTo>
                    <a:pt x="139" y="295"/>
                    <a:pt x="139" y="295"/>
                    <a:pt x="139" y="295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54" y="297"/>
                    <a:pt x="154" y="297"/>
                    <a:pt x="154" y="297"/>
                  </a:cubicBezTo>
                  <a:cubicBezTo>
                    <a:pt x="154" y="297"/>
                    <a:pt x="159" y="301"/>
                    <a:pt x="162" y="308"/>
                  </a:cubicBezTo>
                  <a:cubicBezTo>
                    <a:pt x="166" y="314"/>
                    <a:pt x="162" y="324"/>
                    <a:pt x="162" y="324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2" y="334"/>
                    <a:pt x="162" y="334"/>
                    <a:pt x="162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7" y="342"/>
                    <a:pt x="160" y="340"/>
                    <a:pt x="154" y="341"/>
                  </a:cubicBezTo>
                  <a:cubicBezTo>
                    <a:pt x="150" y="342"/>
                    <a:pt x="147" y="346"/>
                    <a:pt x="147" y="346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66"/>
                    <a:pt x="145" y="366"/>
                    <a:pt x="145" y="366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37" y="376"/>
                    <a:pt x="137" y="376"/>
                    <a:pt x="137" y="376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1" y="401"/>
                    <a:pt x="131" y="401"/>
                    <a:pt x="131" y="401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409"/>
                    <a:pt x="124" y="409"/>
                    <a:pt x="124" y="409"/>
                  </a:cubicBezTo>
                  <a:cubicBezTo>
                    <a:pt x="117" y="413"/>
                    <a:pt x="117" y="413"/>
                    <a:pt x="117" y="413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2" y="413"/>
                    <a:pt x="112" y="413"/>
                    <a:pt x="112" y="413"/>
                  </a:cubicBezTo>
                  <a:cubicBezTo>
                    <a:pt x="108" y="414"/>
                    <a:pt x="108" y="414"/>
                    <a:pt x="108" y="414"/>
                  </a:cubicBezTo>
                  <a:cubicBezTo>
                    <a:pt x="108" y="417"/>
                    <a:pt x="108" y="417"/>
                    <a:pt x="108" y="417"/>
                  </a:cubicBezTo>
                  <a:cubicBezTo>
                    <a:pt x="106" y="418"/>
                    <a:pt x="106" y="418"/>
                    <a:pt x="106" y="418"/>
                  </a:cubicBezTo>
                  <a:cubicBezTo>
                    <a:pt x="105" y="421"/>
                    <a:pt x="105" y="421"/>
                    <a:pt x="105" y="421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3" y="422"/>
                    <a:pt x="113" y="422"/>
                    <a:pt x="113" y="422"/>
                  </a:cubicBezTo>
                  <a:cubicBezTo>
                    <a:pt x="111" y="430"/>
                    <a:pt x="111" y="430"/>
                    <a:pt x="111" y="430"/>
                  </a:cubicBezTo>
                  <a:cubicBezTo>
                    <a:pt x="111" y="430"/>
                    <a:pt x="107" y="426"/>
                    <a:pt x="104" y="428"/>
                  </a:cubicBezTo>
                  <a:cubicBezTo>
                    <a:pt x="100" y="430"/>
                    <a:pt x="102" y="436"/>
                    <a:pt x="102" y="436"/>
                  </a:cubicBezTo>
                  <a:cubicBezTo>
                    <a:pt x="102" y="439"/>
                    <a:pt x="102" y="439"/>
                    <a:pt x="102" y="439"/>
                  </a:cubicBezTo>
                  <a:cubicBezTo>
                    <a:pt x="101" y="441"/>
                    <a:pt x="100" y="442"/>
                    <a:pt x="100" y="442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6" y="438"/>
                    <a:pt x="96" y="438"/>
                    <a:pt x="96" y="438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444"/>
                    <a:pt x="99" y="455"/>
                    <a:pt x="98" y="457"/>
                  </a:cubicBezTo>
                  <a:cubicBezTo>
                    <a:pt x="97" y="460"/>
                    <a:pt x="91" y="458"/>
                    <a:pt x="89" y="458"/>
                  </a:cubicBezTo>
                  <a:cubicBezTo>
                    <a:pt x="82" y="458"/>
                    <a:pt x="82" y="458"/>
                    <a:pt x="82" y="458"/>
                  </a:cubicBezTo>
                  <a:cubicBezTo>
                    <a:pt x="82" y="458"/>
                    <a:pt x="82" y="462"/>
                    <a:pt x="80" y="462"/>
                  </a:cubicBezTo>
                  <a:cubicBezTo>
                    <a:pt x="79" y="462"/>
                    <a:pt x="77" y="459"/>
                    <a:pt x="77" y="459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83" y="475"/>
                    <a:pt x="83" y="475"/>
                    <a:pt x="83" y="475"/>
                  </a:cubicBezTo>
                  <a:cubicBezTo>
                    <a:pt x="77" y="474"/>
                    <a:pt x="77" y="474"/>
                    <a:pt x="77" y="474"/>
                  </a:cubicBezTo>
                  <a:cubicBezTo>
                    <a:pt x="75" y="482"/>
                    <a:pt x="75" y="482"/>
                    <a:pt x="75" y="482"/>
                  </a:cubicBezTo>
                  <a:cubicBezTo>
                    <a:pt x="75" y="482"/>
                    <a:pt x="77" y="484"/>
                    <a:pt x="77" y="486"/>
                  </a:cubicBezTo>
                  <a:cubicBezTo>
                    <a:pt x="77" y="487"/>
                    <a:pt x="72" y="487"/>
                    <a:pt x="72" y="487"/>
                  </a:cubicBezTo>
                  <a:cubicBezTo>
                    <a:pt x="69" y="492"/>
                    <a:pt x="69" y="492"/>
                    <a:pt x="69" y="492"/>
                  </a:cubicBezTo>
                  <a:cubicBezTo>
                    <a:pt x="68" y="504"/>
                    <a:pt x="68" y="504"/>
                    <a:pt x="68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72" y="504"/>
                    <a:pt x="69" y="508"/>
                    <a:pt x="70" y="513"/>
                  </a:cubicBezTo>
                  <a:cubicBezTo>
                    <a:pt x="70" y="517"/>
                    <a:pt x="78" y="519"/>
                    <a:pt x="80" y="523"/>
                  </a:cubicBezTo>
                  <a:cubicBezTo>
                    <a:pt x="83" y="528"/>
                    <a:pt x="80" y="534"/>
                    <a:pt x="80" y="534"/>
                  </a:cubicBezTo>
                  <a:cubicBezTo>
                    <a:pt x="80" y="543"/>
                    <a:pt x="80" y="543"/>
                    <a:pt x="80" y="543"/>
                  </a:cubicBezTo>
                  <a:cubicBezTo>
                    <a:pt x="83" y="546"/>
                    <a:pt x="83" y="546"/>
                    <a:pt x="83" y="546"/>
                  </a:cubicBezTo>
                  <a:cubicBezTo>
                    <a:pt x="86" y="544"/>
                    <a:pt x="86" y="544"/>
                    <a:pt x="86" y="544"/>
                  </a:cubicBezTo>
                  <a:cubicBezTo>
                    <a:pt x="86" y="544"/>
                    <a:pt x="86" y="550"/>
                    <a:pt x="87" y="552"/>
                  </a:cubicBezTo>
                  <a:cubicBezTo>
                    <a:pt x="88" y="555"/>
                    <a:pt x="91" y="559"/>
                    <a:pt x="91" y="559"/>
                  </a:cubicBezTo>
                  <a:cubicBezTo>
                    <a:pt x="90" y="561"/>
                    <a:pt x="90" y="561"/>
                    <a:pt x="90" y="561"/>
                  </a:cubicBezTo>
                  <a:cubicBezTo>
                    <a:pt x="94" y="562"/>
                    <a:pt x="94" y="562"/>
                    <a:pt x="94" y="562"/>
                  </a:cubicBezTo>
                  <a:cubicBezTo>
                    <a:pt x="95" y="567"/>
                    <a:pt x="95" y="567"/>
                    <a:pt x="95" y="567"/>
                  </a:cubicBezTo>
                  <a:cubicBezTo>
                    <a:pt x="90" y="566"/>
                    <a:pt x="90" y="566"/>
                    <a:pt x="90" y="566"/>
                  </a:cubicBezTo>
                  <a:cubicBezTo>
                    <a:pt x="90" y="569"/>
                    <a:pt x="90" y="569"/>
                    <a:pt x="90" y="569"/>
                  </a:cubicBezTo>
                  <a:cubicBezTo>
                    <a:pt x="93" y="572"/>
                    <a:pt x="93" y="572"/>
                    <a:pt x="93" y="572"/>
                  </a:cubicBezTo>
                  <a:cubicBezTo>
                    <a:pt x="89" y="572"/>
                    <a:pt x="89" y="572"/>
                    <a:pt x="89" y="572"/>
                  </a:cubicBezTo>
                  <a:cubicBezTo>
                    <a:pt x="93" y="577"/>
                    <a:pt x="93" y="577"/>
                    <a:pt x="93" y="577"/>
                  </a:cubicBezTo>
                  <a:cubicBezTo>
                    <a:pt x="90" y="578"/>
                    <a:pt x="90" y="578"/>
                    <a:pt x="90" y="578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5" y="584"/>
                    <a:pt x="96" y="588"/>
                    <a:pt x="94" y="591"/>
                  </a:cubicBezTo>
                  <a:cubicBezTo>
                    <a:pt x="91" y="593"/>
                    <a:pt x="95" y="598"/>
                    <a:pt x="95" y="598"/>
                  </a:cubicBezTo>
                  <a:cubicBezTo>
                    <a:pt x="95" y="598"/>
                    <a:pt x="90" y="599"/>
                    <a:pt x="90" y="603"/>
                  </a:cubicBezTo>
                  <a:cubicBezTo>
                    <a:pt x="91" y="607"/>
                    <a:pt x="94" y="610"/>
                    <a:pt x="94" y="610"/>
                  </a:cubicBezTo>
                  <a:cubicBezTo>
                    <a:pt x="91" y="610"/>
                    <a:pt x="91" y="610"/>
                    <a:pt x="91" y="610"/>
                  </a:cubicBezTo>
                  <a:cubicBezTo>
                    <a:pt x="88" y="607"/>
                    <a:pt x="88" y="607"/>
                    <a:pt x="88" y="607"/>
                  </a:cubicBezTo>
                  <a:cubicBezTo>
                    <a:pt x="87" y="613"/>
                    <a:pt x="87" y="613"/>
                    <a:pt x="87" y="613"/>
                  </a:cubicBezTo>
                  <a:cubicBezTo>
                    <a:pt x="95" y="613"/>
                    <a:pt x="95" y="613"/>
                    <a:pt x="95" y="613"/>
                  </a:cubicBezTo>
                  <a:cubicBezTo>
                    <a:pt x="93" y="614"/>
                    <a:pt x="93" y="614"/>
                    <a:pt x="93" y="614"/>
                  </a:cubicBezTo>
                  <a:cubicBezTo>
                    <a:pt x="94" y="619"/>
                    <a:pt x="94" y="619"/>
                    <a:pt x="94" y="619"/>
                  </a:cubicBezTo>
                  <a:cubicBezTo>
                    <a:pt x="97" y="622"/>
                    <a:pt x="97" y="622"/>
                    <a:pt x="97" y="622"/>
                  </a:cubicBezTo>
                  <a:cubicBezTo>
                    <a:pt x="97" y="622"/>
                    <a:pt x="95" y="624"/>
                    <a:pt x="97" y="628"/>
                  </a:cubicBezTo>
                  <a:cubicBezTo>
                    <a:pt x="99" y="632"/>
                    <a:pt x="101" y="632"/>
                    <a:pt x="101" y="632"/>
                  </a:cubicBezTo>
                  <a:cubicBezTo>
                    <a:pt x="104" y="635"/>
                    <a:pt x="104" y="635"/>
                    <a:pt x="104" y="635"/>
                  </a:cubicBezTo>
                  <a:cubicBezTo>
                    <a:pt x="104" y="630"/>
                    <a:pt x="104" y="630"/>
                    <a:pt x="104" y="630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35"/>
                    <a:pt x="110" y="635"/>
                    <a:pt x="110" y="635"/>
                  </a:cubicBezTo>
                  <a:cubicBezTo>
                    <a:pt x="112" y="635"/>
                    <a:pt x="112" y="635"/>
                    <a:pt x="112" y="635"/>
                  </a:cubicBezTo>
                  <a:cubicBezTo>
                    <a:pt x="113" y="631"/>
                    <a:pt x="113" y="631"/>
                    <a:pt x="113" y="631"/>
                  </a:cubicBezTo>
                  <a:cubicBezTo>
                    <a:pt x="118" y="635"/>
                    <a:pt x="118" y="635"/>
                    <a:pt x="118" y="635"/>
                  </a:cubicBezTo>
                  <a:cubicBezTo>
                    <a:pt x="124" y="635"/>
                    <a:pt x="124" y="635"/>
                    <a:pt x="124" y="635"/>
                  </a:cubicBezTo>
                  <a:cubicBezTo>
                    <a:pt x="131" y="638"/>
                    <a:pt x="131" y="638"/>
                    <a:pt x="131" y="638"/>
                  </a:cubicBezTo>
                  <a:cubicBezTo>
                    <a:pt x="137" y="638"/>
                    <a:pt x="137" y="638"/>
                    <a:pt x="137" y="638"/>
                  </a:cubicBezTo>
                  <a:cubicBezTo>
                    <a:pt x="135" y="646"/>
                    <a:pt x="135" y="646"/>
                    <a:pt x="135" y="646"/>
                  </a:cubicBezTo>
                  <a:cubicBezTo>
                    <a:pt x="137" y="648"/>
                    <a:pt x="137" y="648"/>
                    <a:pt x="137" y="648"/>
                  </a:cubicBezTo>
                  <a:cubicBezTo>
                    <a:pt x="144" y="645"/>
                    <a:pt x="144" y="645"/>
                    <a:pt x="144" y="645"/>
                  </a:cubicBezTo>
                  <a:cubicBezTo>
                    <a:pt x="151" y="639"/>
                    <a:pt x="151" y="639"/>
                    <a:pt x="151" y="639"/>
                  </a:cubicBezTo>
                  <a:cubicBezTo>
                    <a:pt x="152" y="640"/>
                    <a:pt x="152" y="640"/>
                    <a:pt x="152" y="640"/>
                  </a:cubicBezTo>
                  <a:cubicBezTo>
                    <a:pt x="149" y="649"/>
                    <a:pt x="149" y="649"/>
                    <a:pt x="149" y="649"/>
                  </a:cubicBezTo>
                  <a:cubicBezTo>
                    <a:pt x="154" y="653"/>
                    <a:pt x="154" y="653"/>
                    <a:pt x="154" y="653"/>
                  </a:cubicBezTo>
                  <a:cubicBezTo>
                    <a:pt x="153" y="657"/>
                    <a:pt x="153" y="657"/>
                    <a:pt x="153" y="657"/>
                  </a:cubicBezTo>
                  <a:cubicBezTo>
                    <a:pt x="157" y="656"/>
                    <a:pt x="157" y="656"/>
                    <a:pt x="157" y="656"/>
                  </a:cubicBezTo>
                  <a:cubicBezTo>
                    <a:pt x="157" y="658"/>
                    <a:pt x="157" y="658"/>
                    <a:pt x="157" y="658"/>
                  </a:cubicBezTo>
                  <a:cubicBezTo>
                    <a:pt x="150" y="664"/>
                    <a:pt x="150" y="664"/>
                    <a:pt x="150" y="664"/>
                  </a:cubicBezTo>
                  <a:cubicBezTo>
                    <a:pt x="151" y="666"/>
                    <a:pt x="151" y="666"/>
                    <a:pt x="151" y="666"/>
                  </a:cubicBezTo>
                  <a:cubicBezTo>
                    <a:pt x="156" y="666"/>
                    <a:pt x="156" y="666"/>
                    <a:pt x="156" y="666"/>
                  </a:cubicBezTo>
                  <a:cubicBezTo>
                    <a:pt x="159" y="662"/>
                    <a:pt x="159" y="662"/>
                    <a:pt x="159" y="662"/>
                  </a:cubicBezTo>
                  <a:cubicBezTo>
                    <a:pt x="159" y="662"/>
                    <a:pt x="161" y="664"/>
                    <a:pt x="161" y="666"/>
                  </a:cubicBezTo>
                  <a:cubicBezTo>
                    <a:pt x="162" y="669"/>
                    <a:pt x="152" y="674"/>
                    <a:pt x="152" y="674"/>
                  </a:cubicBezTo>
                  <a:cubicBezTo>
                    <a:pt x="163" y="671"/>
                    <a:pt x="163" y="671"/>
                    <a:pt x="163" y="671"/>
                  </a:cubicBezTo>
                  <a:cubicBezTo>
                    <a:pt x="171" y="655"/>
                    <a:pt x="171" y="655"/>
                    <a:pt x="171" y="655"/>
                  </a:cubicBezTo>
                  <a:cubicBezTo>
                    <a:pt x="169" y="663"/>
                    <a:pt x="169" y="663"/>
                    <a:pt x="169" y="663"/>
                  </a:cubicBezTo>
                  <a:cubicBezTo>
                    <a:pt x="181" y="660"/>
                    <a:pt x="181" y="660"/>
                    <a:pt x="181" y="660"/>
                  </a:cubicBezTo>
                  <a:cubicBezTo>
                    <a:pt x="189" y="654"/>
                    <a:pt x="189" y="654"/>
                    <a:pt x="189" y="654"/>
                  </a:cubicBezTo>
                  <a:cubicBezTo>
                    <a:pt x="192" y="654"/>
                    <a:pt x="192" y="654"/>
                    <a:pt x="192" y="654"/>
                  </a:cubicBezTo>
                  <a:cubicBezTo>
                    <a:pt x="198" y="649"/>
                    <a:pt x="198" y="649"/>
                    <a:pt x="198" y="649"/>
                  </a:cubicBezTo>
                  <a:cubicBezTo>
                    <a:pt x="201" y="650"/>
                    <a:pt x="201" y="650"/>
                    <a:pt x="201" y="650"/>
                  </a:cubicBezTo>
                  <a:cubicBezTo>
                    <a:pt x="203" y="655"/>
                    <a:pt x="203" y="655"/>
                    <a:pt x="203" y="655"/>
                  </a:cubicBezTo>
                  <a:cubicBezTo>
                    <a:pt x="206" y="653"/>
                    <a:pt x="206" y="653"/>
                    <a:pt x="206" y="653"/>
                  </a:cubicBezTo>
                  <a:cubicBezTo>
                    <a:pt x="206" y="645"/>
                    <a:pt x="206" y="645"/>
                    <a:pt x="206" y="645"/>
                  </a:cubicBezTo>
                  <a:cubicBezTo>
                    <a:pt x="221" y="638"/>
                    <a:pt x="221" y="638"/>
                    <a:pt x="221" y="638"/>
                  </a:cubicBezTo>
                  <a:cubicBezTo>
                    <a:pt x="222" y="635"/>
                    <a:pt x="222" y="635"/>
                    <a:pt x="222" y="635"/>
                  </a:cubicBezTo>
                  <a:cubicBezTo>
                    <a:pt x="235" y="629"/>
                    <a:pt x="235" y="629"/>
                    <a:pt x="235" y="629"/>
                  </a:cubicBezTo>
                  <a:cubicBezTo>
                    <a:pt x="235" y="622"/>
                    <a:pt x="235" y="622"/>
                    <a:pt x="235" y="622"/>
                  </a:cubicBezTo>
                  <a:cubicBezTo>
                    <a:pt x="235" y="622"/>
                    <a:pt x="237" y="628"/>
                    <a:pt x="241" y="628"/>
                  </a:cubicBezTo>
                  <a:cubicBezTo>
                    <a:pt x="244" y="628"/>
                    <a:pt x="248" y="626"/>
                    <a:pt x="248" y="626"/>
                  </a:cubicBezTo>
                  <a:cubicBezTo>
                    <a:pt x="245" y="624"/>
                    <a:pt x="245" y="624"/>
                    <a:pt x="245" y="624"/>
                  </a:cubicBezTo>
                  <a:cubicBezTo>
                    <a:pt x="246" y="620"/>
                    <a:pt x="246" y="620"/>
                    <a:pt x="246" y="620"/>
                  </a:cubicBezTo>
                  <a:cubicBezTo>
                    <a:pt x="251" y="624"/>
                    <a:pt x="251" y="624"/>
                    <a:pt x="251" y="624"/>
                  </a:cubicBezTo>
                  <a:cubicBezTo>
                    <a:pt x="251" y="622"/>
                    <a:pt x="251" y="622"/>
                    <a:pt x="251" y="622"/>
                  </a:cubicBezTo>
                  <a:cubicBezTo>
                    <a:pt x="245" y="613"/>
                    <a:pt x="245" y="613"/>
                    <a:pt x="245" y="613"/>
                  </a:cubicBezTo>
                  <a:cubicBezTo>
                    <a:pt x="245" y="613"/>
                    <a:pt x="254" y="619"/>
                    <a:pt x="260" y="617"/>
                  </a:cubicBezTo>
                  <a:cubicBezTo>
                    <a:pt x="264" y="614"/>
                    <a:pt x="262" y="611"/>
                    <a:pt x="262" y="611"/>
                  </a:cubicBezTo>
                  <a:cubicBezTo>
                    <a:pt x="268" y="610"/>
                    <a:pt x="268" y="610"/>
                    <a:pt x="268" y="610"/>
                  </a:cubicBezTo>
                  <a:cubicBezTo>
                    <a:pt x="273" y="608"/>
                    <a:pt x="273" y="608"/>
                    <a:pt x="273" y="608"/>
                  </a:cubicBezTo>
                  <a:cubicBezTo>
                    <a:pt x="279" y="608"/>
                    <a:pt x="279" y="608"/>
                    <a:pt x="279" y="608"/>
                  </a:cubicBezTo>
                  <a:cubicBezTo>
                    <a:pt x="283" y="602"/>
                    <a:pt x="283" y="602"/>
                    <a:pt x="283" y="602"/>
                  </a:cubicBezTo>
                  <a:cubicBezTo>
                    <a:pt x="293" y="603"/>
                    <a:pt x="293" y="603"/>
                    <a:pt x="293" y="603"/>
                  </a:cubicBezTo>
                  <a:cubicBezTo>
                    <a:pt x="304" y="598"/>
                    <a:pt x="304" y="598"/>
                    <a:pt x="304" y="598"/>
                  </a:cubicBezTo>
                  <a:cubicBezTo>
                    <a:pt x="304" y="597"/>
                    <a:pt x="304" y="597"/>
                    <a:pt x="304" y="597"/>
                  </a:cubicBezTo>
                  <a:cubicBezTo>
                    <a:pt x="312" y="581"/>
                    <a:pt x="312" y="581"/>
                    <a:pt x="312" y="581"/>
                  </a:cubicBezTo>
                  <a:cubicBezTo>
                    <a:pt x="323" y="566"/>
                    <a:pt x="323" y="566"/>
                    <a:pt x="323" y="566"/>
                  </a:cubicBezTo>
                  <a:cubicBezTo>
                    <a:pt x="327" y="563"/>
                    <a:pt x="327" y="563"/>
                    <a:pt x="327" y="563"/>
                  </a:cubicBezTo>
                  <a:cubicBezTo>
                    <a:pt x="328" y="554"/>
                    <a:pt x="328" y="554"/>
                    <a:pt x="328" y="554"/>
                  </a:cubicBezTo>
                  <a:cubicBezTo>
                    <a:pt x="341" y="540"/>
                    <a:pt x="341" y="540"/>
                    <a:pt x="341" y="540"/>
                  </a:cubicBezTo>
                  <a:cubicBezTo>
                    <a:pt x="341" y="540"/>
                    <a:pt x="346" y="527"/>
                    <a:pt x="349" y="521"/>
                  </a:cubicBezTo>
                  <a:cubicBezTo>
                    <a:pt x="352" y="516"/>
                    <a:pt x="360" y="496"/>
                    <a:pt x="363" y="485"/>
                  </a:cubicBezTo>
                  <a:cubicBezTo>
                    <a:pt x="366" y="473"/>
                    <a:pt x="375" y="460"/>
                    <a:pt x="375" y="460"/>
                  </a:cubicBezTo>
                  <a:cubicBezTo>
                    <a:pt x="375" y="460"/>
                    <a:pt x="377" y="456"/>
                    <a:pt x="378" y="452"/>
                  </a:cubicBezTo>
                  <a:cubicBezTo>
                    <a:pt x="380" y="448"/>
                    <a:pt x="382" y="424"/>
                    <a:pt x="382" y="418"/>
                  </a:cubicBezTo>
                  <a:close/>
                  <a:moveTo>
                    <a:pt x="52" y="662"/>
                  </a:moveTo>
                  <a:cubicBezTo>
                    <a:pt x="52" y="658"/>
                    <a:pt x="52" y="658"/>
                    <a:pt x="52" y="658"/>
                  </a:cubicBezTo>
                  <a:cubicBezTo>
                    <a:pt x="54" y="657"/>
                    <a:pt x="54" y="657"/>
                    <a:pt x="54" y="657"/>
                  </a:cubicBezTo>
                  <a:cubicBezTo>
                    <a:pt x="54" y="657"/>
                    <a:pt x="54" y="659"/>
                    <a:pt x="55" y="661"/>
                  </a:cubicBezTo>
                  <a:cubicBezTo>
                    <a:pt x="56" y="662"/>
                    <a:pt x="61" y="660"/>
                    <a:pt x="61" y="660"/>
                  </a:cubicBezTo>
                  <a:cubicBezTo>
                    <a:pt x="60" y="653"/>
                    <a:pt x="60" y="653"/>
                    <a:pt x="60" y="653"/>
                  </a:cubicBezTo>
                  <a:cubicBezTo>
                    <a:pt x="55" y="653"/>
                    <a:pt x="55" y="653"/>
                    <a:pt x="55" y="653"/>
                  </a:cubicBezTo>
                  <a:cubicBezTo>
                    <a:pt x="55" y="650"/>
                    <a:pt x="55" y="650"/>
                    <a:pt x="55" y="650"/>
                  </a:cubicBezTo>
                  <a:cubicBezTo>
                    <a:pt x="51" y="651"/>
                    <a:pt x="51" y="651"/>
                    <a:pt x="51" y="651"/>
                  </a:cubicBezTo>
                  <a:cubicBezTo>
                    <a:pt x="51" y="651"/>
                    <a:pt x="50" y="649"/>
                    <a:pt x="50" y="647"/>
                  </a:cubicBezTo>
                  <a:cubicBezTo>
                    <a:pt x="50" y="646"/>
                    <a:pt x="47" y="644"/>
                    <a:pt x="45" y="648"/>
                  </a:cubicBezTo>
                  <a:cubicBezTo>
                    <a:pt x="45" y="651"/>
                    <a:pt x="45" y="651"/>
                    <a:pt x="45" y="651"/>
                  </a:cubicBezTo>
                  <a:cubicBezTo>
                    <a:pt x="48" y="657"/>
                    <a:pt x="48" y="657"/>
                    <a:pt x="48" y="657"/>
                  </a:cubicBezTo>
                  <a:cubicBezTo>
                    <a:pt x="45" y="659"/>
                    <a:pt x="45" y="659"/>
                    <a:pt x="45" y="659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1" y="658"/>
                    <a:pt x="41" y="658"/>
                    <a:pt x="41" y="658"/>
                  </a:cubicBezTo>
                  <a:cubicBezTo>
                    <a:pt x="46" y="669"/>
                    <a:pt x="46" y="669"/>
                    <a:pt x="46" y="669"/>
                  </a:cubicBezTo>
                  <a:cubicBezTo>
                    <a:pt x="50" y="670"/>
                    <a:pt x="50" y="670"/>
                    <a:pt x="50" y="670"/>
                  </a:cubicBezTo>
                  <a:cubicBezTo>
                    <a:pt x="54" y="666"/>
                    <a:pt x="54" y="666"/>
                    <a:pt x="54" y="666"/>
                  </a:cubicBezTo>
                  <a:cubicBezTo>
                    <a:pt x="54" y="662"/>
                    <a:pt x="54" y="662"/>
                    <a:pt x="54" y="662"/>
                  </a:cubicBezTo>
                  <a:lnTo>
                    <a:pt x="52" y="662"/>
                  </a:lnTo>
                  <a:close/>
                  <a:moveTo>
                    <a:pt x="37" y="666"/>
                  </a:moveTo>
                  <a:cubicBezTo>
                    <a:pt x="41" y="664"/>
                    <a:pt x="41" y="664"/>
                    <a:pt x="41" y="664"/>
                  </a:cubicBezTo>
                  <a:cubicBezTo>
                    <a:pt x="39" y="658"/>
                    <a:pt x="39" y="658"/>
                    <a:pt x="39" y="658"/>
                  </a:cubicBezTo>
                  <a:lnTo>
                    <a:pt x="37" y="666"/>
                  </a:lnTo>
                  <a:close/>
                  <a:moveTo>
                    <a:pt x="55" y="670"/>
                  </a:moveTo>
                  <a:cubicBezTo>
                    <a:pt x="61" y="674"/>
                    <a:pt x="61" y="674"/>
                    <a:pt x="61" y="674"/>
                  </a:cubicBezTo>
                  <a:cubicBezTo>
                    <a:pt x="63" y="671"/>
                    <a:pt x="63" y="671"/>
                    <a:pt x="63" y="671"/>
                  </a:cubicBezTo>
                  <a:cubicBezTo>
                    <a:pt x="56" y="667"/>
                    <a:pt x="56" y="667"/>
                    <a:pt x="56" y="667"/>
                  </a:cubicBezTo>
                  <a:lnTo>
                    <a:pt x="55" y="670"/>
                  </a:lnTo>
                  <a:close/>
                  <a:moveTo>
                    <a:pt x="63" y="663"/>
                  </a:moveTo>
                  <a:cubicBezTo>
                    <a:pt x="61" y="664"/>
                    <a:pt x="61" y="667"/>
                    <a:pt x="64" y="667"/>
                  </a:cubicBezTo>
                  <a:cubicBezTo>
                    <a:pt x="66" y="666"/>
                    <a:pt x="66" y="662"/>
                    <a:pt x="63" y="663"/>
                  </a:cubicBezTo>
                  <a:close/>
                  <a:moveTo>
                    <a:pt x="107" y="657"/>
                  </a:moveTo>
                  <a:cubicBezTo>
                    <a:pt x="104" y="657"/>
                    <a:pt x="100" y="662"/>
                    <a:pt x="106" y="661"/>
                  </a:cubicBezTo>
                  <a:cubicBezTo>
                    <a:pt x="106" y="661"/>
                    <a:pt x="111" y="657"/>
                    <a:pt x="107" y="657"/>
                  </a:cubicBezTo>
                  <a:close/>
                  <a:moveTo>
                    <a:pt x="113" y="654"/>
                  </a:moveTo>
                  <a:cubicBezTo>
                    <a:pt x="111" y="655"/>
                    <a:pt x="112" y="657"/>
                    <a:pt x="112" y="657"/>
                  </a:cubicBezTo>
                  <a:cubicBezTo>
                    <a:pt x="110" y="659"/>
                    <a:pt x="110" y="659"/>
                    <a:pt x="110" y="659"/>
                  </a:cubicBezTo>
                  <a:cubicBezTo>
                    <a:pt x="111" y="660"/>
                    <a:pt x="111" y="660"/>
                    <a:pt x="111" y="660"/>
                  </a:cubicBezTo>
                  <a:cubicBezTo>
                    <a:pt x="117" y="655"/>
                    <a:pt x="117" y="655"/>
                    <a:pt x="117" y="655"/>
                  </a:cubicBezTo>
                  <a:cubicBezTo>
                    <a:pt x="117" y="655"/>
                    <a:pt x="115" y="653"/>
                    <a:pt x="113" y="654"/>
                  </a:cubicBezTo>
                  <a:close/>
                  <a:moveTo>
                    <a:pt x="119" y="654"/>
                  </a:moveTo>
                  <a:cubicBezTo>
                    <a:pt x="120" y="657"/>
                    <a:pt x="120" y="657"/>
                    <a:pt x="120" y="657"/>
                  </a:cubicBezTo>
                  <a:cubicBezTo>
                    <a:pt x="122" y="656"/>
                    <a:pt x="122" y="656"/>
                    <a:pt x="122" y="656"/>
                  </a:cubicBezTo>
                  <a:cubicBezTo>
                    <a:pt x="122" y="654"/>
                    <a:pt x="122" y="654"/>
                    <a:pt x="122" y="654"/>
                  </a:cubicBezTo>
                  <a:lnTo>
                    <a:pt x="119" y="654"/>
                  </a:lnTo>
                  <a:close/>
                  <a:moveTo>
                    <a:pt x="148" y="643"/>
                  </a:moveTo>
                  <a:cubicBezTo>
                    <a:pt x="146" y="647"/>
                    <a:pt x="146" y="647"/>
                    <a:pt x="146" y="647"/>
                  </a:cubicBezTo>
                  <a:cubicBezTo>
                    <a:pt x="142" y="648"/>
                    <a:pt x="142" y="648"/>
                    <a:pt x="142" y="648"/>
                  </a:cubicBezTo>
                  <a:cubicBezTo>
                    <a:pt x="139" y="650"/>
                    <a:pt x="139" y="650"/>
                    <a:pt x="139" y="650"/>
                  </a:cubicBezTo>
                  <a:cubicBezTo>
                    <a:pt x="134" y="651"/>
                    <a:pt x="134" y="651"/>
                    <a:pt x="134" y="651"/>
                  </a:cubicBezTo>
                  <a:cubicBezTo>
                    <a:pt x="133" y="655"/>
                    <a:pt x="133" y="655"/>
                    <a:pt x="133" y="655"/>
                  </a:cubicBezTo>
                  <a:cubicBezTo>
                    <a:pt x="136" y="655"/>
                    <a:pt x="136" y="655"/>
                    <a:pt x="136" y="655"/>
                  </a:cubicBezTo>
                  <a:cubicBezTo>
                    <a:pt x="133" y="659"/>
                    <a:pt x="133" y="659"/>
                    <a:pt x="133" y="659"/>
                  </a:cubicBezTo>
                  <a:cubicBezTo>
                    <a:pt x="133" y="664"/>
                    <a:pt x="133" y="664"/>
                    <a:pt x="133" y="664"/>
                  </a:cubicBezTo>
                  <a:cubicBezTo>
                    <a:pt x="139" y="661"/>
                    <a:pt x="139" y="661"/>
                    <a:pt x="139" y="661"/>
                  </a:cubicBezTo>
                  <a:cubicBezTo>
                    <a:pt x="145" y="661"/>
                    <a:pt x="145" y="661"/>
                    <a:pt x="145" y="661"/>
                  </a:cubicBezTo>
                  <a:cubicBezTo>
                    <a:pt x="149" y="654"/>
                    <a:pt x="149" y="654"/>
                    <a:pt x="149" y="654"/>
                  </a:cubicBezTo>
                  <a:cubicBezTo>
                    <a:pt x="147" y="649"/>
                    <a:pt x="147" y="649"/>
                    <a:pt x="147" y="649"/>
                  </a:cubicBezTo>
                  <a:cubicBezTo>
                    <a:pt x="149" y="644"/>
                    <a:pt x="149" y="644"/>
                    <a:pt x="149" y="644"/>
                  </a:cubicBezTo>
                  <a:lnTo>
                    <a:pt x="148" y="643"/>
                  </a:lnTo>
                  <a:close/>
                  <a:moveTo>
                    <a:pt x="111" y="639"/>
                  </a:moveTo>
                  <a:cubicBezTo>
                    <a:pt x="112" y="640"/>
                    <a:pt x="112" y="640"/>
                    <a:pt x="112" y="640"/>
                  </a:cubicBezTo>
                  <a:cubicBezTo>
                    <a:pt x="110" y="643"/>
                    <a:pt x="110" y="643"/>
                    <a:pt x="110" y="643"/>
                  </a:cubicBezTo>
                  <a:cubicBezTo>
                    <a:pt x="112" y="643"/>
                    <a:pt x="112" y="643"/>
                    <a:pt x="112" y="643"/>
                  </a:cubicBezTo>
                  <a:cubicBezTo>
                    <a:pt x="114" y="642"/>
                    <a:pt x="114" y="642"/>
                    <a:pt x="114" y="642"/>
                  </a:cubicBezTo>
                  <a:cubicBezTo>
                    <a:pt x="117" y="644"/>
                    <a:pt x="117" y="644"/>
                    <a:pt x="117" y="644"/>
                  </a:cubicBezTo>
                  <a:cubicBezTo>
                    <a:pt x="118" y="641"/>
                    <a:pt x="118" y="641"/>
                    <a:pt x="118" y="641"/>
                  </a:cubicBezTo>
                  <a:cubicBezTo>
                    <a:pt x="113" y="638"/>
                    <a:pt x="113" y="638"/>
                    <a:pt x="113" y="638"/>
                  </a:cubicBezTo>
                  <a:lnTo>
                    <a:pt x="111" y="639"/>
                  </a:lnTo>
                  <a:close/>
                  <a:moveTo>
                    <a:pt x="99" y="634"/>
                  </a:moveTo>
                  <a:cubicBezTo>
                    <a:pt x="95" y="631"/>
                    <a:pt x="94" y="630"/>
                    <a:pt x="95" y="632"/>
                  </a:cubicBezTo>
                  <a:cubicBezTo>
                    <a:pt x="97" y="637"/>
                    <a:pt x="97" y="637"/>
                    <a:pt x="97" y="637"/>
                  </a:cubicBezTo>
                  <a:cubicBezTo>
                    <a:pt x="102" y="637"/>
                    <a:pt x="102" y="637"/>
                    <a:pt x="99" y="634"/>
                  </a:cubicBezTo>
                  <a:close/>
                  <a:moveTo>
                    <a:pt x="90" y="628"/>
                  </a:moveTo>
                  <a:cubicBezTo>
                    <a:pt x="93" y="631"/>
                    <a:pt x="93" y="631"/>
                    <a:pt x="93" y="631"/>
                  </a:cubicBezTo>
                  <a:cubicBezTo>
                    <a:pt x="94" y="628"/>
                    <a:pt x="94" y="628"/>
                    <a:pt x="94" y="628"/>
                  </a:cubicBezTo>
                  <a:cubicBezTo>
                    <a:pt x="91" y="627"/>
                    <a:pt x="91" y="627"/>
                    <a:pt x="91" y="627"/>
                  </a:cubicBezTo>
                  <a:lnTo>
                    <a:pt x="90" y="628"/>
                  </a:lnTo>
                  <a:close/>
                  <a:moveTo>
                    <a:pt x="175" y="667"/>
                  </a:moveTo>
                  <a:cubicBezTo>
                    <a:pt x="175" y="664"/>
                    <a:pt x="175" y="664"/>
                    <a:pt x="175" y="664"/>
                  </a:cubicBezTo>
                  <a:cubicBezTo>
                    <a:pt x="170" y="666"/>
                    <a:pt x="170" y="666"/>
                    <a:pt x="170" y="666"/>
                  </a:cubicBezTo>
                  <a:lnTo>
                    <a:pt x="175" y="667"/>
                  </a:lnTo>
                  <a:close/>
                  <a:moveTo>
                    <a:pt x="74" y="466"/>
                  </a:moveTo>
                  <a:cubicBezTo>
                    <a:pt x="72" y="462"/>
                    <a:pt x="72" y="462"/>
                    <a:pt x="72" y="462"/>
                  </a:cubicBezTo>
                  <a:cubicBezTo>
                    <a:pt x="72" y="462"/>
                    <a:pt x="69" y="464"/>
                    <a:pt x="68" y="464"/>
                  </a:cubicBezTo>
                  <a:cubicBezTo>
                    <a:pt x="66" y="464"/>
                    <a:pt x="67" y="461"/>
                    <a:pt x="67" y="461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6" y="468"/>
                    <a:pt x="66" y="468"/>
                    <a:pt x="66" y="468"/>
                  </a:cubicBezTo>
                  <a:cubicBezTo>
                    <a:pt x="71" y="469"/>
                    <a:pt x="74" y="466"/>
                    <a:pt x="74" y="466"/>
                  </a:cubicBezTo>
                  <a:close/>
                  <a:moveTo>
                    <a:pt x="72" y="456"/>
                  </a:moveTo>
                  <a:cubicBezTo>
                    <a:pt x="67" y="457"/>
                    <a:pt x="67" y="457"/>
                    <a:pt x="67" y="457"/>
                  </a:cubicBezTo>
                  <a:cubicBezTo>
                    <a:pt x="70" y="460"/>
                    <a:pt x="70" y="460"/>
                    <a:pt x="70" y="460"/>
                  </a:cubicBezTo>
                  <a:lnTo>
                    <a:pt x="72" y="456"/>
                  </a:lnTo>
                  <a:close/>
                  <a:moveTo>
                    <a:pt x="93" y="452"/>
                  </a:moveTo>
                  <a:cubicBezTo>
                    <a:pt x="90" y="456"/>
                    <a:pt x="90" y="456"/>
                    <a:pt x="90" y="456"/>
                  </a:cubicBezTo>
                  <a:cubicBezTo>
                    <a:pt x="94" y="456"/>
                    <a:pt x="94" y="456"/>
                    <a:pt x="94" y="456"/>
                  </a:cubicBezTo>
                  <a:cubicBezTo>
                    <a:pt x="97" y="454"/>
                    <a:pt x="97" y="454"/>
                    <a:pt x="97" y="454"/>
                  </a:cubicBezTo>
                  <a:lnTo>
                    <a:pt x="93" y="452"/>
                  </a:lnTo>
                  <a:close/>
                  <a:moveTo>
                    <a:pt x="157" y="329"/>
                  </a:moveTo>
                  <a:cubicBezTo>
                    <a:pt x="153" y="331"/>
                    <a:pt x="153" y="331"/>
                    <a:pt x="153" y="331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45" y="331"/>
                    <a:pt x="145" y="331"/>
                    <a:pt x="145" y="331"/>
                  </a:cubicBezTo>
                  <a:cubicBezTo>
                    <a:pt x="145" y="335"/>
                    <a:pt x="145" y="335"/>
                    <a:pt x="145" y="335"/>
                  </a:cubicBezTo>
                  <a:cubicBezTo>
                    <a:pt x="145" y="336"/>
                    <a:pt x="147" y="338"/>
                    <a:pt x="147" y="338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52" y="332"/>
                    <a:pt x="152" y="332"/>
                    <a:pt x="152" y="332"/>
                  </a:cubicBezTo>
                  <a:cubicBezTo>
                    <a:pt x="157" y="331"/>
                    <a:pt x="157" y="331"/>
                    <a:pt x="157" y="331"/>
                  </a:cubicBezTo>
                  <a:lnTo>
                    <a:pt x="157" y="329"/>
                  </a:lnTo>
                  <a:close/>
                  <a:moveTo>
                    <a:pt x="244" y="634"/>
                  </a:moveTo>
                  <a:cubicBezTo>
                    <a:pt x="247" y="630"/>
                    <a:pt x="247" y="630"/>
                    <a:pt x="247" y="630"/>
                  </a:cubicBezTo>
                  <a:cubicBezTo>
                    <a:pt x="243" y="631"/>
                    <a:pt x="243" y="631"/>
                    <a:pt x="243" y="631"/>
                  </a:cubicBezTo>
                  <a:lnTo>
                    <a:pt x="244" y="634"/>
                  </a:lnTo>
                  <a:close/>
                  <a:moveTo>
                    <a:pt x="260" y="618"/>
                  </a:moveTo>
                  <a:cubicBezTo>
                    <a:pt x="265" y="619"/>
                    <a:pt x="265" y="619"/>
                    <a:pt x="265" y="619"/>
                  </a:cubicBezTo>
                  <a:cubicBezTo>
                    <a:pt x="263" y="616"/>
                    <a:pt x="263" y="616"/>
                    <a:pt x="263" y="616"/>
                  </a:cubicBezTo>
                  <a:lnTo>
                    <a:pt x="260" y="618"/>
                  </a:lnTo>
                  <a:close/>
                  <a:moveTo>
                    <a:pt x="265" y="614"/>
                  </a:moveTo>
                  <a:cubicBezTo>
                    <a:pt x="267" y="617"/>
                    <a:pt x="267" y="617"/>
                    <a:pt x="267" y="617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0" y="613"/>
                    <a:pt x="270" y="613"/>
                    <a:pt x="270" y="613"/>
                  </a:cubicBezTo>
                  <a:lnTo>
                    <a:pt x="265" y="6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Bulgarien" descr="© INSCALE GmbH, 05.05.2010&#10;http://www.presentationload.com/">
              <a:extLst>
                <a:ext uri="{FF2B5EF4-FFF2-40B4-BE49-F238E27FC236}">
                  <a16:creationId xmlns:a16="http://schemas.microsoft.com/office/drawing/2014/main" id="{FFD8B23C-3580-D242-BC2F-EAD95064FB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9023" y="5331521"/>
              <a:ext cx="717858" cy="521478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9" name="Griech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E9E8D4A-2346-0D4F-BF18-89022210D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16437" y="5724279"/>
              <a:ext cx="1150222" cy="1079262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56AD95A7-9F61-E443-A7E4-A416134BA3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30303" y="3909008"/>
              <a:ext cx="1807022" cy="1227784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I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9B613DB-BDAB-E74A-9F2D-354F7F8AC6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4193" y="1559056"/>
              <a:ext cx="679902" cy="561084"/>
            </a:xfrm>
            <a:custGeom>
              <a:avLst/>
              <a:gdLst/>
              <a:ahLst/>
              <a:cxnLst>
                <a:cxn ang="0">
                  <a:pos x="273" y="136"/>
                </a:cxn>
                <a:cxn ang="0">
                  <a:pos x="262" y="113"/>
                </a:cxn>
                <a:cxn ang="0">
                  <a:pos x="268" y="98"/>
                </a:cxn>
                <a:cxn ang="0">
                  <a:pos x="252" y="81"/>
                </a:cxn>
                <a:cxn ang="0">
                  <a:pos x="229" y="89"/>
                </a:cxn>
                <a:cxn ang="0">
                  <a:pos x="206" y="89"/>
                </a:cxn>
                <a:cxn ang="0">
                  <a:pos x="189" y="71"/>
                </a:cxn>
                <a:cxn ang="0">
                  <a:pos x="178" y="102"/>
                </a:cxn>
                <a:cxn ang="0">
                  <a:pos x="177" y="75"/>
                </a:cxn>
                <a:cxn ang="0">
                  <a:pos x="170" y="63"/>
                </a:cxn>
                <a:cxn ang="0">
                  <a:pos x="144" y="81"/>
                </a:cxn>
                <a:cxn ang="0">
                  <a:pos x="141" y="52"/>
                </a:cxn>
                <a:cxn ang="0">
                  <a:pos x="133" y="54"/>
                </a:cxn>
                <a:cxn ang="0">
                  <a:pos x="115" y="81"/>
                </a:cxn>
                <a:cxn ang="0">
                  <a:pos x="110" y="75"/>
                </a:cxn>
                <a:cxn ang="0">
                  <a:pos x="95" y="81"/>
                </a:cxn>
                <a:cxn ang="0">
                  <a:pos x="90" y="75"/>
                </a:cxn>
                <a:cxn ang="0">
                  <a:pos x="92" y="54"/>
                </a:cxn>
                <a:cxn ang="0">
                  <a:pos x="109" y="44"/>
                </a:cxn>
                <a:cxn ang="0">
                  <a:pos x="104" y="23"/>
                </a:cxn>
                <a:cxn ang="0">
                  <a:pos x="97" y="10"/>
                </a:cxn>
                <a:cxn ang="0">
                  <a:pos x="81" y="5"/>
                </a:cxn>
                <a:cxn ang="0">
                  <a:pos x="88" y="13"/>
                </a:cxn>
                <a:cxn ang="0">
                  <a:pos x="87" y="29"/>
                </a:cxn>
                <a:cxn ang="0">
                  <a:pos x="79" y="32"/>
                </a:cxn>
                <a:cxn ang="0">
                  <a:pos x="73" y="27"/>
                </a:cxn>
                <a:cxn ang="0">
                  <a:pos x="71" y="13"/>
                </a:cxn>
                <a:cxn ang="0">
                  <a:pos x="53" y="22"/>
                </a:cxn>
                <a:cxn ang="0">
                  <a:pos x="57" y="38"/>
                </a:cxn>
                <a:cxn ang="0">
                  <a:pos x="38" y="23"/>
                </a:cxn>
                <a:cxn ang="0">
                  <a:pos x="30" y="36"/>
                </a:cxn>
                <a:cxn ang="0">
                  <a:pos x="30" y="49"/>
                </a:cxn>
                <a:cxn ang="0">
                  <a:pos x="60" y="50"/>
                </a:cxn>
                <a:cxn ang="0">
                  <a:pos x="72" y="64"/>
                </a:cxn>
                <a:cxn ang="0">
                  <a:pos x="72" y="75"/>
                </a:cxn>
                <a:cxn ang="0">
                  <a:pos x="69" y="87"/>
                </a:cxn>
                <a:cxn ang="0">
                  <a:pos x="45" y="87"/>
                </a:cxn>
                <a:cxn ang="0">
                  <a:pos x="31" y="83"/>
                </a:cxn>
                <a:cxn ang="0">
                  <a:pos x="4" y="84"/>
                </a:cxn>
                <a:cxn ang="0">
                  <a:pos x="34" y="97"/>
                </a:cxn>
                <a:cxn ang="0">
                  <a:pos x="36" y="117"/>
                </a:cxn>
                <a:cxn ang="0">
                  <a:pos x="48" y="121"/>
                </a:cxn>
                <a:cxn ang="0">
                  <a:pos x="36" y="132"/>
                </a:cxn>
                <a:cxn ang="0">
                  <a:pos x="36" y="141"/>
                </a:cxn>
                <a:cxn ang="0">
                  <a:pos x="14" y="149"/>
                </a:cxn>
                <a:cxn ang="0">
                  <a:pos x="0" y="154"/>
                </a:cxn>
                <a:cxn ang="0">
                  <a:pos x="28" y="168"/>
                </a:cxn>
                <a:cxn ang="0">
                  <a:pos x="45" y="177"/>
                </a:cxn>
                <a:cxn ang="0">
                  <a:pos x="55" y="194"/>
                </a:cxn>
                <a:cxn ang="0">
                  <a:pos x="79" y="224"/>
                </a:cxn>
                <a:cxn ang="0">
                  <a:pos x="123" y="221"/>
                </a:cxn>
                <a:cxn ang="0">
                  <a:pos x="155" y="227"/>
                </a:cxn>
                <a:cxn ang="0">
                  <a:pos x="195" y="217"/>
                </a:cxn>
                <a:cxn ang="0">
                  <a:pos x="212" y="218"/>
                </a:cxn>
                <a:cxn ang="0">
                  <a:pos x="240" y="207"/>
                </a:cxn>
                <a:cxn ang="0">
                  <a:pos x="243" y="194"/>
                </a:cxn>
                <a:cxn ang="0">
                  <a:pos x="258" y="190"/>
                </a:cxn>
                <a:cxn ang="0">
                  <a:pos x="263" y="183"/>
                </a:cxn>
                <a:cxn ang="0">
                  <a:pos x="272" y="183"/>
                </a:cxn>
                <a:cxn ang="0">
                  <a:pos x="278" y="173"/>
                </a:cxn>
                <a:cxn ang="0">
                  <a:pos x="284" y="155"/>
                </a:cxn>
                <a:cxn ang="0">
                  <a:pos x="50" y="205"/>
                </a:cxn>
              </a:cxnLst>
              <a:rect l="0" t="0" r="r" b="b"/>
              <a:pathLst>
                <a:path w="285" h="235">
                  <a:moveTo>
                    <a:pt x="284" y="155"/>
                  </a:moveTo>
                  <a:cubicBezTo>
                    <a:pt x="280" y="156"/>
                    <a:pt x="280" y="156"/>
                    <a:pt x="280" y="156"/>
                  </a:cubicBezTo>
                  <a:cubicBezTo>
                    <a:pt x="280" y="153"/>
                    <a:pt x="280" y="153"/>
                    <a:pt x="280" y="153"/>
                  </a:cubicBezTo>
                  <a:cubicBezTo>
                    <a:pt x="279" y="153"/>
                    <a:pt x="279" y="153"/>
                    <a:pt x="279" y="153"/>
                  </a:cubicBezTo>
                  <a:cubicBezTo>
                    <a:pt x="281" y="150"/>
                    <a:pt x="281" y="150"/>
                    <a:pt x="281" y="150"/>
                  </a:cubicBezTo>
                  <a:cubicBezTo>
                    <a:pt x="280" y="149"/>
                    <a:pt x="280" y="149"/>
                    <a:pt x="280" y="149"/>
                  </a:cubicBezTo>
                  <a:cubicBezTo>
                    <a:pt x="280" y="149"/>
                    <a:pt x="275" y="147"/>
                    <a:pt x="272" y="143"/>
                  </a:cubicBezTo>
                  <a:cubicBezTo>
                    <a:pt x="270" y="139"/>
                    <a:pt x="273" y="136"/>
                    <a:pt x="273" y="136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59" y="130"/>
                    <a:pt x="259" y="130"/>
                    <a:pt x="259" y="130"/>
                  </a:cubicBezTo>
                  <a:cubicBezTo>
                    <a:pt x="259" y="130"/>
                    <a:pt x="260" y="128"/>
                    <a:pt x="262" y="128"/>
                  </a:cubicBezTo>
                  <a:cubicBezTo>
                    <a:pt x="264" y="127"/>
                    <a:pt x="265" y="127"/>
                    <a:pt x="269" y="124"/>
                  </a:cubicBezTo>
                  <a:cubicBezTo>
                    <a:pt x="273" y="122"/>
                    <a:pt x="272" y="116"/>
                    <a:pt x="271" y="115"/>
                  </a:cubicBezTo>
                  <a:cubicBezTo>
                    <a:pt x="270" y="113"/>
                    <a:pt x="268" y="115"/>
                    <a:pt x="265" y="115"/>
                  </a:cubicBezTo>
                  <a:cubicBezTo>
                    <a:pt x="264" y="115"/>
                    <a:pt x="262" y="113"/>
                    <a:pt x="262" y="113"/>
                  </a:cubicBezTo>
                  <a:cubicBezTo>
                    <a:pt x="262" y="113"/>
                    <a:pt x="263" y="112"/>
                    <a:pt x="263" y="110"/>
                  </a:cubicBezTo>
                  <a:cubicBezTo>
                    <a:pt x="263" y="108"/>
                    <a:pt x="260" y="107"/>
                    <a:pt x="260" y="107"/>
                  </a:cubicBezTo>
                  <a:cubicBezTo>
                    <a:pt x="260" y="107"/>
                    <a:pt x="269" y="106"/>
                    <a:pt x="270" y="105"/>
                  </a:cubicBezTo>
                  <a:cubicBezTo>
                    <a:pt x="271" y="102"/>
                    <a:pt x="271" y="99"/>
                    <a:pt x="271" y="99"/>
                  </a:cubicBezTo>
                  <a:cubicBezTo>
                    <a:pt x="284" y="97"/>
                    <a:pt x="284" y="97"/>
                    <a:pt x="284" y="97"/>
                  </a:cubicBezTo>
                  <a:cubicBezTo>
                    <a:pt x="284" y="97"/>
                    <a:pt x="280" y="96"/>
                    <a:pt x="278" y="96"/>
                  </a:cubicBezTo>
                  <a:cubicBezTo>
                    <a:pt x="277" y="95"/>
                    <a:pt x="279" y="94"/>
                    <a:pt x="276" y="93"/>
                  </a:cubicBezTo>
                  <a:cubicBezTo>
                    <a:pt x="274" y="92"/>
                    <a:pt x="270" y="97"/>
                    <a:pt x="268" y="98"/>
                  </a:cubicBezTo>
                  <a:cubicBezTo>
                    <a:pt x="264" y="99"/>
                    <a:pt x="265" y="96"/>
                    <a:pt x="262" y="97"/>
                  </a:cubicBezTo>
                  <a:cubicBezTo>
                    <a:pt x="258" y="97"/>
                    <a:pt x="259" y="101"/>
                    <a:pt x="258" y="102"/>
                  </a:cubicBezTo>
                  <a:cubicBezTo>
                    <a:pt x="257" y="102"/>
                    <a:pt x="256" y="99"/>
                    <a:pt x="256" y="97"/>
                  </a:cubicBezTo>
                  <a:cubicBezTo>
                    <a:pt x="255" y="96"/>
                    <a:pt x="253" y="95"/>
                    <a:pt x="253" y="95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92"/>
                    <a:pt x="255" y="90"/>
                    <a:pt x="256" y="86"/>
                  </a:cubicBezTo>
                  <a:cubicBezTo>
                    <a:pt x="258" y="84"/>
                    <a:pt x="252" y="81"/>
                    <a:pt x="252" y="81"/>
                  </a:cubicBezTo>
                  <a:cubicBezTo>
                    <a:pt x="252" y="81"/>
                    <a:pt x="255" y="79"/>
                    <a:pt x="253" y="74"/>
                  </a:cubicBezTo>
                  <a:cubicBezTo>
                    <a:pt x="251" y="69"/>
                    <a:pt x="245" y="74"/>
                    <a:pt x="245" y="74"/>
                  </a:cubicBezTo>
                  <a:cubicBezTo>
                    <a:pt x="245" y="74"/>
                    <a:pt x="242" y="69"/>
                    <a:pt x="240" y="69"/>
                  </a:cubicBezTo>
                  <a:cubicBezTo>
                    <a:pt x="238" y="69"/>
                    <a:pt x="238" y="75"/>
                    <a:pt x="238" y="77"/>
                  </a:cubicBezTo>
                  <a:cubicBezTo>
                    <a:pt x="238" y="79"/>
                    <a:pt x="236" y="80"/>
                    <a:pt x="236" y="80"/>
                  </a:cubicBezTo>
                  <a:cubicBezTo>
                    <a:pt x="236" y="80"/>
                    <a:pt x="236" y="86"/>
                    <a:pt x="235" y="89"/>
                  </a:cubicBezTo>
                  <a:cubicBezTo>
                    <a:pt x="232" y="90"/>
                    <a:pt x="230" y="90"/>
                    <a:pt x="230" y="90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6" y="89"/>
                    <a:pt x="226" y="89"/>
                    <a:pt x="226" y="89"/>
                  </a:cubicBezTo>
                  <a:cubicBezTo>
                    <a:pt x="226" y="89"/>
                    <a:pt x="224" y="90"/>
                    <a:pt x="223" y="91"/>
                  </a:cubicBezTo>
                  <a:cubicBezTo>
                    <a:pt x="222" y="91"/>
                    <a:pt x="219" y="89"/>
                    <a:pt x="219" y="89"/>
                  </a:cubicBezTo>
                  <a:cubicBezTo>
                    <a:pt x="220" y="84"/>
                    <a:pt x="220" y="84"/>
                    <a:pt x="220" y="84"/>
                  </a:cubicBezTo>
                  <a:cubicBezTo>
                    <a:pt x="220" y="84"/>
                    <a:pt x="217" y="81"/>
                    <a:pt x="214" y="82"/>
                  </a:cubicBezTo>
                  <a:cubicBezTo>
                    <a:pt x="210" y="82"/>
                    <a:pt x="210" y="84"/>
                    <a:pt x="210" y="86"/>
                  </a:cubicBezTo>
                  <a:cubicBezTo>
                    <a:pt x="209" y="87"/>
                    <a:pt x="206" y="87"/>
                    <a:pt x="206" y="87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3"/>
                    <a:pt x="202" y="91"/>
                    <a:pt x="199" y="90"/>
                  </a:cubicBezTo>
                  <a:cubicBezTo>
                    <a:pt x="198" y="89"/>
                    <a:pt x="197" y="90"/>
                    <a:pt x="197" y="90"/>
                  </a:cubicBezTo>
                  <a:cubicBezTo>
                    <a:pt x="196" y="80"/>
                    <a:pt x="196" y="80"/>
                    <a:pt x="196" y="80"/>
                  </a:cubicBezTo>
                  <a:cubicBezTo>
                    <a:pt x="195" y="79"/>
                    <a:pt x="195" y="79"/>
                    <a:pt x="195" y="79"/>
                  </a:cubicBezTo>
                  <a:cubicBezTo>
                    <a:pt x="195" y="76"/>
                    <a:pt x="195" y="76"/>
                    <a:pt x="195" y="76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4" y="71"/>
                    <a:pt x="183" y="78"/>
                  </a:cubicBezTo>
                  <a:cubicBezTo>
                    <a:pt x="181" y="84"/>
                    <a:pt x="183" y="85"/>
                    <a:pt x="183" y="8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1" y="87"/>
                    <a:pt x="181" y="87"/>
                    <a:pt x="181" y="87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93"/>
                    <a:pt x="182" y="93"/>
                    <a:pt x="182" y="93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7" y="98"/>
                    <a:pt x="177" y="98"/>
                    <a:pt x="177" y="98"/>
                  </a:cubicBezTo>
                  <a:cubicBezTo>
                    <a:pt x="177" y="98"/>
                    <a:pt x="177" y="96"/>
                    <a:pt x="178" y="95"/>
                  </a:cubicBezTo>
                  <a:cubicBezTo>
                    <a:pt x="179" y="94"/>
                    <a:pt x="179" y="92"/>
                    <a:pt x="179" y="92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83"/>
                    <a:pt x="175" y="81"/>
                    <a:pt x="175" y="80"/>
                  </a:cubicBezTo>
                  <a:cubicBezTo>
                    <a:pt x="175" y="78"/>
                    <a:pt x="177" y="77"/>
                    <a:pt x="177" y="75"/>
                  </a:cubicBezTo>
                  <a:cubicBezTo>
                    <a:pt x="178" y="74"/>
                    <a:pt x="177" y="71"/>
                    <a:pt x="177" y="71"/>
                  </a:cubicBezTo>
                  <a:cubicBezTo>
                    <a:pt x="178" y="69"/>
                    <a:pt x="178" y="69"/>
                    <a:pt x="178" y="69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5" y="67"/>
                    <a:pt x="175" y="67"/>
                    <a:pt x="175" y="67"/>
                  </a:cubicBezTo>
                  <a:cubicBezTo>
                    <a:pt x="176" y="65"/>
                    <a:pt x="176" y="65"/>
                    <a:pt x="176" y="65"/>
                  </a:cubicBezTo>
                  <a:cubicBezTo>
                    <a:pt x="175" y="64"/>
                    <a:pt x="175" y="64"/>
                    <a:pt x="175" y="64"/>
                  </a:cubicBezTo>
                  <a:cubicBezTo>
                    <a:pt x="172" y="66"/>
                    <a:pt x="172" y="66"/>
                    <a:pt x="172" y="66"/>
                  </a:cubicBezTo>
                  <a:cubicBezTo>
                    <a:pt x="172" y="66"/>
                    <a:pt x="173" y="63"/>
                    <a:pt x="170" y="63"/>
                  </a:cubicBezTo>
                  <a:cubicBezTo>
                    <a:pt x="167" y="62"/>
                    <a:pt x="166" y="66"/>
                    <a:pt x="164" y="66"/>
                  </a:cubicBezTo>
                  <a:cubicBezTo>
                    <a:pt x="162" y="67"/>
                    <a:pt x="161" y="65"/>
                    <a:pt x="159" y="64"/>
                  </a:cubicBezTo>
                  <a:cubicBezTo>
                    <a:pt x="156" y="64"/>
                    <a:pt x="155" y="67"/>
                    <a:pt x="155" y="68"/>
                  </a:cubicBezTo>
                  <a:cubicBezTo>
                    <a:pt x="154" y="69"/>
                    <a:pt x="153" y="68"/>
                    <a:pt x="150" y="70"/>
                  </a:cubicBezTo>
                  <a:cubicBezTo>
                    <a:pt x="149" y="73"/>
                    <a:pt x="151" y="76"/>
                    <a:pt x="150" y="79"/>
                  </a:cubicBezTo>
                  <a:cubicBezTo>
                    <a:pt x="149" y="82"/>
                    <a:pt x="145" y="83"/>
                    <a:pt x="145" y="83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3" y="75"/>
                    <a:pt x="143" y="73"/>
                  </a:cubicBezTo>
                  <a:cubicBezTo>
                    <a:pt x="144" y="71"/>
                    <a:pt x="141" y="69"/>
                    <a:pt x="141" y="69"/>
                  </a:cubicBezTo>
                  <a:cubicBezTo>
                    <a:pt x="141" y="69"/>
                    <a:pt x="141" y="66"/>
                    <a:pt x="142" y="64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2" y="59"/>
                    <a:pt x="143" y="57"/>
                    <a:pt x="143" y="54"/>
                  </a:cubicBezTo>
                  <a:cubicBezTo>
                    <a:pt x="143" y="53"/>
                    <a:pt x="141" y="52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8" y="52"/>
                    <a:pt x="138" y="52"/>
                    <a:pt x="138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0" y="63"/>
                    <a:pt x="128" y="66"/>
                  </a:cubicBezTo>
                  <a:cubicBezTo>
                    <a:pt x="126" y="70"/>
                    <a:pt x="126" y="76"/>
                    <a:pt x="126" y="76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4" y="85"/>
                    <a:pt x="112" y="85"/>
                  </a:cubicBezTo>
                  <a:cubicBezTo>
                    <a:pt x="110" y="84"/>
                    <a:pt x="113" y="79"/>
                    <a:pt x="11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4" y="75"/>
                    <a:pt x="102" y="77"/>
                    <a:pt x="102" y="77"/>
                  </a:cubicBezTo>
                  <a:cubicBezTo>
                    <a:pt x="102" y="77"/>
                    <a:pt x="101" y="78"/>
                    <a:pt x="100" y="80"/>
                  </a:cubicBezTo>
                  <a:cubicBezTo>
                    <a:pt x="99" y="82"/>
                    <a:pt x="98" y="89"/>
                    <a:pt x="98" y="89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6"/>
                    <a:pt x="92" y="89"/>
                    <a:pt x="91" y="90"/>
                  </a:cubicBezTo>
                  <a:cubicBezTo>
                    <a:pt x="90" y="91"/>
                    <a:pt x="90" y="95"/>
                    <a:pt x="90" y="95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97"/>
                    <a:pt x="88" y="92"/>
                    <a:pt x="89" y="89"/>
                  </a:cubicBezTo>
                  <a:cubicBezTo>
                    <a:pt x="89" y="85"/>
                    <a:pt x="93" y="82"/>
                    <a:pt x="93" y="82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2" y="64"/>
                    <a:pt x="91" y="62"/>
                  </a:cubicBezTo>
                  <a:cubicBezTo>
                    <a:pt x="90" y="60"/>
                    <a:pt x="91" y="60"/>
                    <a:pt x="92" y="59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9"/>
                    <a:pt x="94" y="60"/>
                  </a:cubicBezTo>
                  <a:cubicBezTo>
                    <a:pt x="94" y="62"/>
                    <a:pt x="97" y="62"/>
                    <a:pt x="98" y="62"/>
                  </a:cubicBezTo>
                  <a:cubicBezTo>
                    <a:pt x="100" y="62"/>
                    <a:pt x="99" y="59"/>
                    <a:pt x="99" y="59"/>
                  </a:cubicBezTo>
                  <a:cubicBezTo>
                    <a:pt x="99" y="59"/>
                    <a:pt x="101" y="60"/>
                    <a:pt x="107" y="54"/>
                  </a:cubicBezTo>
                  <a:cubicBezTo>
                    <a:pt x="112" y="49"/>
                    <a:pt x="101" y="47"/>
                    <a:pt x="102" y="46"/>
                  </a:cubicBezTo>
                  <a:cubicBezTo>
                    <a:pt x="102" y="44"/>
                    <a:pt x="109" y="46"/>
                    <a:pt x="109" y="46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37"/>
                    <a:pt x="105" y="35"/>
                    <a:pt x="106" y="33"/>
                  </a:cubicBezTo>
                  <a:cubicBezTo>
                    <a:pt x="107" y="30"/>
                    <a:pt x="104" y="30"/>
                    <a:pt x="102" y="28"/>
                  </a:cubicBezTo>
                  <a:cubicBezTo>
                    <a:pt x="101" y="26"/>
                    <a:pt x="104" y="23"/>
                    <a:pt x="104" y="23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9" y="17"/>
                    <a:pt x="100" y="16"/>
                  </a:cubicBezTo>
                  <a:cubicBezTo>
                    <a:pt x="102" y="14"/>
                    <a:pt x="98" y="12"/>
                    <a:pt x="98" y="12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3" y="5"/>
                    <a:pt x="81" y="5"/>
                  </a:cubicBezTo>
                  <a:cubicBezTo>
                    <a:pt x="80" y="6"/>
                    <a:pt x="79" y="3"/>
                    <a:pt x="79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7" y="6"/>
                    <a:pt x="80" y="8"/>
                  </a:cubicBezTo>
                  <a:cubicBezTo>
                    <a:pt x="83" y="11"/>
                    <a:pt x="87" y="8"/>
                    <a:pt x="87" y="8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2" y="19"/>
                    <a:pt x="91" y="18"/>
                  </a:cubicBezTo>
                  <a:cubicBezTo>
                    <a:pt x="89" y="17"/>
                    <a:pt x="87" y="17"/>
                    <a:pt x="85" y="15"/>
                  </a:cubicBezTo>
                  <a:cubicBezTo>
                    <a:pt x="84" y="13"/>
                    <a:pt x="81" y="13"/>
                    <a:pt x="79" y="14"/>
                  </a:cubicBezTo>
                  <a:cubicBezTo>
                    <a:pt x="76" y="16"/>
                    <a:pt x="81" y="22"/>
                    <a:pt x="82" y="23"/>
                  </a:cubicBezTo>
                  <a:cubicBezTo>
                    <a:pt x="83" y="24"/>
                    <a:pt x="87" y="29"/>
                    <a:pt x="87" y="29"/>
                  </a:cubicBezTo>
                  <a:cubicBezTo>
                    <a:pt x="87" y="29"/>
                    <a:pt x="84" y="30"/>
                    <a:pt x="83" y="31"/>
                  </a:cubicBezTo>
                  <a:cubicBezTo>
                    <a:pt x="82" y="32"/>
                    <a:pt x="83" y="34"/>
                    <a:pt x="82" y="37"/>
                  </a:cubicBezTo>
                  <a:cubicBezTo>
                    <a:pt x="82" y="41"/>
                    <a:pt x="78" y="43"/>
                    <a:pt x="78" y="43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80" y="38"/>
                    <a:pt x="80" y="34"/>
                  </a:cubicBezTo>
                  <a:cubicBezTo>
                    <a:pt x="80" y="31"/>
                    <a:pt x="75" y="38"/>
                    <a:pt x="75" y="38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69" y="22"/>
                    <a:pt x="68" y="21"/>
                  </a:cubicBezTo>
                  <a:cubicBezTo>
                    <a:pt x="68" y="20"/>
                    <a:pt x="72" y="19"/>
                    <a:pt x="72" y="19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68" y="10"/>
                    <a:pt x="64" y="10"/>
                  </a:cubicBezTo>
                  <a:cubicBezTo>
                    <a:pt x="60" y="11"/>
                    <a:pt x="65" y="14"/>
                    <a:pt x="65" y="14"/>
                  </a:cubicBezTo>
                  <a:cubicBezTo>
                    <a:pt x="65" y="14"/>
                    <a:pt x="63" y="13"/>
                    <a:pt x="61" y="13"/>
                  </a:cubicBezTo>
                  <a:cubicBezTo>
                    <a:pt x="60" y="13"/>
                    <a:pt x="59" y="13"/>
                    <a:pt x="61" y="16"/>
                  </a:cubicBezTo>
                  <a:cubicBezTo>
                    <a:pt x="62" y="20"/>
                    <a:pt x="63" y="21"/>
                    <a:pt x="62" y="21"/>
                  </a:cubicBezTo>
                  <a:cubicBezTo>
                    <a:pt x="61" y="22"/>
                    <a:pt x="60" y="20"/>
                    <a:pt x="59" y="18"/>
                  </a:cubicBezTo>
                  <a:cubicBezTo>
                    <a:pt x="58" y="15"/>
                    <a:pt x="56" y="13"/>
                    <a:pt x="53" y="14"/>
                  </a:cubicBezTo>
                  <a:cubicBezTo>
                    <a:pt x="50" y="16"/>
                    <a:pt x="53" y="21"/>
                    <a:pt x="53" y="22"/>
                  </a:cubicBezTo>
                  <a:cubicBezTo>
                    <a:pt x="55" y="24"/>
                    <a:pt x="52" y="24"/>
                    <a:pt x="52" y="24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0" y="23"/>
                    <a:pt x="47" y="21"/>
                  </a:cubicBezTo>
                  <a:cubicBezTo>
                    <a:pt x="45" y="20"/>
                    <a:pt x="45" y="29"/>
                    <a:pt x="48" y="32"/>
                  </a:cubicBezTo>
                  <a:cubicBezTo>
                    <a:pt x="51" y="36"/>
                    <a:pt x="58" y="36"/>
                    <a:pt x="58" y="36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5" y="41"/>
                    <a:pt x="46" y="37"/>
                  </a:cubicBezTo>
                  <a:cubicBezTo>
                    <a:pt x="46" y="34"/>
                    <a:pt x="38" y="23"/>
                    <a:pt x="38" y="23"/>
                  </a:cubicBezTo>
                  <a:cubicBezTo>
                    <a:pt x="38" y="23"/>
                    <a:pt x="35" y="26"/>
                    <a:pt x="35" y="29"/>
                  </a:cubicBezTo>
                  <a:cubicBezTo>
                    <a:pt x="35" y="32"/>
                    <a:pt x="38" y="37"/>
                    <a:pt x="38" y="3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41"/>
                    <a:pt x="36" y="43"/>
                    <a:pt x="36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3"/>
                    <a:pt x="32" y="39"/>
                    <a:pt x="32" y="38"/>
                  </a:cubicBezTo>
                  <a:cubicBezTo>
                    <a:pt x="32" y="37"/>
                    <a:pt x="30" y="38"/>
                    <a:pt x="30" y="36"/>
                  </a:cubicBezTo>
                  <a:cubicBezTo>
                    <a:pt x="30" y="34"/>
                    <a:pt x="30" y="31"/>
                    <a:pt x="27" y="30"/>
                  </a:cubicBezTo>
                  <a:cubicBezTo>
                    <a:pt x="24" y="29"/>
                    <a:pt x="23" y="33"/>
                    <a:pt x="22" y="34"/>
                  </a:cubicBezTo>
                  <a:cubicBezTo>
                    <a:pt x="20" y="35"/>
                    <a:pt x="18" y="35"/>
                    <a:pt x="17" y="36"/>
                  </a:cubicBezTo>
                  <a:cubicBezTo>
                    <a:pt x="16" y="37"/>
                    <a:pt x="19" y="37"/>
                    <a:pt x="23" y="38"/>
                  </a:cubicBezTo>
                  <a:cubicBezTo>
                    <a:pt x="25" y="38"/>
                    <a:pt x="25" y="41"/>
                    <a:pt x="26" y="42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6" y="48"/>
                    <a:pt x="30" y="49"/>
                  </a:cubicBezTo>
                  <a:cubicBezTo>
                    <a:pt x="33" y="51"/>
                    <a:pt x="36" y="48"/>
                    <a:pt x="41" y="49"/>
                  </a:cubicBezTo>
                  <a:cubicBezTo>
                    <a:pt x="45" y="50"/>
                    <a:pt x="46" y="52"/>
                    <a:pt x="48" y="52"/>
                  </a:cubicBezTo>
                  <a:cubicBezTo>
                    <a:pt x="49" y="52"/>
                    <a:pt x="51" y="48"/>
                    <a:pt x="51" y="48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6" y="66"/>
                    <a:pt x="77" y="68"/>
                  </a:cubicBezTo>
                  <a:cubicBezTo>
                    <a:pt x="78" y="70"/>
                    <a:pt x="77" y="71"/>
                    <a:pt x="77" y="7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64" y="75"/>
                    <a:pt x="58" y="76"/>
                  </a:cubicBezTo>
                  <a:cubicBezTo>
                    <a:pt x="50" y="76"/>
                    <a:pt x="56" y="79"/>
                    <a:pt x="56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8" y="86"/>
                    <a:pt x="60" y="85"/>
                    <a:pt x="60" y="85"/>
                  </a:cubicBezTo>
                  <a:cubicBezTo>
                    <a:pt x="60" y="85"/>
                    <a:pt x="61" y="90"/>
                    <a:pt x="62" y="90"/>
                  </a:cubicBezTo>
                  <a:cubicBezTo>
                    <a:pt x="64" y="90"/>
                    <a:pt x="69" y="87"/>
                    <a:pt x="69" y="87"/>
                  </a:cubicBezTo>
                  <a:cubicBezTo>
                    <a:pt x="69" y="87"/>
                    <a:pt x="72" y="86"/>
                    <a:pt x="73" y="89"/>
                  </a:cubicBezTo>
                  <a:cubicBezTo>
                    <a:pt x="74" y="92"/>
                    <a:pt x="66" y="93"/>
                    <a:pt x="66" y="93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0" y="96"/>
                    <a:pt x="59" y="92"/>
                    <a:pt x="59" y="92"/>
                  </a:cubicBezTo>
                  <a:cubicBezTo>
                    <a:pt x="59" y="92"/>
                    <a:pt x="58" y="91"/>
                    <a:pt x="57" y="92"/>
                  </a:cubicBezTo>
                  <a:cubicBezTo>
                    <a:pt x="55" y="92"/>
                    <a:pt x="55" y="89"/>
                    <a:pt x="51" y="86"/>
                  </a:cubicBezTo>
                  <a:cubicBezTo>
                    <a:pt x="48" y="84"/>
                    <a:pt x="45" y="87"/>
                    <a:pt x="45" y="87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0" y="85"/>
                    <a:pt x="38" y="85"/>
                  </a:cubicBezTo>
                  <a:cubicBezTo>
                    <a:pt x="36" y="85"/>
                    <a:pt x="36" y="84"/>
                    <a:pt x="35" y="82"/>
                  </a:cubicBezTo>
                  <a:cubicBezTo>
                    <a:pt x="34" y="81"/>
                    <a:pt x="33" y="83"/>
                    <a:pt x="31" y="85"/>
                  </a:cubicBezTo>
                  <a:cubicBezTo>
                    <a:pt x="29" y="87"/>
                    <a:pt x="30" y="83"/>
                    <a:pt x="31" y="83"/>
                  </a:cubicBezTo>
                  <a:cubicBezTo>
                    <a:pt x="32" y="82"/>
                    <a:pt x="32" y="80"/>
                    <a:pt x="30" y="80"/>
                  </a:cubicBezTo>
                  <a:cubicBezTo>
                    <a:pt x="28" y="79"/>
                    <a:pt x="28" y="83"/>
                    <a:pt x="26" y="83"/>
                  </a:cubicBezTo>
                  <a:cubicBezTo>
                    <a:pt x="24" y="83"/>
                    <a:pt x="25" y="81"/>
                    <a:pt x="25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16" y="81"/>
                    <a:pt x="14" y="81"/>
                  </a:cubicBezTo>
                  <a:cubicBezTo>
                    <a:pt x="12" y="80"/>
                    <a:pt x="13" y="76"/>
                    <a:pt x="9" y="76"/>
                  </a:cubicBezTo>
                  <a:cubicBezTo>
                    <a:pt x="4" y="76"/>
                    <a:pt x="3" y="81"/>
                    <a:pt x="4" y="84"/>
                  </a:cubicBezTo>
                  <a:cubicBezTo>
                    <a:pt x="4" y="89"/>
                    <a:pt x="8" y="90"/>
                    <a:pt x="10" y="90"/>
                  </a:cubicBezTo>
                  <a:cubicBezTo>
                    <a:pt x="12" y="90"/>
                    <a:pt x="11" y="87"/>
                    <a:pt x="13" y="86"/>
                  </a:cubicBezTo>
                  <a:cubicBezTo>
                    <a:pt x="15" y="86"/>
                    <a:pt x="16" y="89"/>
                    <a:pt x="17" y="90"/>
                  </a:cubicBezTo>
                  <a:cubicBezTo>
                    <a:pt x="18" y="90"/>
                    <a:pt x="19" y="89"/>
                    <a:pt x="19" y="89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3" y="98"/>
                    <a:pt x="33" y="97"/>
                    <a:pt x="34" y="97"/>
                  </a:cubicBezTo>
                  <a:cubicBezTo>
                    <a:pt x="36" y="98"/>
                    <a:pt x="35" y="99"/>
                    <a:pt x="36" y="100"/>
                  </a:cubicBezTo>
                  <a:cubicBezTo>
                    <a:pt x="38" y="101"/>
                    <a:pt x="40" y="99"/>
                    <a:pt x="41" y="100"/>
                  </a:cubicBezTo>
                  <a:cubicBezTo>
                    <a:pt x="43" y="102"/>
                    <a:pt x="41" y="103"/>
                    <a:pt x="41" y="103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36" y="122"/>
                    <a:pt x="36" y="124"/>
                    <a:pt x="39" y="124"/>
                  </a:cubicBezTo>
                  <a:cubicBezTo>
                    <a:pt x="40" y="124"/>
                    <a:pt x="42" y="122"/>
                    <a:pt x="42" y="122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8" y="125"/>
                    <a:pt x="48" y="125"/>
                    <a:pt x="48" y="125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2" y="125"/>
                    <a:pt x="38" y="128"/>
                    <a:pt x="38" y="128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3" y="134"/>
                    <a:pt x="33" y="134"/>
                    <a:pt x="33" y="134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3" y="136"/>
                    <a:pt x="45" y="133"/>
                    <a:pt x="49" y="136"/>
                  </a:cubicBezTo>
                  <a:cubicBezTo>
                    <a:pt x="52" y="137"/>
                    <a:pt x="50" y="140"/>
                    <a:pt x="50" y="140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7" y="137"/>
                    <a:pt x="44" y="138"/>
                    <a:pt x="41" y="138"/>
                  </a:cubicBezTo>
                  <a:cubicBezTo>
                    <a:pt x="38" y="138"/>
                    <a:pt x="36" y="138"/>
                    <a:pt x="36" y="141"/>
                  </a:cubicBezTo>
                  <a:cubicBezTo>
                    <a:pt x="35" y="143"/>
                    <a:pt x="38" y="147"/>
                    <a:pt x="38" y="147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27" y="146"/>
                    <a:pt x="27" y="146"/>
                    <a:pt x="27" y="146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0"/>
                    <a:pt x="22" y="149"/>
                    <a:pt x="19" y="149"/>
                  </a:cubicBezTo>
                  <a:cubicBezTo>
                    <a:pt x="17" y="148"/>
                    <a:pt x="15" y="149"/>
                    <a:pt x="14" y="149"/>
                  </a:cubicBezTo>
                  <a:cubicBezTo>
                    <a:pt x="12" y="149"/>
                    <a:pt x="10" y="147"/>
                    <a:pt x="10" y="147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9" y="140"/>
                    <a:pt x="9" y="140"/>
                    <a:pt x="9" y="140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2" y="159"/>
                    <a:pt x="13" y="160"/>
                  </a:cubicBezTo>
                  <a:cubicBezTo>
                    <a:pt x="14" y="161"/>
                    <a:pt x="19" y="163"/>
                    <a:pt x="19" y="163"/>
                  </a:cubicBezTo>
                  <a:cubicBezTo>
                    <a:pt x="19" y="163"/>
                    <a:pt x="24" y="163"/>
                    <a:pt x="26" y="164"/>
                  </a:cubicBezTo>
                  <a:cubicBezTo>
                    <a:pt x="28" y="165"/>
                    <a:pt x="28" y="168"/>
                    <a:pt x="28" y="168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42" y="165"/>
                    <a:pt x="44" y="166"/>
                  </a:cubicBezTo>
                  <a:cubicBezTo>
                    <a:pt x="46" y="168"/>
                    <a:pt x="41" y="169"/>
                    <a:pt x="41" y="169"/>
                  </a:cubicBezTo>
                  <a:cubicBezTo>
                    <a:pt x="41" y="169"/>
                    <a:pt x="42" y="170"/>
                    <a:pt x="43" y="172"/>
                  </a:cubicBezTo>
                  <a:cubicBezTo>
                    <a:pt x="43" y="174"/>
                    <a:pt x="43" y="175"/>
                    <a:pt x="45" y="177"/>
                  </a:cubicBezTo>
                  <a:cubicBezTo>
                    <a:pt x="47" y="178"/>
                    <a:pt x="47" y="181"/>
                    <a:pt x="47" y="181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1" y="183"/>
                    <a:pt x="50" y="183"/>
                  </a:cubicBezTo>
                  <a:cubicBezTo>
                    <a:pt x="49" y="184"/>
                    <a:pt x="49" y="184"/>
                    <a:pt x="49" y="184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1" y="189"/>
                    <a:pt x="51" y="189"/>
                    <a:pt x="51" y="189"/>
                  </a:cubicBezTo>
                  <a:cubicBezTo>
                    <a:pt x="51" y="194"/>
                    <a:pt x="51" y="194"/>
                    <a:pt x="51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53" y="196"/>
                    <a:pt x="53" y="196"/>
                    <a:pt x="53" y="196"/>
                  </a:cubicBezTo>
                  <a:cubicBezTo>
                    <a:pt x="53" y="196"/>
                    <a:pt x="55" y="202"/>
                    <a:pt x="56" y="204"/>
                  </a:cubicBezTo>
                  <a:cubicBezTo>
                    <a:pt x="58" y="206"/>
                    <a:pt x="60" y="205"/>
                    <a:pt x="61" y="205"/>
                  </a:cubicBezTo>
                  <a:cubicBezTo>
                    <a:pt x="62" y="205"/>
                    <a:pt x="64" y="208"/>
                    <a:pt x="65" y="208"/>
                  </a:cubicBezTo>
                  <a:cubicBezTo>
                    <a:pt x="66" y="209"/>
                    <a:pt x="67" y="208"/>
                    <a:pt x="67" y="208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7" y="211"/>
                    <a:pt x="72" y="216"/>
                    <a:pt x="74" y="218"/>
                  </a:cubicBezTo>
                  <a:cubicBezTo>
                    <a:pt x="76" y="220"/>
                    <a:pt x="79" y="224"/>
                    <a:pt x="79" y="224"/>
                  </a:cubicBezTo>
                  <a:cubicBezTo>
                    <a:pt x="79" y="224"/>
                    <a:pt x="83" y="224"/>
                    <a:pt x="85" y="226"/>
                  </a:cubicBezTo>
                  <a:cubicBezTo>
                    <a:pt x="89" y="229"/>
                    <a:pt x="91" y="229"/>
                    <a:pt x="91" y="229"/>
                  </a:cubicBezTo>
                  <a:cubicBezTo>
                    <a:pt x="91" y="229"/>
                    <a:pt x="99" y="232"/>
                    <a:pt x="106" y="233"/>
                  </a:cubicBezTo>
                  <a:cubicBezTo>
                    <a:pt x="112" y="235"/>
                    <a:pt x="118" y="227"/>
                    <a:pt x="118" y="227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0" y="224"/>
                    <a:pt x="120" y="224"/>
                    <a:pt x="120" y="224"/>
                  </a:cubicBezTo>
                  <a:cubicBezTo>
                    <a:pt x="120" y="224"/>
                    <a:pt x="120" y="221"/>
                    <a:pt x="123" y="221"/>
                  </a:cubicBezTo>
                  <a:cubicBezTo>
                    <a:pt x="127" y="221"/>
                    <a:pt x="126" y="224"/>
                    <a:pt x="126" y="224"/>
                  </a:cubicBezTo>
                  <a:cubicBezTo>
                    <a:pt x="133" y="223"/>
                    <a:pt x="133" y="223"/>
                    <a:pt x="133" y="223"/>
                  </a:cubicBezTo>
                  <a:cubicBezTo>
                    <a:pt x="133" y="225"/>
                    <a:pt x="133" y="225"/>
                    <a:pt x="133" y="225"/>
                  </a:cubicBezTo>
                  <a:cubicBezTo>
                    <a:pt x="142" y="225"/>
                    <a:pt x="142" y="225"/>
                    <a:pt x="142" y="225"/>
                  </a:cubicBezTo>
                  <a:cubicBezTo>
                    <a:pt x="144" y="225"/>
                    <a:pt x="148" y="228"/>
                    <a:pt x="148" y="228"/>
                  </a:cubicBezTo>
                  <a:cubicBezTo>
                    <a:pt x="153" y="224"/>
                    <a:pt x="153" y="224"/>
                    <a:pt x="153" y="224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61" y="226"/>
                    <a:pt x="161" y="226"/>
                    <a:pt x="161" y="22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9"/>
                    <a:pt x="172" y="222"/>
                    <a:pt x="177" y="220"/>
                  </a:cubicBezTo>
                  <a:cubicBezTo>
                    <a:pt x="181" y="219"/>
                    <a:pt x="193" y="218"/>
                    <a:pt x="193" y="218"/>
                  </a:cubicBezTo>
                  <a:cubicBezTo>
                    <a:pt x="192" y="216"/>
                    <a:pt x="192" y="216"/>
                    <a:pt x="192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195" y="217"/>
                    <a:pt x="195" y="217"/>
                    <a:pt x="195" y="217"/>
                  </a:cubicBezTo>
                  <a:cubicBezTo>
                    <a:pt x="200" y="217"/>
                    <a:pt x="200" y="217"/>
                    <a:pt x="200" y="217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7" y="219"/>
                    <a:pt x="207" y="219"/>
                    <a:pt x="207" y="219"/>
                  </a:cubicBezTo>
                  <a:cubicBezTo>
                    <a:pt x="203" y="216"/>
                    <a:pt x="203" y="216"/>
                    <a:pt x="203" y="216"/>
                  </a:cubicBezTo>
                  <a:cubicBezTo>
                    <a:pt x="206" y="211"/>
                    <a:pt x="206" y="211"/>
                    <a:pt x="206" y="211"/>
                  </a:cubicBezTo>
                  <a:cubicBezTo>
                    <a:pt x="206" y="211"/>
                    <a:pt x="207" y="215"/>
                    <a:pt x="209" y="216"/>
                  </a:cubicBezTo>
                  <a:cubicBezTo>
                    <a:pt x="210" y="217"/>
                    <a:pt x="208" y="218"/>
                    <a:pt x="208" y="218"/>
                  </a:cubicBezTo>
                  <a:cubicBezTo>
                    <a:pt x="208" y="218"/>
                    <a:pt x="210" y="217"/>
                    <a:pt x="212" y="218"/>
                  </a:cubicBezTo>
                  <a:cubicBezTo>
                    <a:pt x="213" y="219"/>
                    <a:pt x="212" y="222"/>
                    <a:pt x="212" y="222"/>
                  </a:cubicBezTo>
                  <a:cubicBezTo>
                    <a:pt x="214" y="222"/>
                    <a:pt x="214" y="222"/>
                    <a:pt x="214" y="222"/>
                  </a:cubicBezTo>
                  <a:cubicBezTo>
                    <a:pt x="216" y="221"/>
                    <a:pt x="216" y="219"/>
                    <a:pt x="216" y="219"/>
                  </a:cubicBezTo>
                  <a:cubicBezTo>
                    <a:pt x="216" y="219"/>
                    <a:pt x="221" y="218"/>
                    <a:pt x="223" y="217"/>
                  </a:cubicBezTo>
                  <a:cubicBezTo>
                    <a:pt x="225" y="216"/>
                    <a:pt x="226" y="212"/>
                    <a:pt x="228" y="213"/>
                  </a:cubicBezTo>
                  <a:cubicBezTo>
                    <a:pt x="229" y="213"/>
                    <a:pt x="227" y="216"/>
                    <a:pt x="227" y="216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40" y="207"/>
                    <a:pt x="240" y="207"/>
                    <a:pt x="240" y="207"/>
                  </a:cubicBezTo>
                  <a:cubicBezTo>
                    <a:pt x="236" y="208"/>
                    <a:pt x="236" y="208"/>
                    <a:pt x="236" y="208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3" y="206"/>
                    <a:pt x="243" y="206"/>
                    <a:pt x="243" y="206"/>
                  </a:cubicBezTo>
                  <a:cubicBezTo>
                    <a:pt x="245" y="204"/>
                    <a:pt x="245" y="204"/>
                    <a:pt x="245" y="204"/>
                  </a:cubicBezTo>
                  <a:cubicBezTo>
                    <a:pt x="243" y="201"/>
                    <a:pt x="243" y="201"/>
                    <a:pt x="243" y="201"/>
                  </a:cubicBezTo>
                  <a:cubicBezTo>
                    <a:pt x="243" y="201"/>
                    <a:pt x="242" y="193"/>
                    <a:pt x="243" y="194"/>
                  </a:cubicBezTo>
                  <a:cubicBezTo>
                    <a:pt x="244" y="194"/>
                    <a:pt x="244" y="199"/>
                    <a:pt x="245" y="201"/>
                  </a:cubicBezTo>
                  <a:cubicBezTo>
                    <a:pt x="245" y="204"/>
                    <a:pt x="254" y="202"/>
                    <a:pt x="254" y="202"/>
                  </a:cubicBezTo>
                  <a:cubicBezTo>
                    <a:pt x="254" y="200"/>
                    <a:pt x="254" y="200"/>
                    <a:pt x="254" y="200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258" y="195"/>
                    <a:pt x="258" y="195"/>
                    <a:pt x="258" y="195"/>
                  </a:cubicBezTo>
                  <a:cubicBezTo>
                    <a:pt x="262" y="197"/>
                    <a:pt x="262" y="197"/>
                    <a:pt x="262" y="197"/>
                  </a:cubicBezTo>
                  <a:cubicBezTo>
                    <a:pt x="264" y="195"/>
                    <a:pt x="264" y="195"/>
                    <a:pt x="264" y="195"/>
                  </a:cubicBezTo>
                  <a:cubicBezTo>
                    <a:pt x="258" y="190"/>
                    <a:pt x="258" y="190"/>
                    <a:pt x="258" y="190"/>
                  </a:cubicBezTo>
                  <a:cubicBezTo>
                    <a:pt x="259" y="189"/>
                    <a:pt x="261" y="191"/>
                    <a:pt x="262" y="192"/>
                  </a:cubicBezTo>
                  <a:cubicBezTo>
                    <a:pt x="263" y="193"/>
                    <a:pt x="268" y="193"/>
                    <a:pt x="268" y="193"/>
                  </a:cubicBezTo>
                  <a:cubicBezTo>
                    <a:pt x="268" y="191"/>
                    <a:pt x="268" y="191"/>
                    <a:pt x="268" y="191"/>
                  </a:cubicBezTo>
                  <a:cubicBezTo>
                    <a:pt x="268" y="191"/>
                    <a:pt x="265" y="191"/>
                    <a:pt x="264" y="190"/>
                  </a:cubicBezTo>
                  <a:cubicBezTo>
                    <a:pt x="263" y="190"/>
                    <a:pt x="264" y="189"/>
                    <a:pt x="263" y="187"/>
                  </a:cubicBezTo>
                  <a:cubicBezTo>
                    <a:pt x="263" y="186"/>
                    <a:pt x="257" y="181"/>
                    <a:pt x="257" y="181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63" y="183"/>
                    <a:pt x="263" y="183"/>
                    <a:pt x="263" y="183"/>
                  </a:cubicBezTo>
                  <a:cubicBezTo>
                    <a:pt x="263" y="183"/>
                    <a:pt x="265" y="189"/>
                    <a:pt x="269" y="190"/>
                  </a:cubicBezTo>
                  <a:cubicBezTo>
                    <a:pt x="273" y="191"/>
                    <a:pt x="273" y="187"/>
                    <a:pt x="273" y="187"/>
                  </a:cubicBezTo>
                  <a:cubicBezTo>
                    <a:pt x="276" y="187"/>
                    <a:pt x="276" y="187"/>
                    <a:pt x="276" y="187"/>
                  </a:cubicBezTo>
                  <a:cubicBezTo>
                    <a:pt x="276" y="184"/>
                    <a:pt x="276" y="184"/>
                    <a:pt x="276" y="184"/>
                  </a:cubicBezTo>
                  <a:cubicBezTo>
                    <a:pt x="278" y="181"/>
                    <a:pt x="278" y="181"/>
                    <a:pt x="278" y="181"/>
                  </a:cubicBezTo>
                  <a:cubicBezTo>
                    <a:pt x="277" y="180"/>
                    <a:pt x="277" y="180"/>
                    <a:pt x="277" y="180"/>
                  </a:cubicBezTo>
                  <a:cubicBezTo>
                    <a:pt x="273" y="184"/>
                    <a:pt x="273" y="184"/>
                    <a:pt x="273" y="184"/>
                  </a:cubicBezTo>
                  <a:cubicBezTo>
                    <a:pt x="272" y="183"/>
                    <a:pt x="272" y="183"/>
                    <a:pt x="272" y="183"/>
                  </a:cubicBezTo>
                  <a:cubicBezTo>
                    <a:pt x="273" y="181"/>
                    <a:pt x="273" y="181"/>
                    <a:pt x="273" y="181"/>
                  </a:cubicBezTo>
                  <a:cubicBezTo>
                    <a:pt x="272" y="180"/>
                    <a:pt x="272" y="180"/>
                    <a:pt x="272" y="180"/>
                  </a:cubicBezTo>
                  <a:cubicBezTo>
                    <a:pt x="276" y="178"/>
                    <a:pt x="276" y="178"/>
                    <a:pt x="276" y="178"/>
                  </a:cubicBezTo>
                  <a:cubicBezTo>
                    <a:pt x="276" y="177"/>
                    <a:pt x="276" y="177"/>
                    <a:pt x="276" y="177"/>
                  </a:cubicBezTo>
                  <a:cubicBezTo>
                    <a:pt x="271" y="177"/>
                    <a:pt x="271" y="177"/>
                    <a:pt x="271" y="177"/>
                  </a:cubicBezTo>
                  <a:cubicBezTo>
                    <a:pt x="269" y="174"/>
                    <a:pt x="269" y="174"/>
                    <a:pt x="269" y="174"/>
                  </a:cubicBezTo>
                  <a:cubicBezTo>
                    <a:pt x="274" y="175"/>
                    <a:pt x="274" y="175"/>
                    <a:pt x="274" y="175"/>
                  </a:cubicBezTo>
                  <a:cubicBezTo>
                    <a:pt x="274" y="175"/>
                    <a:pt x="278" y="176"/>
                    <a:pt x="278" y="173"/>
                  </a:cubicBezTo>
                  <a:cubicBezTo>
                    <a:pt x="279" y="170"/>
                    <a:pt x="269" y="170"/>
                    <a:pt x="269" y="170"/>
                  </a:cubicBezTo>
                  <a:cubicBezTo>
                    <a:pt x="268" y="169"/>
                    <a:pt x="268" y="169"/>
                    <a:pt x="268" y="169"/>
                  </a:cubicBezTo>
                  <a:cubicBezTo>
                    <a:pt x="274" y="169"/>
                    <a:pt x="274" y="169"/>
                    <a:pt x="274" y="169"/>
                  </a:cubicBezTo>
                  <a:cubicBezTo>
                    <a:pt x="276" y="169"/>
                    <a:pt x="275" y="165"/>
                    <a:pt x="275" y="165"/>
                  </a:cubicBezTo>
                  <a:cubicBezTo>
                    <a:pt x="275" y="165"/>
                    <a:pt x="277" y="166"/>
                    <a:pt x="279" y="166"/>
                  </a:cubicBezTo>
                  <a:cubicBezTo>
                    <a:pt x="281" y="166"/>
                    <a:pt x="281" y="162"/>
                    <a:pt x="281" y="162"/>
                  </a:cubicBezTo>
                  <a:cubicBezTo>
                    <a:pt x="284" y="160"/>
                    <a:pt x="284" y="160"/>
                    <a:pt x="284" y="160"/>
                  </a:cubicBezTo>
                  <a:cubicBezTo>
                    <a:pt x="285" y="160"/>
                    <a:pt x="284" y="155"/>
                    <a:pt x="284" y="155"/>
                  </a:cubicBezTo>
                  <a:close/>
                  <a:moveTo>
                    <a:pt x="61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1" y="51"/>
                  </a:lnTo>
                  <a:close/>
                  <a:moveTo>
                    <a:pt x="48" y="210"/>
                  </a:moveTo>
                  <a:cubicBezTo>
                    <a:pt x="52" y="208"/>
                    <a:pt x="52" y="208"/>
                    <a:pt x="52" y="208"/>
                  </a:cubicBezTo>
                  <a:cubicBezTo>
                    <a:pt x="50" y="205"/>
                    <a:pt x="50" y="205"/>
                    <a:pt x="50" y="205"/>
                  </a:cubicBezTo>
                  <a:lnTo>
                    <a:pt x="48" y="210"/>
                  </a:lnTo>
                  <a:close/>
                  <a:moveTo>
                    <a:pt x="122" y="222"/>
                  </a:moveTo>
                  <a:cubicBezTo>
                    <a:pt x="122" y="222"/>
                    <a:pt x="121" y="225"/>
                    <a:pt x="124" y="224"/>
                  </a:cubicBezTo>
                  <a:cubicBezTo>
                    <a:pt x="126" y="224"/>
                    <a:pt x="125" y="221"/>
                    <a:pt x="122" y="2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Färöer" descr="© INSCALE GmbH, 05.05.2010&#10;http://www.presentationload.com/">
              <a:extLst>
                <a:ext uri="{FF2B5EF4-FFF2-40B4-BE49-F238E27FC236}">
                  <a16:creationId xmlns:a16="http://schemas.microsoft.com/office/drawing/2014/main" id="{C77D21BE-99F6-E342-B64C-CD873B8C1C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13677" y="2531052"/>
              <a:ext cx="123768" cy="146871"/>
            </a:xfrm>
            <a:custGeom>
              <a:avLst/>
              <a:gdLst/>
              <a:ahLst/>
              <a:cxnLst>
                <a:cxn ang="0">
                  <a:pos x="7" y="13"/>
                </a:cxn>
                <a:cxn ang="0">
                  <a:pos x="0" y="11"/>
                </a:cxn>
                <a:cxn ang="0">
                  <a:pos x="32" y="30"/>
                </a:cxn>
                <a:cxn ang="0">
                  <a:pos x="29" y="30"/>
                </a:cxn>
                <a:cxn ang="0">
                  <a:pos x="21" y="22"/>
                </a:cxn>
                <a:cxn ang="0">
                  <a:pos x="21" y="26"/>
                </a:cxn>
                <a:cxn ang="0">
                  <a:pos x="19" y="40"/>
                </a:cxn>
                <a:cxn ang="0">
                  <a:pos x="21" y="37"/>
                </a:cxn>
                <a:cxn ang="0">
                  <a:pos x="20" y="30"/>
                </a:cxn>
                <a:cxn ang="0">
                  <a:pos x="23" y="34"/>
                </a:cxn>
                <a:cxn ang="0">
                  <a:pos x="28" y="36"/>
                </a:cxn>
                <a:cxn ang="0">
                  <a:pos x="20" y="30"/>
                </a:cxn>
                <a:cxn ang="0">
                  <a:pos x="19" y="16"/>
                </a:cxn>
                <a:cxn ang="0">
                  <a:pos x="14" y="13"/>
                </a:cxn>
                <a:cxn ang="0">
                  <a:pos x="10" y="11"/>
                </a:cxn>
                <a:cxn ang="0">
                  <a:pos x="11" y="17"/>
                </a:cxn>
                <a:cxn ang="0">
                  <a:pos x="27" y="21"/>
                </a:cxn>
                <a:cxn ang="0">
                  <a:pos x="23" y="11"/>
                </a:cxn>
                <a:cxn ang="0">
                  <a:pos x="19" y="6"/>
                </a:cxn>
                <a:cxn ang="0">
                  <a:pos x="22" y="16"/>
                </a:cxn>
                <a:cxn ang="0">
                  <a:pos x="27" y="30"/>
                </a:cxn>
                <a:cxn ang="0">
                  <a:pos x="27" y="21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4" y="14"/>
                </a:cxn>
                <a:cxn ang="0">
                  <a:pos x="32" y="9"/>
                </a:cxn>
                <a:cxn ang="0">
                  <a:pos x="28" y="6"/>
                </a:cxn>
                <a:cxn ang="0">
                  <a:pos x="29" y="2"/>
                </a:cxn>
                <a:cxn ang="0">
                  <a:pos x="24" y="10"/>
                </a:cxn>
                <a:cxn ang="0">
                  <a:pos x="31" y="14"/>
                </a:cxn>
                <a:cxn ang="0">
                  <a:pos x="30" y="20"/>
                </a:cxn>
                <a:cxn ang="0">
                  <a:pos x="35" y="18"/>
                </a:cxn>
                <a:cxn ang="0">
                  <a:pos x="31" y="14"/>
                </a:cxn>
                <a:cxn ang="0">
                  <a:pos x="38" y="10"/>
                </a:cxn>
                <a:cxn ang="0">
                  <a:pos x="37" y="14"/>
                </a:cxn>
                <a:cxn ang="0">
                  <a:pos x="42" y="13"/>
                </a:cxn>
                <a:cxn ang="0">
                  <a:pos x="38" y="5"/>
                </a:cxn>
                <a:cxn ang="0">
                  <a:pos x="44" y="9"/>
                </a:cxn>
                <a:cxn ang="0">
                  <a:pos x="42" y="1"/>
                </a:cxn>
                <a:cxn ang="0">
                  <a:pos x="38" y="1"/>
                </a:cxn>
                <a:cxn ang="0">
                  <a:pos x="36" y="8"/>
                </a:cxn>
                <a:cxn ang="0">
                  <a:pos x="38" y="1"/>
                </a:cxn>
                <a:cxn ang="0">
                  <a:pos x="32" y="2"/>
                </a:cxn>
                <a:cxn ang="0">
                  <a:pos x="34" y="2"/>
                </a:cxn>
                <a:cxn ang="0">
                  <a:pos x="45" y="14"/>
                </a:cxn>
                <a:cxn ang="0">
                  <a:pos x="47" y="11"/>
                </a:cxn>
                <a:cxn ang="0">
                  <a:pos x="48" y="9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16" y="49"/>
                </a:cxn>
                <a:cxn ang="0">
                  <a:pos x="14" y="45"/>
                </a:cxn>
                <a:cxn ang="0">
                  <a:pos x="13" y="55"/>
                </a:cxn>
                <a:cxn ang="0">
                  <a:pos x="18" y="62"/>
                </a:cxn>
                <a:cxn ang="0">
                  <a:pos x="17" y="57"/>
                </a:cxn>
                <a:cxn ang="0">
                  <a:pos x="19" y="53"/>
                </a:cxn>
              </a:cxnLst>
              <a:rect l="0" t="0" r="r" b="b"/>
              <a:pathLst>
                <a:path w="51" h="62">
                  <a:moveTo>
                    <a:pt x="0" y="11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1"/>
                  </a:lnTo>
                  <a:close/>
                  <a:moveTo>
                    <a:pt x="29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30"/>
                  </a:lnTo>
                  <a:close/>
                  <a:moveTo>
                    <a:pt x="22" y="27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2" y="27"/>
                  </a:lnTo>
                  <a:close/>
                  <a:moveTo>
                    <a:pt x="19" y="40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7"/>
                    <a:pt x="21" y="37"/>
                    <a:pt x="21" y="37"/>
                  </a:cubicBezTo>
                  <a:lnTo>
                    <a:pt x="19" y="40"/>
                  </a:lnTo>
                  <a:close/>
                  <a:moveTo>
                    <a:pt x="20" y="30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7" y="34"/>
                    <a:pt x="24" y="32"/>
                  </a:cubicBezTo>
                  <a:cubicBezTo>
                    <a:pt x="23" y="31"/>
                    <a:pt x="20" y="30"/>
                    <a:pt x="20" y="30"/>
                  </a:cubicBezTo>
                  <a:close/>
                  <a:moveTo>
                    <a:pt x="15" y="20"/>
                  </a:moveTo>
                  <a:cubicBezTo>
                    <a:pt x="18" y="19"/>
                    <a:pt x="19" y="16"/>
                    <a:pt x="19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2" y="13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2" y="20"/>
                    <a:pt x="15" y="20"/>
                  </a:cubicBezTo>
                  <a:close/>
                  <a:moveTo>
                    <a:pt x="27" y="21"/>
                  </a:moveTo>
                  <a:cubicBezTo>
                    <a:pt x="27" y="21"/>
                    <a:pt x="28" y="19"/>
                    <a:pt x="27" y="18"/>
                  </a:cubicBezTo>
                  <a:cubicBezTo>
                    <a:pt x="26" y="17"/>
                    <a:pt x="23" y="11"/>
                    <a:pt x="23" y="11"/>
                  </a:cubicBezTo>
                  <a:cubicBezTo>
                    <a:pt x="23" y="11"/>
                    <a:pt x="23" y="3"/>
                    <a:pt x="21" y="3"/>
                  </a:cubicBezTo>
                  <a:cubicBezTo>
                    <a:pt x="20" y="3"/>
                    <a:pt x="19" y="6"/>
                    <a:pt x="19" y="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4"/>
                    <a:pt x="22" y="13"/>
                    <a:pt x="22" y="16"/>
                  </a:cubicBezTo>
                  <a:cubicBezTo>
                    <a:pt x="22" y="19"/>
                    <a:pt x="23" y="25"/>
                    <a:pt x="24" y="26"/>
                  </a:cubicBezTo>
                  <a:cubicBezTo>
                    <a:pt x="26" y="26"/>
                    <a:pt x="27" y="30"/>
                    <a:pt x="27" y="30"/>
                  </a:cubicBezTo>
                  <a:cubicBezTo>
                    <a:pt x="27" y="30"/>
                    <a:pt x="29" y="26"/>
                    <a:pt x="29" y="24"/>
                  </a:cubicBezTo>
                  <a:cubicBezTo>
                    <a:pt x="28" y="22"/>
                    <a:pt x="27" y="21"/>
                    <a:pt x="27" y="21"/>
                  </a:cubicBezTo>
                  <a:close/>
                  <a:moveTo>
                    <a:pt x="28" y="13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28" y="13"/>
                  </a:lnTo>
                  <a:close/>
                  <a:moveTo>
                    <a:pt x="31" y="14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1" y="14"/>
                  </a:lnTo>
                  <a:close/>
                  <a:moveTo>
                    <a:pt x="38" y="5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9" y="5"/>
                    <a:pt x="39" y="5"/>
                    <a:pt x="39" y="5"/>
                  </a:cubicBezTo>
                  <a:lnTo>
                    <a:pt x="38" y="5"/>
                  </a:lnTo>
                  <a:close/>
                  <a:moveTo>
                    <a:pt x="43" y="8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1"/>
                    <a:pt x="42" y="1"/>
                    <a:pt x="42" y="1"/>
                  </a:cubicBezTo>
                  <a:lnTo>
                    <a:pt x="43" y="8"/>
                  </a:lnTo>
                  <a:close/>
                  <a:moveTo>
                    <a:pt x="38" y="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8" y="1"/>
                  </a:lnTo>
                  <a:close/>
                  <a:moveTo>
                    <a:pt x="34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4" y="9"/>
                    <a:pt x="34" y="9"/>
                    <a:pt x="34" y="9"/>
                  </a:cubicBezTo>
                  <a:lnTo>
                    <a:pt x="34" y="2"/>
                  </a:lnTo>
                  <a:close/>
                  <a:moveTo>
                    <a:pt x="45" y="11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45" y="11"/>
                  </a:lnTo>
                  <a:close/>
                  <a:moveTo>
                    <a:pt x="48" y="5"/>
                  </a:moveTo>
                  <a:cubicBezTo>
                    <a:pt x="45" y="6"/>
                    <a:pt x="48" y="7"/>
                    <a:pt x="48" y="7"/>
                  </a:cubicBezTo>
                  <a:cubicBezTo>
                    <a:pt x="50" y="7"/>
                    <a:pt x="51" y="4"/>
                    <a:pt x="48" y="5"/>
                  </a:cubicBezTo>
                  <a:close/>
                  <a:moveTo>
                    <a:pt x="20" y="51"/>
                  </a:moveTo>
                  <a:cubicBezTo>
                    <a:pt x="18" y="50"/>
                    <a:pt x="16" y="50"/>
                    <a:pt x="16" y="49"/>
                  </a:cubicBezTo>
                  <a:cubicBezTo>
                    <a:pt x="16" y="48"/>
                    <a:pt x="17" y="47"/>
                    <a:pt x="17" y="46"/>
                  </a:cubicBezTo>
                  <a:cubicBezTo>
                    <a:pt x="17" y="45"/>
                    <a:pt x="15" y="42"/>
                    <a:pt x="14" y="45"/>
                  </a:cubicBezTo>
                  <a:cubicBezTo>
                    <a:pt x="13" y="47"/>
                    <a:pt x="14" y="53"/>
                    <a:pt x="14" y="53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1" y="53"/>
                    <a:pt x="20" y="5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" name="Georgien" descr="© INSCALE GmbH, 05.05.2010&#10;http://www.presentationload.com/">
              <a:extLst>
                <a:ext uri="{FF2B5EF4-FFF2-40B4-BE49-F238E27FC236}">
                  <a16:creationId xmlns:a16="http://schemas.microsoft.com/office/drawing/2014/main" id="{956358CE-417E-9643-A5AF-F3643670F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1069" y="4836447"/>
              <a:ext cx="872980" cy="364705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" name="Armenien" descr="© INSCALE GmbH, 05.05.2010&#10;http://www.presentationload.com/">
              <a:extLst>
                <a:ext uri="{FF2B5EF4-FFF2-40B4-BE49-F238E27FC236}">
                  <a16:creationId xmlns:a16="http://schemas.microsoft.com/office/drawing/2014/main" id="{57C09820-4D4F-3E41-AF2B-78E21DF7BB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44295" y="5046029"/>
              <a:ext cx="506627" cy="282191"/>
            </a:xfrm>
            <a:custGeom>
              <a:avLst/>
              <a:gdLst/>
              <a:ahLst/>
              <a:cxnLst>
                <a:cxn ang="0">
                  <a:pos x="103" y="103"/>
                </a:cxn>
                <a:cxn ang="0">
                  <a:pos x="0" y="47"/>
                </a:cxn>
                <a:cxn ang="0">
                  <a:pos x="207" y="104"/>
                </a:cxn>
                <a:cxn ang="0">
                  <a:pos x="196" y="91"/>
                </a:cxn>
                <a:cxn ang="0">
                  <a:pos x="198" y="83"/>
                </a:cxn>
                <a:cxn ang="0">
                  <a:pos x="190" y="74"/>
                </a:cxn>
                <a:cxn ang="0">
                  <a:pos x="174" y="74"/>
                </a:cxn>
                <a:cxn ang="0">
                  <a:pos x="149" y="70"/>
                </a:cxn>
                <a:cxn ang="0">
                  <a:pos x="133" y="66"/>
                </a:cxn>
                <a:cxn ang="0">
                  <a:pos x="142" y="41"/>
                </a:cxn>
                <a:cxn ang="0">
                  <a:pos x="104" y="35"/>
                </a:cxn>
                <a:cxn ang="0">
                  <a:pos x="109" y="13"/>
                </a:cxn>
                <a:cxn ang="0">
                  <a:pos x="96" y="9"/>
                </a:cxn>
                <a:cxn ang="0">
                  <a:pos x="88" y="13"/>
                </a:cxn>
                <a:cxn ang="0">
                  <a:pos x="82" y="11"/>
                </a:cxn>
                <a:cxn ang="0">
                  <a:pos x="81" y="5"/>
                </a:cxn>
                <a:cxn ang="0">
                  <a:pos x="66" y="5"/>
                </a:cxn>
                <a:cxn ang="0">
                  <a:pos x="57" y="8"/>
                </a:cxn>
                <a:cxn ang="0">
                  <a:pos x="43" y="24"/>
                </a:cxn>
                <a:cxn ang="0">
                  <a:pos x="28" y="29"/>
                </a:cxn>
                <a:cxn ang="0">
                  <a:pos x="16" y="40"/>
                </a:cxn>
                <a:cxn ang="0">
                  <a:pos x="1" y="49"/>
                </a:cxn>
                <a:cxn ang="0">
                  <a:pos x="22" y="60"/>
                </a:cxn>
                <a:cxn ang="0">
                  <a:pos x="59" y="103"/>
                </a:cxn>
                <a:cxn ang="0">
                  <a:pos x="103" y="103"/>
                </a:cxn>
                <a:cxn ang="0">
                  <a:pos x="125" y="101"/>
                </a:cxn>
                <a:cxn ang="0">
                  <a:pos x="130" y="97"/>
                </a:cxn>
                <a:cxn ang="0">
                  <a:pos x="144" y="97"/>
                </a:cxn>
                <a:cxn ang="0">
                  <a:pos x="161" y="99"/>
                </a:cxn>
                <a:cxn ang="0">
                  <a:pos x="177" y="105"/>
                </a:cxn>
                <a:cxn ang="0">
                  <a:pos x="201" y="112"/>
                </a:cxn>
                <a:cxn ang="0">
                  <a:pos x="212" y="106"/>
                </a:cxn>
              </a:cxnLst>
              <a:rect l="0" t="0" r="r" b="b"/>
              <a:pathLst>
                <a:path w="212" h="119">
                  <a:moveTo>
                    <a:pt x="103" y="103"/>
                  </a:moveTo>
                  <a:cubicBezTo>
                    <a:pt x="103" y="103"/>
                    <a:pt x="103" y="103"/>
                    <a:pt x="103" y="103"/>
                  </a:cubicBezTo>
                  <a:moveTo>
                    <a:pt x="1" y="49"/>
                  </a:moveTo>
                  <a:cubicBezTo>
                    <a:pt x="1" y="48"/>
                    <a:pt x="1" y="48"/>
                    <a:pt x="0" y="47"/>
                  </a:cubicBezTo>
                  <a:cubicBezTo>
                    <a:pt x="1" y="48"/>
                    <a:pt x="1" y="48"/>
                    <a:pt x="1" y="49"/>
                  </a:cubicBezTo>
                  <a:close/>
                  <a:moveTo>
                    <a:pt x="207" y="104"/>
                  </a:moveTo>
                  <a:cubicBezTo>
                    <a:pt x="207" y="104"/>
                    <a:pt x="206" y="99"/>
                    <a:pt x="205" y="96"/>
                  </a:cubicBezTo>
                  <a:cubicBezTo>
                    <a:pt x="205" y="92"/>
                    <a:pt x="196" y="94"/>
                    <a:pt x="196" y="91"/>
                  </a:cubicBezTo>
                  <a:cubicBezTo>
                    <a:pt x="196" y="88"/>
                    <a:pt x="200" y="90"/>
                    <a:pt x="203" y="88"/>
                  </a:cubicBezTo>
                  <a:cubicBezTo>
                    <a:pt x="207" y="86"/>
                    <a:pt x="203" y="85"/>
                    <a:pt x="198" y="83"/>
                  </a:cubicBezTo>
                  <a:cubicBezTo>
                    <a:pt x="193" y="82"/>
                    <a:pt x="189" y="83"/>
                    <a:pt x="186" y="81"/>
                  </a:cubicBezTo>
                  <a:cubicBezTo>
                    <a:pt x="185" y="77"/>
                    <a:pt x="188" y="75"/>
                    <a:pt x="190" y="74"/>
                  </a:cubicBezTo>
                  <a:cubicBezTo>
                    <a:pt x="192" y="73"/>
                    <a:pt x="191" y="69"/>
                    <a:pt x="183" y="69"/>
                  </a:cubicBezTo>
                  <a:cubicBezTo>
                    <a:pt x="176" y="69"/>
                    <a:pt x="176" y="73"/>
                    <a:pt x="174" y="74"/>
                  </a:cubicBezTo>
                  <a:cubicBezTo>
                    <a:pt x="170" y="75"/>
                    <a:pt x="163" y="70"/>
                    <a:pt x="160" y="68"/>
                  </a:cubicBezTo>
                  <a:cubicBezTo>
                    <a:pt x="157" y="67"/>
                    <a:pt x="151" y="70"/>
                    <a:pt x="149" y="70"/>
                  </a:cubicBezTo>
                  <a:cubicBezTo>
                    <a:pt x="147" y="70"/>
                    <a:pt x="148" y="67"/>
                    <a:pt x="146" y="66"/>
                  </a:cubicBezTo>
                  <a:cubicBezTo>
                    <a:pt x="144" y="65"/>
                    <a:pt x="136" y="68"/>
                    <a:pt x="133" y="66"/>
                  </a:cubicBezTo>
                  <a:cubicBezTo>
                    <a:pt x="130" y="64"/>
                    <a:pt x="144" y="59"/>
                    <a:pt x="146" y="56"/>
                  </a:cubicBezTo>
                  <a:cubicBezTo>
                    <a:pt x="148" y="53"/>
                    <a:pt x="146" y="43"/>
                    <a:pt x="142" y="41"/>
                  </a:cubicBezTo>
                  <a:cubicBezTo>
                    <a:pt x="139" y="38"/>
                    <a:pt x="131" y="43"/>
                    <a:pt x="123" y="41"/>
                  </a:cubicBezTo>
                  <a:cubicBezTo>
                    <a:pt x="114" y="39"/>
                    <a:pt x="104" y="35"/>
                    <a:pt x="104" y="35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4" y="23"/>
                    <a:pt x="111" y="20"/>
                    <a:pt x="109" y="13"/>
                  </a:cubicBezTo>
                  <a:cubicBezTo>
                    <a:pt x="107" y="8"/>
                    <a:pt x="96" y="13"/>
                    <a:pt x="96" y="1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12"/>
                    <a:pt x="88" y="13"/>
                  </a:cubicBezTo>
                  <a:cubicBezTo>
                    <a:pt x="84" y="13"/>
                    <a:pt x="87" y="19"/>
                    <a:pt x="84" y="19"/>
                  </a:cubicBezTo>
                  <a:cubicBezTo>
                    <a:pt x="81" y="19"/>
                    <a:pt x="84" y="12"/>
                    <a:pt x="82" y="11"/>
                  </a:cubicBezTo>
                  <a:cubicBezTo>
                    <a:pt x="80" y="10"/>
                    <a:pt x="77" y="17"/>
                    <a:pt x="74" y="17"/>
                  </a:cubicBezTo>
                  <a:cubicBezTo>
                    <a:pt x="70" y="16"/>
                    <a:pt x="82" y="10"/>
                    <a:pt x="81" y="5"/>
                  </a:cubicBezTo>
                  <a:cubicBezTo>
                    <a:pt x="80" y="0"/>
                    <a:pt x="74" y="5"/>
                    <a:pt x="71" y="6"/>
                  </a:cubicBezTo>
                  <a:cubicBezTo>
                    <a:pt x="70" y="6"/>
                    <a:pt x="68" y="5"/>
                    <a:pt x="66" y="5"/>
                  </a:cubicBezTo>
                  <a:cubicBezTo>
                    <a:pt x="66" y="6"/>
                    <a:pt x="66" y="6"/>
                    <a:pt x="65" y="7"/>
                  </a:cubicBezTo>
                  <a:cubicBezTo>
                    <a:pt x="62" y="10"/>
                    <a:pt x="57" y="8"/>
                    <a:pt x="57" y="8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48" y="22"/>
                    <a:pt x="43" y="24"/>
                  </a:cubicBezTo>
                  <a:cubicBezTo>
                    <a:pt x="36" y="27"/>
                    <a:pt x="31" y="22"/>
                    <a:pt x="31" y="22"/>
                  </a:cubicBezTo>
                  <a:cubicBezTo>
                    <a:pt x="31" y="22"/>
                    <a:pt x="30" y="27"/>
                    <a:pt x="28" y="29"/>
                  </a:cubicBezTo>
                  <a:cubicBezTo>
                    <a:pt x="26" y="31"/>
                    <a:pt x="17" y="36"/>
                    <a:pt x="17" y="36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0" y="43"/>
                    <a:pt x="6" y="43"/>
                  </a:cubicBezTo>
                  <a:cubicBezTo>
                    <a:pt x="5" y="43"/>
                    <a:pt x="3" y="45"/>
                    <a:pt x="1" y="49"/>
                  </a:cubicBezTo>
                  <a:cubicBezTo>
                    <a:pt x="1" y="50"/>
                    <a:pt x="1" y="52"/>
                    <a:pt x="4" y="52"/>
                  </a:cubicBezTo>
                  <a:cubicBezTo>
                    <a:pt x="10" y="52"/>
                    <a:pt x="19" y="51"/>
                    <a:pt x="22" y="60"/>
                  </a:cubicBezTo>
                  <a:cubicBezTo>
                    <a:pt x="25" y="71"/>
                    <a:pt x="22" y="84"/>
                    <a:pt x="32" y="94"/>
                  </a:cubicBezTo>
                  <a:cubicBezTo>
                    <a:pt x="43" y="103"/>
                    <a:pt x="51" y="108"/>
                    <a:pt x="59" y="103"/>
                  </a:cubicBezTo>
                  <a:cubicBezTo>
                    <a:pt x="67" y="97"/>
                    <a:pt x="71" y="90"/>
                    <a:pt x="83" y="94"/>
                  </a:cubicBezTo>
                  <a:cubicBezTo>
                    <a:pt x="95" y="96"/>
                    <a:pt x="103" y="103"/>
                    <a:pt x="103" y="103"/>
                  </a:cubicBezTo>
                  <a:cubicBezTo>
                    <a:pt x="103" y="103"/>
                    <a:pt x="110" y="91"/>
                    <a:pt x="115" y="90"/>
                  </a:cubicBezTo>
                  <a:cubicBezTo>
                    <a:pt x="121" y="89"/>
                    <a:pt x="125" y="101"/>
                    <a:pt x="125" y="101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4" y="97"/>
                    <a:pt x="150" y="86"/>
                    <a:pt x="155" y="86"/>
                  </a:cubicBezTo>
                  <a:cubicBezTo>
                    <a:pt x="160" y="86"/>
                    <a:pt x="161" y="99"/>
                    <a:pt x="161" y="99"/>
                  </a:cubicBezTo>
                  <a:cubicBezTo>
                    <a:pt x="161" y="99"/>
                    <a:pt x="169" y="97"/>
                    <a:pt x="173" y="97"/>
                  </a:cubicBezTo>
                  <a:cubicBezTo>
                    <a:pt x="177" y="98"/>
                    <a:pt x="177" y="105"/>
                    <a:pt x="177" y="105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01" y="112"/>
                    <a:pt x="201" y="112"/>
                    <a:pt x="201" y="112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12" y="106"/>
                    <a:pt x="212" y="106"/>
                    <a:pt x="212" y="106"/>
                  </a:cubicBezTo>
                  <a:lnTo>
                    <a:pt x="207" y="1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" name="Türkei" descr="© INSCALE GmbH, 05.05.2010&#10;http://www.presentationload.com/">
              <a:extLst>
                <a:ext uri="{FF2B5EF4-FFF2-40B4-BE49-F238E27FC236}">
                  <a16:creationId xmlns:a16="http://schemas.microsoft.com/office/drawing/2014/main" id="{B45B3F96-2873-B042-BF63-AC5FC2A442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39245" y="5128541"/>
              <a:ext cx="2440715" cy="1366405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" name="Li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051CAE99-3A6A-294A-8FCF-1890FAB22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4370" y="6452040"/>
              <a:ext cx="151823" cy="306945"/>
            </a:xfrm>
            <a:custGeom>
              <a:avLst/>
              <a:gdLst/>
              <a:ahLst/>
              <a:cxnLst>
                <a:cxn ang="0">
                  <a:pos x="26" y="106"/>
                </a:cxn>
                <a:cxn ang="0">
                  <a:pos x="37" y="87"/>
                </a:cxn>
                <a:cxn ang="0">
                  <a:pos x="36" y="83"/>
                </a:cxn>
                <a:cxn ang="0">
                  <a:pos x="43" y="75"/>
                </a:cxn>
                <a:cxn ang="0">
                  <a:pos x="29" y="74"/>
                </a:cxn>
                <a:cxn ang="0">
                  <a:pos x="31" y="67"/>
                </a:cxn>
                <a:cxn ang="0">
                  <a:pos x="35" y="64"/>
                </a:cxn>
                <a:cxn ang="0">
                  <a:pos x="54" y="56"/>
                </a:cxn>
                <a:cxn ang="0">
                  <a:pos x="48" y="51"/>
                </a:cxn>
                <a:cxn ang="0">
                  <a:pos x="46" y="47"/>
                </a:cxn>
                <a:cxn ang="0">
                  <a:pos x="58" y="45"/>
                </a:cxn>
                <a:cxn ang="0">
                  <a:pos x="48" y="42"/>
                </a:cxn>
                <a:cxn ang="0">
                  <a:pos x="61" y="27"/>
                </a:cxn>
                <a:cxn ang="0">
                  <a:pos x="48" y="17"/>
                </a:cxn>
                <a:cxn ang="0">
                  <a:pos x="48" y="11"/>
                </a:cxn>
                <a:cxn ang="0">
                  <a:pos x="35" y="10"/>
                </a:cxn>
                <a:cxn ang="0">
                  <a:pos x="38" y="0"/>
                </a:cxn>
                <a:cxn ang="0">
                  <a:pos x="29" y="1"/>
                </a:cxn>
                <a:cxn ang="0">
                  <a:pos x="28" y="6"/>
                </a:cxn>
                <a:cxn ang="0">
                  <a:pos x="20" y="7"/>
                </a:cxn>
                <a:cxn ang="0">
                  <a:pos x="14" y="12"/>
                </a:cxn>
                <a:cxn ang="0">
                  <a:pos x="15" y="20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1" y="38"/>
                </a:cxn>
                <a:cxn ang="0">
                  <a:pos x="2" y="49"/>
                </a:cxn>
                <a:cxn ang="0">
                  <a:pos x="10" y="56"/>
                </a:cxn>
                <a:cxn ang="0">
                  <a:pos x="6" y="63"/>
                </a:cxn>
                <a:cxn ang="0">
                  <a:pos x="3" y="77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3" y="109"/>
                </a:cxn>
                <a:cxn ang="0">
                  <a:pos x="0" y="112"/>
                </a:cxn>
                <a:cxn ang="0">
                  <a:pos x="0" y="115"/>
                </a:cxn>
                <a:cxn ang="0">
                  <a:pos x="3" y="115"/>
                </a:cxn>
                <a:cxn ang="0">
                  <a:pos x="2" y="126"/>
                </a:cxn>
                <a:cxn ang="0">
                  <a:pos x="8" y="125"/>
                </a:cxn>
                <a:cxn ang="0">
                  <a:pos x="12" y="121"/>
                </a:cxn>
                <a:cxn ang="0">
                  <a:pos x="19" y="122"/>
                </a:cxn>
                <a:cxn ang="0">
                  <a:pos x="19" y="112"/>
                </a:cxn>
                <a:cxn ang="0">
                  <a:pos x="19" y="106"/>
                </a:cxn>
                <a:cxn ang="0">
                  <a:pos x="26" y="106"/>
                </a:cxn>
              </a:cxnLst>
              <a:rect l="0" t="0" r="r" b="b"/>
              <a:pathLst>
                <a:path w="63" h="129">
                  <a:moveTo>
                    <a:pt x="26" y="106"/>
                  </a:moveTo>
                  <a:cubicBezTo>
                    <a:pt x="37" y="87"/>
                    <a:pt x="37" y="87"/>
                    <a:pt x="37" y="87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3"/>
                    <a:pt x="43" y="79"/>
                    <a:pt x="43" y="75"/>
                  </a:cubicBezTo>
                  <a:cubicBezTo>
                    <a:pt x="44" y="72"/>
                    <a:pt x="29" y="74"/>
                    <a:pt x="29" y="74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5" y="66"/>
                    <a:pt x="35" y="64"/>
                  </a:cubicBezTo>
                  <a:cubicBezTo>
                    <a:pt x="35" y="61"/>
                    <a:pt x="54" y="56"/>
                    <a:pt x="54" y="56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58" y="32"/>
                    <a:pt x="61" y="27"/>
                  </a:cubicBezTo>
                  <a:cubicBezTo>
                    <a:pt x="63" y="22"/>
                    <a:pt x="48" y="17"/>
                    <a:pt x="48" y="1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9" y="24"/>
                    <a:pt x="6" y="28"/>
                  </a:cubicBezTo>
                  <a:cubicBezTo>
                    <a:pt x="4" y="31"/>
                    <a:pt x="6" y="33"/>
                    <a:pt x="5" y="36"/>
                  </a:cubicBezTo>
                  <a:cubicBezTo>
                    <a:pt x="3" y="38"/>
                    <a:pt x="1" y="38"/>
                    <a:pt x="1" y="3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0" y="52"/>
                    <a:pt x="10" y="56"/>
                  </a:cubicBezTo>
                  <a:cubicBezTo>
                    <a:pt x="10" y="60"/>
                    <a:pt x="6" y="63"/>
                    <a:pt x="6" y="63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5"/>
                    <a:pt x="3" y="115"/>
                    <a:pt x="3" y="115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2" y="126"/>
                    <a:pt x="5" y="126"/>
                    <a:pt x="8" y="125"/>
                  </a:cubicBezTo>
                  <a:cubicBezTo>
                    <a:pt x="10" y="123"/>
                    <a:pt x="12" y="121"/>
                    <a:pt x="12" y="121"/>
                  </a:cubicBezTo>
                  <a:cubicBezTo>
                    <a:pt x="12" y="121"/>
                    <a:pt x="15" y="129"/>
                    <a:pt x="19" y="122"/>
                  </a:cubicBezTo>
                  <a:cubicBezTo>
                    <a:pt x="25" y="115"/>
                    <a:pt x="19" y="112"/>
                    <a:pt x="19" y="112"/>
                  </a:cubicBezTo>
                  <a:cubicBezTo>
                    <a:pt x="19" y="106"/>
                    <a:pt x="19" y="106"/>
                    <a:pt x="19" y="106"/>
                  </a:cubicBezTo>
                  <a:lnTo>
                    <a:pt x="26" y="10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" name="Syrien" descr="© INSCALE GmbH, 05.05.2010&#10;http://www.presentationload.com/">
              <a:extLst>
                <a:ext uri="{FF2B5EF4-FFF2-40B4-BE49-F238E27FC236}">
                  <a16:creationId xmlns:a16="http://schemas.microsoft.com/office/drawing/2014/main" id="{00529286-D76C-1F42-B6E2-D487CC64237A}"/>
                </a:ext>
              </a:extLst>
            </p:cNvPr>
            <p:cNvSpPr>
              <a:spLocks/>
            </p:cNvSpPr>
            <p:nvPr/>
          </p:nvSpPr>
          <p:spPr bwMode="gray">
            <a:xfrm>
              <a:off x="7879910" y="5773786"/>
              <a:ext cx="736010" cy="1028105"/>
            </a:xfrm>
            <a:custGeom>
              <a:avLst/>
              <a:gdLst/>
              <a:ahLst/>
              <a:cxnLst>
                <a:cxn ang="0">
                  <a:pos x="294" y="149"/>
                </a:cxn>
                <a:cxn ang="0">
                  <a:pos x="274" y="96"/>
                </a:cxn>
                <a:cxn ang="0">
                  <a:pos x="287" y="50"/>
                </a:cxn>
                <a:cxn ang="0">
                  <a:pos x="302" y="18"/>
                </a:cxn>
                <a:cxn ang="0">
                  <a:pos x="297" y="1"/>
                </a:cxn>
                <a:cxn ang="0">
                  <a:pos x="262" y="26"/>
                </a:cxn>
                <a:cxn ang="0">
                  <a:pos x="178" y="89"/>
                </a:cxn>
                <a:cxn ang="0">
                  <a:pos x="129" y="111"/>
                </a:cxn>
                <a:cxn ang="0">
                  <a:pos x="81" y="127"/>
                </a:cxn>
                <a:cxn ang="0">
                  <a:pos x="72" y="136"/>
                </a:cxn>
                <a:cxn ang="0">
                  <a:pos x="42" y="142"/>
                </a:cxn>
                <a:cxn ang="0">
                  <a:pos x="22" y="168"/>
                </a:cxn>
                <a:cxn ang="0">
                  <a:pos x="21" y="188"/>
                </a:cxn>
                <a:cxn ang="0">
                  <a:pos x="20" y="218"/>
                </a:cxn>
                <a:cxn ang="0">
                  <a:pos x="0" y="224"/>
                </a:cxn>
                <a:cxn ang="0">
                  <a:pos x="4" y="236"/>
                </a:cxn>
                <a:cxn ang="0">
                  <a:pos x="3" y="243"/>
                </a:cxn>
                <a:cxn ang="0">
                  <a:pos x="16" y="254"/>
                </a:cxn>
                <a:cxn ang="0">
                  <a:pos x="22" y="280"/>
                </a:cxn>
                <a:cxn ang="0">
                  <a:pos x="34" y="297"/>
                </a:cxn>
                <a:cxn ang="0">
                  <a:pos x="51" y="290"/>
                </a:cxn>
                <a:cxn ang="0">
                  <a:pos x="61" y="284"/>
                </a:cxn>
                <a:cxn ang="0">
                  <a:pos x="71" y="295"/>
                </a:cxn>
                <a:cxn ang="0">
                  <a:pos x="84" y="311"/>
                </a:cxn>
                <a:cxn ang="0">
                  <a:pos x="81" y="329"/>
                </a:cxn>
                <a:cxn ang="0">
                  <a:pos x="71" y="335"/>
                </a:cxn>
                <a:cxn ang="0">
                  <a:pos x="58" y="348"/>
                </a:cxn>
                <a:cxn ang="0">
                  <a:pos x="52" y="358"/>
                </a:cxn>
                <a:cxn ang="0">
                  <a:pos x="59" y="367"/>
                </a:cxn>
                <a:cxn ang="0">
                  <a:pos x="49" y="390"/>
                </a:cxn>
                <a:cxn ang="0">
                  <a:pos x="54" y="409"/>
                </a:cxn>
                <a:cxn ang="0">
                  <a:pos x="77" y="419"/>
                </a:cxn>
                <a:cxn ang="0">
                  <a:pos x="93" y="429"/>
                </a:cxn>
                <a:cxn ang="0">
                  <a:pos x="108" y="430"/>
                </a:cxn>
                <a:cxn ang="0">
                  <a:pos x="304" y="206"/>
                </a:cxn>
                <a:cxn ang="0">
                  <a:pos x="305" y="189"/>
                </a:cxn>
                <a:cxn ang="0">
                  <a:pos x="307" y="175"/>
                </a:cxn>
              </a:cxnLst>
              <a:rect l="0" t="0" r="r" b="b"/>
              <a:pathLst>
                <a:path w="308" h="430">
                  <a:moveTo>
                    <a:pt x="307" y="175"/>
                  </a:moveTo>
                  <a:cubicBezTo>
                    <a:pt x="307" y="175"/>
                    <a:pt x="297" y="164"/>
                    <a:pt x="294" y="149"/>
                  </a:cubicBezTo>
                  <a:cubicBezTo>
                    <a:pt x="290" y="133"/>
                    <a:pt x="295" y="121"/>
                    <a:pt x="289" y="113"/>
                  </a:cubicBezTo>
                  <a:cubicBezTo>
                    <a:pt x="285" y="105"/>
                    <a:pt x="278" y="106"/>
                    <a:pt x="274" y="96"/>
                  </a:cubicBezTo>
                  <a:cubicBezTo>
                    <a:pt x="270" y="88"/>
                    <a:pt x="264" y="74"/>
                    <a:pt x="268" y="66"/>
                  </a:cubicBezTo>
                  <a:cubicBezTo>
                    <a:pt x="273" y="60"/>
                    <a:pt x="282" y="62"/>
                    <a:pt x="287" y="50"/>
                  </a:cubicBezTo>
                  <a:cubicBezTo>
                    <a:pt x="294" y="39"/>
                    <a:pt x="296" y="26"/>
                    <a:pt x="296" y="26"/>
                  </a:cubicBezTo>
                  <a:cubicBezTo>
                    <a:pt x="296" y="26"/>
                    <a:pt x="302" y="21"/>
                    <a:pt x="302" y="18"/>
                  </a:cubicBezTo>
                  <a:cubicBezTo>
                    <a:pt x="302" y="14"/>
                    <a:pt x="301" y="5"/>
                    <a:pt x="301" y="5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2" y="17"/>
                    <a:pt x="262" y="26"/>
                  </a:cubicBezTo>
                  <a:cubicBezTo>
                    <a:pt x="242" y="34"/>
                    <a:pt x="222" y="42"/>
                    <a:pt x="222" y="42"/>
                  </a:cubicBezTo>
                  <a:cubicBezTo>
                    <a:pt x="222" y="42"/>
                    <a:pt x="193" y="77"/>
                    <a:pt x="178" y="89"/>
                  </a:cubicBezTo>
                  <a:cubicBezTo>
                    <a:pt x="163" y="100"/>
                    <a:pt x="148" y="102"/>
                    <a:pt x="148" y="102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11" y="101"/>
                    <a:pt x="104" y="106"/>
                  </a:cubicBezTo>
                  <a:cubicBezTo>
                    <a:pt x="95" y="109"/>
                    <a:pt x="81" y="127"/>
                    <a:pt x="81" y="127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2" y="142"/>
                    <a:pt x="42" y="142"/>
                    <a:pt x="42" y="142"/>
                  </a:cubicBezTo>
                  <a:cubicBezTo>
                    <a:pt x="42" y="142"/>
                    <a:pt x="23" y="139"/>
                    <a:pt x="23" y="145"/>
                  </a:cubicBezTo>
                  <a:cubicBezTo>
                    <a:pt x="22" y="152"/>
                    <a:pt x="22" y="168"/>
                    <a:pt x="22" y="168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" y="225"/>
                    <a:pt x="6" y="225"/>
                    <a:pt x="6" y="225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3" y="243"/>
                    <a:pt x="3" y="243"/>
                    <a:pt x="3" y="243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248"/>
                    <a:pt x="12" y="250"/>
                    <a:pt x="16" y="254"/>
                  </a:cubicBezTo>
                  <a:cubicBezTo>
                    <a:pt x="18" y="258"/>
                    <a:pt x="22" y="259"/>
                    <a:pt x="22" y="264"/>
                  </a:cubicBezTo>
                  <a:cubicBezTo>
                    <a:pt x="22" y="280"/>
                    <a:pt x="22" y="280"/>
                    <a:pt x="22" y="280"/>
                  </a:cubicBezTo>
                  <a:cubicBezTo>
                    <a:pt x="28" y="283"/>
                    <a:pt x="28" y="283"/>
                    <a:pt x="28" y="283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1" y="290"/>
                    <a:pt x="51" y="290"/>
                    <a:pt x="51" y="290"/>
                  </a:cubicBezTo>
                  <a:cubicBezTo>
                    <a:pt x="52" y="285"/>
                    <a:pt x="52" y="285"/>
                    <a:pt x="52" y="285"/>
                  </a:cubicBezTo>
                  <a:cubicBezTo>
                    <a:pt x="61" y="284"/>
                    <a:pt x="61" y="284"/>
                    <a:pt x="61" y="284"/>
                  </a:cubicBezTo>
                  <a:cubicBezTo>
                    <a:pt x="58" y="294"/>
                    <a:pt x="58" y="294"/>
                    <a:pt x="58" y="294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86" y="306"/>
                    <a:pt x="84" y="311"/>
                  </a:cubicBezTo>
                  <a:cubicBezTo>
                    <a:pt x="81" y="316"/>
                    <a:pt x="71" y="326"/>
                    <a:pt x="71" y="326"/>
                  </a:cubicBezTo>
                  <a:cubicBezTo>
                    <a:pt x="81" y="329"/>
                    <a:pt x="81" y="329"/>
                    <a:pt x="81" y="329"/>
                  </a:cubicBezTo>
                  <a:cubicBezTo>
                    <a:pt x="69" y="331"/>
                    <a:pt x="69" y="331"/>
                    <a:pt x="69" y="331"/>
                  </a:cubicBezTo>
                  <a:cubicBezTo>
                    <a:pt x="71" y="335"/>
                    <a:pt x="71" y="335"/>
                    <a:pt x="71" y="335"/>
                  </a:cubicBezTo>
                  <a:cubicBezTo>
                    <a:pt x="77" y="340"/>
                    <a:pt x="77" y="340"/>
                    <a:pt x="77" y="340"/>
                  </a:cubicBezTo>
                  <a:cubicBezTo>
                    <a:pt x="77" y="340"/>
                    <a:pt x="58" y="345"/>
                    <a:pt x="58" y="348"/>
                  </a:cubicBezTo>
                  <a:cubicBezTo>
                    <a:pt x="58" y="350"/>
                    <a:pt x="54" y="351"/>
                    <a:pt x="54" y="351"/>
                  </a:cubicBezTo>
                  <a:cubicBezTo>
                    <a:pt x="52" y="358"/>
                    <a:pt x="52" y="358"/>
                    <a:pt x="52" y="358"/>
                  </a:cubicBezTo>
                  <a:cubicBezTo>
                    <a:pt x="52" y="358"/>
                    <a:pt x="67" y="356"/>
                    <a:pt x="66" y="359"/>
                  </a:cubicBezTo>
                  <a:cubicBezTo>
                    <a:pt x="66" y="363"/>
                    <a:pt x="59" y="367"/>
                    <a:pt x="59" y="367"/>
                  </a:cubicBezTo>
                  <a:cubicBezTo>
                    <a:pt x="60" y="371"/>
                    <a:pt x="60" y="371"/>
                    <a:pt x="60" y="371"/>
                  </a:cubicBezTo>
                  <a:cubicBezTo>
                    <a:pt x="49" y="390"/>
                    <a:pt x="49" y="390"/>
                    <a:pt x="49" y="390"/>
                  </a:cubicBezTo>
                  <a:cubicBezTo>
                    <a:pt x="54" y="392"/>
                    <a:pt x="54" y="392"/>
                    <a:pt x="54" y="392"/>
                  </a:cubicBezTo>
                  <a:cubicBezTo>
                    <a:pt x="54" y="409"/>
                    <a:pt x="54" y="409"/>
                    <a:pt x="54" y="409"/>
                  </a:cubicBezTo>
                  <a:cubicBezTo>
                    <a:pt x="64" y="427"/>
                    <a:pt x="64" y="427"/>
                    <a:pt x="64" y="427"/>
                  </a:cubicBezTo>
                  <a:cubicBezTo>
                    <a:pt x="64" y="427"/>
                    <a:pt x="69" y="419"/>
                    <a:pt x="77" y="419"/>
                  </a:cubicBezTo>
                  <a:cubicBezTo>
                    <a:pt x="85" y="420"/>
                    <a:pt x="89" y="429"/>
                    <a:pt x="89" y="429"/>
                  </a:cubicBezTo>
                  <a:cubicBezTo>
                    <a:pt x="93" y="429"/>
                    <a:pt x="93" y="429"/>
                    <a:pt x="93" y="429"/>
                  </a:cubicBezTo>
                  <a:cubicBezTo>
                    <a:pt x="93" y="429"/>
                    <a:pt x="94" y="425"/>
                    <a:pt x="101" y="425"/>
                  </a:cubicBezTo>
                  <a:cubicBezTo>
                    <a:pt x="107" y="426"/>
                    <a:pt x="108" y="430"/>
                    <a:pt x="108" y="430"/>
                  </a:cubicBezTo>
                  <a:cubicBezTo>
                    <a:pt x="135" y="429"/>
                    <a:pt x="135" y="429"/>
                    <a:pt x="135" y="429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6" y="205"/>
                    <a:pt x="306" y="205"/>
                    <a:pt x="306" y="205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7" y="17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8" name="Kasac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11672C6-B181-004B-91A4-67E75729AB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168705" y="2215855"/>
              <a:ext cx="975295" cy="2222884"/>
            </a:xfrm>
            <a:custGeom>
              <a:avLst/>
              <a:gdLst/>
              <a:ahLst/>
              <a:cxnLst>
                <a:cxn ang="0">
                  <a:pos x="291" y="856"/>
                </a:cxn>
                <a:cxn ang="0">
                  <a:pos x="395" y="19"/>
                </a:cxn>
                <a:cxn ang="0">
                  <a:pos x="377" y="43"/>
                </a:cxn>
                <a:cxn ang="0">
                  <a:pos x="362" y="71"/>
                </a:cxn>
                <a:cxn ang="0">
                  <a:pos x="341" y="94"/>
                </a:cxn>
                <a:cxn ang="0">
                  <a:pos x="322" y="113"/>
                </a:cxn>
                <a:cxn ang="0">
                  <a:pos x="342" y="125"/>
                </a:cxn>
                <a:cxn ang="0">
                  <a:pos x="358" y="139"/>
                </a:cxn>
                <a:cxn ang="0">
                  <a:pos x="393" y="125"/>
                </a:cxn>
                <a:cxn ang="0">
                  <a:pos x="372" y="151"/>
                </a:cxn>
                <a:cxn ang="0">
                  <a:pos x="378" y="186"/>
                </a:cxn>
                <a:cxn ang="0">
                  <a:pos x="385" y="211"/>
                </a:cxn>
                <a:cxn ang="0">
                  <a:pos x="398" y="240"/>
                </a:cxn>
                <a:cxn ang="0">
                  <a:pos x="379" y="327"/>
                </a:cxn>
                <a:cxn ang="0">
                  <a:pos x="336" y="337"/>
                </a:cxn>
                <a:cxn ang="0">
                  <a:pos x="318" y="353"/>
                </a:cxn>
                <a:cxn ang="0">
                  <a:pos x="297" y="382"/>
                </a:cxn>
                <a:cxn ang="0">
                  <a:pos x="258" y="417"/>
                </a:cxn>
                <a:cxn ang="0">
                  <a:pos x="234" y="423"/>
                </a:cxn>
                <a:cxn ang="0">
                  <a:pos x="239" y="433"/>
                </a:cxn>
                <a:cxn ang="0">
                  <a:pos x="194" y="426"/>
                </a:cxn>
                <a:cxn ang="0">
                  <a:pos x="151" y="437"/>
                </a:cxn>
                <a:cxn ang="0">
                  <a:pos x="116" y="441"/>
                </a:cxn>
                <a:cxn ang="0">
                  <a:pos x="102" y="454"/>
                </a:cxn>
                <a:cxn ang="0">
                  <a:pos x="77" y="471"/>
                </a:cxn>
                <a:cxn ang="0">
                  <a:pos x="65" y="507"/>
                </a:cxn>
                <a:cxn ang="0">
                  <a:pos x="59" y="537"/>
                </a:cxn>
                <a:cxn ang="0">
                  <a:pos x="35" y="572"/>
                </a:cxn>
                <a:cxn ang="0">
                  <a:pos x="67" y="596"/>
                </a:cxn>
                <a:cxn ang="0">
                  <a:pos x="1" y="614"/>
                </a:cxn>
                <a:cxn ang="0">
                  <a:pos x="25" y="685"/>
                </a:cxn>
                <a:cxn ang="0">
                  <a:pos x="60" y="742"/>
                </a:cxn>
                <a:cxn ang="0">
                  <a:pos x="82" y="754"/>
                </a:cxn>
                <a:cxn ang="0">
                  <a:pos x="139" y="754"/>
                </a:cxn>
                <a:cxn ang="0">
                  <a:pos x="166" y="801"/>
                </a:cxn>
                <a:cxn ang="0">
                  <a:pos x="202" y="791"/>
                </a:cxn>
                <a:cxn ang="0">
                  <a:pos x="195" y="782"/>
                </a:cxn>
                <a:cxn ang="0">
                  <a:pos x="209" y="778"/>
                </a:cxn>
                <a:cxn ang="0">
                  <a:pos x="224" y="756"/>
                </a:cxn>
                <a:cxn ang="0">
                  <a:pos x="235" y="733"/>
                </a:cxn>
                <a:cxn ang="0">
                  <a:pos x="266" y="705"/>
                </a:cxn>
                <a:cxn ang="0">
                  <a:pos x="281" y="707"/>
                </a:cxn>
                <a:cxn ang="0">
                  <a:pos x="296" y="707"/>
                </a:cxn>
                <a:cxn ang="0">
                  <a:pos x="309" y="688"/>
                </a:cxn>
                <a:cxn ang="0">
                  <a:pos x="332" y="678"/>
                </a:cxn>
                <a:cxn ang="0">
                  <a:pos x="338" y="696"/>
                </a:cxn>
                <a:cxn ang="0">
                  <a:pos x="352" y="706"/>
                </a:cxn>
                <a:cxn ang="0">
                  <a:pos x="359" y="718"/>
                </a:cxn>
                <a:cxn ang="0">
                  <a:pos x="391" y="756"/>
                </a:cxn>
                <a:cxn ang="0">
                  <a:pos x="331" y="789"/>
                </a:cxn>
                <a:cxn ang="0">
                  <a:pos x="326" y="823"/>
                </a:cxn>
                <a:cxn ang="0">
                  <a:pos x="314" y="838"/>
                </a:cxn>
                <a:cxn ang="0">
                  <a:pos x="328" y="842"/>
                </a:cxn>
                <a:cxn ang="0">
                  <a:pos x="345" y="850"/>
                </a:cxn>
                <a:cxn ang="0">
                  <a:pos x="301" y="879"/>
                </a:cxn>
                <a:cxn ang="0">
                  <a:pos x="385" y="913"/>
                </a:cxn>
                <a:cxn ang="0">
                  <a:pos x="402" y="925"/>
                </a:cxn>
                <a:cxn ang="0">
                  <a:pos x="379" y="327"/>
                </a:cxn>
              </a:cxnLst>
              <a:rect l="0" t="0" r="r" b="b"/>
              <a:pathLst>
                <a:path w="408" h="931">
                  <a:moveTo>
                    <a:pt x="290" y="844"/>
                  </a:moveTo>
                  <a:cubicBezTo>
                    <a:pt x="285" y="844"/>
                    <a:pt x="285" y="844"/>
                    <a:pt x="285" y="844"/>
                  </a:cubicBezTo>
                  <a:cubicBezTo>
                    <a:pt x="287" y="851"/>
                    <a:pt x="287" y="851"/>
                    <a:pt x="287" y="851"/>
                  </a:cubicBezTo>
                  <a:cubicBezTo>
                    <a:pt x="291" y="856"/>
                    <a:pt x="291" y="856"/>
                    <a:pt x="291" y="856"/>
                  </a:cubicBezTo>
                  <a:cubicBezTo>
                    <a:pt x="293" y="855"/>
                    <a:pt x="293" y="855"/>
                    <a:pt x="293" y="855"/>
                  </a:cubicBezTo>
                  <a:cubicBezTo>
                    <a:pt x="291" y="851"/>
                    <a:pt x="291" y="851"/>
                    <a:pt x="291" y="851"/>
                  </a:cubicBezTo>
                  <a:lnTo>
                    <a:pt x="290" y="844"/>
                  </a:lnTo>
                  <a:close/>
                  <a:moveTo>
                    <a:pt x="395" y="19"/>
                  </a:moveTo>
                  <a:cubicBezTo>
                    <a:pt x="395" y="19"/>
                    <a:pt x="400" y="22"/>
                    <a:pt x="398" y="25"/>
                  </a:cubicBezTo>
                  <a:cubicBezTo>
                    <a:pt x="397" y="28"/>
                    <a:pt x="391" y="28"/>
                    <a:pt x="391" y="28"/>
                  </a:cubicBezTo>
                  <a:cubicBezTo>
                    <a:pt x="385" y="40"/>
                    <a:pt x="385" y="40"/>
                    <a:pt x="385" y="40"/>
                  </a:cubicBezTo>
                  <a:cubicBezTo>
                    <a:pt x="377" y="43"/>
                    <a:pt x="377" y="43"/>
                    <a:pt x="377" y="43"/>
                  </a:cubicBezTo>
                  <a:cubicBezTo>
                    <a:pt x="381" y="50"/>
                    <a:pt x="381" y="50"/>
                    <a:pt x="381" y="50"/>
                  </a:cubicBezTo>
                  <a:cubicBezTo>
                    <a:pt x="366" y="63"/>
                    <a:pt x="366" y="63"/>
                    <a:pt x="366" y="63"/>
                  </a:cubicBezTo>
                  <a:cubicBezTo>
                    <a:pt x="366" y="63"/>
                    <a:pt x="376" y="75"/>
                    <a:pt x="371" y="77"/>
                  </a:cubicBezTo>
                  <a:cubicBezTo>
                    <a:pt x="365" y="80"/>
                    <a:pt x="362" y="71"/>
                    <a:pt x="362" y="7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2" y="90"/>
                    <a:pt x="352" y="90"/>
                    <a:pt x="352" y="90"/>
                  </a:cubicBezTo>
                  <a:cubicBezTo>
                    <a:pt x="343" y="88"/>
                    <a:pt x="343" y="88"/>
                    <a:pt x="343" y="88"/>
                  </a:cubicBezTo>
                  <a:cubicBezTo>
                    <a:pt x="341" y="94"/>
                    <a:pt x="341" y="94"/>
                    <a:pt x="341" y="94"/>
                  </a:cubicBezTo>
                  <a:cubicBezTo>
                    <a:pt x="328" y="94"/>
                    <a:pt x="328" y="94"/>
                    <a:pt x="328" y="94"/>
                  </a:cubicBezTo>
                  <a:cubicBezTo>
                    <a:pt x="327" y="102"/>
                    <a:pt x="327" y="102"/>
                    <a:pt x="327" y="102"/>
                  </a:cubicBezTo>
                  <a:cubicBezTo>
                    <a:pt x="331" y="104"/>
                    <a:pt x="331" y="104"/>
                    <a:pt x="331" y="104"/>
                  </a:cubicBezTo>
                  <a:cubicBezTo>
                    <a:pt x="322" y="113"/>
                    <a:pt x="322" y="113"/>
                    <a:pt x="322" y="113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6" y="123"/>
                    <a:pt x="336" y="123"/>
                    <a:pt x="336" y="123"/>
                  </a:cubicBezTo>
                  <a:cubicBezTo>
                    <a:pt x="333" y="129"/>
                    <a:pt x="333" y="129"/>
                    <a:pt x="333" y="129"/>
                  </a:cubicBezTo>
                  <a:cubicBezTo>
                    <a:pt x="342" y="125"/>
                    <a:pt x="342" y="125"/>
                    <a:pt x="342" y="125"/>
                  </a:cubicBezTo>
                  <a:cubicBezTo>
                    <a:pt x="348" y="126"/>
                    <a:pt x="348" y="126"/>
                    <a:pt x="348" y="126"/>
                  </a:cubicBezTo>
                  <a:cubicBezTo>
                    <a:pt x="348" y="126"/>
                    <a:pt x="354" y="114"/>
                    <a:pt x="359" y="118"/>
                  </a:cubicBezTo>
                  <a:cubicBezTo>
                    <a:pt x="364" y="121"/>
                    <a:pt x="354" y="126"/>
                    <a:pt x="354" y="126"/>
                  </a:cubicBezTo>
                  <a:cubicBezTo>
                    <a:pt x="358" y="139"/>
                    <a:pt x="358" y="139"/>
                    <a:pt x="358" y="139"/>
                  </a:cubicBezTo>
                  <a:cubicBezTo>
                    <a:pt x="374" y="134"/>
                    <a:pt x="374" y="134"/>
                    <a:pt x="374" y="134"/>
                  </a:cubicBezTo>
                  <a:cubicBezTo>
                    <a:pt x="373" y="130"/>
                    <a:pt x="373" y="130"/>
                    <a:pt x="373" y="130"/>
                  </a:cubicBezTo>
                  <a:cubicBezTo>
                    <a:pt x="373" y="130"/>
                    <a:pt x="379" y="130"/>
                    <a:pt x="382" y="129"/>
                  </a:cubicBezTo>
                  <a:cubicBezTo>
                    <a:pt x="387" y="127"/>
                    <a:pt x="389" y="121"/>
                    <a:pt x="393" y="125"/>
                  </a:cubicBezTo>
                  <a:cubicBezTo>
                    <a:pt x="398" y="129"/>
                    <a:pt x="400" y="132"/>
                    <a:pt x="396" y="134"/>
                  </a:cubicBezTo>
                  <a:cubicBezTo>
                    <a:pt x="392" y="136"/>
                    <a:pt x="386" y="145"/>
                    <a:pt x="386" y="145"/>
                  </a:cubicBezTo>
                  <a:cubicBezTo>
                    <a:pt x="377" y="146"/>
                    <a:pt x="377" y="146"/>
                    <a:pt x="377" y="146"/>
                  </a:cubicBezTo>
                  <a:cubicBezTo>
                    <a:pt x="372" y="151"/>
                    <a:pt x="372" y="151"/>
                    <a:pt x="372" y="151"/>
                  </a:cubicBezTo>
                  <a:cubicBezTo>
                    <a:pt x="361" y="159"/>
                    <a:pt x="361" y="159"/>
                    <a:pt x="361" y="159"/>
                  </a:cubicBezTo>
                  <a:cubicBezTo>
                    <a:pt x="361" y="159"/>
                    <a:pt x="367" y="161"/>
                    <a:pt x="367" y="162"/>
                  </a:cubicBezTo>
                  <a:cubicBezTo>
                    <a:pt x="367" y="164"/>
                    <a:pt x="364" y="181"/>
                    <a:pt x="364" y="181"/>
                  </a:cubicBezTo>
                  <a:cubicBezTo>
                    <a:pt x="378" y="186"/>
                    <a:pt x="378" y="186"/>
                    <a:pt x="378" y="186"/>
                  </a:cubicBezTo>
                  <a:cubicBezTo>
                    <a:pt x="383" y="184"/>
                    <a:pt x="383" y="184"/>
                    <a:pt x="383" y="184"/>
                  </a:cubicBezTo>
                  <a:cubicBezTo>
                    <a:pt x="393" y="187"/>
                    <a:pt x="393" y="187"/>
                    <a:pt x="393" y="187"/>
                  </a:cubicBezTo>
                  <a:cubicBezTo>
                    <a:pt x="391" y="209"/>
                    <a:pt x="391" y="209"/>
                    <a:pt x="391" y="209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77" y="234"/>
                    <a:pt x="377" y="234"/>
                    <a:pt x="377" y="234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80" y="239"/>
                    <a:pt x="396" y="229"/>
                    <a:pt x="398" y="232"/>
                  </a:cubicBezTo>
                  <a:cubicBezTo>
                    <a:pt x="402" y="236"/>
                    <a:pt x="398" y="240"/>
                    <a:pt x="398" y="240"/>
                  </a:cubicBezTo>
                  <a:cubicBezTo>
                    <a:pt x="408" y="239"/>
                    <a:pt x="408" y="239"/>
                    <a:pt x="408" y="23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395" y="19"/>
                  </a:lnTo>
                  <a:close/>
                  <a:moveTo>
                    <a:pt x="379" y="327"/>
                  </a:moveTo>
                  <a:cubicBezTo>
                    <a:pt x="370" y="322"/>
                    <a:pt x="370" y="316"/>
                    <a:pt x="364" y="316"/>
                  </a:cubicBezTo>
                  <a:cubicBezTo>
                    <a:pt x="359" y="318"/>
                    <a:pt x="354" y="319"/>
                    <a:pt x="354" y="319"/>
                  </a:cubicBezTo>
                  <a:cubicBezTo>
                    <a:pt x="354" y="319"/>
                    <a:pt x="358" y="326"/>
                    <a:pt x="355" y="328"/>
                  </a:cubicBezTo>
                  <a:cubicBezTo>
                    <a:pt x="353" y="330"/>
                    <a:pt x="336" y="337"/>
                    <a:pt x="336" y="337"/>
                  </a:cubicBezTo>
                  <a:cubicBezTo>
                    <a:pt x="345" y="346"/>
                    <a:pt x="345" y="346"/>
                    <a:pt x="345" y="346"/>
                  </a:cubicBezTo>
                  <a:cubicBezTo>
                    <a:pt x="345" y="346"/>
                    <a:pt x="338" y="346"/>
                    <a:pt x="337" y="347"/>
                  </a:cubicBezTo>
                  <a:cubicBezTo>
                    <a:pt x="336" y="350"/>
                    <a:pt x="340" y="354"/>
                    <a:pt x="337" y="356"/>
                  </a:cubicBezTo>
                  <a:cubicBezTo>
                    <a:pt x="332" y="358"/>
                    <a:pt x="318" y="353"/>
                    <a:pt x="318" y="353"/>
                  </a:cubicBezTo>
                  <a:cubicBezTo>
                    <a:pt x="306" y="362"/>
                    <a:pt x="306" y="362"/>
                    <a:pt x="306" y="362"/>
                  </a:cubicBezTo>
                  <a:cubicBezTo>
                    <a:pt x="306" y="362"/>
                    <a:pt x="311" y="370"/>
                    <a:pt x="307" y="371"/>
                  </a:cubicBezTo>
                  <a:cubicBezTo>
                    <a:pt x="303" y="371"/>
                    <a:pt x="296" y="367"/>
                    <a:pt x="296" y="367"/>
                  </a:cubicBezTo>
                  <a:cubicBezTo>
                    <a:pt x="297" y="382"/>
                    <a:pt x="297" y="382"/>
                    <a:pt x="297" y="382"/>
                  </a:cubicBezTo>
                  <a:cubicBezTo>
                    <a:pt x="292" y="384"/>
                    <a:pt x="292" y="384"/>
                    <a:pt x="292" y="384"/>
                  </a:cubicBezTo>
                  <a:cubicBezTo>
                    <a:pt x="292" y="384"/>
                    <a:pt x="298" y="390"/>
                    <a:pt x="296" y="397"/>
                  </a:cubicBezTo>
                  <a:cubicBezTo>
                    <a:pt x="294" y="402"/>
                    <a:pt x="290" y="414"/>
                    <a:pt x="290" y="414"/>
                  </a:cubicBezTo>
                  <a:cubicBezTo>
                    <a:pt x="258" y="417"/>
                    <a:pt x="258" y="417"/>
                    <a:pt x="258" y="417"/>
                  </a:cubicBezTo>
                  <a:cubicBezTo>
                    <a:pt x="258" y="417"/>
                    <a:pt x="258" y="414"/>
                    <a:pt x="255" y="413"/>
                  </a:cubicBezTo>
                  <a:cubicBezTo>
                    <a:pt x="251" y="413"/>
                    <a:pt x="248" y="415"/>
                    <a:pt x="248" y="415"/>
                  </a:cubicBezTo>
                  <a:cubicBezTo>
                    <a:pt x="248" y="415"/>
                    <a:pt x="236" y="410"/>
                    <a:pt x="234" y="415"/>
                  </a:cubicBezTo>
                  <a:cubicBezTo>
                    <a:pt x="232" y="419"/>
                    <a:pt x="232" y="422"/>
                    <a:pt x="234" y="423"/>
                  </a:cubicBezTo>
                  <a:cubicBezTo>
                    <a:pt x="238" y="423"/>
                    <a:pt x="243" y="422"/>
                    <a:pt x="245" y="428"/>
                  </a:cubicBezTo>
                  <a:cubicBezTo>
                    <a:pt x="247" y="432"/>
                    <a:pt x="255" y="432"/>
                    <a:pt x="254" y="436"/>
                  </a:cubicBezTo>
                  <a:cubicBezTo>
                    <a:pt x="252" y="440"/>
                    <a:pt x="251" y="448"/>
                    <a:pt x="246" y="445"/>
                  </a:cubicBezTo>
                  <a:cubicBezTo>
                    <a:pt x="242" y="442"/>
                    <a:pt x="239" y="436"/>
                    <a:pt x="239" y="433"/>
                  </a:cubicBezTo>
                  <a:cubicBezTo>
                    <a:pt x="239" y="429"/>
                    <a:pt x="238" y="428"/>
                    <a:pt x="232" y="428"/>
                  </a:cubicBezTo>
                  <a:cubicBezTo>
                    <a:pt x="227" y="428"/>
                    <a:pt x="221" y="429"/>
                    <a:pt x="215" y="424"/>
                  </a:cubicBezTo>
                  <a:cubicBezTo>
                    <a:pt x="210" y="420"/>
                    <a:pt x="205" y="419"/>
                    <a:pt x="202" y="422"/>
                  </a:cubicBezTo>
                  <a:cubicBezTo>
                    <a:pt x="199" y="426"/>
                    <a:pt x="198" y="428"/>
                    <a:pt x="194" y="426"/>
                  </a:cubicBezTo>
                  <a:cubicBezTo>
                    <a:pt x="189" y="425"/>
                    <a:pt x="191" y="417"/>
                    <a:pt x="182" y="418"/>
                  </a:cubicBezTo>
                  <a:cubicBezTo>
                    <a:pt x="174" y="419"/>
                    <a:pt x="161" y="431"/>
                    <a:pt x="161" y="431"/>
                  </a:cubicBezTo>
                  <a:cubicBezTo>
                    <a:pt x="153" y="431"/>
                    <a:pt x="153" y="431"/>
                    <a:pt x="153" y="431"/>
                  </a:cubicBezTo>
                  <a:cubicBezTo>
                    <a:pt x="153" y="431"/>
                    <a:pt x="157" y="437"/>
                    <a:pt x="151" y="437"/>
                  </a:cubicBezTo>
                  <a:cubicBezTo>
                    <a:pt x="145" y="438"/>
                    <a:pt x="129" y="428"/>
                    <a:pt x="129" y="428"/>
                  </a:cubicBezTo>
                  <a:cubicBezTo>
                    <a:pt x="125" y="430"/>
                    <a:pt x="125" y="430"/>
                    <a:pt x="125" y="430"/>
                  </a:cubicBezTo>
                  <a:cubicBezTo>
                    <a:pt x="127" y="437"/>
                    <a:pt x="127" y="437"/>
                    <a:pt x="127" y="437"/>
                  </a:cubicBezTo>
                  <a:cubicBezTo>
                    <a:pt x="127" y="437"/>
                    <a:pt x="118" y="437"/>
                    <a:pt x="116" y="441"/>
                  </a:cubicBezTo>
                  <a:cubicBezTo>
                    <a:pt x="114" y="446"/>
                    <a:pt x="123" y="452"/>
                    <a:pt x="119" y="454"/>
                  </a:cubicBezTo>
                  <a:cubicBezTo>
                    <a:pt x="116" y="456"/>
                    <a:pt x="111" y="455"/>
                    <a:pt x="111" y="455"/>
                  </a:cubicBezTo>
                  <a:cubicBezTo>
                    <a:pt x="111" y="455"/>
                    <a:pt x="110" y="468"/>
                    <a:pt x="104" y="466"/>
                  </a:cubicBezTo>
                  <a:cubicBezTo>
                    <a:pt x="99" y="465"/>
                    <a:pt x="105" y="455"/>
                    <a:pt x="102" y="454"/>
                  </a:cubicBezTo>
                  <a:cubicBezTo>
                    <a:pt x="99" y="453"/>
                    <a:pt x="88" y="460"/>
                    <a:pt x="88" y="460"/>
                  </a:cubicBezTo>
                  <a:cubicBezTo>
                    <a:pt x="77" y="460"/>
                    <a:pt x="77" y="460"/>
                    <a:pt x="77" y="460"/>
                  </a:cubicBezTo>
                  <a:cubicBezTo>
                    <a:pt x="84" y="466"/>
                    <a:pt x="84" y="466"/>
                    <a:pt x="84" y="466"/>
                  </a:cubicBezTo>
                  <a:cubicBezTo>
                    <a:pt x="84" y="466"/>
                    <a:pt x="79" y="469"/>
                    <a:pt x="77" y="471"/>
                  </a:cubicBezTo>
                  <a:cubicBezTo>
                    <a:pt x="75" y="473"/>
                    <a:pt x="80" y="480"/>
                    <a:pt x="80" y="482"/>
                  </a:cubicBezTo>
                  <a:cubicBezTo>
                    <a:pt x="80" y="485"/>
                    <a:pt x="70" y="487"/>
                    <a:pt x="71" y="489"/>
                  </a:cubicBezTo>
                  <a:cubicBezTo>
                    <a:pt x="72" y="493"/>
                    <a:pt x="79" y="492"/>
                    <a:pt x="78" y="496"/>
                  </a:cubicBezTo>
                  <a:cubicBezTo>
                    <a:pt x="78" y="499"/>
                    <a:pt x="65" y="507"/>
                    <a:pt x="65" y="507"/>
                  </a:cubicBezTo>
                  <a:cubicBezTo>
                    <a:pt x="59" y="518"/>
                    <a:pt x="59" y="518"/>
                    <a:pt x="59" y="518"/>
                  </a:cubicBezTo>
                  <a:cubicBezTo>
                    <a:pt x="49" y="524"/>
                    <a:pt x="49" y="524"/>
                    <a:pt x="49" y="524"/>
                  </a:cubicBezTo>
                  <a:cubicBezTo>
                    <a:pt x="51" y="534"/>
                    <a:pt x="51" y="534"/>
                    <a:pt x="51" y="534"/>
                  </a:cubicBezTo>
                  <a:cubicBezTo>
                    <a:pt x="51" y="534"/>
                    <a:pt x="61" y="533"/>
                    <a:pt x="59" y="537"/>
                  </a:cubicBezTo>
                  <a:cubicBezTo>
                    <a:pt x="58" y="543"/>
                    <a:pt x="51" y="548"/>
                    <a:pt x="51" y="548"/>
                  </a:cubicBezTo>
                  <a:cubicBezTo>
                    <a:pt x="51" y="548"/>
                    <a:pt x="53" y="564"/>
                    <a:pt x="47" y="565"/>
                  </a:cubicBezTo>
                  <a:cubicBezTo>
                    <a:pt x="41" y="566"/>
                    <a:pt x="36" y="568"/>
                    <a:pt x="36" y="568"/>
                  </a:cubicBezTo>
                  <a:cubicBezTo>
                    <a:pt x="35" y="572"/>
                    <a:pt x="35" y="572"/>
                    <a:pt x="35" y="572"/>
                  </a:cubicBezTo>
                  <a:cubicBezTo>
                    <a:pt x="39" y="572"/>
                    <a:pt x="39" y="572"/>
                    <a:pt x="39" y="572"/>
                  </a:cubicBezTo>
                  <a:cubicBezTo>
                    <a:pt x="39" y="572"/>
                    <a:pt x="49" y="584"/>
                    <a:pt x="53" y="588"/>
                  </a:cubicBezTo>
                  <a:cubicBezTo>
                    <a:pt x="58" y="590"/>
                    <a:pt x="61" y="595"/>
                    <a:pt x="61" y="595"/>
                  </a:cubicBezTo>
                  <a:cubicBezTo>
                    <a:pt x="61" y="595"/>
                    <a:pt x="68" y="587"/>
                    <a:pt x="67" y="596"/>
                  </a:cubicBezTo>
                  <a:cubicBezTo>
                    <a:pt x="66" y="606"/>
                    <a:pt x="60" y="620"/>
                    <a:pt x="54" y="620"/>
                  </a:cubicBezTo>
                  <a:cubicBezTo>
                    <a:pt x="48" y="620"/>
                    <a:pt x="41" y="621"/>
                    <a:pt x="37" y="614"/>
                  </a:cubicBezTo>
                  <a:cubicBezTo>
                    <a:pt x="34" y="609"/>
                    <a:pt x="22" y="600"/>
                    <a:pt x="14" y="600"/>
                  </a:cubicBezTo>
                  <a:cubicBezTo>
                    <a:pt x="4" y="600"/>
                    <a:pt x="0" y="607"/>
                    <a:pt x="1" y="614"/>
                  </a:cubicBezTo>
                  <a:cubicBezTo>
                    <a:pt x="1" y="622"/>
                    <a:pt x="10" y="623"/>
                    <a:pt x="9" y="628"/>
                  </a:cubicBezTo>
                  <a:cubicBezTo>
                    <a:pt x="0" y="643"/>
                    <a:pt x="0" y="643"/>
                    <a:pt x="0" y="643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22" y="676"/>
                    <a:pt x="25" y="685"/>
                  </a:cubicBezTo>
                  <a:cubicBezTo>
                    <a:pt x="28" y="693"/>
                    <a:pt x="22" y="703"/>
                    <a:pt x="22" y="703"/>
                  </a:cubicBezTo>
                  <a:cubicBezTo>
                    <a:pt x="28" y="742"/>
                    <a:pt x="28" y="742"/>
                    <a:pt x="28" y="742"/>
                  </a:cubicBezTo>
                  <a:cubicBezTo>
                    <a:pt x="57" y="736"/>
                    <a:pt x="57" y="736"/>
                    <a:pt x="57" y="736"/>
                  </a:cubicBezTo>
                  <a:cubicBezTo>
                    <a:pt x="57" y="736"/>
                    <a:pt x="57" y="740"/>
                    <a:pt x="60" y="742"/>
                  </a:cubicBezTo>
                  <a:cubicBezTo>
                    <a:pt x="62" y="745"/>
                    <a:pt x="67" y="747"/>
                    <a:pt x="65" y="750"/>
                  </a:cubicBezTo>
                  <a:cubicBezTo>
                    <a:pt x="64" y="752"/>
                    <a:pt x="63" y="759"/>
                    <a:pt x="68" y="760"/>
                  </a:cubicBezTo>
                  <a:cubicBezTo>
                    <a:pt x="74" y="762"/>
                    <a:pt x="86" y="762"/>
                    <a:pt x="86" y="762"/>
                  </a:cubicBezTo>
                  <a:cubicBezTo>
                    <a:pt x="82" y="754"/>
                    <a:pt x="82" y="754"/>
                    <a:pt x="82" y="754"/>
                  </a:cubicBezTo>
                  <a:cubicBezTo>
                    <a:pt x="82" y="754"/>
                    <a:pt x="87" y="755"/>
                    <a:pt x="94" y="753"/>
                  </a:cubicBezTo>
                  <a:cubicBezTo>
                    <a:pt x="101" y="751"/>
                    <a:pt x="98" y="739"/>
                    <a:pt x="108" y="742"/>
                  </a:cubicBezTo>
                  <a:cubicBezTo>
                    <a:pt x="117" y="745"/>
                    <a:pt x="118" y="756"/>
                    <a:pt x="125" y="756"/>
                  </a:cubicBezTo>
                  <a:cubicBezTo>
                    <a:pt x="132" y="756"/>
                    <a:pt x="133" y="752"/>
                    <a:pt x="139" y="754"/>
                  </a:cubicBezTo>
                  <a:cubicBezTo>
                    <a:pt x="144" y="757"/>
                    <a:pt x="149" y="768"/>
                    <a:pt x="157" y="770"/>
                  </a:cubicBezTo>
                  <a:cubicBezTo>
                    <a:pt x="164" y="772"/>
                    <a:pt x="183" y="779"/>
                    <a:pt x="178" y="784"/>
                  </a:cubicBezTo>
                  <a:cubicBezTo>
                    <a:pt x="174" y="788"/>
                    <a:pt x="164" y="782"/>
                    <a:pt x="160" y="787"/>
                  </a:cubicBezTo>
                  <a:cubicBezTo>
                    <a:pt x="156" y="794"/>
                    <a:pt x="157" y="800"/>
                    <a:pt x="166" y="801"/>
                  </a:cubicBezTo>
                  <a:cubicBezTo>
                    <a:pt x="177" y="802"/>
                    <a:pt x="200" y="798"/>
                    <a:pt x="200" y="798"/>
                  </a:cubicBezTo>
                  <a:cubicBezTo>
                    <a:pt x="199" y="794"/>
                    <a:pt x="199" y="794"/>
                    <a:pt x="199" y="794"/>
                  </a:cubicBezTo>
                  <a:cubicBezTo>
                    <a:pt x="196" y="793"/>
                    <a:pt x="196" y="793"/>
                    <a:pt x="196" y="793"/>
                  </a:cubicBezTo>
                  <a:cubicBezTo>
                    <a:pt x="202" y="791"/>
                    <a:pt x="202" y="791"/>
                    <a:pt x="202" y="791"/>
                  </a:cubicBezTo>
                  <a:cubicBezTo>
                    <a:pt x="202" y="788"/>
                    <a:pt x="202" y="788"/>
                    <a:pt x="202" y="788"/>
                  </a:cubicBezTo>
                  <a:cubicBezTo>
                    <a:pt x="198" y="789"/>
                    <a:pt x="198" y="789"/>
                    <a:pt x="198" y="789"/>
                  </a:cubicBezTo>
                  <a:cubicBezTo>
                    <a:pt x="198" y="785"/>
                    <a:pt x="198" y="785"/>
                    <a:pt x="198" y="785"/>
                  </a:cubicBezTo>
                  <a:cubicBezTo>
                    <a:pt x="195" y="782"/>
                    <a:pt x="195" y="782"/>
                    <a:pt x="195" y="782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5" y="779"/>
                    <a:pt x="205" y="779"/>
                    <a:pt x="205" y="779"/>
                  </a:cubicBezTo>
                  <a:cubicBezTo>
                    <a:pt x="209" y="784"/>
                    <a:pt x="209" y="784"/>
                    <a:pt x="209" y="784"/>
                  </a:cubicBezTo>
                  <a:cubicBezTo>
                    <a:pt x="209" y="778"/>
                    <a:pt x="209" y="778"/>
                    <a:pt x="209" y="778"/>
                  </a:cubicBezTo>
                  <a:cubicBezTo>
                    <a:pt x="209" y="778"/>
                    <a:pt x="212" y="780"/>
                    <a:pt x="215" y="775"/>
                  </a:cubicBezTo>
                  <a:cubicBezTo>
                    <a:pt x="219" y="770"/>
                    <a:pt x="218" y="765"/>
                    <a:pt x="218" y="765"/>
                  </a:cubicBezTo>
                  <a:cubicBezTo>
                    <a:pt x="218" y="765"/>
                    <a:pt x="222" y="768"/>
                    <a:pt x="223" y="765"/>
                  </a:cubicBezTo>
                  <a:cubicBezTo>
                    <a:pt x="225" y="763"/>
                    <a:pt x="224" y="756"/>
                    <a:pt x="224" y="756"/>
                  </a:cubicBezTo>
                  <a:cubicBezTo>
                    <a:pt x="228" y="754"/>
                    <a:pt x="228" y="754"/>
                    <a:pt x="228" y="754"/>
                  </a:cubicBezTo>
                  <a:cubicBezTo>
                    <a:pt x="228" y="740"/>
                    <a:pt x="228" y="740"/>
                    <a:pt x="228" y="740"/>
                  </a:cubicBezTo>
                  <a:cubicBezTo>
                    <a:pt x="236" y="740"/>
                    <a:pt x="236" y="740"/>
                    <a:pt x="236" y="740"/>
                  </a:cubicBezTo>
                  <a:cubicBezTo>
                    <a:pt x="235" y="733"/>
                    <a:pt x="235" y="733"/>
                    <a:pt x="235" y="733"/>
                  </a:cubicBezTo>
                  <a:cubicBezTo>
                    <a:pt x="243" y="732"/>
                    <a:pt x="243" y="732"/>
                    <a:pt x="243" y="732"/>
                  </a:cubicBezTo>
                  <a:cubicBezTo>
                    <a:pt x="243" y="732"/>
                    <a:pt x="239" y="722"/>
                    <a:pt x="247" y="714"/>
                  </a:cubicBezTo>
                  <a:cubicBezTo>
                    <a:pt x="256" y="705"/>
                    <a:pt x="262" y="707"/>
                    <a:pt x="262" y="707"/>
                  </a:cubicBezTo>
                  <a:cubicBezTo>
                    <a:pt x="266" y="705"/>
                    <a:pt x="266" y="705"/>
                    <a:pt x="266" y="705"/>
                  </a:cubicBezTo>
                  <a:cubicBezTo>
                    <a:pt x="268" y="707"/>
                    <a:pt x="268" y="707"/>
                    <a:pt x="268" y="707"/>
                  </a:cubicBezTo>
                  <a:cubicBezTo>
                    <a:pt x="270" y="703"/>
                    <a:pt x="270" y="703"/>
                    <a:pt x="270" y="703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81" y="707"/>
                    <a:pt x="281" y="707"/>
                    <a:pt x="281" y="707"/>
                  </a:cubicBezTo>
                  <a:cubicBezTo>
                    <a:pt x="283" y="702"/>
                    <a:pt x="283" y="702"/>
                    <a:pt x="283" y="702"/>
                  </a:cubicBezTo>
                  <a:cubicBezTo>
                    <a:pt x="285" y="708"/>
                    <a:pt x="285" y="708"/>
                    <a:pt x="285" y="708"/>
                  </a:cubicBezTo>
                  <a:cubicBezTo>
                    <a:pt x="290" y="703"/>
                    <a:pt x="290" y="703"/>
                    <a:pt x="290" y="703"/>
                  </a:cubicBezTo>
                  <a:cubicBezTo>
                    <a:pt x="290" y="703"/>
                    <a:pt x="293" y="708"/>
                    <a:pt x="296" y="707"/>
                  </a:cubicBezTo>
                  <a:cubicBezTo>
                    <a:pt x="299" y="706"/>
                    <a:pt x="298" y="699"/>
                    <a:pt x="298" y="699"/>
                  </a:cubicBezTo>
                  <a:cubicBezTo>
                    <a:pt x="304" y="696"/>
                    <a:pt x="304" y="696"/>
                    <a:pt x="304" y="696"/>
                  </a:cubicBezTo>
                  <a:cubicBezTo>
                    <a:pt x="304" y="696"/>
                    <a:pt x="301" y="687"/>
                    <a:pt x="304" y="685"/>
                  </a:cubicBezTo>
                  <a:cubicBezTo>
                    <a:pt x="307" y="683"/>
                    <a:pt x="309" y="688"/>
                    <a:pt x="309" y="688"/>
                  </a:cubicBezTo>
                  <a:cubicBezTo>
                    <a:pt x="318" y="683"/>
                    <a:pt x="318" y="683"/>
                    <a:pt x="318" y="683"/>
                  </a:cubicBezTo>
                  <a:cubicBezTo>
                    <a:pt x="318" y="683"/>
                    <a:pt x="318" y="677"/>
                    <a:pt x="322" y="677"/>
                  </a:cubicBezTo>
                  <a:cubicBezTo>
                    <a:pt x="326" y="677"/>
                    <a:pt x="326" y="679"/>
                    <a:pt x="326" y="679"/>
                  </a:cubicBezTo>
                  <a:cubicBezTo>
                    <a:pt x="332" y="678"/>
                    <a:pt x="332" y="678"/>
                    <a:pt x="332" y="678"/>
                  </a:cubicBezTo>
                  <a:cubicBezTo>
                    <a:pt x="332" y="678"/>
                    <a:pt x="333" y="684"/>
                    <a:pt x="337" y="685"/>
                  </a:cubicBezTo>
                  <a:cubicBezTo>
                    <a:pt x="340" y="685"/>
                    <a:pt x="345" y="682"/>
                    <a:pt x="345" y="685"/>
                  </a:cubicBezTo>
                  <a:cubicBezTo>
                    <a:pt x="345" y="689"/>
                    <a:pt x="337" y="691"/>
                    <a:pt x="337" y="691"/>
                  </a:cubicBezTo>
                  <a:cubicBezTo>
                    <a:pt x="338" y="696"/>
                    <a:pt x="338" y="696"/>
                    <a:pt x="338" y="696"/>
                  </a:cubicBezTo>
                  <a:cubicBezTo>
                    <a:pt x="341" y="694"/>
                    <a:pt x="341" y="694"/>
                    <a:pt x="341" y="694"/>
                  </a:cubicBezTo>
                  <a:cubicBezTo>
                    <a:pt x="342" y="701"/>
                    <a:pt x="342" y="701"/>
                    <a:pt x="342" y="701"/>
                  </a:cubicBezTo>
                  <a:cubicBezTo>
                    <a:pt x="352" y="703"/>
                    <a:pt x="352" y="703"/>
                    <a:pt x="352" y="703"/>
                  </a:cubicBezTo>
                  <a:cubicBezTo>
                    <a:pt x="352" y="706"/>
                    <a:pt x="352" y="706"/>
                    <a:pt x="352" y="706"/>
                  </a:cubicBezTo>
                  <a:cubicBezTo>
                    <a:pt x="346" y="706"/>
                    <a:pt x="346" y="706"/>
                    <a:pt x="346" y="706"/>
                  </a:cubicBezTo>
                  <a:cubicBezTo>
                    <a:pt x="348" y="713"/>
                    <a:pt x="348" y="713"/>
                    <a:pt x="348" y="713"/>
                  </a:cubicBezTo>
                  <a:cubicBezTo>
                    <a:pt x="357" y="709"/>
                    <a:pt x="357" y="709"/>
                    <a:pt x="357" y="709"/>
                  </a:cubicBezTo>
                  <a:cubicBezTo>
                    <a:pt x="357" y="709"/>
                    <a:pt x="357" y="716"/>
                    <a:pt x="359" y="718"/>
                  </a:cubicBezTo>
                  <a:cubicBezTo>
                    <a:pt x="361" y="720"/>
                    <a:pt x="364" y="725"/>
                    <a:pt x="363" y="732"/>
                  </a:cubicBezTo>
                  <a:cubicBezTo>
                    <a:pt x="363" y="738"/>
                    <a:pt x="361" y="741"/>
                    <a:pt x="361" y="748"/>
                  </a:cubicBezTo>
                  <a:cubicBezTo>
                    <a:pt x="361" y="753"/>
                    <a:pt x="367" y="760"/>
                    <a:pt x="367" y="760"/>
                  </a:cubicBezTo>
                  <a:cubicBezTo>
                    <a:pt x="391" y="756"/>
                    <a:pt x="391" y="756"/>
                    <a:pt x="391" y="756"/>
                  </a:cubicBezTo>
                  <a:cubicBezTo>
                    <a:pt x="391" y="756"/>
                    <a:pt x="388" y="767"/>
                    <a:pt x="381" y="768"/>
                  </a:cubicBezTo>
                  <a:cubicBezTo>
                    <a:pt x="374" y="770"/>
                    <a:pt x="366" y="769"/>
                    <a:pt x="362" y="772"/>
                  </a:cubicBezTo>
                  <a:cubicBezTo>
                    <a:pt x="358" y="776"/>
                    <a:pt x="350" y="784"/>
                    <a:pt x="346" y="786"/>
                  </a:cubicBezTo>
                  <a:cubicBezTo>
                    <a:pt x="342" y="788"/>
                    <a:pt x="331" y="789"/>
                    <a:pt x="331" y="789"/>
                  </a:cubicBezTo>
                  <a:cubicBezTo>
                    <a:pt x="330" y="799"/>
                    <a:pt x="330" y="799"/>
                    <a:pt x="330" y="799"/>
                  </a:cubicBezTo>
                  <a:cubicBezTo>
                    <a:pt x="323" y="801"/>
                    <a:pt x="323" y="801"/>
                    <a:pt x="323" y="801"/>
                  </a:cubicBezTo>
                  <a:cubicBezTo>
                    <a:pt x="323" y="801"/>
                    <a:pt x="321" y="810"/>
                    <a:pt x="321" y="814"/>
                  </a:cubicBezTo>
                  <a:cubicBezTo>
                    <a:pt x="321" y="818"/>
                    <a:pt x="326" y="823"/>
                    <a:pt x="326" y="823"/>
                  </a:cubicBezTo>
                  <a:cubicBezTo>
                    <a:pt x="326" y="823"/>
                    <a:pt x="323" y="823"/>
                    <a:pt x="321" y="825"/>
                  </a:cubicBezTo>
                  <a:cubicBezTo>
                    <a:pt x="318" y="827"/>
                    <a:pt x="317" y="831"/>
                    <a:pt x="317" y="831"/>
                  </a:cubicBezTo>
                  <a:cubicBezTo>
                    <a:pt x="313" y="834"/>
                    <a:pt x="313" y="834"/>
                    <a:pt x="313" y="834"/>
                  </a:cubicBezTo>
                  <a:cubicBezTo>
                    <a:pt x="314" y="838"/>
                    <a:pt x="314" y="838"/>
                    <a:pt x="314" y="838"/>
                  </a:cubicBezTo>
                  <a:cubicBezTo>
                    <a:pt x="322" y="836"/>
                    <a:pt x="322" y="836"/>
                    <a:pt x="322" y="836"/>
                  </a:cubicBezTo>
                  <a:cubicBezTo>
                    <a:pt x="321" y="842"/>
                    <a:pt x="321" y="842"/>
                    <a:pt x="321" y="842"/>
                  </a:cubicBezTo>
                  <a:cubicBezTo>
                    <a:pt x="327" y="840"/>
                    <a:pt x="327" y="840"/>
                    <a:pt x="327" y="840"/>
                  </a:cubicBezTo>
                  <a:cubicBezTo>
                    <a:pt x="328" y="842"/>
                    <a:pt x="328" y="842"/>
                    <a:pt x="328" y="842"/>
                  </a:cubicBezTo>
                  <a:cubicBezTo>
                    <a:pt x="337" y="842"/>
                    <a:pt x="337" y="842"/>
                    <a:pt x="337" y="842"/>
                  </a:cubicBezTo>
                  <a:cubicBezTo>
                    <a:pt x="337" y="842"/>
                    <a:pt x="339" y="846"/>
                    <a:pt x="342" y="846"/>
                  </a:cubicBezTo>
                  <a:cubicBezTo>
                    <a:pt x="346" y="845"/>
                    <a:pt x="349" y="840"/>
                    <a:pt x="352" y="843"/>
                  </a:cubicBezTo>
                  <a:cubicBezTo>
                    <a:pt x="355" y="847"/>
                    <a:pt x="345" y="850"/>
                    <a:pt x="345" y="850"/>
                  </a:cubicBezTo>
                  <a:cubicBezTo>
                    <a:pt x="345" y="850"/>
                    <a:pt x="344" y="860"/>
                    <a:pt x="340" y="859"/>
                  </a:cubicBezTo>
                  <a:cubicBezTo>
                    <a:pt x="336" y="858"/>
                    <a:pt x="323" y="857"/>
                    <a:pt x="323" y="857"/>
                  </a:cubicBezTo>
                  <a:cubicBezTo>
                    <a:pt x="323" y="857"/>
                    <a:pt x="316" y="863"/>
                    <a:pt x="312" y="864"/>
                  </a:cubicBezTo>
                  <a:cubicBezTo>
                    <a:pt x="309" y="865"/>
                    <a:pt x="297" y="866"/>
                    <a:pt x="301" y="879"/>
                  </a:cubicBezTo>
                  <a:cubicBezTo>
                    <a:pt x="306" y="891"/>
                    <a:pt x="314" y="889"/>
                    <a:pt x="321" y="886"/>
                  </a:cubicBezTo>
                  <a:cubicBezTo>
                    <a:pt x="328" y="883"/>
                    <a:pt x="336" y="879"/>
                    <a:pt x="341" y="886"/>
                  </a:cubicBezTo>
                  <a:cubicBezTo>
                    <a:pt x="346" y="891"/>
                    <a:pt x="363" y="907"/>
                    <a:pt x="367" y="906"/>
                  </a:cubicBezTo>
                  <a:cubicBezTo>
                    <a:pt x="373" y="906"/>
                    <a:pt x="378" y="904"/>
                    <a:pt x="385" y="913"/>
                  </a:cubicBezTo>
                  <a:cubicBezTo>
                    <a:pt x="391" y="922"/>
                    <a:pt x="390" y="931"/>
                    <a:pt x="390" y="931"/>
                  </a:cubicBezTo>
                  <a:cubicBezTo>
                    <a:pt x="393" y="931"/>
                    <a:pt x="393" y="931"/>
                    <a:pt x="393" y="931"/>
                  </a:cubicBezTo>
                  <a:cubicBezTo>
                    <a:pt x="397" y="925"/>
                    <a:pt x="397" y="925"/>
                    <a:pt x="397" y="925"/>
                  </a:cubicBezTo>
                  <a:cubicBezTo>
                    <a:pt x="402" y="925"/>
                    <a:pt x="402" y="925"/>
                    <a:pt x="402" y="925"/>
                  </a:cubicBezTo>
                  <a:cubicBezTo>
                    <a:pt x="402" y="925"/>
                    <a:pt x="402" y="921"/>
                    <a:pt x="406" y="920"/>
                  </a:cubicBezTo>
                  <a:cubicBezTo>
                    <a:pt x="408" y="920"/>
                    <a:pt x="408" y="920"/>
                    <a:pt x="408" y="920"/>
                  </a:cubicBezTo>
                  <a:cubicBezTo>
                    <a:pt x="408" y="320"/>
                    <a:pt x="408" y="320"/>
                    <a:pt x="408" y="320"/>
                  </a:cubicBezTo>
                  <a:cubicBezTo>
                    <a:pt x="399" y="324"/>
                    <a:pt x="387" y="331"/>
                    <a:pt x="379" y="32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9" name="Aserbaidschan" descr="© INSCALE GmbH, 05.05.2010&#10;http://www.presentationload.com/">
              <a:extLst>
                <a:ext uri="{FF2B5EF4-FFF2-40B4-BE49-F238E27FC236}">
                  <a16:creationId xmlns:a16="http://schemas.microsoft.com/office/drawing/2014/main" id="{5529BB09-426F-5E45-9E22-E62931A758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01070" y="4768787"/>
              <a:ext cx="542930" cy="584187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0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BFDF641-D34A-5444-AC30-FB96ABFD25A0}"/>
                </a:ext>
              </a:extLst>
            </p:cNvPr>
            <p:cNvSpPr>
              <a:spLocks/>
            </p:cNvSpPr>
            <p:nvPr/>
          </p:nvSpPr>
          <p:spPr bwMode="gray">
            <a:xfrm>
              <a:off x="8635723" y="5098836"/>
              <a:ext cx="508277" cy="696405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Irak" descr="© INSCALE GmbH, 05.05.2010&#10;http://www.presentationload.com/">
              <a:extLst>
                <a:ext uri="{FF2B5EF4-FFF2-40B4-BE49-F238E27FC236}">
                  <a16:creationId xmlns:a16="http://schemas.microsoft.com/office/drawing/2014/main" id="{9C4718FA-0804-CE45-8B48-D61ECC20E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98088" y="5654970"/>
              <a:ext cx="745912" cy="1082562"/>
            </a:xfrm>
            <a:custGeom>
              <a:avLst/>
              <a:gdLst/>
              <a:ahLst/>
              <a:cxnLst>
                <a:cxn ang="0">
                  <a:pos x="312" y="46"/>
                </a:cxn>
                <a:cxn ang="0">
                  <a:pos x="312" y="47"/>
                </a:cxn>
                <a:cxn ang="0">
                  <a:pos x="306" y="42"/>
                </a:cxn>
                <a:cxn ang="0">
                  <a:pos x="292" y="55"/>
                </a:cxn>
                <a:cxn ang="0">
                  <a:pos x="276" y="50"/>
                </a:cxn>
                <a:cxn ang="0">
                  <a:pos x="264" y="60"/>
                </a:cxn>
                <a:cxn ang="0">
                  <a:pos x="264" y="49"/>
                </a:cxn>
                <a:cxn ang="0">
                  <a:pos x="253" y="44"/>
                </a:cxn>
                <a:cxn ang="0">
                  <a:pos x="245" y="31"/>
                </a:cxn>
                <a:cxn ang="0">
                  <a:pos x="234" y="35"/>
                </a:cxn>
                <a:cxn ang="0">
                  <a:pos x="227" y="20"/>
                </a:cxn>
                <a:cxn ang="0">
                  <a:pos x="213" y="21"/>
                </a:cxn>
                <a:cxn ang="0">
                  <a:pos x="211" y="18"/>
                </a:cxn>
                <a:cxn ang="0">
                  <a:pos x="214" y="8"/>
                </a:cxn>
                <a:cxn ang="0">
                  <a:pos x="203" y="7"/>
                </a:cxn>
                <a:cxn ang="0">
                  <a:pos x="200" y="2"/>
                </a:cxn>
                <a:cxn ang="0">
                  <a:pos x="191" y="3"/>
                </a:cxn>
                <a:cxn ang="0">
                  <a:pos x="182" y="22"/>
                </a:cxn>
                <a:cxn ang="0">
                  <a:pos x="175" y="20"/>
                </a:cxn>
                <a:cxn ang="0">
                  <a:pos x="168" y="5"/>
                </a:cxn>
                <a:cxn ang="0">
                  <a:pos x="155" y="18"/>
                </a:cxn>
                <a:cxn ang="0">
                  <a:pos x="126" y="22"/>
                </a:cxn>
                <a:cxn ang="0">
                  <a:pos x="126" y="26"/>
                </a:cxn>
                <a:cxn ang="0">
                  <a:pos x="113" y="26"/>
                </a:cxn>
                <a:cxn ang="0">
                  <a:pos x="110" y="33"/>
                </a:cxn>
                <a:cxn ang="0">
                  <a:pos x="90" y="33"/>
                </a:cxn>
                <a:cxn ang="0">
                  <a:pos x="96" y="50"/>
                </a:cxn>
                <a:cxn ang="0">
                  <a:pos x="84" y="56"/>
                </a:cxn>
                <a:cxn ang="0">
                  <a:pos x="85" y="69"/>
                </a:cxn>
                <a:cxn ang="0">
                  <a:pos x="79" y="77"/>
                </a:cxn>
                <a:cxn ang="0">
                  <a:pos x="70" y="101"/>
                </a:cxn>
                <a:cxn ang="0">
                  <a:pos x="51" y="117"/>
                </a:cxn>
                <a:cxn ang="0">
                  <a:pos x="57" y="147"/>
                </a:cxn>
                <a:cxn ang="0">
                  <a:pos x="72" y="164"/>
                </a:cxn>
                <a:cxn ang="0">
                  <a:pos x="77" y="200"/>
                </a:cxn>
                <a:cxn ang="0">
                  <a:pos x="90" y="226"/>
                </a:cxn>
                <a:cxn ang="0">
                  <a:pos x="91" y="239"/>
                </a:cxn>
                <a:cxn ang="0">
                  <a:pos x="88" y="240"/>
                </a:cxn>
                <a:cxn ang="0">
                  <a:pos x="89" y="256"/>
                </a:cxn>
                <a:cxn ang="0">
                  <a:pos x="87" y="257"/>
                </a:cxn>
                <a:cxn ang="0">
                  <a:pos x="0" y="371"/>
                </a:cxn>
                <a:cxn ang="0">
                  <a:pos x="57" y="432"/>
                </a:cxn>
                <a:cxn ang="0">
                  <a:pos x="101" y="425"/>
                </a:cxn>
                <a:cxn ang="0">
                  <a:pos x="203" y="436"/>
                </a:cxn>
                <a:cxn ang="0">
                  <a:pos x="298" y="438"/>
                </a:cxn>
                <a:cxn ang="0">
                  <a:pos x="312" y="455"/>
                </a:cxn>
                <a:cxn ang="0">
                  <a:pos x="312" y="46"/>
                </a:cxn>
              </a:cxnLst>
              <a:rect l="0" t="0" r="r" b="b"/>
              <a:pathLst>
                <a:path w="312" h="455">
                  <a:moveTo>
                    <a:pt x="312" y="46"/>
                  </a:moveTo>
                  <a:cubicBezTo>
                    <a:pt x="312" y="47"/>
                    <a:pt x="312" y="47"/>
                    <a:pt x="312" y="47"/>
                  </a:cubicBezTo>
                  <a:cubicBezTo>
                    <a:pt x="306" y="42"/>
                    <a:pt x="306" y="42"/>
                    <a:pt x="306" y="42"/>
                  </a:cubicBezTo>
                  <a:cubicBezTo>
                    <a:pt x="306" y="42"/>
                    <a:pt x="297" y="52"/>
                    <a:pt x="292" y="55"/>
                  </a:cubicBezTo>
                  <a:cubicBezTo>
                    <a:pt x="286" y="57"/>
                    <a:pt x="281" y="51"/>
                    <a:pt x="276" y="50"/>
                  </a:cubicBezTo>
                  <a:cubicBezTo>
                    <a:pt x="271" y="49"/>
                    <a:pt x="264" y="60"/>
                    <a:pt x="264" y="6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4" y="49"/>
                    <a:pt x="258" y="48"/>
                    <a:pt x="253" y="44"/>
                  </a:cubicBezTo>
                  <a:cubicBezTo>
                    <a:pt x="250" y="39"/>
                    <a:pt x="245" y="31"/>
                    <a:pt x="245" y="31"/>
                  </a:cubicBezTo>
                  <a:cubicBezTo>
                    <a:pt x="245" y="31"/>
                    <a:pt x="242" y="36"/>
                    <a:pt x="234" y="35"/>
                  </a:cubicBezTo>
                  <a:cubicBezTo>
                    <a:pt x="227" y="34"/>
                    <a:pt x="230" y="22"/>
                    <a:pt x="227" y="20"/>
                  </a:cubicBezTo>
                  <a:cubicBezTo>
                    <a:pt x="222" y="18"/>
                    <a:pt x="213" y="21"/>
                    <a:pt x="213" y="21"/>
                  </a:cubicBezTo>
                  <a:cubicBezTo>
                    <a:pt x="211" y="18"/>
                    <a:pt x="211" y="18"/>
                    <a:pt x="211" y="18"/>
                  </a:cubicBezTo>
                  <a:cubicBezTo>
                    <a:pt x="211" y="18"/>
                    <a:pt x="214" y="14"/>
                    <a:pt x="214" y="8"/>
                  </a:cubicBezTo>
                  <a:cubicBezTo>
                    <a:pt x="213" y="4"/>
                    <a:pt x="203" y="7"/>
                    <a:pt x="203" y="7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2"/>
                    <a:pt x="193" y="0"/>
                    <a:pt x="191" y="3"/>
                  </a:cubicBezTo>
                  <a:cubicBezTo>
                    <a:pt x="188" y="7"/>
                    <a:pt x="182" y="22"/>
                    <a:pt x="182" y="22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75" y="20"/>
                    <a:pt x="180" y="5"/>
                    <a:pt x="168" y="5"/>
                  </a:cubicBezTo>
                  <a:cubicBezTo>
                    <a:pt x="156" y="5"/>
                    <a:pt x="155" y="18"/>
                    <a:pt x="155" y="18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5" y="65"/>
                    <a:pt x="85" y="69"/>
                  </a:cubicBezTo>
                  <a:cubicBezTo>
                    <a:pt x="85" y="72"/>
                    <a:pt x="79" y="77"/>
                    <a:pt x="79" y="77"/>
                  </a:cubicBezTo>
                  <a:cubicBezTo>
                    <a:pt x="79" y="77"/>
                    <a:pt x="77" y="90"/>
                    <a:pt x="70" y="101"/>
                  </a:cubicBezTo>
                  <a:cubicBezTo>
                    <a:pt x="65" y="113"/>
                    <a:pt x="56" y="111"/>
                    <a:pt x="51" y="117"/>
                  </a:cubicBezTo>
                  <a:cubicBezTo>
                    <a:pt x="47" y="125"/>
                    <a:pt x="53" y="139"/>
                    <a:pt x="57" y="147"/>
                  </a:cubicBezTo>
                  <a:cubicBezTo>
                    <a:pt x="61" y="157"/>
                    <a:pt x="68" y="156"/>
                    <a:pt x="72" y="164"/>
                  </a:cubicBezTo>
                  <a:cubicBezTo>
                    <a:pt x="78" y="172"/>
                    <a:pt x="73" y="184"/>
                    <a:pt x="77" y="200"/>
                  </a:cubicBezTo>
                  <a:cubicBezTo>
                    <a:pt x="80" y="215"/>
                    <a:pt x="90" y="226"/>
                    <a:pt x="90" y="226"/>
                  </a:cubicBezTo>
                  <a:cubicBezTo>
                    <a:pt x="91" y="239"/>
                    <a:pt x="91" y="239"/>
                    <a:pt x="91" y="239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57" y="432"/>
                    <a:pt x="57" y="432"/>
                    <a:pt x="57" y="432"/>
                  </a:cubicBezTo>
                  <a:cubicBezTo>
                    <a:pt x="57" y="432"/>
                    <a:pt x="87" y="425"/>
                    <a:pt x="101" y="425"/>
                  </a:cubicBezTo>
                  <a:cubicBezTo>
                    <a:pt x="114" y="425"/>
                    <a:pt x="176" y="436"/>
                    <a:pt x="203" y="436"/>
                  </a:cubicBezTo>
                  <a:cubicBezTo>
                    <a:pt x="230" y="438"/>
                    <a:pt x="298" y="438"/>
                    <a:pt x="298" y="438"/>
                  </a:cubicBezTo>
                  <a:cubicBezTo>
                    <a:pt x="312" y="455"/>
                    <a:pt x="312" y="455"/>
                    <a:pt x="312" y="455"/>
                  </a:cubicBezTo>
                  <a:lnTo>
                    <a:pt x="312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2" name="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34E1E18-0A34-5041-93BF-BF8328D2C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85402" y="889056"/>
              <a:ext cx="3658598" cy="4107465"/>
            </a:xfrm>
            <a:custGeom>
              <a:avLst/>
              <a:gdLst/>
              <a:ahLst/>
              <a:cxnLst>
                <a:cxn ang="0">
                  <a:pos x="24" y="1219"/>
                </a:cxn>
                <a:cxn ang="0">
                  <a:pos x="8" y="1240"/>
                </a:cxn>
                <a:cxn ang="0">
                  <a:pos x="229" y="230"/>
                </a:cxn>
                <a:cxn ang="0">
                  <a:pos x="352" y="472"/>
                </a:cxn>
                <a:cxn ang="0">
                  <a:pos x="677" y="24"/>
                </a:cxn>
                <a:cxn ang="0">
                  <a:pos x="626" y="78"/>
                </a:cxn>
                <a:cxn ang="0">
                  <a:pos x="603" y="203"/>
                </a:cxn>
                <a:cxn ang="0">
                  <a:pos x="448" y="151"/>
                </a:cxn>
                <a:cxn ang="0">
                  <a:pos x="531" y="298"/>
                </a:cxn>
                <a:cxn ang="0">
                  <a:pos x="472" y="442"/>
                </a:cxn>
                <a:cxn ang="0">
                  <a:pos x="434" y="468"/>
                </a:cxn>
                <a:cxn ang="0">
                  <a:pos x="423" y="504"/>
                </a:cxn>
                <a:cxn ang="0">
                  <a:pos x="396" y="529"/>
                </a:cxn>
                <a:cxn ang="0">
                  <a:pos x="342" y="498"/>
                </a:cxn>
                <a:cxn ang="0">
                  <a:pos x="275" y="414"/>
                </a:cxn>
                <a:cxn ang="0">
                  <a:pos x="257" y="401"/>
                </a:cxn>
                <a:cxn ang="0">
                  <a:pos x="215" y="380"/>
                </a:cxn>
                <a:cxn ang="0">
                  <a:pos x="297" y="390"/>
                </a:cxn>
                <a:cxn ang="0">
                  <a:pos x="444" y="343"/>
                </a:cxn>
                <a:cxn ang="0">
                  <a:pos x="386" y="262"/>
                </a:cxn>
                <a:cxn ang="0">
                  <a:pos x="269" y="230"/>
                </a:cxn>
                <a:cxn ang="0">
                  <a:pos x="212" y="247"/>
                </a:cxn>
                <a:cxn ang="0">
                  <a:pos x="186" y="232"/>
                </a:cxn>
                <a:cxn ang="0">
                  <a:pos x="188" y="225"/>
                </a:cxn>
                <a:cxn ang="0">
                  <a:pos x="143" y="237"/>
                </a:cxn>
                <a:cxn ang="0">
                  <a:pos x="160" y="363"/>
                </a:cxn>
                <a:cxn ang="0">
                  <a:pos x="216" y="541"/>
                </a:cxn>
                <a:cxn ang="0">
                  <a:pos x="237" y="775"/>
                </a:cxn>
                <a:cxn ang="0">
                  <a:pos x="246" y="825"/>
                </a:cxn>
                <a:cxn ang="0">
                  <a:pos x="239" y="876"/>
                </a:cxn>
                <a:cxn ang="0">
                  <a:pos x="242" y="1006"/>
                </a:cxn>
                <a:cxn ang="0">
                  <a:pos x="289" y="1074"/>
                </a:cxn>
                <a:cxn ang="0">
                  <a:pos x="413" y="1136"/>
                </a:cxn>
                <a:cxn ang="0">
                  <a:pos x="490" y="1247"/>
                </a:cxn>
                <a:cxn ang="0">
                  <a:pos x="560" y="1265"/>
                </a:cxn>
                <a:cxn ang="0">
                  <a:pos x="648" y="1333"/>
                </a:cxn>
                <a:cxn ang="0">
                  <a:pos x="764" y="1354"/>
                </a:cxn>
                <a:cxn ang="0">
                  <a:pos x="862" y="1350"/>
                </a:cxn>
                <a:cxn ang="0">
                  <a:pos x="900" y="1455"/>
                </a:cxn>
                <a:cxn ang="0">
                  <a:pos x="871" y="1537"/>
                </a:cxn>
                <a:cxn ang="0">
                  <a:pos x="862" y="1623"/>
                </a:cxn>
                <a:cxn ang="0">
                  <a:pos x="903" y="1684"/>
                </a:cxn>
                <a:cxn ang="0">
                  <a:pos x="1047" y="1703"/>
                </a:cxn>
                <a:cxn ang="0">
                  <a:pos x="1233" y="1674"/>
                </a:cxn>
                <a:cxn ang="0">
                  <a:pos x="1408" y="1689"/>
                </a:cxn>
                <a:cxn ang="0">
                  <a:pos x="1341" y="1543"/>
                </a:cxn>
                <a:cxn ang="0">
                  <a:pos x="1283" y="1465"/>
                </a:cxn>
                <a:cxn ang="0">
                  <a:pos x="1320" y="1398"/>
                </a:cxn>
                <a:cxn ang="0">
                  <a:pos x="1281" y="1326"/>
                </a:cxn>
                <a:cxn ang="0">
                  <a:pos x="1133" y="1184"/>
                </a:cxn>
                <a:cxn ang="0">
                  <a:pos x="1183" y="1074"/>
                </a:cxn>
                <a:cxn ang="0">
                  <a:pos x="1253" y="984"/>
                </a:cxn>
                <a:cxn ang="0">
                  <a:pos x="1379" y="969"/>
                </a:cxn>
                <a:cxn ang="0">
                  <a:pos x="1488" y="872"/>
                </a:cxn>
                <a:cxn ang="0">
                  <a:pos x="1496" y="707"/>
                </a:cxn>
                <a:cxn ang="0">
                  <a:pos x="1446" y="669"/>
                </a:cxn>
                <a:cxn ang="0">
                  <a:pos x="1519" y="575"/>
                </a:cxn>
                <a:cxn ang="0">
                  <a:pos x="266" y="764"/>
                </a:cxn>
                <a:cxn ang="0">
                  <a:pos x="356" y="755"/>
                </a:cxn>
                <a:cxn ang="0">
                  <a:pos x="381" y="658"/>
                </a:cxn>
                <a:cxn ang="0">
                  <a:pos x="422" y="650"/>
                </a:cxn>
                <a:cxn ang="0">
                  <a:pos x="464" y="712"/>
                </a:cxn>
              </a:cxnLst>
              <a:rect l="0" t="0" r="r" b="b"/>
              <a:pathLst>
                <a:path w="1532" h="1721">
                  <a:moveTo>
                    <a:pt x="113" y="1210"/>
                  </a:moveTo>
                  <a:cubicBezTo>
                    <a:pt x="110" y="1208"/>
                    <a:pt x="101" y="1201"/>
                    <a:pt x="101" y="1201"/>
                  </a:cubicBezTo>
                  <a:cubicBezTo>
                    <a:pt x="90" y="1201"/>
                    <a:pt x="90" y="1201"/>
                    <a:pt x="90" y="1201"/>
                  </a:cubicBezTo>
                  <a:cubicBezTo>
                    <a:pt x="80" y="1205"/>
                    <a:pt x="80" y="1205"/>
                    <a:pt x="80" y="1205"/>
                  </a:cubicBezTo>
                  <a:cubicBezTo>
                    <a:pt x="79" y="1201"/>
                    <a:pt x="79" y="1201"/>
                    <a:pt x="79" y="1201"/>
                  </a:cubicBezTo>
                  <a:cubicBezTo>
                    <a:pt x="79" y="1201"/>
                    <a:pt x="73" y="1203"/>
                    <a:pt x="69" y="1200"/>
                  </a:cubicBezTo>
                  <a:cubicBezTo>
                    <a:pt x="64" y="1198"/>
                    <a:pt x="62" y="1197"/>
                    <a:pt x="62" y="1197"/>
                  </a:cubicBezTo>
                  <a:cubicBezTo>
                    <a:pt x="56" y="1198"/>
                    <a:pt x="56" y="1198"/>
                    <a:pt x="56" y="1198"/>
                  </a:cubicBezTo>
                  <a:cubicBezTo>
                    <a:pt x="51" y="1194"/>
                    <a:pt x="51" y="1194"/>
                    <a:pt x="51" y="1194"/>
                  </a:cubicBezTo>
                  <a:cubicBezTo>
                    <a:pt x="49" y="1199"/>
                    <a:pt x="49" y="1199"/>
                    <a:pt x="49" y="1199"/>
                  </a:cubicBezTo>
                  <a:cubicBezTo>
                    <a:pt x="46" y="1199"/>
                    <a:pt x="46" y="1199"/>
                    <a:pt x="46" y="1199"/>
                  </a:cubicBezTo>
                  <a:cubicBezTo>
                    <a:pt x="51" y="1215"/>
                    <a:pt x="51" y="1215"/>
                    <a:pt x="51" y="1215"/>
                  </a:cubicBezTo>
                  <a:cubicBezTo>
                    <a:pt x="44" y="1219"/>
                    <a:pt x="44" y="1219"/>
                    <a:pt x="44" y="1219"/>
                  </a:cubicBezTo>
                  <a:cubicBezTo>
                    <a:pt x="37" y="1219"/>
                    <a:pt x="37" y="1219"/>
                    <a:pt x="37" y="1219"/>
                  </a:cubicBezTo>
                  <a:cubicBezTo>
                    <a:pt x="37" y="1219"/>
                    <a:pt x="33" y="1218"/>
                    <a:pt x="32" y="1218"/>
                  </a:cubicBezTo>
                  <a:cubicBezTo>
                    <a:pt x="31" y="1218"/>
                    <a:pt x="24" y="1219"/>
                    <a:pt x="24" y="1219"/>
                  </a:cubicBezTo>
                  <a:cubicBezTo>
                    <a:pt x="36" y="1202"/>
                    <a:pt x="36" y="1202"/>
                    <a:pt x="36" y="1202"/>
                  </a:cubicBezTo>
                  <a:cubicBezTo>
                    <a:pt x="36" y="1198"/>
                    <a:pt x="36" y="1198"/>
                    <a:pt x="36" y="1198"/>
                  </a:cubicBezTo>
                  <a:cubicBezTo>
                    <a:pt x="41" y="1193"/>
                    <a:pt x="41" y="1193"/>
                    <a:pt x="41" y="1193"/>
                  </a:cubicBezTo>
                  <a:cubicBezTo>
                    <a:pt x="39" y="1191"/>
                    <a:pt x="39" y="1191"/>
                    <a:pt x="39" y="1191"/>
                  </a:cubicBezTo>
                  <a:cubicBezTo>
                    <a:pt x="37" y="1192"/>
                    <a:pt x="37" y="1192"/>
                    <a:pt x="37" y="1192"/>
                  </a:cubicBezTo>
                  <a:cubicBezTo>
                    <a:pt x="32" y="1202"/>
                    <a:pt x="32" y="1202"/>
                    <a:pt x="32" y="1202"/>
                  </a:cubicBezTo>
                  <a:cubicBezTo>
                    <a:pt x="23" y="1215"/>
                    <a:pt x="23" y="1215"/>
                    <a:pt x="23" y="1215"/>
                  </a:cubicBezTo>
                  <a:cubicBezTo>
                    <a:pt x="20" y="1218"/>
                    <a:pt x="20" y="1218"/>
                    <a:pt x="20" y="1218"/>
                  </a:cubicBezTo>
                  <a:cubicBezTo>
                    <a:pt x="2" y="1221"/>
                    <a:pt x="2" y="1221"/>
                    <a:pt x="2" y="1221"/>
                  </a:cubicBezTo>
                  <a:cubicBezTo>
                    <a:pt x="0" y="1226"/>
                    <a:pt x="0" y="1226"/>
                    <a:pt x="0" y="1226"/>
                  </a:cubicBezTo>
                  <a:cubicBezTo>
                    <a:pt x="3" y="1230"/>
                    <a:pt x="3" y="1230"/>
                    <a:pt x="3" y="1230"/>
                  </a:cubicBezTo>
                  <a:cubicBezTo>
                    <a:pt x="0" y="1241"/>
                    <a:pt x="0" y="1241"/>
                    <a:pt x="0" y="1241"/>
                  </a:cubicBezTo>
                  <a:cubicBezTo>
                    <a:pt x="3" y="1242"/>
                    <a:pt x="3" y="1242"/>
                    <a:pt x="3" y="1242"/>
                  </a:cubicBezTo>
                  <a:cubicBezTo>
                    <a:pt x="4" y="1239"/>
                    <a:pt x="4" y="1239"/>
                    <a:pt x="4" y="1239"/>
                  </a:cubicBezTo>
                  <a:cubicBezTo>
                    <a:pt x="6" y="1237"/>
                    <a:pt x="6" y="1237"/>
                    <a:pt x="6" y="1237"/>
                  </a:cubicBezTo>
                  <a:cubicBezTo>
                    <a:pt x="8" y="1240"/>
                    <a:pt x="8" y="1240"/>
                    <a:pt x="8" y="1240"/>
                  </a:cubicBezTo>
                  <a:cubicBezTo>
                    <a:pt x="13" y="1235"/>
                    <a:pt x="13" y="1235"/>
                    <a:pt x="13" y="1235"/>
                  </a:cubicBezTo>
                  <a:cubicBezTo>
                    <a:pt x="21" y="1237"/>
                    <a:pt x="21" y="1237"/>
                    <a:pt x="21" y="1237"/>
                  </a:cubicBezTo>
                  <a:cubicBezTo>
                    <a:pt x="16" y="1239"/>
                    <a:pt x="16" y="1239"/>
                    <a:pt x="16" y="1239"/>
                  </a:cubicBezTo>
                  <a:cubicBezTo>
                    <a:pt x="16" y="1241"/>
                    <a:pt x="16" y="1241"/>
                    <a:pt x="16" y="1241"/>
                  </a:cubicBezTo>
                  <a:cubicBezTo>
                    <a:pt x="8" y="1246"/>
                    <a:pt x="8" y="1246"/>
                    <a:pt x="8" y="1246"/>
                  </a:cubicBezTo>
                  <a:cubicBezTo>
                    <a:pt x="6" y="1245"/>
                    <a:pt x="6" y="1245"/>
                    <a:pt x="6" y="1245"/>
                  </a:cubicBezTo>
                  <a:cubicBezTo>
                    <a:pt x="3" y="1253"/>
                    <a:pt x="3" y="1253"/>
                    <a:pt x="3" y="1253"/>
                  </a:cubicBezTo>
                  <a:cubicBezTo>
                    <a:pt x="11" y="1253"/>
                    <a:pt x="45" y="1255"/>
                    <a:pt x="58" y="1254"/>
                  </a:cubicBezTo>
                  <a:cubicBezTo>
                    <a:pt x="74" y="1254"/>
                    <a:pt x="113" y="1244"/>
                    <a:pt x="113" y="1244"/>
                  </a:cubicBezTo>
                  <a:cubicBezTo>
                    <a:pt x="113" y="1244"/>
                    <a:pt x="106" y="1237"/>
                    <a:pt x="107" y="1229"/>
                  </a:cubicBezTo>
                  <a:cubicBezTo>
                    <a:pt x="107" y="1223"/>
                    <a:pt x="109" y="1218"/>
                    <a:pt x="109" y="1218"/>
                  </a:cubicBezTo>
                  <a:cubicBezTo>
                    <a:pt x="109" y="1218"/>
                    <a:pt x="117" y="1213"/>
                    <a:pt x="113" y="1210"/>
                  </a:cubicBezTo>
                  <a:close/>
                  <a:moveTo>
                    <a:pt x="229" y="228"/>
                  </a:moveTo>
                  <a:cubicBezTo>
                    <a:pt x="222" y="228"/>
                    <a:pt x="222" y="228"/>
                    <a:pt x="222" y="228"/>
                  </a:cubicBezTo>
                  <a:cubicBezTo>
                    <a:pt x="219" y="232"/>
                    <a:pt x="219" y="232"/>
                    <a:pt x="219" y="232"/>
                  </a:cubicBezTo>
                  <a:cubicBezTo>
                    <a:pt x="229" y="230"/>
                    <a:pt x="229" y="230"/>
                    <a:pt x="229" y="230"/>
                  </a:cubicBezTo>
                  <a:lnTo>
                    <a:pt x="229" y="228"/>
                  </a:lnTo>
                  <a:close/>
                  <a:moveTo>
                    <a:pt x="246" y="829"/>
                  </a:moveTo>
                  <a:cubicBezTo>
                    <a:pt x="238" y="825"/>
                    <a:pt x="238" y="825"/>
                    <a:pt x="238" y="825"/>
                  </a:cubicBezTo>
                  <a:cubicBezTo>
                    <a:pt x="239" y="830"/>
                    <a:pt x="239" y="830"/>
                    <a:pt x="239" y="830"/>
                  </a:cubicBezTo>
                  <a:cubicBezTo>
                    <a:pt x="244" y="832"/>
                    <a:pt x="244" y="832"/>
                    <a:pt x="244" y="832"/>
                  </a:cubicBezTo>
                  <a:lnTo>
                    <a:pt x="246" y="829"/>
                  </a:lnTo>
                  <a:close/>
                  <a:moveTo>
                    <a:pt x="363" y="466"/>
                  </a:moveTo>
                  <a:cubicBezTo>
                    <a:pt x="365" y="470"/>
                    <a:pt x="365" y="470"/>
                    <a:pt x="365" y="470"/>
                  </a:cubicBezTo>
                  <a:cubicBezTo>
                    <a:pt x="372" y="462"/>
                    <a:pt x="372" y="462"/>
                    <a:pt x="372" y="462"/>
                  </a:cubicBezTo>
                  <a:lnTo>
                    <a:pt x="363" y="466"/>
                  </a:lnTo>
                  <a:close/>
                  <a:moveTo>
                    <a:pt x="352" y="472"/>
                  </a:moveTo>
                  <a:cubicBezTo>
                    <a:pt x="351" y="476"/>
                    <a:pt x="351" y="476"/>
                    <a:pt x="351" y="476"/>
                  </a:cubicBezTo>
                  <a:cubicBezTo>
                    <a:pt x="356" y="478"/>
                    <a:pt x="356" y="478"/>
                    <a:pt x="356" y="478"/>
                  </a:cubicBezTo>
                  <a:cubicBezTo>
                    <a:pt x="363" y="473"/>
                    <a:pt x="363" y="473"/>
                    <a:pt x="363" y="473"/>
                  </a:cubicBezTo>
                  <a:cubicBezTo>
                    <a:pt x="357" y="468"/>
                    <a:pt x="357" y="468"/>
                    <a:pt x="357" y="468"/>
                  </a:cubicBezTo>
                  <a:lnTo>
                    <a:pt x="352" y="472"/>
                  </a:lnTo>
                  <a:close/>
                  <a:moveTo>
                    <a:pt x="365" y="482"/>
                  </a:moveTo>
                  <a:cubicBezTo>
                    <a:pt x="369" y="478"/>
                    <a:pt x="367" y="475"/>
                    <a:pt x="360" y="480"/>
                  </a:cubicBezTo>
                  <a:cubicBezTo>
                    <a:pt x="360" y="480"/>
                    <a:pt x="362" y="485"/>
                    <a:pt x="365" y="482"/>
                  </a:cubicBezTo>
                  <a:close/>
                  <a:moveTo>
                    <a:pt x="1532" y="0"/>
                  </a:moveTo>
                  <a:cubicBezTo>
                    <a:pt x="716" y="0"/>
                    <a:pt x="716" y="0"/>
                    <a:pt x="716" y="0"/>
                  </a:cubicBezTo>
                  <a:cubicBezTo>
                    <a:pt x="712" y="19"/>
                    <a:pt x="712" y="19"/>
                    <a:pt x="712" y="19"/>
                  </a:cubicBezTo>
                  <a:cubicBezTo>
                    <a:pt x="712" y="19"/>
                    <a:pt x="721" y="31"/>
                    <a:pt x="720" y="35"/>
                  </a:cubicBezTo>
                  <a:cubicBezTo>
                    <a:pt x="719" y="39"/>
                    <a:pt x="708" y="33"/>
                    <a:pt x="708" y="33"/>
                  </a:cubicBezTo>
                  <a:cubicBezTo>
                    <a:pt x="699" y="34"/>
                    <a:pt x="699" y="34"/>
                    <a:pt x="699" y="34"/>
                  </a:cubicBezTo>
                  <a:cubicBezTo>
                    <a:pt x="699" y="34"/>
                    <a:pt x="698" y="39"/>
                    <a:pt x="698" y="42"/>
                  </a:cubicBezTo>
                  <a:cubicBezTo>
                    <a:pt x="698" y="46"/>
                    <a:pt x="694" y="46"/>
                    <a:pt x="690" y="46"/>
                  </a:cubicBezTo>
                  <a:cubicBezTo>
                    <a:pt x="684" y="47"/>
                    <a:pt x="681" y="55"/>
                    <a:pt x="681" y="55"/>
                  </a:cubicBezTo>
                  <a:cubicBezTo>
                    <a:pt x="681" y="55"/>
                    <a:pt x="678" y="50"/>
                    <a:pt x="679" y="46"/>
                  </a:cubicBezTo>
                  <a:cubicBezTo>
                    <a:pt x="681" y="41"/>
                    <a:pt x="693" y="39"/>
                    <a:pt x="693" y="39"/>
                  </a:cubicBezTo>
                  <a:cubicBezTo>
                    <a:pt x="693" y="39"/>
                    <a:pt x="691" y="30"/>
                    <a:pt x="686" y="29"/>
                  </a:cubicBezTo>
                  <a:cubicBezTo>
                    <a:pt x="683" y="28"/>
                    <a:pt x="677" y="24"/>
                    <a:pt x="677" y="24"/>
                  </a:cubicBezTo>
                  <a:cubicBezTo>
                    <a:pt x="677" y="16"/>
                    <a:pt x="677" y="16"/>
                    <a:pt x="677" y="16"/>
                  </a:cubicBezTo>
                  <a:cubicBezTo>
                    <a:pt x="675" y="15"/>
                    <a:pt x="675" y="15"/>
                    <a:pt x="675" y="15"/>
                  </a:cubicBezTo>
                  <a:cubicBezTo>
                    <a:pt x="675" y="15"/>
                    <a:pt x="676" y="9"/>
                    <a:pt x="672" y="9"/>
                  </a:cubicBezTo>
                  <a:cubicBezTo>
                    <a:pt x="669" y="9"/>
                    <a:pt x="667" y="14"/>
                    <a:pt x="667" y="14"/>
                  </a:cubicBezTo>
                  <a:cubicBezTo>
                    <a:pt x="667" y="14"/>
                    <a:pt x="665" y="10"/>
                    <a:pt x="663" y="10"/>
                  </a:cubicBezTo>
                  <a:cubicBezTo>
                    <a:pt x="661" y="10"/>
                    <a:pt x="654" y="18"/>
                    <a:pt x="652" y="27"/>
                  </a:cubicBezTo>
                  <a:cubicBezTo>
                    <a:pt x="650" y="34"/>
                    <a:pt x="651" y="41"/>
                    <a:pt x="651" y="41"/>
                  </a:cubicBezTo>
                  <a:cubicBezTo>
                    <a:pt x="651" y="41"/>
                    <a:pt x="655" y="43"/>
                    <a:pt x="660" y="47"/>
                  </a:cubicBezTo>
                  <a:cubicBezTo>
                    <a:pt x="664" y="50"/>
                    <a:pt x="664" y="57"/>
                    <a:pt x="660" y="62"/>
                  </a:cubicBezTo>
                  <a:cubicBezTo>
                    <a:pt x="657" y="67"/>
                    <a:pt x="651" y="53"/>
                    <a:pt x="651" y="53"/>
                  </a:cubicBezTo>
                  <a:cubicBezTo>
                    <a:pt x="647" y="53"/>
                    <a:pt x="647" y="53"/>
                    <a:pt x="647" y="53"/>
                  </a:cubicBezTo>
                  <a:cubicBezTo>
                    <a:pt x="649" y="45"/>
                    <a:pt x="649" y="45"/>
                    <a:pt x="649" y="45"/>
                  </a:cubicBezTo>
                  <a:cubicBezTo>
                    <a:pt x="649" y="45"/>
                    <a:pt x="644" y="51"/>
                    <a:pt x="643" y="55"/>
                  </a:cubicBezTo>
                  <a:cubicBezTo>
                    <a:pt x="642" y="58"/>
                    <a:pt x="637" y="62"/>
                    <a:pt x="632" y="63"/>
                  </a:cubicBezTo>
                  <a:cubicBezTo>
                    <a:pt x="627" y="63"/>
                    <a:pt x="625" y="71"/>
                    <a:pt x="625" y="71"/>
                  </a:cubicBezTo>
                  <a:cubicBezTo>
                    <a:pt x="626" y="78"/>
                    <a:pt x="626" y="78"/>
                    <a:pt x="626" y="78"/>
                  </a:cubicBezTo>
                  <a:cubicBezTo>
                    <a:pt x="626" y="78"/>
                    <a:pt x="627" y="72"/>
                    <a:pt x="630" y="70"/>
                  </a:cubicBezTo>
                  <a:cubicBezTo>
                    <a:pt x="633" y="67"/>
                    <a:pt x="635" y="65"/>
                    <a:pt x="637" y="66"/>
                  </a:cubicBezTo>
                  <a:cubicBezTo>
                    <a:pt x="641" y="66"/>
                    <a:pt x="637" y="71"/>
                    <a:pt x="634" y="74"/>
                  </a:cubicBezTo>
                  <a:cubicBezTo>
                    <a:pt x="630" y="77"/>
                    <a:pt x="623" y="81"/>
                    <a:pt x="620" y="89"/>
                  </a:cubicBezTo>
                  <a:cubicBezTo>
                    <a:pt x="618" y="96"/>
                    <a:pt x="619" y="112"/>
                    <a:pt x="619" y="112"/>
                  </a:cubicBezTo>
                  <a:cubicBezTo>
                    <a:pt x="615" y="113"/>
                    <a:pt x="615" y="113"/>
                    <a:pt x="615" y="113"/>
                  </a:cubicBezTo>
                  <a:cubicBezTo>
                    <a:pt x="602" y="133"/>
                    <a:pt x="602" y="133"/>
                    <a:pt x="602" y="133"/>
                  </a:cubicBezTo>
                  <a:cubicBezTo>
                    <a:pt x="593" y="135"/>
                    <a:pt x="593" y="135"/>
                    <a:pt x="593" y="135"/>
                  </a:cubicBezTo>
                  <a:cubicBezTo>
                    <a:pt x="602" y="143"/>
                    <a:pt x="602" y="143"/>
                    <a:pt x="602" y="143"/>
                  </a:cubicBezTo>
                  <a:cubicBezTo>
                    <a:pt x="609" y="142"/>
                    <a:pt x="609" y="142"/>
                    <a:pt x="609" y="142"/>
                  </a:cubicBezTo>
                  <a:cubicBezTo>
                    <a:pt x="612" y="146"/>
                    <a:pt x="612" y="146"/>
                    <a:pt x="612" y="146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47"/>
                    <a:pt x="587" y="155"/>
                    <a:pt x="586" y="161"/>
                  </a:cubicBezTo>
                  <a:cubicBezTo>
                    <a:pt x="584" y="168"/>
                    <a:pt x="596" y="184"/>
                    <a:pt x="596" y="184"/>
                  </a:cubicBezTo>
                  <a:cubicBezTo>
                    <a:pt x="594" y="187"/>
                    <a:pt x="594" y="187"/>
                    <a:pt x="594" y="187"/>
                  </a:cubicBezTo>
                  <a:cubicBezTo>
                    <a:pt x="594" y="187"/>
                    <a:pt x="604" y="198"/>
                    <a:pt x="603" y="203"/>
                  </a:cubicBezTo>
                  <a:cubicBezTo>
                    <a:pt x="602" y="209"/>
                    <a:pt x="596" y="208"/>
                    <a:pt x="596" y="208"/>
                  </a:cubicBezTo>
                  <a:cubicBezTo>
                    <a:pt x="596" y="208"/>
                    <a:pt x="593" y="215"/>
                    <a:pt x="590" y="218"/>
                  </a:cubicBezTo>
                  <a:cubicBezTo>
                    <a:pt x="588" y="221"/>
                    <a:pt x="576" y="224"/>
                    <a:pt x="576" y="224"/>
                  </a:cubicBezTo>
                  <a:cubicBezTo>
                    <a:pt x="576" y="224"/>
                    <a:pt x="571" y="232"/>
                    <a:pt x="566" y="232"/>
                  </a:cubicBezTo>
                  <a:cubicBezTo>
                    <a:pt x="561" y="233"/>
                    <a:pt x="547" y="216"/>
                    <a:pt x="547" y="216"/>
                  </a:cubicBezTo>
                  <a:cubicBezTo>
                    <a:pt x="526" y="214"/>
                    <a:pt x="526" y="214"/>
                    <a:pt x="526" y="214"/>
                  </a:cubicBezTo>
                  <a:cubicBezTo>
                    <a:pt x="528" y="192"/>
                    <a:pt x="528" y="192"/>
                    <a:pt x="528" y="192"/>
                  </a:cubicBezTo>
                  <a:cubicBezTo>
                    <a:pt x="521" y="186"/>
                    <a:pt x="521" y="186"/>
                    <a:pt x="521" y="186"/>
                  </a:cubicBezTo>
                  <a:cubicBezTo>
                    <a:pt x="535" y="174"/>
                    <a:pt x="535" y="174"/>
                    <a:pt x="535" y="174"/>
                  </a:cubicBezTo>
                  <a:cubicBezTo>
                    <a:pt x="551" y="162"/>
                    <a:pt x="551" y="162"/>
                    <a:pt x="551" y="162"/>
                  </a:cubicBezTo>
                  <a:cubicBezTo>
                    <a:pt x="551" y="162"/>
                    <a:pt x="543" y="150"/>
                    <a:pt x="538" y="146"/>
                  </a:cubicBezTo>
                  <a:cubicBezTo>
                    <a:pt x="534" y="144"/>
                    <a:pt x="517" y="140"/>
                    <a:pt x="517" y="140"/>
                  </a:cubicBezTo>
                  <a:cubicBezTo>
                    <a:pt x="511" y="133"/>
                    <a:pt x="511" y="133"/>
                    <a:pt x="511" y="133"/>
                  </a:cubicBezTo>
                  <a:cubicBezTo>
                    <a:pt x="511" y="133"/>
                    <a:pt x="499" y="136"/>
                    <a:pt x="490" y="138"/>
                  </a:cubicBezTo>
                  <a:cubicBezTo>
                    <a:pt x="481" y="141"/>
                    <a:pt x="473" y="150"/>
                    <a:pt x="473" y="150"/>
                  </a:cubicBezTo>
                  <a:cubicBezTo>
                    <a:pt x="448" y="151"/>
                    <a:pt x="448" y="151"/>
                    <a:pt x="448" y="151"/>
                  </a:cubicBezTo>
                  <a:cubicBezTo>
                    <a:pt x="448" y="151"/>
                    <a:pt x="452" y="154"/>
                    <a:pt x="457" y="156"/>
                  </a:cubicBezTo>
                  <a:cubicBezTo>
                    <a:pt x="463" y="157"/>
                    <a:pt x="471" y="158"/>
                    <a:pt x="471" y="158"/>
                  </a:cubicBezTo>
                  <a:cubicBezTo>
                    <a:pt x="482" y="168"/>
                    <a:pt x="482" y="168"/>
                    <a:pt x="482" y="168"/>
                  </a:cubicBezTo>
                  <a:cubicBezTo>
                    <a:pt x="482" y="172"/>
                    <a:pt x="482" y="172"/>
                    <a:pt x="482" y="172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91" y="188"/>
                    <a:pt x="491" y="188"/>
                    <a:pt x="491" y="188"/>
                  </a:cubicBezTo>
                  <a:cubicBezTo>
                    <a:pt x="490" y="192"/>
                    <a:pt x="490" y="192"/>
                    <a:pt x="490" y="192"/>
                  </a:cubicBezTo>
                  <a:cubicBezTo>
                    <a:pt x="497" y="204"/>
                    <a:pt x="497" y="204"/>
                    <a:pt x="497" y="204"/>
                  </a:cubicBezTo>
                  <a:cubicBezTo>
                    <a:pt x="497" y="204"/>
                    <a:pt x="498" y="235"/>
                    <a:pt x="503" y="240"/>
                  </a:cubicBezTo>
                  <a:cubicBezTo>
                    <a:pt x="508" y="246"/>
                    <a:pt x="522" y="240"/>
                    <a:pt x="522" y="240"/>
                  </a:cubicBezTo>
                  <a:cubicBezTo>
                    <a:pt x="531" y="249"/>
                    <a:pt x="531" y="249"/>
                    <a:pt x="531" y="249"/>
                  </a:cubicBezTo>
                  <a:cubicBezTo>
                    <a:pt x="529" y="252"/>
                    <a:pt x="529" y="252"/>
                    <a:pt x="529" y="252"/>
                  </a:cubicBezTo>
                  <a:cubicBezTo>
                    <a:pt x="537" y="262"/>
                    <a:pt x="537" y="262"/>
                    <a:pt x="537" y="262"/>
                  </a:cubicBezTo>
                  <a:cubicBezTo>
                    <a:pt x="538" y="292"/>
                    <a:pt x="538" y="292"/>
                    <a:pt x="538" y="292"/>
                  </a:cubicBezTo>
                  <a:cubicBezTo>
                    <a:pt x="538" y="292"/>
                    <a:pt x="549" y="305"/>
                    <a:pt x="547" y="308"/>
                  </a:cubicBezTo>
                  <a:cubicBezTo>
                    <a:pt x="546" y="311"/>
                    <a:pt x="533" y="297"/>
                    <a:pt x="531" y="298"/>
                  </a:cubicBezTo>
                  <a:cubicBezTo>
                    <a:pt x="528" y="298"/>
                    <a:pt x="523" y="311"/>
                    <a:pt x="523" y="311"/>
                  </a:cubicBezTo>
                  <a:cubicBezTo>
                    <a:pt x="526" y="299"/>
                    <a:pt x="526" y="299"/>
                    <a:pt x="526" y="299"/>
                  </a:cubicBezTo>
                  <a:cubicBezTo>
                    <a:pt x="526" y="299"/>
                    <a:pt x="522" y="296"/>
                    <a:pt x="514" y="296"/>
                  </a:cubicBezTo>
                  <a:cubicBezTo>
                    <a:pt x="504" y="295"/>
                    <a:pt x="499" y="303"/>
                    <a:pt x="499" y="303"/>
                  </a:cubicBezTo>
                  <a:cubicBezTo>
                    <a:pt x="499" y="303"/>
                    <a:pt x="494" y="299"/>
                    <a:pt x="488" y="298"/>
                  </a:cubicBezTo>
                  <a:cubicBezTo>
                    <a:pt x="483" y="298"/>
                    <a:pt x="478" y="308"/>
                    <a:pt x="478" y="308"/>
                  </a:cubicBezTo>
                  <a:cubicBezTo>
                    <a:pt x="478" y="308"/>
                    <a:pt x="480" y="325"/>
                    <a:pt x="474" y="334"/>
                  </a:cubicBezTo>
                  <a:cubicBezTo>
                    <a:pt x="468" y="343"/>
                    <a:pt x="459" y="343"/>
                    <a:pt x="459" y="343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59" y="356"/>
                    <a:pt x="457" y="363"/>
                  </a:cubicBezTo>
                  <a:cubicBezTo>
                    <a:pt x="455" y="371"/>
                    <a:pt x="446" y="381"/>
                    <a:pt x="447" y="383"/>
                  </a:cubicBezTo>
                  <a:cubicBezTo>
                    <a:pt x="447" y="387"/>
                    <a:pt x="451" y="383"/>
                    <a:pt x="451" y="383"/>
                  </a:cubicBezTo>
                  <a:cubicBezTo>
                    <a:pt x="451" y="383"/>
                    <a:pt x="452" y="386"/>
                    <a:pt x="452" y="394"/>
                  </a:cubicBezTo>
                  <a:cubicBezTo>
                    <a:pt x="452" y="403"/>
                    <a:pt x="475" y="409"/>
                    <a:pt x="484" y="418"/>
                  </a:cubicBezTo>
                  <a:cubicBezTo>
                    <a:pt x="493" y="426"/>
                    <a:pt x="488" y="426"/>
                    <a:pt x="479" y="427"/>
                  </a:cubicBezTo>
                  <a:cubicBezTo>
                    <a:pt x="470" y="428"/>
                    <a:pt x="472" y="442"/>
                    <a:pt x="472" y="442"/>
                  </a:cubicBezTo>
                  <a:cubicBezTo>
                    <a:pt x="472" y="442"/>
                    <a:pt x="475" y="454"/>
                    <a:pt x="475" y="458"/>
                  </a:cubicBezTo>
                  <a:cubicBezTo>
                    <a:pt x="475" y="462"/>
                    <a:pt x="459" y="462"/>
                    <a:pt x="459" y="462"/>
                  </a:cubicBezTo>
                  <a:cubicBezTo>
                    <a:pt x="451" y="462"/>
                    <a:pt x="451" y="462"/>
                    <a:pt x="451" y="462"/>
                  </a:cubicBezTo>
                  <a:cubicBezTo>
                    <a:pt x="445" y="462"/>
                    <a:pt x="446" y="464"/>
                    <a:pt x="446" y="464"/>
                  </a:cubicBezTo>
                  <a:cubicBezTo>
                    <a:pt x="446" y="464"/>
                    <a:pt x="440" y="462"/>
                    <a:pt x="440" y="464"/>
                  </a:cubicBezTo>
                  <a:cubicBezTo>
                    <a:pt x="439" y="465"/>
                    <a:pt x="442" y="467"/>
                    <a:pt x="442" y="467"/>
                  </a:cubicBezTo>
                  <a:cubicBezTo>
                    <a:pt x="442" y="467"/>
                    <a:pt x="439" y="469"/>
                    <a:pt x="437" y="470"/>
                  </a:cubicBezTo>
                  <a:cubicBezTo>
                    <a:pt x="435" y="471"/>
                    <a:pt x="436" y="475"/>
                    <a:pt x="436" y="475"/>
                  </a:cubicBezTo>
                  <a:cubicBezTo>
                    <a:pt x="436" y="475"/>
                    <a:pt x="437" y="481"/>
                    <a:pt x="435" y="480"/>
                  </a:cubicBezTo>
                  <a:cubicBezTo>
                    <a:pt x="433" y="480"/>
                    <a:pt x="434" y="475"/>
                    <a:pt x="434" y="475"/>
                  </a:cubicBezTo>
                  <a:cubicBezTo>
                    <a:pt x="434" y="475"/>
                    <a:pt x="431" y="472"/>
                    <a:pt x="429" y="471"/>
                  </a:cubicBezTo>
                  <a:cubicBezTo>
                    <a:pt x="428" y="469"/>
                    <a:pt x="432" y="468"/>
                    <a:pt x="432" y="468"/>
                  </a:cubicBezTo>
                  <a:cubicBezTo>
                    <a:pt x="429" y="468"/>
                    <a:pt x="429" y="468"/>
                    <a:pt x="429" y="468"/>
                  </a:cubicBezTo>
                  <a:cubicBezTo>
                    <a:pt x="429" y="467"/>
                    <a:pt x="429" y="467"/>
                    <a:pt x="429" y="467"/>
                  </a:cubicBezTo>
                  <a:cubicBezTo>
                    <a:pt x="429" y="467"/>
                    <a:pt x="430" y="466"/>
                    <a:pt x="432" y="466"/>
                  </a:cubicBezTo>
                  <a:cubicBezTo>
                    <a:pt x="433" y="466"/>
                    <a:pt x="434" y="468"/>
                    <a:pt x="434" y="468"/>
                  </a:cubicBezTo>
                  <a:cubicBezTo>
                    <a:pt x="436" y="467"/>
                    <a:pt x="436" y="467"/>
                    <a:pt x="436" y="467"/>
                  </a:cubicBezTo>
                  <a:cubicBezTo>
                    <a:pt x="435" y="465"/>
                    <a:pt x="435" y="465"/>
                    <a:pt x="435" y="465"/>
                  </a:cubicBezTo>
                  <a:cubicBezTo>
                    <a:pt x="438" y="465"/>
                    <a:pt x="438" y="465"/>
                    <a:pt x="438" y="465"/>
                  </a:cubicBezTo>
                  <a:cubicBezTo>
                    <a:pt x="437" y="461"/>
                    <a:pt x="437" y="461"/>
                    <a:pt x="437" y="461"/>
                  </a:cubicBezTo>
                  <a:cubicBezTo>
                    <a:pt x="437" y="461"/>
                    <a:pt x="425" y="464"/>
                    <a:pt x="422" y="464"/>
                  </a:cubicBezTo>
                  <a:cubicBezTo>
                    <a:pt x="418" y="462"/>
                    <a:pt x="416" y="458"/>
                    <a:pt x="416" y="458"/>
                  </a:cubicBezTo>
                  <a:cubicBezTo>
                    <a:pt x="416" y="458"/>
                    <a:pt x="393" y="456"/>
                    <a:pt x="390" y="458"/>
                  </a:cubicBezTo>
                  <a:cubicBezTo>
                    <a:pt x="387" y="460"/>
                    <a:pt x="393" y="465"/>
                    <a:pt x="393" y="469"/>
                  </a:cubicBezTo>
                  <a:cubicBezTo>
                    <a:pt x="395" y="472"/>
                    <a:pt x="389" y="474"/>
                    <a:pt x="389" y="474"/>
                  </a:cubicBezTo>
                  <a:cubicBezTo>
                    <a:pt x="389" y="476"/>
                    <a:pt x="389" y="476"/>
                    <a:pt x="389" y="476"/>
                  </a:cubicBezTo>
                  <a:cubicBezTo>
                    <a:pt x="389" y="476"/>
                    <a:pt x="386" y="475"/>
                    <a:pt x="385" y="477"/>
                  </a:cubicBezTo>
                  <a:cubicBezTo>
                    <a:pt x="384" y="480"/>
                    <a:pt x="389" y="483"/>
                    <a:pt x="389" y="483"/>
                  </a:cubicBezTo>
                  <a:cubicBezTo>
                    <a:pt x="392" y="487"/>
                    <a:pt x="392" y="487"/>
                    <a:pt x="392" y="487"/>
                  </a:cubicBezTo>
                  <a:cubicBezTo>
                    <a:pt x="392" y="487"/>
                    <a:pt x="395" y="486"/>
                    <a:pt x="397" y="487"/>
                  </a:cubicBezTo>
                  <a:cubicBezTo>
                    <a:pt x="399" y="487"/>
                    <a:pt x="403" y="491"/>
                    <a:pt x="408" y="494"/>
                  </a:cubicBezTo>
                  <a:cubicBezTo>
                    <a:pt x="413" y="499"/>
                    <a:pt x="423" y="504"/>
                    <a:pt x="423" y="504"/>
                  </a:cubicBezTo>
                  <a:cubicBezTo>
                    <a:pt x="425" y="498"/>
                    <a:pt x="425" y="498"/>
                    <a:pt x="425" y="498"/>
                  </a:cubicBezTo>
                  <a:cubicBezTo>
                    <a:pt x="430" y="498"/>
                    <a:pt x="430" y="498"/>
                    <a:pt x="430" y="498"/>
                  </a:cubicBezTo>
                  <a:cubicBezTo>
                    <a:pt x="430" y="498"/>
                    <a:pt x="428" y="496"/>
                    <a:pt x="429" y="494"/>
                  </a:cubicBezTo>
                  <a:cubicBezTo>
                    <a:pt x="429" y="492"/>
                    <a:pt x="433" y="491"/>
                    <a:pt x="433" y="491"/>
                  </a:cubicBezTo>
                  <a:cubicBezTo>
                    <a:pt x="433" y="496"/>
                    <a:pt x="433" y="496"/>
                    <a:pt x="433" y="496"/>
                  </a:cubicBezTo>
                  <a:cubicBezTo>
                    <a:pt x="439" y="496"/>
                    <a:pt x="439" y="496"/>
                    <a:pt x="439" y="496"/>
                  </a:cubicBezTo>
                  <a:cubicBezTo>
                    <a:pt x="442" y="496"/>
                    <a:pt x="441" y="499"/>
                    <a:pt x="441" y="499"/>
                  </a:cubicBezTo>
                  <a:cubicBezTo>
                    <a:pt x="441" y="505"/>
                    <a:pt x="441" y="505"/>
                    <a:pt x="441" y="505"/>
                  </a:cubicBezTo>
                  <a:cubicBezTo>
                    <a:pt x="441" y="505"/>
                    <a:pt x="449" y="508"/>
                    <a:pt x="451" y="516"/>
                  </a:cubicBezTo>
                  <a:cubicBezTo>
                    <a:pt x="454" y="523"/>
                    <a:pt x="444" y="525"/>
                    <a:pt x="444" y="525"/>
                  </a:cubicBezTo>
                  <a:cubicBezTo>
                    <a:pt x="444" y="525"/>
                    <a:pt x="444" y="531"/>
                    <a:pt x="439" y="534"/>
                  </a:cubicBezTo>
                  <a:cubicBezTo>
                    <a:pt x="435" y="537"/>
                    <a:pt x="433" y="532"/>
                    <a:pt x="429" y="531"/>
                  </a:cubicBezTo>
                  <a:cubicBezTo>
                    <a:pt x="425" y="531"/>
                    <a:pt x="422" y="534"/>
                    <a:pt x="420" y="534"/>
                  </a:cubicBezTo>
                  <a:cubicBezTo>
                    <a:pt x="419" y="534"/>
                    <a:pt x="416" y="534"/>
                    <a:pt x="413" y="533"/>
                  </a:cubicBezTo>
                  <a:cubicBezTo>
                    <a:pt x="409" y="533"/>
                    <a:pt x="412" y="535"/>
                    <a:pt x="404" y="534"/>
                  </a:cubicBezTo>
                  <a:cubicBezTo>
                    <a:pt x="396" y="534"/>
                    <a:pt x="396" y="529"/>
                    <a:pt x="396" y="529"/>
                  </a:cubicBezTo>
                  <a:cubicBezTo>
                    <a:pt x="397" y="524"/>
                    <a:pt x="397" y="524"/>
                    <a:pt x="397" y="524"/>
                  </a:cubicBezTo>
                  <a:cubicBezTo>
                    <a:pt x="388" y="523"/>
                    <a:pt x="388" y="523"/>
                    <a:pt x="388" y="523"/>
                  </a:cubicBezTo>
                  <a:cubicBezTo>
                    <a:pt x="388" y="523"/>
                    <a:pt x="386" y="525"/>
                    <a:pt x="384" y="523"/>
                  </a:cubicBezTo>
                  <a:cubicBezTo>
                    <a:pt x="382" y="522"/>
                    <a:pt x="382" y="520"/>
                    <a:pt x="379" y="518"/>
                  </a:cubicBezTo>
                  <a:cubicBezTo>
                    <a:pt x="374" y="515"/>
                    <a:pt x="370" y="518"/>
                    <a:pt x="370" y="518"/>
                  </a:cubicBezTo>
                  <a:cubicBezTo>
                    <a:pt x="370" y="518"/>
                    <a:pt x="371" y="521"/>
                    <a:pt x="370" y="523"/>
                  </a:cubicBezTo>
                  <a:cubicBezTo>
                    <a:pt x="368" y="525"/>
                    <a:pt x="365" y="525"/>
                    <a:pt x="365" y="525"/>
                  </a:cubicBezTo>
                  <a:cubicBezTo>
                    <a:pt x="364" y="523"/>
                    <a:pt x="364" y="523"/>
                    <a:pt x="364" y="523"/>
                  </a:cubicBezTo>
                  <a:cubicBezTo>
                    <a:pt x="360" y="523"/>
                    <a:pt x="360" y="523"/>
                    <a:pt x="360" y="523"/>
                  </a:cubicBezTo>
                  <a:cubicBezTo>
                    <a:pt x="360" y="525"/>
                    <a:pt x="360" y="525"/>
                    <a:pt x="360" y="525"/>
                  </a:cubicBezTo>
                  <a:cubicBezTo>
                    <a:pt x="355" y="519"/>
                    <a:pt x="355" y="519"/>
                    <a:pt x="355" y="519"/>
                  </a:cubicBezTo>
                  <a:cubicBezTo>
                    <a:pt x="354" y="522"/>
                    <a:pt x="354" y="522"/>
                    <a:pt x="354" y="522"/>
                  </a:cubicBezTo>
                  <a:cubicBezTo>
                    <a:pt x="344" y="516"/>
                    <a:pt x="344" y="516"/>
                    <a:pt x="344" y="516"/>
                  </a:cubicBezTo>
                  <a:cubicBezTo>
                    <a:pt x="344" y="516"/>
                    <a:pt x="347" y="512"/>
                    <a:pt x="346" y="509"/>
                  </a:cubicBezTo>
                  <a:cubicBezTo>
                    <a:pt x="344" y="506"/>
                    <a:pt x="340" y="502"/>
                    <a:pt x="340" y="502"/>
                  </a:cubicBezTo>
                  <a:cubicBezTo>
                    <a:pt x="342" y="498"/>
                    <a:pt x="342" y="498"/>
                    <a:pt x="342" y="498"/>
                  </a:cubicBezTo>
                  <a:cubicBezTo>
                    <a:pt x="339" y="492"/>
                    <a:pt x="339" y="492"/>
                    <a:pt x="339" y="492"/>
                  </a:cubicBezTo>
                  <a:cubicBezTo>
                    <a:pt x="333" y="490"/>
                    <a:pt x="333" y="490"/>
                    <a:pt x="333" y="490"/>
                  </a:cubicBezTo>
                  <a:cubicBezTo>
                    <a:pt x="333" y="490"/>
                    <a:pt x="336" y="487"/>
                    <a:pt x="334" y="483"/>
                  </a:cubicBezTo>
                  <a:cubicBezTo>
                    <a:pt x="331" y="478"/>
                    <a:pt x="314" y="469"/>
                    <a:pt x="314" y="469"/>
                  </a:cubicBezTo>
                  <a:cubicBezTo>
                    <a:pt x="314" y="469"/>
                    <a:pt x="321" y="460"/>
                    <a:pt x="321" y="456"/>
                  </a:cubicBezTo>
                  <a:cubicBezTo>
                    <a:pt x="322" y="451"/>
                    <a:pt x="313" y="439"/>
                    <a:pt x="313" y="439"/>
                  </a:cubicBezTo>
                  <a:cubicBezTo>
                    <a:pt x="313" y="439"/>
                    <a:pt x="315" y="438"/>
                    <a:pt x="315" y="437"/>
                  </a:cubicBezTo>
                  <a:cubicBezTo>
                    <a:pt x="316" y="436"/>
                    <a:pt x="317" y="433"/>
                    <a:pt x="317" y="433"/>
                  </a:cubicBezTo>
                  <a:cubicBezTo>
                    <a:pt x="317" y="433"/>
                    <a:pt x="314" y="434"/>
                    <a:pt x="313" y="434"/>
                  </a:cubicBezTo>
                  <a:cubicBezTo>
                    <a:pt x="310" y="433"/>
                    <a:pt x="311" y="427"/>
                    <a:pt x="311" y="427"/>
                  </a:cubicBezTo>
                  <a:cubicBezTo>
                    <a:pt x="311" y="427"/>
                    <a:pt x="293" y="420"/>
                    <a:pt x="290" y="419"/>
                  </a:cubicBezTo>
                  <a:cubicBezTo>
                    <a:pt x="286" y="418"/>
                    <a:pt x="285" y="421"/>
                    <a:pt x="285" y="421"/>
                  </a:cubicBezTo>
                  <a:cubicBezTo>
                    <a:pt x="285" y="421"/>
                    <a:pt x="274" y="419"/>
                    <a:pt x="271" y="419"/>
                  </a:cubicBezTo>
                  <a:cubicBezTo>
                    <a:pt x="268" y="419"/>
                    <a:pt x="264" y="423"/>
                    <a:pt x="264" y="423"/>
                  </a:cubicBezTo>
                  <a:cubicBezTo>
                    <a:pt x="264" y="420"/>
                    <a:pt x="264" y="420"/>
                    <a:pt x="264" y="420"/>
                  </a:cubicBezTo>
                  <a:cubicBezTo>
                    <a:pt x="275" y="414"/>
                    <a:pt x="275" y="414"/>
                    <a:pt x="275" y="414"/>
                  </a:cubicBezTo>
                  <a:cubicBezTo>
                    <a:pt x="270" y="413"/>
                    <a:pt x="270" y="413"/>
                    <a:pt x="270" y="413"/>
                  </a:cubicBezTo>
                  <a:cubicBezTo>
                    <a:pt x="274" y="411"/>
                    <a:pt x="274" y="411"/>
                    <a:pt x="274" y="411"/>
                  </a:cubicBezTo>
                  <a:cubicBezTo>
                    <a:pt x="274" y="409"/>
                    <a:pt x="274" y="409"/>
                    <a:pt x="274" y="409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72" y="406"/>
                    <a:pt x="272" y="406"/>
                    <a:pt x="272" y="406"/>
                  </a:cubicBezTo>
                  <a:cubicBezTo>
                    <a:pt x="270" y="406"/>
                    <a:pt x="270" y="406"/>
                    <a:pt x="270" y="406"/>
                  </a:cubicBezTo>
                  <a:cubicBezTo>
                    <a:pt x="269" y="410"/>
                    <a:pt x="269" y="410"/>
                    <a:pt x="269" y="410"/>
                  </a:cubicBezTo>
                  <a:cubicBezTo>
                    <a:pt x="262" y="411"/>
                    <a:pt x="262" y="411"/>
                    <a:pt x="262" y="411"/>
                  </a:cubicBezTo>
                  <a:cubicBezTo>
                    <a:pt x="259" y="407"/>
                    <a:pt x="259" y="407"/>
                    <a:pt x="259" y="407"/>
                  </a:cubicBezTo>
                  <a:cubicBezTo>
                    <a:pt x="258" y="410"/>
                    <a:pt x="258" y="410"/>
                    <a:pt x="258" y="410"/>
                  </a:cubicBezTo>
                  <a:cubicBezTo>
                    <a:pt x="254" y="409"/>
                    <a:pt x="254" y="409"/>
                    <a:pt x="254" y="409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56" y="406"/>
                    <a:pt x="249" y="406"/>
                    <a:pt x="249" y="405"/>
                  </a:cubicBezTo>
                  <a:cubicBezTo>
                    <a:pt x="249" y="404"/>
                    <a:pt x="254" y="405"/>
                    <a:pt x="254" y="40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1" y="402"/>
                    <a:pt x="261" y="402"/>
                    <a:pt x="261" y="402"/>
                  </a:cubicBezTo>
                  <a:cubicBezTo>
                    <a:pt x="261" y="399"/>
                    <a:pt x="261" y="399"/>
                    <a:pt x="261" y="399"/>
                  </a:cubicBezTo>
                  <a:cubicBezTo>
                    <a:pt x="251" y="399"/>
                    <a:pt x="251" y="399"/>
                    <a:pt x="251" y="399"/>
                  </a:cubicBezTo>
                  <a:cubicBezTo>
                    <a:pt x="248" y="401"/>
                    <a:pt x="244" y="398"/>
                    <a:pt x="244" y="398"/>
                  </a:cubicBezTo>
                  <a:cubicBezTo>
                    <a:pt x="244" y="397"/>
                    <a:pt x="244" y="397"/>
                    <a:pt x="244" y="397"/>
                  </a:cubicBezTo>
                  <a:cubicBezTo>
                    <a:pt x="244" y="396"/>
                    <a:pt x="244" y="396"/>
                    <a:pt x="244" y="396"/>
                  </a:cubicBezTo>
                  <a:cubicBezTo>
                    <a:pt x="246" y="398"/>
                    <a:pt x="246" y="398"/>
                    <a:pt x="246" y="398"/>
                  </a:cubicBezTo>
                  <a:cubicBezTo>
                    <a:pt x="250" y="396"/>
                    <a:pt x="250" y="396"/>
                    <a:pt x="250" y="396"/>
                  </a:cubicBezTo>
                  <a:cubicBezTo>
                    <a:pt x="241" y="394"/>
                    <a:pt x="241" y="394"/>
                    <a:pt x="241" y="394"/>
                  </a:cubicBezTo>
                  <a:cubicBezTo>
                    <a:pt x="234" y="393"/>
                    <a:pt x="234" y="393"/>
                    <a:pt x="234" y="393"/>
                  </a:cubicBezTo>
                  <a:cubicBezTo>
                    <a:pt x="234" y="393"/>
                    <a:pt x="236" y="386"/>
                    <a:pt x="235" y="383"/>
                  </a:cubicBezTo>
                  <a:cubicBezTo>
                    <a:pt x="235" y="382"/>
                    <a:pt x="226" y="382"/>
                    <a:pt x="226" y="382"/>
                  </a:cubicBezTo>
                  <a:cubicBezTo>
                    <a:pt x="226" y="380"/>
                    <a:pt x="226" y="380"/>
                    <a:pt x="226" y="380"/>
                  </a:cubicBezTo>
                  <a:cubicBezTo>
                    <a:pt x="223" y="379"/>
                    <a:pt x="223" y="379"/>
                    <a:pt x="223" y="379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15" y="380"/>
                    <a:pt x="215" y="380"/>
                    <a:pt x="215" y="380"/>
                  </a:cubicBezTo>
                  <a:cubicBezTo>
                    <a:pt x="221" y="378"/>
                    <a:pt x="221" y="378"/>
                    <a:pt x="221" y="378"/>
                  </a:cubicBezTo>
                  <a:cubicBezTo>
                    <a:pt x="221" y="378"/>
                    <a:pt x="221" y="376"/>
                    <a:pt x="227" y="376"/>
                  </a:cubicBezTo>
                  <a:cubicBezTo>
                    <a:pt x="233" y="375"/>
                    <a:pt x="240" y="377"/>
                    <a:pt x="240" y="377"/>
                  </a:cubicBezTo>
                  <a:cubicBezTo>
                    <a:pt x="239" y="381"/>
                    <a:pt x="239" y="381"/>
                    <a:pt x="239" y="381"/>
                  </a:cubicBezTo>
                  <a:cubicBezTo>
                    <a:pt x="239" y="381"/>
                    <a:pt x="244" y="384"/>
                    <a:pt x="251" y="388"/>
                  </a:cubicBezTo>
                  <a:cubicBezTo>
                    <a:pt x="256" y="391"/>
                    <a:pt x="265" y="393"/>
                    <a:pt x="265" y="393"/>
                  </a:cubicBezTo>
                  <a:cubicBezTo>
                    <a:pt x="262" y="387"/>
                    <a:pt x="262" y="387"/>
                    <a:pt x="262" y="387"/>
                  </a:cubicBezTo>
                  <a:cubicBezTo>
                    <a:pt x="264" y="386"/>
                    <a:pt x="264" y="386"/>
                    <a:pt x="264" y="386"/>
                  </a:cubicBezTo>
                  <a:cubicBezTo>
                    <a:pt x="264" y="386"/>
                    <a:pt x="270" y="391"/>
                    <a:pt x="273" y="392"/>
                  </a:cubicBezTo>
                  <a:cubicBezTo>
                    <a:pt x="276" y="393"/>
                    <a:pt x="279" y="390"/>
                    <a:pt x="279" y="390"/>
                  </a:cubicBezTo>
                  <a:cubicBezTo>
                    <a:pt x="281" y="384"/>
                    <a:pt x="281" y="384"/>
                    <a:pt x="281" y="384"/>
                  </a:cubicBezTo>
                  <a:cubicBezTo>
                    <a:pt x="281" y="390"/>
                    <a:pt x="281" y="390"/>
                    <a:pt x="281" y="390"/>
                  </a:cubicBezTo>
                  <a:cubicBezTo>
                    <a:pt x="288" y="390"/>
                    <a:pt x="288" y="390"/>
                    <a:pt x="288" y="390"/>
                  </a:cubicBezTo>
                  <a:cubicBezTo>
                    <a:pt x="288" y="390"/>
                    <a:pt x="288" y="391"/>
                    <a:pt x="289" y="393"/>
                  </a:cubicBezTo>
                  <a:cubicBezTo>
                    <a:pt x="291" y="395"/>
                    <a:pt x="292" y="395"/>
                    <a:pt x="292" y="395"/>
                  </a:cubicBezTo>
                  <a:cubicBezTo>
                    <a:pt x="297" y="390"/>
                    <a:pt x="297" y="390"/>
                    <a:pt x="297" y="39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304" y="391"/>
                    <a:pt x="311" y="394"/>
                    <a:pt x="311" y="394"/>
                  </a:cubicBezTo>
                  <a:cubicBezTo>
                    <a:pt x="314" y="393"/>
                    <a:pt x="314" y="393"/>
                    <a:pt x="314" y="393"/>
                  </a:cubicBezTo>
                  <a:cubicBezTo>
                    <a:pt x="316" y="395"/>
                    <a:pt x="316" y="395"/>
                    <a:pt x="316" y="395"/>
                  </a:cubicBezTo>
                  <a:cubicBezTo>
                    <a:pt x="335" y="395"/>
                    <a:pt x="335" y="395"/>
                    <a:pt x="335" y="395"/>
                  </a:cubicBezTo>
                  <a:cubicBezTo>
                    <a:pt x="349" y="395"/>
                    <a:pt x="355" y="390"/>
                    <a:pt x="364" y="390"/>
                  </a:cubicBezTo>
                  <a:cubicBezTo>
                    <a:pt x="371" y="390"/>
                    <a:pt x="383" y="395"/>
                    <a:pt x="383" y="395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91" y="393"/>
                    <a:pt x="400" y="392"/>
                  </a:cubicBezTo>
                  <a:cubicBezTo>
                    <a:pt x="408" y="391"/>
                    <a:pt x="413" y="381"/>
                    <a:pt x="413" y="381"/>
                  </a:cubicBezTo>
                  <a:cubicBezTo>
                    <a:pt x="417" y="381"/>
                    <a:pt x="417" y="381"/>
                    <a:pt x="417" y="381"/>
                  </a:cubicBezTo>
                  <a:cubicBezTo>
                    <a:pt x="419" y="381"/>
                    <a:pt x="420" y="377"/>
                    <a:pt x="420" y="377"/>
                  </a:cubicBezTo>
                  <a:cubicBezTo>
                    <a:pt x="420" y="377"/>
                    <a:pt x="428" y="371"/>
                    <a:pt x="430" y="368"/>
                  </a:cubicBezTo>
                  <a:cubicBezTo>
                    <a:pt x="432" y="366"/>
                    <a:pt x="439" y="351"/>
                    <a:pt x="439" y="351"/>
                  </a:cubicBezTo>
                  <a:cubicBezTo>
                    <a:pt x="439" y="351"/>
                    <a:pt x="441" y="351"/>
                    <a:pt x="444" y="349"/>
                  </a:cubicBezTo>
                  <a:cubicBezTo>
                    <a:pt x="445" y="346"/>
                    <a:pt x="444" y="343"/>
                    <a:pt x="444" y="343"/>
                  </a:cubicBezTo>
                  <a:cubicBezTo>
                    <a:pt x="444" y="343"/>
                    <a:pt x="444" y="340"/>
                    <a:pt x="446" y="334"/>
                  </a:cubicBezTo>
                  <a:cubicBezTo>
                    <a:pt x="447" y="329"/>
                    <a:pt x="448" y="304"/>
                    <a:pt x="448" y="304"/>
                  </a:cubicBezTo>
                  <a:cubicBezTo>
                    <a:pt x="444" y="300"/>
                    <a:pt x="444" y="300"/>
                    <a:pt x="444" y="300"/>
                  </a:cubicBezTo>
                  <a:cubicBezTo>
                    <a:pt x="439" y="294"/>
                    <a:pt x="439" y="294"/>
                    <a:pt x="439" y="294"/>
                  </a:cubicBezTo>
                  <a:cubicBezTo>
                    <a:pt x="439" y="294"/>
                    <a:pt x="435" y="295"/>
                    <a:pt x="433" y="294"/>
                  </a:cubicBezTo>
                  <a:cubicBezTo>
                    <a:pt x="430" y="293"/>
                    <a:pt x="428" y="283"/>
                    <a:pt x="428" y="283"/>
                  </a:cubicBezTo>
                  <a:cubicBezTo>
                    <a:pt x="424" y="283"/>
                    <a:pt x="424" y="283"/>
                    <a:pt x="424" y="283"/>
                  </a:cubicBezTo>
                  <a:cubicBezTo>
                    <a:pt x="422" y="278"/>
                    <a:pt x="422" y="278"/>
                    <a:pt x="422" y="278"/>
                  </a:cubicBezTo>
                  <a:cubicBezTo>
                    <a:pt x="423" y="275"/>
                    <a:pt x="423" y="275"/>
                    <a:pt x="423" y="275"/>
                  </a:cubicBezTo>
                  <a:cubicBezTo>
                    <a:pt x="415" y="268"/>
                    <a:pt x="415" y="268"/>
                    <a:pt x="415" y="268"/>
                  </a:cubicBezTo>
                  <a:cubicBezTo>
                    <a:pt x="413" y="270"/>
                    <a:pt x="413" y="270"/>
                    <a:pt x="413" y="270"/>
                  </a:cubicBezTo>
                  <a:cubicBezTo>
                    <a:pt x="407" y="268"/>
                    <a:pt x="407" y="268"/>
                    <a:pt x="407" y="268"/>
                  </a:cubicBezTo>
                  <a:cubicBezTo>
                    <a:pt x="407" y="268"/>
                    <a:pt x="407" y="272"/>
                    <a:pt x="405" y="272"/>
                  </a:cubicBezTo>
                  <a:cubicBezTo>
                    <a:pt x="403" y="272"/>
                    <a:pt x="400" y="269"/>
                    <a:pt x="400" y="269"/>
                  </a:cubicBezTo>
                  <a:cubicBezTo>
                    <a:pt x="399" y="265"/>
                    <a:pt x="399" y="265"/>
                    <a:pt x="399" y="265"/>
                  </a:cubicBezTo>
                  <a:cubicBezTo>
                    <a:pt x="386" y="262"/>
                    <a:pt x="386" y="262"/>
                    <a:pt x="386" y="262"/>
                  </a:cubicBezTo>
                  <a:cubicBezTo>
                    <a:pt x="380" y="256"/>
                    <a:pt x="380" y="256"/>
                    <a:pt x="380" y="256"/>
                  </a:cubicBezTo>
                  <a:cubicBezTo>
                    <a:pt x="379" y="257"/>
                    <a:pt x="379" y="257"/>
                    <a:pt x="379" y="257"/>
                  </a:cubicBezTo>
                  <a:cubicBezTo>
                    <a:pt x="379" y="257"/>
                    <a:pt x="384" y="261"/>
                    <a:pt x="381" y="263"/>
                  </a:cubicBezTo>
                  <a:cubicBezTo>
                    <a:pt x="377" y="264"/>
                    <a:pt x="364" y="257"/>
                    <a:pt x="364" y="257"/>
                  </a:cubicBezTo>
                  <a:cubicBezTo>
                    <a:pt x="363" y="260"/>
                    <a:pt x="363" y="260"/>
                    <a:pt x="363" y="260"/>
                  </a:cubicBezTo>
                  <a:cubicBezTo>
                    <a:pt x="356" y="256"/>
                    <a:pt x="356" y="256"/>
                    <a:pt x="356" y="256"/>
                  </a:cubicBezTo>
                  <a:cubicBezTo>
                    <a:pt x="356" y="256"/>
                    <a:pt x="357" y="254"/>
                    <a:pt x="355" y="254"/>
                  </a:cubicBezTo>
                  <a:cubicBezTo>
                    <a:pt x="353" y="254"/>
                    <a:pt x="347" y="253"/>
                    <a:pt x="347" y="253"/>
                  </a:cubicBezTo>
                  <a:cubicBezTo>
                    <a:pt x="348" y="255"/>
                    <a:pt x="348" y="255"/>
                    <a:pt x="348" y="255"/>
                  </a:cubicBezTo>
                  <a:cubicBezTo>
                    <a:pt x="348" y="255"/>
                    <a:pt x="353" y="257"/>
                    <a:pt x="352" y="259"/>
                  </a:cubicBezTo>
                  <a:cubicBezTo>
                    <a:pt x="352" y="261"/>
                    <a:pt x="344" y="257"/>
                    <a:pt x="344" y="257"/>
                  </a:cubicBezTo>
                  <a:cubicBezTo>
                    <a:pt x="344" y="257"/>
                    <a:pt x="331" y="250"/>
                    <a:pt x="325" y="247"/>
                  </a:cubicBezTo>
                  <a:cubicBezTo>
                    <a:pt x="321" y="244"/>
                    <a:pt x="310" y="241"/>
                    <a:pt x="306" y="240"/>
                  </a:cubicBezTo>
                  <a:cubicBezTo>
                    <a:pt x="302" y="239"/>
                    <a:pt x="295" y="235"/>
                    <a:pt x="289" y="233"/>
                  </a:cubicBezTo>
                  <a:cubicBezTo>
                    <a:pt x="282" y="230"/>
                    <a:pt x="270" y="230"/>
                    <a:pt x="270" y="230"/>
                  </a:cubicBezTo>
                  <a:cubicBezTo>
                    <a:pt x="269" y="230"/>
                    <a:pt x="269" y="230"/>
                    <a:pt x="269" y="230"/>
                  </a:cubicBezTo>
                  <a:cubicBezTo>
                    <a:pt x="269" y="230"/>
                    <a:pt x="266" y="228"/>
                    <a:pt x="265" y="226"/>
                  </a:cubicBezTo>
                  <a:cubicBezTo>
                    <a:pt x="264" y="226"/>
                    <a:pt x="262" y="229"/>
                    <a:pt x="262" y="229"/>
                  </a:cubicBezTo>
                  <a:cubicBezTo>
                    <a:pt x="256" y="229"/>
                    <a:pt x="256" y="229"/>
                    <a:pt x="256" y="229"/>
                  </a:cubicBezTo>
                  <a:cubicBezTo>
                    <a:pt x="256" y="228"/>
                    <a:pt x="256" y="228"/>
                    <a:pt x="256" y="228"/>
                  </a:cubicBezTo>
                  <a:cubicBezTo>
                    <a:pt x="248" y="230"/>
                    <a:pt x="248" y="230"/>
                    <a:pt x="248" y="230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8" y="233"/>
                    <a:pt x="246" y="233"/>
                  </a:cubicBezTo>
                  <a:cubicBezTo>
                    <a:pt x="244" y="233"/>
                    <a:pt x="244" y="235"/>
                    <a:pt x="244" y="235"/>
                  </a:cubicBezTo>
                  <a:cubicBezTo>
                    <a:pt x="244" y="235"/>
                    <a:pt x="242" y="234"/>
                    <a:pt x="240" y="233"/>
                  </a:cubicBezTo>
                  <a:cubicBezTo>
                    <a:pt x="238" y="233"/>
                    <a:pt x="231" y="234"/>
                    <a:pt x="231" y="234"/>
                  </a:cubicBezTo>
                  <a:cubicBezTo>
                    <a:pt x="229" y="232"/>
                    <a:pt x="229" y="232"/>
                    <a:pt x="229" y="232"/>
                  </a:cubicBezTo>
                  <a:cubicBezTo>
                    <a:pt x="217" y="234"/>
                    <a:pt x="217" y="234"/>
                    <a:pt x="217" y="234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7" y="236"/>
                    <a:pt x="211" y="234"/>
                    <a:pt x="210" y="236"/>
                  </a:cubicBezTo>
                  <a:cubicBezTo>
                    <a:pt x="209" y="239"/>
                    <a:pt x="212" y="247"/>
                    <a:pt x="212" y="247"/>
                  </a:cubicBezTo>
                  <a:cubicBezTo>
                    <a:pt x="212" y="247"/>
                    <a:pt x="211" y="250"/>
                    <a:pt x="209" y="251"/>
                  </a:cubicBezTo>
                  <a:cubicBezTo>
                    <a:pt x="208" y="253"/>
                    <a:pt x="205" y="255"/>
                    <a:pt x="203" y="254"/>
                  </a:cubicBezTo>
                  <a:cubicBezTo>
                    <a:pt x="202" y="253"/>
                    <a:pt x="207" y="249"/>
                    <a:pt x="208" y="247"/>
                  </a:cubicBezTo>
                  <a:cubicBezTo>
                    <a:pt x="210" y="246"/>
                    <a:pt x="210" y="244"/>
                    <a:pt x="210" y="244"/>
                  </a:cubicBezTo>
                  <a:cubicBezTo>
                    <a:pt x="206" y="241"/>
                    <a:pt x="206" y="241"/>
                    <a:pt x="206" y="241"/>
                  </a:cubicBezTo>
                  <a:cubicBezTo>
                    <a:pt x="207" y="239"/>
                    <a:pt x="207" y="239"/>
                    <a:pt x="207" y="239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241"/>
                    <a:pt x="208" y="234"/>
                    <a:pt x="205" y="231"/>
                  </a:cubicBezTo>
                  <a:cubicBezTo>
                    <a:pt x="201" y="228"/>
                    <a:pt x="194" y="236"/>
                    <a:pt x="194" y="236"/>
                  </a:cubicBezTo>
                  <a:cubicBezTo>
                    <a:pt x="193" y="240"/>
                    <a:pt x="193" y="240"/>
                    <a:pt x="193" y="240"/>
                  </a:cubicBezTo>
                  <a:cubicBezTo>
                    <a:pt x="190" y="240"/>
                    <a:pt x="190" y="240"/>
                    <a:pt x="190" y="240"/>
                  </a:cubicBezTo>
                  <a:cubicBezTo>
                    <a:pt x="193" y="236"/>
                    <a:pt x="193" y="236"/>
                    <a:pt x="193" y="236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1" y="234"/>
                    <a:pt x="191" y="234"/>
                    <a:pt x="191" y="234"/>
                  </a:cubicBezTo>
                  <a:cubicBezTo>
                    <a:pt x="190" y="232"/>
                    <a:pt x="190" y="232"/>
                    <a:pt x="190" y="232"/>
                  </a:cubicBezTo>
                  <a:cubicBezTo>
                    <a:pt x="186" y="232"/>
                    <a:pt x="186" y="232"/>
                    <a:pt x="186" y="232"/>
                  </a:cubicBezTo>
                  <a:cubicBezTo>
                    <a:pt x="186" y="234"/>
                    <a:pt x="186" y="234"/>
                    <a:pt x="186" y="234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6"/>
                    <a:pt x="182" y="236"/>
                    <a:pt x="182" y="236"/>
                  </a:cubicBezTo>
                  <a:cubicBezTo>
                    <a:pt x="177" y="237"/>
                    <a:pt x="177" y="237"/>
                    <a:pt x="177" y="237"/>
                  </a:cubicBezTo>
                  <a:cubicBezTo>
                    <a:pt x="180" y="231"/>
                    <a:pt x="180" y="231"/>
                    <a:pt x="180" y="231"/>
                  </a:cubicBezTo>
                  <a:cubicBezTo>
                    <a:pt x="178" y="231"/>
                    <a:pt x="178" y="231"/>
                    <a:pt x="178" y="231"/>
                  </a:cubicBezTo>
                  <a:cubicBezTo>
                    <a:pt x="178" y="231"/>
                    <a:pt x="178" y="229"/>
                    <a:pt x="175" y="229"/>
                  </a:cubicBezTo>
                  <a:cubicBezTo>
                    <a:pt x="172" y="229"/>
                    <a:pt x="169" y="232"/>
                    <a:pt x="169" y="232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6" y="226"/>
                    <a:pt x="166" y="226"/>
                    <a:pt x="166" y="226"/>
                  </a:cubicBezTo>
                  <a:cubicBezTo>
                    <a:pt x="168" y="223"/>
                    <a:pt x="168" y="223"/>
                    <a:pt x="168" y="223"/>
                  </a:cubicBezTo>
                  <a:cubicBezTo>
                    <a:pt x="167" y="222"/>
                    <a:pt x="167" y="222"/>
                    <a:pt x="167" y="222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71" y="222"/>
                    <a:pt x="169" y="223"/>
                    <a:pt x="171" y="225"/>
                  </a:cubicBezTo>
                  <a:cubicBezTo>
                    <a:pt x="174" y="228"/>
                    <a:pt x="188" y="225"/>
                    <a:pt x="188" y="225"/>
                  </a:cubicBezTo>
                  <a:cubicBezTo>
                    <a:pt x="188" y="225"/>
                    <a:pt x="190" y="223"/>
                    <a:pt x="190" y="221"/>
                  </a:cubicBezTo>
                  <a:cubicBezTo>
                    <a:pt x="190" y="213"/>
                    <a:pt x="190" y="213"/>
                    <a:pt x="190" y="213"/>
                  </a:cubicBezTo>
                  <a:cubicBezTo>
                    <a:pt x="190" y="213"/>
                    <a:pt x="177" y="215"/>
                    <a:pt x="175" y="213"/>
                  </a:cubicBezTo>
                  <a:cubicBezTo>
                    <a:pt x="173" y="212"/>
                    <a:pt x="161" y="207"/>
                    <a:pt x="159" y="208"/>
                  </a:cubicBezTo>
                  <a:cubicBezTo>
                    <a:pt x="158" y="210"/>
                    <a:pt x="161" y="213"/>
                    <a:pt x="161" y="213"/>
                  </a:cubicBezTo>
                  <a:cubicBezTo>
                    <a:pt x="161" y="215"/>
                    <a:pt x="161" y="215"/>
                    <a:pt x="161" y="215"/>
                  </a:cubicBezTo>
                  <a:cubicBezTo>
                    <a:pt x="161" y="215"/>
                    <a:pt x="167" y="217"/>
                    <a:pt x="166" y="219"/>
                  </a:cubicBezTo>
                  <a:cubicBezTo>
                    <a:pt x="164" y="220"/>
                    <a:pt x="160" y="216"/>
                    <a:pt x="157" y="217"/>
                  </a:cubicBezTo>
                  <a:cubicBezTo>
                    <a:pt x="155" y="219"/>
                    <a:pt x="158" y="224"/>
                    <a:pt x="158" y="224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60" y="225"/>
                    <a:pt x="158" y="226"/>
                    <a:pt x="155" y="228"/>
                  </a:cubicBezTo>
                  <a:cubicBezTo>
                    <a:pt x="153" y="228"/>
                    <a:pt x="153" y="231"/>
                    <a:pt x="153" y="231"/>
                  </a:cubicBezTo>
                  <a:cubicBezTo>
                    <a:pt x="153" y="231"/>
                    <a:pt x="151" y="225"/>
                    <a:pt x="145" y="224"/>
                  </a:cubicBezTo>
                  <a:cubicBezTo>
                    <a:pt x="144" y="224"/>
                    <a:pt x="142" y="224"/>
                    <a:pt x="141" y="225"/>
                  </a:cubicBezTo>
                  <a:cubicBezTo>
                    <a:pt x="141" y="228"/>
                    <a:pt x="141" y="228"/>
                    <a:pt x="141" y="228"/>
                  </a:cubicBezTo>
                  <a:cubicBezTo>
                    <a:pt x="141" y="228"/>
                    <a:pt x="146" y="231"/>
                    <a:pt x="143" y="237"/>
                  </a:cubicBezTo>
                  <a:cubicBezTo>
                    <a:pt x="141" y="244"/>
                    <a:pt x="134" y="236"/>
                    <a:pt x="131" y="236"/>
                  </a:cubicBezTo>
                  <a:cubicBezTo>
                    <a:pt x="129" y="235"/>
                    <a:pt x="125" y="235"/>
                    <a:pt x="125" y="235"/>
                  </a:cubicBezTo>
                  <a:cubicBezTo>
                    <a:pt x="125" y="235"/>
                    <a:pt x="130" y="242"/>
                    <a:pt x="130" y="247"/>
                  </a:cubicBezTo>
                  <a:cubicBezTo>
                    <a:pt x="130" y="251"/>
                    <a:pt x="124" y="249"/>
                    <a:pt x="122" y="250"/>
                  </a:cubicBezTo>
                  <a:cubicBezTo>
                    <a:pt x="121" y="250"/>
                    <a:pt x="122" y="255"/>
                    <a:pt x="119" y="257"/>
                  </a:cubicBezTo>
                  <a:cubicBezTo>
                    <a:pt x="117" y="259"/>
                    <a:pt x="113" y="259"/>
                    <a:pt x="112" y="262"/>
                  </a:cubicBezTo>
                  <a:cubicBezTo>
                    <a:pt x="111" y="265"/>
                    <a:pt x="114" y="264"/>
                    <a:pt x="114" y="264"/>
                  </a:cubicBezTo>
                  <a:cubicBezTo>
                    <a:pt x="114" y="264"/>
                    <a:pt x="115" y="278"/>
                    <a:pt x="112" y="280"/>
                  </a:cubicBezTo>
                  <a:cubicBezTo>
                    <a:pt x="110" y="282"/>
                    <a:pt x="106" y="278"/>
                    <a:pt x="106" y="278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108" y="291"/>
                    <a:pt x="108" y="291"/>
                    <a:pt x="108" y="291"/>
                  </a:cubicBezTo>
                  <a:cubicBezTo>
                    <a:pt x="105" y="311"/>
                    <a:pt x="105" y="311"/>
                    <a:pt x="105" y="311"/>
                  </a:cubicBezTo>
                  <a:cubicBezTo>
                    <a:pt x="114" y="334"/>
                    <a:pt x="114" y="334"/>
                    <a:pt x="114" y="334"/>
                  </a:cubicBezTo>
                  <a:cubicBezTo>
                    <a:pt x="135" y="338"/>
                    <a:pt x="135" y="338"/>
                    <a:pt x="135" y="338"/>
                  </a:cubicBezTo>
                  <a:cubicBezTo>
                    <a:pt x="147" y="354"/>
                    <a:pt x="147" y="354"/>
                    <a:pt x="147" y="354"/>
                  </a:cubicBezTo>
                  <a:cubicBezTo>
                    <a:pt x="147" y="354"/>
                    <a:pt x="159" y="354"/>
                    <a:pt x="160" y="363"/>
                  </a:cubicBezTo>
                  <a:cubicBezTo>
                    <a:pt x="161" y="373"/>
                    <a:pt x="146" y="408"/>
                    <a:pt x="146" y="408"/>
                  </a:cubicBezTo>
                  <a:cubicBezTo>
                    <a:pt x="146" y="408"/>
                    <a:pt x="157" y="425"/>
                    <a:pt x="163" y="429"/>
                  </a:cubicBezTo>
                  <a:cubicBezTo>
                    <a:pt x="171" y="435"/>
                    <a:pt x="170" y="444"/>
                    <a:pt x="173" y="446"/>
                  </a:cubicBezTo>
                  <a:cubicBezTo>
                    <a:pt x="173" y="446"/>
                    <a:pt x="186" y="453"/>
                    <a:pt x="190" y="461"/>
                  </a:cubicBezTo>
                  <a:cubicBezTo>
                    <a:pt x="195" y="470"/>
                    <a:pt x="197" y="480"/>
                    <a:pt x="197" y="480"/>
                  </a:cubicBezTo>
                  <a:cubicBezTo>
                    <a:pt x="186" y="486"/>
                    <a:pt x="186" y="486"/>
                    <a:pt x="186" y="486"/>
                  </a:cubicBezTo>
                  <a:cubicBezTo>
                    <a:pt x="193" y="488"/>
                    <a:pt x="193" y="488"/>
                    <a:pt x="193" y="488"/>
                  </a:cubicBezTo>
                  <a:cubicBezTo>
                    <a:pt x="189" y="493"/>
                    <a:pt x="189" y="493"/>
                    <a:pt x="189" y="493"/>
                  </a:cubicBezTo>
                  <a:cubicBezTo>
                    <a:pt x="192" y="502"/>
                    <a:pt x="192" y="502"/>
                    <a:pt x="192" y="502"/>
                  </a:cubicBezTo>
                  <a:cubicBezTo>
                    <a:pt x="189" y="514"/>
                    <a:pt x="189" y="514"/>
                    <a:pt x="189" y="514"/>
                  </a:cubicBezTo>
                  <a:cubicBezTo>
                    <a:pt x="200" y="512"/>
                    <a:pt x="200" y="512"/>
                    <a:pt x="200" y="512"/>
                  </a:cubicBezTo>
                  <a:cubicBezTo>
                    <a:pt x="201" y="517"/>
                    <a:pt x="201" y="517"/>
                    <a:pt x="201" y="517"/>
                  </a:cubicBezTo>
                  <a:cubicBezTo>
                    <a:pt x="194" y="522"/>
                    <a:pt x="194" y="522"/>
                    <a:pt x="194" y="522"/>
                  </a:cubicBezTo>
                  <a:cubicBezTo>
                    <a:pt x="201" y="538"/>
                    <a:pt x="201" y="538"/>
                    <a:pt x="201" y="538"/>
                  </a:cubicBezTo>
                  <a:cubicBezTo>
                    <a:pt x="211" y="533"/>
                    <a:pt x="211" y="533"/>
                    <a:pt x="211" y="533"/>
                  </a:cubicBezTo>
                  <a:cubicBezTo>
                    <a:pt x="216" y="541"/>
                    <a:pt x="216" y="541"/>
                    <a:pt x="216" y="541"/>
                  </a:cubicBezTo>
                  <a:cubicBezTo>
                    <a:pt x="216" y="541"/>
                    <a:pt x="210" y="547"/>
                    <a:pt x="217" y="556"/>
                  </a:cubicBezTo>
                  <a:cubicBezTo>
                    <a:pt x="222" y="565"/>
                    <a:pt x="232" y="559"/>
                    <a:pt x="236" y="567"/>
                  </a:cubicBezTo>
                  <a:cubicBezTo>
                    <a:pt x="240" y="576"/>
                    <a:pt x="235" y="591"/>
                    <a:pt x="235" y="591"/>
                  </a:cubicBezTo>
                  <a:cubicBezTo>
                    <a:pt x="236" y="595"/>
                    <a:pt x="236" y="595"/>
                    <a:pt x="236" y="595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48" y="615"/>
                    <a:pt x="248" y="615"/>
                    <a:pt x="248" y="615"/>
                  </a:cubicBezTo>
                  <a:cubicBezTo>
                    <a:pt x="259" y="617"/>
                    <a:pt x="259" y="617"/>
                    <a:pt x="259" y="617"/>
                  </a:cubicBezTo>
                  <a:cubicBezTo>
                    <a:pt x="275" y="625"/>
                    <a:pt x="275" y="625"/>
                    <a:pt x="275" y="625"/>
                  </a:cubicBezTo>
                  <a:cubicBezTo>
                    <a:pt x="278" y="633"/>
                    <a:pt x="278" y="633"/>
                    <a:pt x="278" y="633"/>
                  </a:cubicBezTo>
                  <a:cubicBezTo>
                    <a:pt x="278" y="633"/>
                    <a:pt x="290" y="633"/>
                    <a:pt x="291" y="639"/>
                  </a:cubicBezTo>
                  <a:cubicBezTo>
                    <a:pt x="291" y="645"/>
                    <a:pt x="289" y="669"/>
                    <a:pt x="287" y="673"/>
                  </a:cubicBezTo>
                  <a:cubicBezTo>
                    <a:pt x="284" y="681"/>
                    <a:pt x="284" y="681"/>
                    <a:pt x="284" y="681"/>
                  </a:cubicBezTo>
                  <a:cubicBezTo>
                    <a:pt x="284" y="681"/>
                    <a:pt x="275" y="694"/>
                    <a:pt x="272" y="706"/>
                  </a:cubicBezTo>
                  <a:cubicBezTo>
                    <a:pt x="269" y="717"/>
                    <a:pt x="261" y="737"/>
                    <a:pt x="258" y="742"/>
                  </a:cubicBezTo>
                  <a:cubicBezTo>
                    <a:pt x="255" y="748"/>
                    <a:pt x="250" y="761"/>
                    <a:pt x="250" y="761"/>
                  </a:cubicBezTo>
                  <a:cubicBezTo>
                    <a:pt x="237" y="775"/>
                    <a:pt x="237" y="775"/>
                    <a:pt x="237" y="775"/>
                  </a:cubicBezTo>
                  <a:cubicBezTo>
                    <a:pt x="236" y="784"/>
                    <a:pt x="236" y="784"/>
                    <a:pt x="236" y="784"/>
                  </a:cubicBezTo>
                  <a:cubicBezTo>
                    <a:pt x="232" y="787"/>
                    <a:pt x="232" y="787"/>
                    <a:pt x="232" y="787"/>
                  </a:cubicBezTo>
                  <a:cubicBezTo>
                    <a:pt x="221" y="802"/>
                    <a:pt x="221" y="802"/>
                    <a:pt x="221" y="802"/>
                  </a:cubicBezTo>
                  <a:cubicBezTo>
                    <a:pt x="213" y="818"/>
                    <a:pt x="213" y="818"/>
                    <a:pt x="213" y="818"/>
                  </a:cubicBezTo>
                  <a:cubicBezTo>
                    <a:pt x="213" y="819"/>
                    <a:pt x="213" y="819"/>
                    <a:pt x="213" y="819"/>
                  </a:cubicBezTo>
                  <a:cubicBezTo>
                    <a:pt x="216" y="820"/>
                    <a:pt x="216" y="820"/>
                    <a:pt x="216" y="820"/>
                  </a:cubicBezTo>
                  <a:cubicBezTo>
                    <a:pt x="225" y="818"/>
                    <a:pt x="225" y="818"/>
                    <a:pt x="225" y="818"/>
                  </a:cubicBezTo>
                  <a:cubicBezTo>
                    <a:pt x="231" y="809"/>
                    <a:pt x="231" y="809"/>
                    <a:pt x="231" y="809"/>
                  </a:cubicBezTo>
                  <a:cubicBezTo>
                    <a:pt x="235" y="805"/>
                    <a:pt x="235" y="805"/>
                    <a:pt x="235" y="805"/>
                  </a:cubicBezTo>
                  <a:cubicBezTo>
                    <a:pt x="235" y="805"/>
                    <a:pt x="236" y="800"/>
                    <a:pt x="238" y="801"/>
                  </a:cubicBezTo>
                  <a:cubicBezTo>
                    <a:pt x="241" y="802"/>
                    <a:pt x="239" y="805"/>
                    <a:pt x="239" y="805"/>
                  </a:cubicBezTo>
                  <a:cubicBezTo>
                    <a:pt x="242" y="819"/>
                    <a:pt x="242" y="819"/>
                    <a:pt x="242" y="819"/>
                  </a:cubicBezTo>
                  <a:cubicBezTo>
                    <a:pt x="235" y="814"/>
                    <a:pt x="235" y="814"/>
                    <a:pt x="235" y="814"/>
                  </a:cubicBezTo>
                  <a:cubicBezTo>
                    <a:pt x="234" y="815"/>
                    <a:pt x="234" y="815"/>
                    <a:pt x="234" y="815"/>
                  </a:cubicBezTo>
                  <a:cubicBezTo>
                    <a:pt x="241" y="823"/>
                    <a:pt x="241" y="823"/>
                    <a:pt x="241" y="823"/>
                  </a:cubicBezTo>
                  <a:cubicBezTo>
                    <a:pt x="246" y="825"/>
                    <a:pt x="246" y="825"/>
                    <a:pt x="246" y="825"/>
                  </a:cubicBezTo>
                  <a:cubicBezTo>
                    <a:pt x="256" y="833"/>
                    <a:pt x="256" y="833"/>
                    <a:pt x="256" y="833"/>
                  </a:cubicBezTo>
                  <a:cubicBezTo>
                    <a:pt x="256" y="833"/>
                    <a:pt x="260" y="835"/>
                    <a:pt x="269" y="832"/>
                  </a:cubicBezTo>
                  <a:cubicBezTo>
                    <a:pt x="276" y="828"/>
                    <a:pt x="281" y="823"/>
                    <a:pt x="286" y="827"/>
                  </a:cubicBezTo>
                  <a:cubicBezTo>
                    <a:pt x="291" y="831"/>
                    <a:pt x="292" y="835"/>
                    <a:pt x="292" y="835"/>
                  </a:cubicBezTo>
                  <a:cubicBezTo>
                    <a:pt x="301" y="836"/>
                    <a:pt x="301" y="836"/>
                    <a:pt x="301" y="836"/>
                  </a:cubicBezTo>
                  <a:cubicBezTo>
                    <a:pt x="299" y="844"/>
                    <a:pt x="299" y="844"/>
                    <a:pt x="299" y="844"/>
                  </a:cubicBezTo>
                  <a:cubicBezTo>
                    <a:pt x="267" y="841"/>
                    <a:pt x="267" y="841"/>
                    <a:pt x="267" y="841"/>
                  </a:cubicBezTo>
                  <a:cubicBezTo>
                    <a:pt x="261" y="847"/>
                    <a:pt x="261" y="847"/>
                    <a:pt x="261" y="847"/>
                  </a:cubicBezTo>
                  <a:cubicBezTo>
                    <a:pt x="261" y="847"/>
                    <a:pt x="270" y="853"/>
                    <a:pt x="262" y="856"/>
                  </a:cubicBezTo>
                  <a:cubicBezTo>
                    <a:pt x="255" y="860"/>
                    <a:pt x="249" y="856"/>
                    <a:pt x="249" y="856"/>
                  </a:cubicBezTo>
                  <a:cubicBezTo>
                    <a:pt x="243" y="860"/>
                    <a:pt x="243" y="860"/>
                    <a:pt x="243" y="860"/>
                  </a:cubicBezTo>
                  <a:cubicBezTo>
                    <a:pt x="243" y="860"/>
                    <a:pt x="251" y="866"/>
                    <a:pt x="245" y="868"/>
                  </a:cubicBezTo>
                  <a:cubicBezTo>
                    <a:pt x="240" y="869"/>
                    <a:pt x="236" y="862"/>
                    <a:pt x="236" y="862"/>
                  </a:cubicBezTo>
                  <a:cubicBezTo>
                    <a:pt x="234" y="865"/>
                    <a:pt x="234" y="865"/>
                    <a:pt x="234" y="865"/>
                  </a:cubicBezTo>
                  <a:cubicBezTo>
                    <a:pt x="234" y="870"/>
                    <a:pt x="234" y="870"/>
                    <a:pt x="234" y="870"/>
                  </a:cubicBezTo>
                  <a:cubicBezTo>
                    <a:pt x="239" y="876"/>
                    <a:pt x="239" y="876"/>
                    <a:pt x="239" y="876"/>
                  </a:cubicBezTo>
                  <a:cubicBezTo>
                    <a:pt x="238" y="883"/>
                    <a:pt x="238" y="883"/>
                    <a:pt x="238" y="883"/>
                  </a:cubicBezTo>
                  <a:cubicBezTo>
                    <a:pt x="244" y="888"/>
                    <a:pt x="244" y="888"/>
                    <a:pt x="244" y="888"/>
                  </a:cubicBezTo>
                  <a:cubicBezTo>
                    <a:pt x="244" y="888"/>
                    <a:pt x="238" y="892"/>
                    <a:pt x="238" y="894"/>
                  </a:cubicBezTo>
                  <a:cubicBezTo>
                    <a:pt x="238" y="895"/>
                    <a:pt x="240" y="897"/>
                    <a:pt x="240" y="897"/>
                  </a:cubicBezTo>
                  <a:cubicBezTo>
                    <a:pt x="237" y="913"/>
                    <a:pt x="237" y="913"/>
                    <a:pt x="237" y="913"/>
                  </a:cubicBezTo>
                  <a:cubicBezTo>
                    <a:pt x="237" y="913"/>
                    <a:pt x="233" y="923"/>
                    <a:pt x="232" y="925"/>
                  </a:cubicBezTo>
                  <a:cubicBezTo>
                    <a:pt x="229" y="927"/>
                    <a:pt x="226" y="930"/>
                    <a:pt x="226" y="930"/>
                  </a:cubicBezTo>
                  <a:cubicBezTo>
                    <a:pt x="226" y="930"/>
                    <a:pt x="232" y="942"/>
                    <a:pt x="235" y="948"/>
                  </a:cubicBezTo>
                  <a:cubicBezTo>
                    <a:pt x="238" y="955"/>
                    <a:pt x="239" y="965"/>
                    <a:pt x="239" y="965"/>
                  </a:cubicBezTo>
                  <a:cubicBezTo>
                    <a:pt x="239" y="965"/>
                    <a:pt x="244" y="969"/>
                    <a:pt x="244" y="972"/>
                  </a:cubicBezTo>
                  <a:cubicBezTo>
                    <a:pt x="245" y="976"/>
                    <a:pt x="245" y="979"/>
                    <a:pt x="245" y="979"/>
                  </a:cubicBezTo>
                  <a:cubicBezTo>
                    <a:pt x="245" y="979"/>
                    <a:pt x="255" y="985"/>
                    <a:pt x="255" y="987"/>
                  </a:cubicBezTo>
                  <a:cubicBezTo>
                    <a:pt x="254" y="989"/>
                    <a:pt x="245" y="991"/>
                    <a:pt x="245" y="991"/>
                  </a:cubicBezTo>
                  <a:cubicBezTo>
                    <a:pt x="245" y="991"/>
                    <a:pt x="248" y="995"/>
                    <a:pt x="248" y="997"/>
                  </a:cubicBezTo>
                  <a:cubicBezTo>
                    <a:pt x="246" y="1000"/>
                    <a:pt x="243" y="1000"/>
                    <a:pt x="243" y="1000"/>
                  </a:cubicBezTo>
                  <a:cubicBezTo>
                    <a:pt x="242" y="1006"/>
                    <a:pt x="242" y="1006"/>
                    <a:pt x="242" y="1006"/>
                  </a:cubicBezTo>
                  <a:cubicBezTo>
                    <a:pt x="243" y="1010"/>
                    <a:pt x="243" y="1010"/>
                    <a:pt x="243" y="1010"/>
                  </a:cubicBezTo>
                  <a:cubicBezTo>
                    <a:pt x="246" y="1009"/>
                    <a:pt x="250" y="1009"/>
                    <a:pt x="250" y="1009"/>
                  </a:cubicBezTo>
                  <a:cubicBezTo>
                    <a:pt x="252" y="1016"/>
                    <a:pt x="252" y="1016"/>
                    <a:pt x="252" y="1016"/>
                  </a:cubicBezTo>
                  <a:cubicBezTo>
                    <a:pt x="252" y="1016"/>
                    <a:pt x="259" y="1017"/>
                    <a:pt x="261" y="1018"/>
                  </a:cubicBezTo>
                  <a:cubicBezTo>
                    <a:pt x="264" y="1019"/>
                    <a:pt x="267" y="1022"/>
                    <a:pt x="267" y="1022"/>
                  </a:cubicBezTo>
                  <a:cubicBezTo>
                    <a:pt x="267" y="1033"/>
                    <a:pt x="267" y="1033"/>
                    <a:pt x="267" y="1033"/>
                  </a:cubicBezTo>
                  <a:cubicBezTo>
                    <a:pt x="264" y="1037"/>
                    <a:pt x="264" y="1037"/>
                    <a:pt x="264" y="1037"/>
                  </a:cubicBezTo>
                  <a:cubicBezTo>
                    <a:pt x="266" y="1041"/>
                    <a:pt x="266" y="1041"/>
                    <a:pt x="266" y="1041"/>
                  </a:cubicBezTo>
                  <a:cubicBezTo>
                    <a:pt x="264" y="1052"/>
                    <a:pt x="264" y="1052"/>
                    <a:pt x="264" y="1052"/>
                  </a:cubicBezTo>
                  <a:cubicBezTo>
                    <a:pt x="264" y="1052"/>
                    <a:pt x="269" y="1049"/>
                    <a:pt x="272" y="1049"/>
                  </a:cubicBezTo>
                  <a:cubicBezTo>
                    <a:pt x="274" y="1049"/>
                    <a:pt x="276" y="1052"/>
                    <a:pt x="276" y="1052"/>
                  </a:cubicBezTo>
                  <a:cubicBezTo>
                    <a:pt x="274" y="1057"/>
                    <a:pt x="274" y="1057"/>
                    <a:pt x="274" y="1057"/>
                  </a:cubicBezTo>
                  <a:cubicBezTo>
                    <a:pt x="282" y="1059"/>
                    <a:pt x="282" y="1059"/>
                    <a:pt x="282" y="1059"/>
                  </a:cubicBezTo>
                  <a:cubicBezTo>
                    <a:pt x="283" y="1064"/>
                    <a:pt x="283" y="1064"/>
                    <a:pt x="283" y="1064"/>
                  </a:cubicBezTo>
                  <a:cubicBezTo>
                    <a:pt x="286" y="1065"/>
                    <a:pt x="286" y="1065"/>
                    <a:pt x="286" y="1065"/>
                  </a:cubicBezTo>
                  <a:cubicBezTo>
                    <a:pt x="289" y="1074"/>
                    <a:pt x="289" y="1074"/>
                    <a:pt x="289" y="1074"/>
                  </a:cubicBezTo>
                  <a:cubicBezTo>
                    <a:pt x="291" y="1080"/>
                    <a:pt x="291" y="1080"/>
                    <a:pt x="291" y="1080"/>
                  </a:cubicBezTo>
                  <a:cubicBezTo>
                    <a:pt x="293" y="1081"/>
                    <a:pt x="293" y="1081"/>
                    <a:pt x="293" y="1081"/>
                  </a:cubicBezTo>
                  <a:cubicBezTo>
                    <a:pt x="293" y="1081"/>
                    <a:pt x="294" y="1088"/>
                    <a:pt x="292" y="1092"/>
                  </a:cubicBezTo>
                  <a:cubicBezTo>
                    <a:pt x="291" y="1092"/>
                    <a:pt x="291" y="1092"/>
                    <a:pt x="291" y="1093"/>
                  </a:cubicBezTo>
                  <a:cubicBezTo>
                    <a:pt x="293" y="1093"/>
                    <a:pt x="295" y="1095"/>
                    <a:pt x="298" y="1095"/>
                  </a:cubicBezTo>
                  <a:cubicBezTo>
                    <a:pt x="301" y="1095"/>
                    <a:pt x="307" y="1090"/>
                    <a:pt x="313" y="1091"/>
                  </a:cubicBezTo>
                  <a:cubicBezTo>
                    <a:pt x="318" y="1092"/>
                    <a:pt x="310" y="1100"/>
                    <a:pt x="317" y="1101"/>
                  </a:cubicBezTo>
                  <a:cubicBezTo>
                    <a:pt x="322" y="1102"/>
                    <a:pt x="321" y="1096"/>
                    <a:pt x="323" y="1095"/>
                  </a:cubicBezTo>
                  <a:cubicBezTo>
                    <a:pt x="324" y="1092"/>
                    <a:pt x="338" y="1090"/>
                    <a:pt x="343" y="1095"/>
                  </a:cubicBezTo>
                  <a:cubicBezTo>
                    <a:pt x="349" y="1099"/>
                    <a:pt x="337" y="1108"/>
                    <a:pt x="348" y="1110"/>
                  </a:cubicBezTo>
                  <a:cubicBezTo>
                    <a:pt x="357" y="1110"/>
                    <a:pt x="351" y="1102"/>
                    <a:pt x="351" y="1102"/>
                  </a:cubicBezTo>
                  <a:cubicBezTo>
                    <a:pt x="351" y="1102"/>
                    <a:pt x="357" y="1100"/>
                    <a:pt x="365" y="1097"/>
                  </a:cubicBezTo>
                  <a:cubicBezTo>
                    <a:pt x="371" y="1093"/>
                    <a:pt x="379" y="1093"/>
                    <a:pt x="384" y="1098"/>
                  </a:cubicBezTo>
                  <a:cubicBezTo>
                    <a:pt x="390" y="1101"/>
                    <a:pt x="396" y="1098"/>
                    <a:pt x="402" y="1104"/>
                  </a:cubicBezTo>
                  <a:cubicBezTo>
                    <a:pt x="409" y="1111"/>
                    <a:pt x="401" y="1120"/>
                    <a:pt x="401" y="1120"/>
                  </a:cubicBezTo>
                  <a:cubicBezTo>
                    <a:pt x="413" y="1136"/>
                    <a:pt x="413" y="1136"/>
                    <a:pt x="413" y="1136"/>
                  </a:cubicBezTo>
                  <a:cubicBezTo>
                    <a:pt x="411" y="1154"/>
                    <a:pt x="411" y="1154"/>
                    <a:pt x="411" y="1154"/>
                  </a:cubicBezTo>
                  <a:cubicBezTo>
                    <a:pt x="411" y="1154"/>
                    <a:pt x="422" y="1156"/>
                    <a:pt x="429" y="1160"/>
                  </a:cubicBezTo>
                  <a:cubicBezTo>
                    <a:pt x="435" y="1163"/>
                    <a:pt x="426" y="1170"/>
                    <a:pt x="426" y="1170"/>
                  </a:cubicBezTo>
                  <a:cubicBezTo>
                    <a:pt x="434" y="1172"/>
                    <a:pt x="434" y="1172"/>
                    <a:pt x="434" y="1172"/>
                  </a:cubicBezTo>
                  <a:cubicBezTo>
                    <a:pt x="434" y="1172"/>
                    <a:pt x="435" y="1177"/>
                    <a:pt x="437" y="1181"/>
                  </a:cubicBezTo>
                  <a:cubicBezTo>
                    <a:pt x="438" y="1185"/>
                    <a:pt x="456" y="1186"/>
                    <a:pt x="456" y="1186"/>
                  </a:cubicBezTo>
                  <a:cubicBezTo>
                    <a:pt x="456" y="1186"/>
                    <a:pt x="462" y="1187"/>
                    <a:pt x="465" y="1191"/>
                  </a:cubicBezTo>
                  <a:cubicBezTo>
                    <a:pt x="468" y="1194"/>
                    <a:pt x="466" y="1207"/>
                    <a:pt x="466" y="1207"/>
                  </a:cubicBezTo>
                  <a:cubicBezTo>
                    <a:pt x="479" y="1203"/>
                    <a:pt x="479" y="1203"/>
                    <a:pt x="479" y="1203"/>
                  </a:cubicBezTo>
                  <a:cubicBezTo>
                    <a:pt x="495" y="1205"/>
                    <a:pt x="495" y="1205"/>
                    <a:pt x="495" y="1205"/>
                  </a:cubicBezTo>
                  <a:cubicBezTo>
                    <a:pt x="490" y="1212"/>
                    <a:pt x="490" y="1212"/>
                    <a:pt x="490" y="1212"/>
                  </a:cubicBezTo>
                  <a:cubicBezTo>
                    <a:pt x="510" y="1221"/>
                    <a:pt x="510" y="1221"/>
                    <a:pt x="510" y="1221"/>
                  </a:cubicBezTo>
                  <a:cubicBezTo>
                    <a:pt x="511" y="1226"/>
                    <a:pt x="511" y="1226"/>
                    <a:pt x="511" y="1226"/>
                  </a:cubicBezTo>
                  <a:cubicBezTo>
                    <a:pt x="500" y="1230"/>
                    <a:pt x="500" y="1230"/>
                    <a:pt x="500" y="1230"/>
                  </a:cubicBezTo>
                  <a:cubicBezTo>
                    <a:pt x="502" y="1235"/>
                    <a:pt x="502" y="1235"/>
                    <a:pt x="502" y="1235"/>
                  </a:cubicBezTo>
                  <a:cubicBezTo>
                    <a:pt x="502" y="1235"/>
                    <a:pt x="499" y="1243"/>
                    <a:pt x="490" y="1247"/>
                  </a:cubicBezTo>
                  <a:cubicBezTo>
                    <a:pt x="481" y="1253"/>
                    <a:pt x="472" y="1245"/>
                    <a:pt x="472" y="1245"/>
                  </a:cubicBezTo>
                  <a:cubicBezTo>
                    <a:pt x="461" y="1248"/>
                    <a:pt x="461" y="1248"/>
                    <a:pt x="461" y="1248"/>
                  </a:cubicBezTo>
                  <a:cubicBezTo>
                    <a:pt x="462" y="1256"/>
                    <a:pt x="462" y="1256"/>
                    <a:pt x="462" y="1256"/>
                  </a:cubicBezTo>
                  <a:cubicBezTo>
                    <a:pt x="459" y="1263"/>
                    <a:pt x="459" y="1263"/>
                    <a:pt x="459" y="1263"/>
                  </a:cubicBezTo>
                  <a:cubicBezTo>
                    <a:pt x="459" y="1263"/>
                    <a:pt x="467" y="1265"/>
                    <a:pt x="472" y="1270"/>
                  </a:cubicBezTo>
                  <a:cubicBezTo>
                    <a:pt x="479" y="1275"/>
                    <a:pt x="477" y="1281"/>
                    <a:pt x="477" y="1281"/>
                  </a:cubicBezTo>
                  <a:cubicBezTo>
                    <a:pt x="477" y="1281"/>
                    <a:pt x="479" y="1282"/>
                    <a:pt x="481" y="1286"/>
                  </a:cubicBezTo>
                  <a:cubicBezTo>
                    <a:pt x="484" y="1290"/>
                    <a:pt x="485" y="1302"/>
                    <a:pt x="485" y="1302"/>
                  </a:cubicBezTo>
                  <a:cubicBezTo>
                    <a:pt x="489" y="1305"/>
                    <a:pt x="489" y="1305"/>
                    <a:pt x="489" y="1305"/>
                  </a:cubicBezTo>
                  <a:cubicBezTo>
                    <a:pt x="493" y="1305"/>
                    <a:pt x="500" y="1306"/>
                    <a:pt x="503" y="1303"/>
                  </a:cubicBezTo>
                  <a:cubicBezTo>
                    <a:pt x="508" y="1300"/>
                    <a:pt x="507" y="1285"/>
                    <a:pt x="507" y="1285"/>
                  </a:cubicBezTo>
                  <a:cubicBezTo>
                    <a:pt x="526" y="1285"/>
                    <a:pt x="526" y="1285"/>
                    <a:pt x="526" y="1285"/>
                  </a:cubicBezTo>
                  <a:cubicBezTo>
                    <a:pt x="529" y="1285"/>
                    <a:pt x="529" y="1285"/>
                    <a:pt x="529" y="1285"/>
                  </a:cubicBezTo>
                  <a:cubicBezTo>
                    <a:pt x="533" y="1284"/>
                    <a:pt x="539" y="1272"/>
                    <a:pt x="539" y="1272"/>
                  </a:cubicBezTo>
                  <a:cubicBezTo>
                    <a:pt x="552" y="1272"/>
                    <a:pt x="552" y="1272"/>
                    <a:pt x="552" y="1272"/>
                  </a:cubicBezTo>
                  <a:cubicBezTo>
                    <a:pt x="552" y="1272"/>
                    <a:pt x="552" y="1266"/>
                    <a:pt x="560" y="1265"/>
                  </a:cubicBezTo>
                  <a:cubicBezTo>
                    <a:pt x="568" y="1265"/>
                    <a:pt x="567" y="1271"/>
                    <a:pt x="567" y="1271"/>
                  </a:cubicBezTo>
                  <a:cubicBezTo>
                    <a:pt x="576" y="1272"/>
                    <a:pt x="576" y="1272"/>
                    <a:pt x="576" y="1272"/>
                  </a:cubicBezTo>
                  <a:cubicBezTo>
                    <a:pt x="576" y="1272"/>
                    <a:pt x="576" y="1279"/>
                    <a:pt x="580" y="1285"/>
                  </a:cubicBezTo>
                  <a:cubicBezTo>
                    <a:pt x="584" y="1290"/>
                    <a:pt x="596" y="1291"/>
                    <a:pt x="599" y="1295"/>
                  </a:cubicBezTo>
                  <a:cubicBezTo>
                    <a:pt x="602" y="1301"/>
                    <a:pt x="584" y="1305"/>
                    <a:pt x="584" y="1305"/>
                  </a:cubicBezTo>
                  <a:cubicBezTo>
                    <a:pt x="584" y="1305"/>
                    <a:pt x="587" y="1306"/>
                    <a:pt x="592" y="1310"/>
                  </a:cubicBezTo>
                  <a:cubicBezTo>
                    <a:pt x="597" y="1313"/>
                    <a:pt x="595" y="1321"/>
                    <a:pt x="595" y="1321"/>
                  </a:cubicBezTo>
                  <a:cubicBezTo>
                    <a:pt x="600" y="1321"/>
                    <a:pt x="600" y="1321"/>
                    <a:pt x="600" y="1321"/>
                  </a:cubicBezTo>
                  <a:cubicBezTo>
                    <a:pt x="599" y="1328"/>
                    <a:pt x="599" y="1328"/>
                    <a:pt x="599" y="1328"/>
                  </a:cubicBezTo>
                  <a:cubicBezTo>
                    <a:pt x="613" y="1325"/>
                    <a:pt x="613" y="1325"/>
                    <a:pt x="613" y="1325"/>
                  </a:cubicBezTo>
                  <a:cubicBezTo>
                    <a:pt x="619" y="1329"/>
                    <a:pt x="619" y="1329"/>
                    <a:pt x="619" y="1329"/>
                  </a:cubicBezTo>
                  <a:cubicBezTo>
                    <a:pt x="619" y="1329"/>
                    <a:pt x="629" y="1319"/>
                    <a:pt x="634" y="1319"/>
                  </a:cubicBezTo>
                  <a:cubicBezTo>
                    <a:pt x="639" y="1319"/>
                    <a:pt x="639" y="1328"/>
                    <a:pt x="639" y="1328"/>
                  </a:cubicBezTo>
                  <a:cubicBezTo>
                    <a:pt x="645" y="1324"/>
                    <a:pt x="645" y="1324"/>
                    <a:pt x="645" y="1324"/>
                  </a:cubicBezTo>
                  <a:cubicBezTo>
                    <a:pt x="645" y="1324"/>
                    <a:pt x="649" y="1325"/>
                    <a:pt x="650" y="1325"/>
                  </a:cubicBezTo>
                  <a:cubicBezTo>
                    <a:pt x="651" y="1325"/>
                    <a:pt x="648" y="1333"/>
                    <a:pt x="648" y="1333"/>
                  </a:cubicBezTo>
                  <a:cubicBezTo>
                    <a:pt x="661" y="1349"/>
                    <a:pt x="661" y="1349"/>
                    <a:pt x="661" y="1349"/>
                  </a:cubicBezTo>
                  <a:cubicBezTo>
                    <a:pt x="659" y="1354"/>
                    <a:pt x="659" y="1354"/>
                    <a:pt x="659" y="1354"/>
                  </a:cubicBezTo>
                  <a:cubicBezTo>
                    <a:pt x="659" y="1354"/>
                    <a:pt x="675" y="1366"/>
                    <a:pt x="680" y="1361"/>
                  </a:cubicBezTo>
                  <a:cubicBezTo>
                    <a:pt x="686" y="1357"/>
                    <a:pt x="687" y="1355"/>
                    <a:pt x="693" y="1354"/>
                  </a:cubicBezTo>
                  <a:cubicBezTo>
                    <a:pt x="698" y="1353"/>
                    <a:pt x="698" y="1360"/>
                    <a:pt x="701" y="1360"/>
                  </a:cubicBezTo>
                  <a:cubicBezTo>
                    <a:pt x="704" y="1360"/>
                    <a:pt x="704" y="1356"/>
                    <a:pt x="704" y="1356"/>
                  </a:cubicBezTo>
                  <a:cubicBezTo>
                    <a:pt x="711" y="1356"/>
                    <a:pt x="711" y="1356"/>
                    <a:pt x="711" y="1356"/>
                  </a:cubicBezTo>
                  <a:cubicBezTo>
                    <a:pt x="712" y="1361"/>
                    <a:pt x="712" y="1361"/>
                    <a:pt x="712" y="1361"/>
                  </a:cubicBezTo>
                  <a:cubicBezTo>
                    <a:pt x="717" y="1363"/>
                    <a:pt x="717" y="1363"/>
                    <a:pt x="717" y="1363"/>
                  </a:cubicBezTo>
                  <a:cubicBezTo>
                    <a:pt x="717" y="1363"/>
                    <a:pt x="720" y="1356"/>
                    <a:pt x="721" y="1352"/>
                  </a:cubicBezTo>
                  <a:cubicBezTo>
                    <a:pt x="723" y="1349"/>
                    <a:pt x="734" y="1345"/>
                    <a:pt x="734" y="1345"/>
                  </a:cubicBezTo>
                  <a:cubicBezTo>
                    <a:pt x="744" y="1334"/>
                    <a:pt x="744" y="1334"/>
                    <a:pt x="744" y="1334"/>
                  </a:cubicBezTo>
                  <a:cubicBezTo>
                    <a:pt x="748" y="1339"/>
                    <a:pt x="748" y="1339"/>
                    <a:pt x="748" y="1339"/>
                  </a:cubicBezTo>
                  <a:cubicBezTo>
                    <a:pt x="753" y="1340"/>
                    <a:pt x="753" y="1340"/>
                    <a:pt x="753" y="1340"/>
                  </a:cubicBezTo>
                  <a:cubicBezTo>
                    <a:pt x="754" y="1344"/>
                    <a:pt x="754" y="1344"/>
                    <a:pt x="754" y="1344"/>
                  </a:cubicBezTo>
                  <a:cubicBezTo>
                    <a:pt x="764" y="1354"/>
                    <a:pt x="764" y="1354"/>
                    <a:pt x="764" y="1354"/>
                  </a:cubicBezTo>
                  <a:cubicBezTo>
                    <a:pt x="774" y="1354"/>
                    <a:pt x="774" y="1354"/>
                    <a:pt x="774" y="1354"/>
                  </a:cubicBezTo>
                  <a:cubicBezTo>
                    <a:pt x="779" y="1357"/>
                    <a:pt x="779" y="1357"/>
                    <a:pt x="779" y="1357"/>
                  </a:cubicBezTo>
                  <a:cubicBezTo>
                    <a:pt x="782" y="1354"/>
                    <a:pt x="782" y="1354"/>
                    <a:pt x="782" y="1354"/>
                  </a:cubicBezTo>
                  <a:cubicBezTo>
                    <a:pt x="782" y="1344"/>
                    <a:pt x="782" y="1344"/>
                    <a:pt x="782" y="1344"/>
                  </a:cubicBezTo>
                  <a:cubicBezTo>
                    <a:pt x="797" y="1349"/>
                    <a:pt x="797" y="1349"/>
                    <a:pt x="797" y="1349"/>
                  </a:cubicBezTo>
                  <a:cubicBezTo>
                    <a:pt x="801" y="1343"/>
                    <a:pt x="801" y="1343"/>
                    <a:pt x="801" y="1343"/>
                  </a:cubicBezTo>
                  <a:cubicBezTo>
                    <a:pt x="811" y="1349"/>
                    <a:pt x="811" y="1349"/>
                    <a:pt x="811" y="1349"/>
                  </a:cubicBezTo>
                  <a:cubicBezTo>
                    <a:pt x="819" y="1349"/>
                    <a:pt x="819" y="1349"/>
                    <a:pt x="819" y="1349"/>
                  </a:cubicBezTo>
                  <a:cubicBezTo>
                    <a:pt x="821" y="1341"/>
                    <a:pt x="821" y="1341"/>
                    <a:pt x="821" y="1341"/>
                  </a:cubicBezTo>
                  <a:cubicBezTo>
                    <a:pt x="826" y="1340"/>
                    <a:pt x="826" y="1340"/>
                    <a:pt x="826" y="1340"/>
                  </a:cubicBezTo>
                  <a:cubicBezTo>
                    <a:pt x="826" y="1340"/>
                    <a:pt x="829" y="1344"/>
                    <a:pt x="830" y="1347"/>
                  </a:cubicBezTo>
                  <a:cubicBezTo>
                    <a:pt x="831" y="1349"/>
                    <a:pt x="836" y="1348"/>
                    <a:pt x="836" y="1348"/>
                  </a:cubicBezTo>
                  <a:cubicBezTo>
                    <a:pt x="838" y="1344"/>
                    <a:pt x="838" y="1344"/>
                    <a:pt x="838" y="1344"/>
                  </a:cubicBezTo>
                  <a:cubicBezTo>
                    <a:pt x="845" y="1344"/>
                    <a:pt x="845" y="1344"/>
                    <a:pt x="845" y="1344"/>
                  </a:cubicBezTo>
                  <a:cubicBezTo>
                    <a:pt x="845" y="1344"/>
                    <a:pt x="847" y="1348"/>
                    <a:pt x="851" y="1350"/>
                  </a:cubicBezTo>
                  <a:cubicBezTo>
                    <a:pt x="856" y="1352"/>
                    <a:pt x="862" y="1350"/>
                    <a:pt x="862" y="1350"/>
                  </a:cubicBezTo>
                  <a:cubicBezTo>
                    <a:pt x="864" y="1343"/>
                    <a:pt x="864" y="1343"/>
                    <a:pt x="864" y="1343"/>
                  </a:cubicBezTo>
                  <a:cubicBezTo>
                    <a:pt x="870" y="1343"/>
                    <a:pt x="870" y="1343"/>
                    <a:pt x="870" y="1343"/>
                  </a:cubicBezTo>
                  <a:cubicBezTo>
                    <a:pt x="870" y="1354"/>
                    <a:pt x="870" y="1354"/>
                    <a:pt x="870" y="1354"/>
                  </a:cubicBezTo>
                  <a:cubicBezTo>
                    <a:pt x="870" y="1354"/>
                    <a:pt x="876" y="1357"/>
                    <a:pt x="879" y="1366"/>
                  </a:cubicBezTo>
                  <a:cubicBezTo>
                    <a:pt x="881" y="1374"/>
                    <a:pt x="868" y="1384"/>
                    <a:pt x="868" y="1384"/>
                  </a:cubicBezTo>
                  <a:cubicBezTo>
                    <a:pt x="868" y="1390"/>
                    <a:pt x="868" y="1390"/>
                    <a:pt x="868" y="1390"/>
                  </a:cubicBezTo>
                  <a:cubicBezTo>
                    <a:pt x="885" y="1389"/>
                    <a:pt x="885" y="1389"/>
                    <a:pt x="885" y="1389"/>
                  </a:cubicBezTo>
                  <a:cubicBezTo>
                    <a:pt x="885" y="1394"/>
                    <a:pt x="885" y="1394"/>
                    <a:pt x="885" y="1394"/>
                  </a:cubicBezTo>
                  <a:cubicBezTo>
                    <a:pt x="876" y="1397"/>
                    <a:pt x="876" y="1397"/>
                    <a:pt x="876" y="1397"/>
                  </a:cubicBezTo>
                  <a:cubicBezTo>
                    <a:pt x="876" y="1412"/>
                    <a:pt x="876" y="1412"/>
                    <a:pt x="876" y="1412"/>
                  </a:cubicBezTo>
                  <a:cubicBezTo>
                    <a:pt x="876" y="1412"/>
                    <a:pt x="882" y="1411"/>
                    <a:pt x="889" y="1415"/>
                  </a:cubicBezTo>
                  <a:cubicBezTo>
                    <a:pt x="896" y="1419"/>
                    <a:pt x="892" y="1427"/>
                    <a:pt x="892" y="1427"/>
                  </a:cubicBezTo>
                  <a:cubicBezTo>
                    <a:pt x="897" y="1428"/>
                    <a:pt x="897" y="1428"/>
                    <a:pt x="897" y="1428"/>
                  </a:cubicBezTo>
                  <a:cubicBezTo>
                    <a:pt x="898" y="1442"/>
                    <a:pt x="898" y="1442"/>
                    <a:pt x="898" y="1442"/>
                  </a:cubicBezTo>
                  <a:cubicBezTo>
                    <a:pt x="895" y="1445"/>
                    <a:pt x="895" y="1445"/>
                    <a:pt x="895" y="1445"/>
                  </a:cubicBezTo>
                  <a:cubicBezTo>
                    <a:pt x="895" y="1445"/>
                    <a:pt x="900" y="1449"/>
                    <a:pt x="900" y="1455"/>
                  </a:cubicBezTo>
                  <a:cubicBezTo>
                    <a:pt x="901" y="1462"/>
                    <a:pt x="874" y="1465"/>
                    <a:pt x="866" y="1467"/>
                  </a:cubicBezTo>
                  <a:cubicBezTo>
                    <a:pt x="859" y="1470"/>
                    <a:pt x="860" y="1475"/>
                    <a:pt x="861" y="1479"/>
                  </a:cubicBezTo>
                  <a:cubicBezTo>
                    <a:pt x="861" y="1482"/>
                    <a:pt x="856" y="1485"/>
                    <a:pt x="849" y="1489"/>
                  </a:cubicBezTo>
                  <a:cubicBezTo>
                    <a:pt x="843" y="1492"/>
                    <a:pt x="843" y="1505"/>
                    <a:pt x="847" y="1511"/>
                  </a:cubicBezTo>
                  <a:cubicBezTo>
                    <a:pt x="850" y="1516"/>
                    <a:pt x="852" y="1521"/>
                    <a:pt x="852" y="1524"/>
                  </a:cubicBezTo>
                  <a:cubicBezTo>
                    <a:pt x="870" y="1520"/>
                    <a:pt x="870" y="1520"/>
                    <a:pt x="870" y="1520"/>
                  </a:cubicBezTo>
                  <a:cubicBezTo>
                    <a:pt x="870" y="1511"/>
                    <a:pt x="870" y="1511"/>
                    <a:pt x="870" y="1511"/>
                  </a:cubicBezTo>
                  <a:cubicBezTo>
                    <a:pt x="881" y="1511"/>
                    <a:pt x="881" y="1511"/>
                    <a:pt x="881" y="1511"/>
                  </a:cubicBezTo>
                  <a:cubicBezTo>
                    <a:pt x="880" y="1506"/>
                    <a:pt x="880" y="1506"/>
                    <a:pt x="880" y="1506"/>
                  </a:cubicBezTo>
                  <a:cubicBezTo>
                    <a:pt x="884" y="1500"/>
                    <a:pt x="884" y="1500"/>
                    <a:pt x="884" y="1500"/>
                  </a:cubicBezTo>
                  <a:cubicBezTo>
                    <a:pt x="894" y="1500"/>
                    <a:pt x="894" y="1500"/>
                    <a:pt x="894" y="1500"/>
                  </a:cubicBezTo>
                  <a:cubicBezTo>
                    <a:pt x="893" y="1506"/>
                    <a:pt x="893" y="1506"/>
                    <a:pt x="893" y="1506"/>
                  </a:cubicBezTo>
                  <a:cubicBezTo>
                    <a:pt x="900" y="1515"/>
                    <a:pt x="900" y="1515"/>
                    <a:pt x="900" y="1515"/>
                  </a:cubicBezTo>
                  <a:cubicBezTo>
                    <a:pt x="891" y="1514"/>
                    <a:pt x="891" y="1514"/>
                    <a:pt x="891" y="1514"/>
                  </a:cubicBezTo>
                  <a:cubicBezTo>
                    <a:pt x="891" y="1514"/>
                    <a:pt x="887" y="1521"/>
                    <a:pt x="883" y="1530"/>
                  </a:cubicBezTo>
                  <a:cubicBezTo>
                    <a:pt x="880" y="1540"/>
                    <a:pt x="871" y="1537"/>
                    <a:pt x="871" y="1537"/>
                  </a:cubicBezTo>
                  <a:cubicBezTo>
                    <a:pt x="870" y="1544"/>
                    <a:pt x="870" y="1544"/>
                    <a:pt x="870" y="1544"/>
                  </a:cubicBezTo>
                  <a:cubicBezTo>
                    <a:pt x="878" y="1543"/>
                    <a:pt x="878" y="1543"/>
                    <a:pt x="878" y="1543"/>
                  </a:cubicBezTo>
                  <a:cubicBezTo>
                    <a:pt x="876" y="1549"/>
                    <a:pt x="876" y="1549"/>
                    <a:pt x="876" y="1549"/>
                  </a:cubicBezTo>
                  <a:cubicBezTo>
                    <a:pt x="866" y="1549"/>
                    <a:pt x="866" y="1549"/>
                    <a:pt x="866" y="1549"/>
                  </a:cubicBezTo>
                  <a:cubicBezTo>
                    <a:pt x="858" y="1558"/>
                    <a:pt x="858" y="1558"/>
                    <a:pt x="858" y="1558"/>
                  </a:cubicBezTo>
                  <a:cubicBezTo>
                    <a:pt x="843" y="1558"/>
                    <a:pt x="843" y="1558"/>
                    <a:pt x="843" y="1558"/>
                  </a:cubicBezTo>
                  <a:cubicBezTo>
                    <a:pt x="855" y="1575"/>
                    <a:pt x="855" y="1575"/>
                    <a:pt x="855" y="1575"/>
                  </a:cubicBezTo>
                  <a:cubicBezTo>
                    <a:pt x="855" y="1575"/>
                    <a:pt x="862" y="1571"/>
                    <a:pt x="867" y="1571"/>
                  </a:cubicBezTo>
                  <a:cubicBezTo>
                    <a:pt x="874" y="1571"/>
                    <a:pt x="876" y="1580"/>
                    <a:pt x="876" y="1580"/>
                  </a:cubicBezTo>
                  <a:cubicBezTo>
                    <a:pt x="876" y="1580"/>
                    <a:pt x="893" y="1578"/>
                    <a:pt x="894" y="1586"/>
                  </a:cubicBezTo>
                  <a:cubicBezTo>
                    <a:pt x="895" y="1592"/>
                    <a:pt x="880" y="1585"/>
                    <a:pt x="880" y="1585"/>
                  </a:cubicBezTo>
                  <a:cubicBezTo>
                    <a:pt x="877" y="1599"/>
                    <a:pt x="877" y="1599"/>
                    <a:pt x="877" y="1599"/>
                  </a:cubicBezTo>
                  <a:cubicBezTo>
                    <a:pt x="873" y="1591"/>
                    <a:pt x="873" y="1591"/>
                    <a:pt x="873" y="1591"/>
                  </a:cubicBezTo>
                  <a:cubicBezTo>
                    <a:pt x="867" y="1594"/>
                    <a:pt x="867" y="1594"/>
                    <a:pt x="867" y="1594"/>
                  </a:cubicBezTo>
                  <a:cubicBezTo>
                    <a:pt x="867" y="1594"/>
                    <a:pt x="871" y="1610"/>
                    <a:pt x="871" y="1615"/>
                  </a:cubicBezTo>
                  <a:cubicBezTo>
                    <a:pt x="871" y="1619"/>
                    <a:pt x="865" y="1619"/>
                    <a:pt x="862" y="1623"/>
                  </a:cubicBezTo>
                  <a:cubicBezTo>
                    <a:pt x="859" y="1626"/>
                    <a:pt x="868" y="1634"/>
                    <a:pt x="866" y="1639"/>
                  </a:cubicBezTo>
                  <a:cubicBezTo>
                    <a:pt x="864" y="1646"/>
                    <a:pt x="859" y="1657"/>
                    <a:pt x="852" y="1658"/>
                  </a:cubicBezTo>
                  <a:cubicBezTo>
                    <a:pt x="846" y="1658"/>
                    <a:pt x="844" y="1650"/>
                    <a:pt x="844" y="1650"/>
                  </a:cubicBezTo>
                  <a:cubicBezTo>
                    <a:pt x="830" y="1651"/>
                    <a:pt x="830" y="1651"/>
                    <a:pt x="830" y="1651"/>
                  </a:cubicBezTo>
                  <a:cubicBezTo>
                    <a:pt x="831" y="1656"/>
                    <a:pt x="831" y="1656"/>
                    <a:pt x="831" y="1656"/>
                  </a:cubicBezTo>
                  <a:cubicBezTo>
                    <a:pt x="831" y="1656"/>
                    <a:pt x="841" y="1657"/>
                    <a:pt x="842" y="1659"/>
                  </a:cubicBezTo>
                  <a:cubicBezTo>
                    <a:pt x="842" y="1662"/>
                    <a:pt x="830" y="1669"/>
                    <a:pt x="830" y="1669"/>
                  </a:cubicBezTo>
                  <a:cubicBezTo>
                    <a:pt x="833" y="1674"/>
                    <a:pt x="833" y="1674"/>
                    <a:pt x="833" y="1674"/>
                  </a:cubicBezTo>
                  <a:cubicBezTo>
                    <a:pt x="847" y="1669"/>
                    <a:pt x="847" y="1669"/>
                    <a:pt x="847" y="1669"/>
                  </a:cubicBezTo>
                  <a:cubicBezTo>
                    <a:pt x="847" y="1669"/>
                    <a:pt x="841" y="1664"/>
                    <a:pt x="851" y="1663"/>
                  </a:cubicBezTo>
                  <a:cubicBezTo>
                    <a:pt x="862" y="1663"/>
                    <a:pt x="852" y="1670"/>
                    <a:pt x="852" y="1670"/>
                  </a:cubicBezTo>
                  <a:cubicBezTo>
                    <a:pt x="865" y="1673"/>
                    <a:pt x="865" y="1673"/>
                    <a:pt x="865" y="1673"/>
                  </a:cubicBezTo>
                  <a:cubicBezTo>
                    <a:pt x="873" y="1686"/>
                    <a:pt x="873" y="1686"/>
                    <a:pt x="873" y="1686"/>
                  </a:cubicBezTo>
                  <a:cubicBezTo>
                    <a:pt x="894" y="1684"/>
                    <a:pt x="894" y="1684"/>
                    <a:pt x="894" y="1684"/>
                  </a:cubicBezTo>
                  <a:cubicBezTo>
                    <a:pt x="895" y="1678"/>
                    <a:pt x="895" y="1678"/>
                    <a:pt x="895" y="1678"/>
                  </a:cubicBezTo>
                  <a:cubicBezTo>
                    <a:pt x="903" y="1684"/>
                    <a:pt x="903" y="1684"/>
                    <a:pt x="903" y="1684"/>
                  </a:cubicBezTo>
                  <a:cubicBezTo>
                    <a:pt x="908" y="1684"/>
                    <a:pt x="908" y="1684"/>
                    <a:pt x="908" y="1684"/>
                  </a:cubicBezTo>
                  <a:cubicBezTo>
                    <a:pt x="911" y="1689"/>
                    <a:pt x="911" y="1689"/>
                    <a:pt x="911" y="1689"/>
                  </a:cubicBezTo>
                  <a:cubicBezTo>
                    <a:pt x="917" y="1688"/>
                    <a:pt x="917" y="1688"/>
                    <a:pt x="917" y="1688"/>
                  </a:cubicBezTo>
                  <a:cubicBezTo>
                    <a:pt x="926" y="1691"/>
                    <a:pt x="926" y="1691"/>
                    <a:pt x="926" y="1691"/>
                  </a:cubicBezTo>
                  <a:cubicBezTo>
                    <a:pt x="929" y="1688"/>
                    <a:pt x="929" y="1688"/>
                    <a:pt x="929" y="1688"/>
                  </a:cubicBezTo>
                  <a:cubicBezTo>
                    <a:pt x="943" y="1687"/>
                    <a:pt x="943" y="1687"/>
                    <a:pt x="943" y="1687"/>
                  </a:cubicBezTo>
                  <a:cubicBezTo>
                    <a:pt x="949" y="1694"/>
                    <a:pt x="949" y="1694"/>
                    <a:pt x="949" y="1694"/>
                  </a:cubicBezTo>
                  <a:cubicBezTo>
                    <a:pt x="949" y="1694"/>
                    <a:pt x="970" y="1696"/>
                    <a:pt x="976" y="1699"/>
                  </a:cubicBezTo>
                  <a:cubicBezTo>
                    <a:pt x="982" y="1702"/>
                    <a:pt x="998" y="1713"/>
                    <a:pt x="998" y="1713"/>
                  </a:cubicBezTo>
                  <a:cubicBezTo>
                    <a:pt x="1003" y="1712"/>
                    <a:pt x="1003" y="1712"/>
                    <a:pt x="1003" y="1712"/>
                  </a:cubicBezTo>
                  <a:cubicBezTo>
                    <a:pt x="1007" y="1716"/>
                    <a:pt x="1007" y="1716"/>
                    <a:pt x="1007" y="1716"/>
                  </a:cubicBezTo>
                  <a:cubicBezTo>
                    <a:pt x="1016" y="1717"/>
                    <a:pt x="1016" y="1717"/>
                    <a:pt x="1016" y="1717"/>
                  </a:cubicBezTo>
                  <a:cubicBezTo>
                    <a:pt x="1019" y="1721"/>
                    <a:pt x="1019" y="1721"/>
                    <a:pt x="1019" y="1721"/>
                  </a:cubicBezTo>
                  <a:cubicBezTo>
                    <a:pt x="1024" y="1720"/>
                    <a:pt x="1024" y="1720"/>
                    <a:pt x="1024" y="1720"/>
                  </a:cubicBezTo>
                  <a:cubicBezTo>
                    <a:pt x="1024" y="1720"/>
                    <a:pt x="1024" y="1710"/>
                    <a:pt x="1028" y="1705"/>
                  </a:cubicBezTo>
                  <a:cubicBezTo>
                    <a:pt x="1031" y="1701"/>
                    <a:pt x="1047" y="1703"/>
                    <a:pt x="1047" y="1703"/>
                  </a:cubicBezTo>
                  <a:cubicBezTo>
                    <a:pt x="1050" y="1698"/>
                    <a:pt x="1050" y="1698"/>
                    <a:pt x="1050" y="1698"/>
                  </a:cubicBezTo>
                  <a:cubicBezTo>
                    <a:pt x="1072" y="1701"/>
                    <a:pt x="1072" y="1701"/>
                    <a:pt x="1072" y="1701"/>
                  </a:cubicBezTo>
                  <a:cubicBezTo>
                    <a:pt x="1073" y="1700"/>
                    <a:pt x="1073" y="1700"/>
                    <a:pt x="1073" y="1700"/>
                  </a:cubicBezTo>
                  <a:cubicBezTo>
                    <a:pt x="1080" y="1700"/>
                    <a:pt x="1080" y="1700"/>
                    <a:pt x="1080" y="1700"/>
                  </a:cubicBezTo>
                  <a:cubicBezTo>
                    <a:pt x="1085" y="1696"/>
                    <a:pt x="1085" y="1696"/>
                    <a:pt x="1085" y="1696"/>
                  </a:cubicBezTo>
                  <a:cubicBezTo>
                    <a:pt x="1085" y="1696"/>
                    <a:pt x="1095" y="1702"/>
                    <a:pt x="1107" y="1699"/>
                  </a:cubicBezTo>
                  <a:cubicBezTo>
                    <a:pt x="1120" y="1697"/>
                    <a:pt x="1137" y="1683"/>
                    <a:pt x="1137" y="1683"/>
                  </a:cubicBezTo>
                  <a:cubicBezTo>
                    <a:pt x="1143" y="1684"/>
                    <a:pt x="1143" y="1684"/>
                    <a:pt x="1143" y="1684"/>
                  </a:cubicBezTo>
                  <a:cubicBezTo>
                    <a:pt x="1143" y="1684"/>
                    <a:pt x="1146" y="1679"/>
                    <a:pt x="1154" y="1679"/>
                  </a:cubicBezTo>
                  <a:cubicBezTo>
                    <a:pt x="1161" y="1678"/>
                    <a:pt x="1162" y="1683"/>
                    <a:pt x="1169" y="1685"/>
                  </a:cubicBezTo>
                  <a:cubicBezTo>
                    <a:pt x="1175" y="1688"/>
                    <a:pt x="1192" y="1683"/>
                    <a:pt x="1192" y="1683"/>
                  </a:cubicBezTo>
                  <a:cubicBezTo>
                    <a:pt x="1210" y="1683"/>
                    <a:pt x="1210" y="1683"/>
                    <a:pt x="1210" y="1683"/>
                  </a:cubicBezTo>
                  <a:cubicBezTo>
                    <a:pt x="1208" y="1689"/>
                    <a:pt x="1208" y="1689"/>
                    <a:pt x="1208" y="1689"/>
                  </a:cubicBezTo>
                  <a:cubicBezTo>
                    <a:pt x="1208" y="1689"/>
                    <a:pt x="1215" y="1691"/>
                    <a:pt x="1221" y="1690"/>
                  </a:cubicBezTo>
                  <a:cubicBezTo>
                    <a:pt x="1227" y="1690"/>
                    <a:pt x="1233" y="1681"/>
                    <a:pt x="1233" y="1681"/>
                  </a:cubicBezTo>
                  <a:cubicBezTo>
                    <a:pt x="1233" y="1674"/>
                    <a:pt x="1233" y="1674"/>
                    <a:pt x="1233" y="1674"/>
                  </a:cubicBezTo>
                  <a:cubicBezTo>
                    <a:pt x="1233" y="1674"/>
                    <a:pt x="1239" y="1669"/>
                    <a:pt x="1243" y="1666"/>
                  </a:cubicBezTo>
                  <a:cubicBezTo>
                    <a:pt x="1248" y="1664"/>
                    <a:pt x="1259" y="1669"/>
                    <a:pt x="1259" y="1669"/>
                  </a:cubicBezTo>
                  <a:cubicBezTo>
                    <a:pt x="1259" y="1659"/>
                    <a:pt x="1259" y="1659"/>
                    <a:pt x="1259" y="1659"/>
                  </a:cubicBezTo>
                  <a:cubicBezTo>
                    <a:pt x="1266" y="1660"/>
                    <a:pt x="1266" y="1660"/>
                    <a:pt x="1266" y="1660"/>
                  </a:cubicBezTo>
                  <a:cubicBezTo>
                    <a:pt x="1274" y="1656"/>
                    <a:pt x="1274" y="1656"/>
                    <a:pt x="1274" y="1656"/>
                  </a:cubicBezTo>
                  <a:cubicBezTo>
                    <a:pt x="1285" y="1663"/>
                    <a:pt x="1285" y="1663"/>
                    <a:pt x="1285" y="1663"/>
                  </a:cubicBezTo>
                  <a:cubicBezTo>
                    <a:pt x="1291" y="1657"/>
                    <a:pt x="1291" y="1657"/>
                    <a:pt x="1291" y="1657"/>
                  </a:cubicBezTo>
                  <a:cubicBezTo>
                    <a:pt x="1302" y="1654"/>
                    <a:pt x="1302" y="1654"/>
                    <a:pt x="1302" y="1654"/>
                  </a:cubicBezTo>
                  <a:cubicBezTo>
                    <a:pt x="1302" y="1654"/>
                    <a:pt x="1305" y="1671"/>
                    <a:pt x="1309" y="1675"/>
                  </a:cubicBezTo>
                  <a:cubicBezTo>
                    <a:pt x="1315" y="1679"/>
                    <a:pt x="1337" y="1674"/>
                    <a:pt x="1347" y="1674"/>
                  </a:cubicBezTo>
                  <a:cubicBezTo>
                    <a:pt x="1357" y="1673"/>
                    <a:pt x="1359" y="1675"/>
                    <a:pt x="1359" y="1675"/>
                  </a:cubicBezTo>
                  <a:cubicBezTo>
                    <a:pt x="1367" y="1671"/>
                    <a:pt x="1367" y="1671"/>
                    <a:pt x="1367" y="1671"/>
                  </a:cubicBezTo>
                  <a:cubicBezTo>
                    <a:pt x="1367" y="1671"/>
                    <a:pt x="1371" y="1672"/>
                    <a:pt x="1378" y="1672"/>
                  </a:cubicBezTo>
                  <a:cubicBezTo>
                    <a:pt x="1383" y="1672"/>
                    <a:pt x="1388" y="1681"/>
                    <a:pt x="1388" y="1681"/>
                  </a:cubicBezTo>
                  <a:cubicBezTo>
                    <a:pt x="1390" y="1678"/>
                    <a:pt x="1390" y="1678"/>
                    <a:pt x="1390" y="1678"/>
                  </a:cubicBezTo>
                  <a:cubicBezTo>
                    <a:pt x="1390" y="1678"/>
                    <a:pt x="1407" y="1689"/>
                    <a:pt x="1408" y="1689"/>
                  </a:cubicBezTo>
                  <a:cubicBezTo>
                    <a:pt x="1411" y="1689"/>
                    <a:pt x="1417" y="1687"/>
                    <a:pt x="1429" y="1686"/>
                  </a:cubicBezTo>
                  <a:cubicBezTo>
                    <a:pt x="1440" y="1685"/>
                    <a:pt x="1435" y="1674"/>
                    <a:pt x="1435" y="1674"/>
                  </a:cubicBezTo>
                  <a:cubicBezTo>
                    <a:pt x="1438" y="1668"/>
                    <a:pt x="1438" y="1668"/>
                    <a:pt x="1438" y="1668"/>
                  </a:cubicBezTo>
                  <a:cubicBezTo>
                    <a:pt x="1437" y="1657"/>
                    <a:pt x="1437" y="1657"/>
                    <a:pt x="1437" y="1657"/>
                  </a:cubicBezTo>
                  <a:cubicBezTo>
                    <a:pt x="1446" y="1644"/>
                    <a:pt x="1446" y="1644"/>
                    <a:pt x="1446" y="1644"/>
                  </a:cubicBezTo>
                  <a:cubicBezTo>
                    <a:pt x="1445" y="1626"/>
                    <a:pt x="1445" y="1626"/>
                    <a:pt x="1445" y="1626"/>
                  </a:cubicBezTo>
                  <a:cubicBezTo>
                    <a:pt x="1434" y="1626"/>
                    <a:pt x="1434" y="1626"/>
                    <a:pt x="1434" y="1626"/>
                  </a:cubicBezTo>
                  <a:cubicBezTo>
                    <a:pt x="1417" y="1613"/>
                    <a:pt x="1417" y="1613"/>
                    <a:pt x="1417" y="1613"/>
                  </a:cubicBezTo>
                  <a:cubicBezTo>
                    <a:pt x="1417" y="1613"/>
                    <a:pt x="1406" y="1612"/>
                    <a:pt x="1404" y="1611"/>
                  </a:cubicBezTo>
                  <a:cubicBezTo>
                    <a:pt x="1402" y="1611"/>
                    <a:pt x="1391" y="1604"/>
                    <a:pt x="1391" y="1604"/>
                  </a:cubicBezTo>
                  <a:cubicBezTo>
                    <a:pt x="1391" y="1604"/>
                    <a:pt x="1387" y="1604"/>
                    <a:pt x="1382" y="1602"/>
                  </a:cubicBezTo>
                  <a:cubicBezTo>
                    <a:pt x="1378" y="1601"/>
                    <a:pt x="1380" y="1599"/>
                    <a:pt x="1376" y="1592"/>
                  </a:cubicBezTo>
                  <a:cubicBezTo>
                    <a:pt x="1372" y="1586"/>
                    <a:pt x="1365" y="1590"/>
                    <a:pt x="1358" y="1584"/>
                  </a:cubicBezTo>
                  <a:cubicBezTo>
                    <a:pt x="1352" y="1578"/>
                    <a:pt x="1356" y="1565"/>
                    <a:pt x="1356" y="1565"/>
                  </a:cubicBezTo>
                  <a:cubicBezTo>
                    <a:pt x="1350" y="1565"/>
                    <a:pt x="1350" y="1565"/>
                    <a:pt x="1350" y="1565"/>
                  </a:cubicBezTo>
                  <a:cubicBezTo>
                    <a:pt x="1341" y="1543"/>
                    <a:pt x="1341" y="1543"/>
                    <a:pt x="1341" y="1543"/>
                  </a:cubicBezTo>
                  <a:cubicBezTo>
                    <a:pt x="1341" y="1530"/>
                    <a:pt x="1341" y="1530"/>
                    <a:pt x="1341" y="1530"/>
                  </a:cubicBezTo>
                  <a:cubicBezTo>
                    <a:pt x="1343" y="1527"/>
                    <a:pt x="1343" y="1527"/>
                    <a:pt x="1343" y="1527"/>
                  </a:cubicBezTo>
                  <a:cubicBezTo>
                    <a:pt x="1343" y="1527"/>
                    <a:pt x="1342" y="1525"/>
                    <a:pt x="1339" y="1525"/>
                  </a:cubicBezTo>
                  <a:cubicBezTo>
                    <a:pt x="1335" y="1526"/>
                    <a:pt x="1338" y="1538"/>
                    <a:pt x="1338" y="1538"/>
                  </a:cubicBezTo>
                  <a:cubicBezTo>
                    <a:pt x="1342" y="1559"/>
                    <a:pt x="1342" y="1559"/>
                    <a:pt x="1342" y="1559"/>
                  </a:cubicBezTo>
                  <a:cubicBezTo>
                    <a:pt x="1339" y="1558"/>
                    <a:pt x="1339" y="1558"/>
                    <a:pt x="1339" y="1558"/>
                  </a:cubicBezTo>
                  <a:cubicBezTo>
                    <a:pt x="1337" y="1540"/>
                    <a:pt x="1337" y="1540"/>
                    <a:pt x="1337" y="1540"/>
                  </a:cubicBezTo>
                  <a:cubicBezTo>
                    <a:pt x="1333" y="1539"/>
                    <a:pt x="1333" y="1539"/>
                    <a:pt x="1333" y="1539"/>
                  </a:cubicBezTo>
                  <a:cubicBezTo>
                    <a:pt x="1313" y="1523"/>
                    <a:pt x="1313" y="1523"/>
                    <a:pt x="1313" y="1523"/>
                  </a:cubicBezTo>
                  <a:cubicBezTo>
                    <a:pt x="1313" y="1523"/>
                    <a:pt x="1310" y="1526"/>
                    <a:pt x="1308" y="1526"/>
                  </a:cubicBezTo>
                  <a:cubicBezTo>
                    <a:pt x="1306" y="1526"/>
                    <a:pt x="1304" y="1521"/>
                    <a:pt x="1301" y="1518"/>
                  </a:cubicBezTo>
                  <a:cubicBezTo>
                    <a:pt x="1297" y="1516"/>
                    <a:pt x="1286" y="1522"/>
                    <a:pt x="1286" y="1522"/>
                  </a:cubicBezTo>
                  <a:cubicBezTo>
                    <a:pt x="1286" y="1522"/>
                    <a:pt x="1277" y="1512"/>
                    <a:pt x="1275" y="1508"/>
                  </a:cubicBezTo>
                  <a:cubicBezTo>
                    <a:pt x="1273" y="1502"/>
                    <a:pt x="1281" y="1496"/>
                    <a:pt x="1285" y="1490"/>
                  </a:cubicBezTo>
                  <a:cubicBezTo>
                    <a:pt x="1290" y="1483"/>
                    <a:pt x="1287" y="1468"/>
                    <a:pt x="1287" y="1468"/>
                  </a:cubicBezTo>
                  <a:cubicBezTo>
                    <a:pt x="1283" y="1465"/>
                    <a:pt x="1283" y="1465"/>
                    <a:pt x="1283" y="1465"/>
                  </a:cubicBezTo>
                  <a:cubicBezTo>
                    <a:pt x="1287" y="1460"/>
                    <a:pt x="1287" y="1460"/>
                    <a:pt x="1287" y="1460"/>
                  </a:cubicBezTo>
                  <a:cubicBezTo>
                    <a:pt x="1284" y="1459"/>
                    <a:pt x="1284" y="1459"/>
                    <a:pt x="1284" y="1459"/>
                  </a:cubicBezTo>
                  <a:cubicBezTo>
                    <a:pt x="1283" y="1443"/>
                    <a:pt x="1283" y="1443"/>
                    <a:pt x="1283" y="1443"/>
                  </a:cubicBezTo>
                  <a:cubicBezTo>
                    <a:pt x="1286" y="1436"/>
                    <a:pt x="1286" y="1436"/>
                    <a:pt x="1286" y="1436"/>
                  </a:cubicBezTo>
                  <a:cubicBezTo>
                    <a:pt x="1286" y="1436"/>
                    <a:pt x="1280" y="1431"/>
                    <a:pt x="1281" y="1428"/>
                  </a:cubicBezTo>
                  <a:cubicBezTo>
                    <a:pt x="1282" y="1424"/>
                    <a:pt x="1291" y="1430"/>
                    <a:pt x="1296" y="1431"/>
                  </a:cubicBezTo>
                  <a:cubicBezTo>
                    <a:pt x="1300" y="1431"/>
                    <a:pt x="1299" y="1428"/>
                    <a:pt x="1299" y="1428"/>
                  </a:cubicBezTo>
                  <a:cubicBezTo>
                    <a:pt x="1299" y="1428"/>
                    <a:pt x="1291" y="1422"/>
                    <a:pt x="1293" y="1419"/>
                  </a:cubicBezTo>
                  <a:cubicBezTo>
                    <a:pt x="1296" y="1416"/>
                    <a:pt x="1306" y="1410"/>
                    <a:pt x="1306" y="1410"/>
                  </a:cubicBezTo>
                  <a:cubicBezTo>
                    <a:pt x="1313" y="1412"/>
                    <a:pt x="1313" y="1412"/>
                    <a:pt x="1313" y="1412"/>
                  </a:cubicBezTo>
                  <a:cubicBezTo>
                    <a:pt x="1317" y="1411"/>
                    <a:pt x="1317" y="1411"/>
                    <a:pt x="1317" y="1411"/>
                  </a:cubicBezTo>
                  <a:cubicBezTo>
                    <a:pt x="1305" y="1402"/>
                    <a:pt x="1305" y="1402"/>
                    <a:pt x="1305" y="1402"/>
                  </a:cubicBezTo>
                  <a:cubicBezTo>
                    <a:pt x="1308" y="1397"/>
                    <a:pt x="1308" y="1397"/>
                    <a:pt x="1308" y="1397"/>
                  </a:cubicBezTo>
                  <a:cubicBezTo>
                    <a:pt x="1322" y="1404"/>
                    <a:pt x="1322" y="1404"/>
                    <a:pt x="1322" y="1404"/>
                  </a:cubicBezTo>
                  <a:cubicBezTo>
                    <a:pt x="1327" y="1402"/>
                    <a:pt x="1327" y="1402"/>
                    <a:pt x="1327" y="1402"/>
                  </a:cubicBezTo>
                  <a:cubicBezTo>
                    <a:pt x="1320" y="1398"/>
                    <a:pt x="1320" y="1398"/>
                    <a:pt x="1320" y="1398"/>
                  </a:cubicBezTo>
                  <a:cubicBezTo>
                    <a:pt x="1323" y="1391"/>
                    <a:pt x="1323" y="1391"/>
                    <a:pt x="1323" y="1391"/>
                  </a:cubicBezTo>
                  <a:cubicBezTo>
                    <a:pt x="1313" y="1386"/>
                    <a:pt x="1313" y="1386"/>
                    <a:pt x="1313" y="1386"/>
                  </a:cubicBezTo>
                  <a:cubicBezTo>
                    <a:pt x="1314" y="1381"/>
                    <a:pt x="1314" y="1381"/>
                    <a:pt x="1314" y="1381"/>
                  </a:cubicBezTo>
                  <a:cubicBezTo>
                    <a:pt x="1322" y="1383"/>
                    <a:pt x="1322" y="1383"/>
                    <a:pt x="1322" y="1383"/>
                  </a:cubicBezTo>
                  <a:cubicBezTo>
                    <a:pt x="1325" y="1383"/>
                    <a:pt x="1325" y="1383"/>
                    <a:pt x="1325" y="1383"/>
                  </a:cubicBezTo>
                  <a:cubicBezTo>
                    <a:pt x="1318" y="1378"/>
                    <a:pt x="1318" y="1378"/>
                    <a:pt x="1318" y="1378"/>
                  </a:cubicBezTo>
                  <a:cubicBezTo>
                    <a:pt x="1323" y="1375"/>
                    <a:pt x="1323" y="1375"/>
                    <a:pt x="1323" y="1375"/>
                  </a:cubicBezTo>
                  <a:cubicBezTo>
                    <a:pt x="1331" y="1379"/>
                    <a:pt x="1331" y="1379"/>
                    <a:pt x="1331" y="1379"/>
                  </a:cubicBezTo>
                  <a:cubicBezTo>
                    <a:pt x="1331" y="1379"/>
                    <a:pt x="1331" y="1372"/>
                    <a:pt x="1329" y="1369"/>
                  </a:cubicBezTo>
                  <a:cubicBezTo>
                    <a:pt x="1326" y="1366"/>
                    <a:pt x="1319" y="1367"/>
                    <a:pt x="1320" y="1363"/>
                  </a:cubicBezTo>
                  <a:cubicBezTo>
                    <a:pt x="1321" y="1357"/>
                    <a:pt x="1332" y="1358"/>
                    <a:pt x="1332" y="1358"/>
                  </a:cubicBezTo>
                  <a:cubicBezTo>
                    <a:pt x="1324" y="1354"/>
                    <a:pt x="1324" y="1354"/>
                    <a:pt x="1324" y="1354"/>
                  </a:cubicBezTo>
                  <a:cubicBezTo>
                    <a:pt x="1324" y="1354"/>
                    <a:pt x="1301" y="1358"/>
                    <a:pt x="1290" y="1357"/>
                  </a:cubicBezTo>
                  <a:cubicBezTo>
                    <a:pt x="1281" y="1356"/>
                    <a:pt x="1280" y="1350"/>
                    <a:pt x="1284" y="1343"/>
                  </a:cubicBezTo>
                  <a:cubicBezTo>
                    <a:pt x="1288" y="1338"/>
                    <a:pt x="1298" y="1344"/>
                    <a:pt x="1302" y="1340"/>
                  </a:cubicBezTo>
                  <a:cubicBezTo>
                    <a:pt x="1307" y="1335"/>
                    <a:pt x="1288" y="1328"/>
                    <a:pt x="1281" y="1326"/>
                  </a:cubicBezTo>
                  <a:cubicBezTo>
                    <a:pt x="1273" y="1324"/>
                    <a:pt x="1268" y="1313"/>
                    <a:pt x="1263" y="1310"/>
                  </a:cubicBezTo>
                  <a:cubicBezTo>
                    <a:pt x="1257" y="1308"/>
                    <a:pt x="1256" y="1312"/>
                    <a:pt x="1249" y="1312"/>
                  </a:cubicBezTo>
                  <a:cubicBezTo>
                    <a:pt x="1242" y="1312"/>
                    <a:pt x="1241" y="1301"/>
                    <a:pt x="1232" y="1298"/>
                  </a:cubicBezTo>
                  <a:cubicBezTo>
                    <a:pt x="1222" y="1295"/>
                    <a:pt x="1225" y="1307"/>
                    <a:pt x="1218" y="1309"/>
                  </a:cubicBezTo>
                  <a:cubicBezTo>
                    <a:pt x="1211" y="1311"/>
                    <a:pt x="1206" y="1310"/>
                    <a:pt x="1206" y="1310"/>
                  </a:cubicBezTo>
                  <a:cubicBezTo>
                    <a:pt x="1210" y="1318"/>
                    <a:pt x="1210" y="1318"/>
                    <a:pt x="1210" y="1318"/>
                  </a:cubicBezTo>
                  <a:cubicBezTo>
                    <a:pt x="1210" y="1318"/>
                    <a:pt x="1198" y="1318"/>
                    <a:pt x="1192" y="1316"/>
                  </a:cubicBezTo>
                  <a:cubicBezTo>
                    <a:pt x="1187" y="1315"/>
                    <a:pt x="1188" y="1308"/>
                    <a:pt x="1189" y="1306"/>
                  </a:cubicBezTo>
                  <a:cubicBezTo>
                    <a:pt x="1191" y="1303"/>
                    <a:pt x="1186" y="1301"/>
                    <a:pt x="1184" y="1298"/>
                  </a:cubicBezTo>
                  <a:cubicBezTo>
                    <a:pt x="1181" y="1296"/>
                    <a:pt x="1181" y="1292"/>
                    <a:pt x="1181" y="1292"/>
                  </a:cubicBezTo>
                  <a:cubicBezTo>
                    <a:pt x="1152" y="1298"/>
                    <a:pt x="1152" y="1298"/>
                    <a:pt x="1152" y="1298"/>
                  </a:cubicBezTo>
                  <a:cubicBezTo>
                    <a:pt x="1146" y="1259"/>
                    <a:pt x="1146" y="1259"/>
                    <a:pt x="1146" y="1259"/>
                  </a:cubicBezTo>
                  <a:cubicBezTo>
                    <a:pt x="1146" y="1259"/>
                    <a:pt x="1152" y="1249"/>
                    <a:pt x="1149" y="1241"/>
                  </a:cubicBezTo>
                  <a:cubicBezTo>
                    <a:pt x="1146" y="1232"/>
                    <a:pt x="1136" y="1234"/>
                    <a:pt x="1136" y="1234"/>
                  </a:cubicBezTo>
                  <a:cubicBezTo>
                    <a:pt x="1124" y="1199"/>
                    <a:pt x="1124" y="1199"/>
                    <a:pt x="1124" y="1199"/>
                  </a:cubicBezTo>
                  <a:cubicBezTo>
                    <a:pt x="1133" y="1184"/>
                    <a:pt x="1133" y="1184"/>
                    <a:pt x="1133" y="1184"/>
                  </a:cubicBezTo>
                  <a:cubicBezTo>
                    <a:pt x="1134" y="1179"/>
                    <a:pt x="1125" y="1178"/>
                    <a:pt x="1125" y="1170"/>
                  </a:cubicBezTo>
                  <a:cubicBezTo>
                    <a:pt x="1124" y="1163"/>
                    <a:pt x="1128" y="1156"/>
                    <a:pt x="1138" y="1156"/>
                  </a:cubicBezTo>
                  <a:cubicBezTo>
                    <a:pt x="1146" y="1156"/>
                    <a:pt x="1158" y="1165"/>
                    <a:pt x="1161" y="1170"/>
                  </a:cubicBezTo>
                  <a:cubicBezTo>
                    <a:pt x="1165" y="1177"/>
                    <a:pt x="1172" y="1176"/>
                    <a:pt x="1178" y="1176"/>
                  </a:cubicBezTo>
                  <a:cubicBezTo>
                    <a:pt x="1184" y="1176"/>
                    <a:pt x="1190" y="1162"/>
                    <a:pt x="1191" y="1152"/>
                  </a:cubicBezTo>
                  <a:cubicBezTo>
                    <a:pt x="1192" y="1143"/>
                    <a:pt x="1185" y="1151"/>
                    <a:pt x="1185" y="1151"/>
                  </a:cubicBezTo>
                  <a:cubicBezTo>
                    <a:pt x="1185" y="1151"/>
                    <a:pt x="1182" y="1146"/>
                    <a:pt x="1177" y="1144"/>
                  </a:cubicBezTo>
                  <a:cubicBezTo>
                    <a:pt x="1173" y="1140"/>
                    <a:pt x="1163" y="1128"/>
                    <a:pt x="1163" y="1128"/>
                  </a:cubicBezTo>
                  <a:cubicBezTo>
                    <a:pt x="1159" y="1128"/>
                    <a:pt x="1159" y="1128"/>
                    <a:pt x="1159" y="1128"/>
                  </a:cubicBezTo>
                  <a:cubicBezTo>
                    <a:pt x="1160" y="1124"/>
                    <a:pt x="1160" y="1124"/>
                    <a:pt x="1160" y="1124"/>
                  </a:cubicBezTo>
                  <a:cubicBezTo>
                    <a:pt x="1160" y="1124"/>
                    <a:pt x="1165" y="1122"/>
                    <a:pt x="1171" y="1121"/>
                  </a:cubicBezTo>
                  <a:cubicBezTo>
                    <a:pt x="1177" y="1120"/>
                    <a:pt x="1175" y="1104"/>
                    <a:pt x="1175" y="1104"/>
                  </a:cubicBezTo>
                  <a:cubicBezTo>
                    <a:pt x="1175" y="1104"/>
                    <a:pt x="1182" y="1099"/>
                    <a:pt x="1183" y="1093"/>
                  </a:cubicBezTo>
                  <a:cubicBezTo>
                    <a:pt x="1185" y="1089"/>
                    <a:pt x="1175" y="1090"/>
                    <a:pt x="1175" y="1090"/>
                  </a:cubicBezTo>
                  <a:cubicBezTo>
                    <a:pt x="1173" y="1080"/>
                    <a:pt x="1173" y="1080"/>
                    <a:pt x="1173" y="1080"/>
                  </a:cubicBezTo>
                  <a:cubicBezTo>
                    <a:pt x="1183" y="1074"/>
                    <a:pt x="1183" y="1074"/>
                    <a:pt x="1183" y="1074"/>
                  </a:cubicBezTo>
                  <a:cubicBezTo>
                    <a:pt x="1189" y="1063"/>
                    <a:pt x="1189" y="1063"/>
                    <a:pt x="1189" y="1063"/>
                  </a:cubicBezTo>
                  <a:cubicBezTo>
                    <a:pt x="1189" y="1063"/>
                    <a:pt x="1202" y="1055"/>
                    <a:pt x="1202" y="1052"/>
                  </a:cubicBezTo>
                  <a:cubicBezTo>
                    <a:pt x="1203" y="1048"/>
                    <a:pt x="1196" y="1049"/>
                    <a:pt x="1195" y="1045"/>
                  </a:cubicBezTo>
                  <a:cubicBezTo>
                    <a:pt x="1194" y="1043"/>
                    <a:pt x="1204" y="1041"/>
                    <a:pt x="1204" y="1038"/>
                  </a:cubicBezTo>
                  <a:cubicBezTo>
                    <a:pt x="1204" y="1036"/>
                    <a:pt x="1199" y="1029"/>
                    <a:pt x="1201" y="1027"/>
                  </a:cubicBezTo>
                  <a:cubicBezTo>
                    <a:pt x="1203" y="1025"/>
                    <a:pt x="1208" y="1022"/>
                    <a:pt x="1208" y="1022"/>
                  </a:cubicBezTo>
                  <a:cubicBezTo>
                    <a:pt x="1201" y="1016"/>
                    <a:pt x="1201" y="1016"/>
                    <a:pt x="1201" y="1016"/>
                  </a:cubicBezTo>
                  <a:cubicBezTo>
                    <a:pt x="1212" y="1016"/>
                    <a:pt x="1212" y="1016"/>
                    <a:pt x="1212" y="1016"/>
                  </a:cubicBezTo>
                  <a:cubicBezTo>
                    <a:pt x="1212" y="1016"/>
                    <a:pt x="1223" y="1009"/>
                    <a:pt x="1226" y="1010"/>
                  </a:cubicBezTo>
                  <a:cubicBezTo>
                    <a:pt x="1229" y="1011"/>
                    <a:pt x="1223" y="1021"/>
                    <a:pt x="1228" y="1022"/>
                  </a:cubicBezTo>
                  <a:cubicBezTo>
                    <a:pt x="1234" y="1024"/>
                    <a:pt x="1235" y="1011"/>
                    <a:pt x="1235" y="1011"/>
                  </a:cubicBezTo>
                  <a:cubicBezTo>
                    <a:pt x="1235" y="1011"/>
                    <a:pt x="1240" y="1012"/>
                    <a:pt x="1243" y="1010"/>
                  </a:cubicBezTo>
                  <a:cubicBezTo>
                    <a:pt x="1247" y="1008"/>
                    <a:pt x="1238" y="1002"/>
                    <a:pt x="1240" y="997"/>
                  </a:cubicBezTo>
                  <a:cubicBezTo>
                    <a:pt x="1242" y="993"/>
                    <a:pt x="1251" y="993"/>
                    <a:pt x="1251" y="993"/>
                  </a:cubicBezTo>
                  <a:cubicBezTo>
                    <a:pt x="1249" y="986"/>
                    <a:pt x="1249" y="986"/>
                    <a:pt x="1249" y="986"/>
                  </a:cubicBezTo>
                  <a:cubicBezTo>
                    <a:pt x="1253" y="984"/>
                    <a:pt x="1253" y="984"/>
                    <a:pt x="1253" y="984"/>
                  </a:cubicBezTo>
                  <a:cubicBezTo>
                    <a:pt x="1253" y="984"/>
                    <a:pt x="1269" y="994"/>
                    <a:pt x="1275" y="993"/>
                  </a:cubicBezTo>
                  <a:cubicBezTo>
                    <a:pt x="1281" y="993"/>
                    <a:pt x="1277" y="987"/>
                    <a:pt x="1277" y="987"/>
                  </a:cubicBezTo>
                  <a:cubicBezTo>
                    <a:pt x="1285" y="987"/>
                    <a:pt x="1285" y="987"/>
                    <a:pt x="1285" y="987"/>
                  </a:cubicBezTo>
                  <a:cubicBezTo>
                    <a:pt x="1285" y="987"/>
                    <a:pt x="1298" y="975"/>
                    <a:pt x="1306" y="974"/>
                  </a:cubicBezTo>
                  <a:cubicBezTo>
                    <a:pt x="1315" y="973"/>
                    <a:pt x="1313" y="981"/>
                    <a:pt x="1318" y="982"/>
                  </a:cubicBezTo>
                  <a:cubicBezTo>
                    <a:pt x="1322" y="984"/>
                    <a:pt x="1323" y="982"/>
                    <a:pt x="1326" y="978"/>
                  </a:cubicBezTo>
                  <a:cubicBezTo>
                    <a:pt x="1329" y="975"/>
                    <a:pt x="1334" y="976"/>
                    <a:pt x="1339" y="980"/>
                  </a:cubicBezTo>
                  <a:cubicBezTo>
                    <a:pt x="1345" y="985"/>
                    <a:pt x="1351" y="984"/>
                    <a:pt x="1356" y="984"/>
                  </a:cubicBezTo>
                  <a:cubicBezTo>
                    <a:pt x="1362" y="984"/>
                    <a:pt x="1363" y="985"/>
                    <a:pt x="1363" y="989"/>
                  </a:cubicBezTo>
                  <a:cubicBezTo>
                    <a:pt x="1363" y="992"/>
                    <a:pt x="1366" y="998"/>
                    <a:pt x="1370" y="1001"/>
                  </a:cubicBezTo>
                  <a:cubicBezTo>
                    <a:pt x="1375" y="1004"/>
                    <a:pt x="1376" y="996"/>
                    <a:pt x="1378" y="992"/>
                  </a:cubicBezTo>
                  <a:cubicBezTo>
                    <a:pt x="1379" y="988"/>
                    <a:pt x="1371" y="988"/>
                    <a:pt x="1369" y="984"/>
                  </a:cubicBezTo>
                  <a:cubicBezTo>
                    <a:pt x="1367" y="978"/>
                    <a:pt x="1362" y="979"/>
                    <a:pt x="1358" y="979"/>
                  </a:cubicBezTo>
                  <a:cubicBezTo>
                    <a:pt x="1356" y="978"/>
                    <a:pt x="1356" y="975"/>
                    <a:pt x="1358" y="971"/>
                  </a:cubicBezTo>
                  <a:cubicBezTo>
                    <a:pt x="1360" y="966"/>
                    <a:pt x="1372" y="971"/>
                    <a:pt x="1372" y="971"/>
                  </a:cubicBezTo>
                  <a:cubicBezTo>
                    <a:pt x="1372" y="971"/>
                    <a:pt x="1375" y="969"/>
                    <a:pt x="1379" y="969"/>
                  </a:cubicBezTo>
                  <a:cubicBezTo>
                    <a:pt x="1382" y="970"/>
                    <a:pt x="1382" y="973"/>
                    <a:pt x="1382" y="973"/>
                  </a:cubicBezTo>
                  <a:cubicBezTo>
                    <a:pt x="1414" y="970"/>
                    <a:pt x="1414" y="970"/>
                    <a:pt x="1414" y="970"/>
                  </a:cubicBezTo>
                  <a:cubicBezTo>
                    <a:pt x="1414" y="970"/>
                    <a:pt x="1418" y="958"/>
                    <a:pt x="1420" y="953"/>
                  </a:cubicBezTo>
                  <a:cubicBezTo>
                    <a:pt x="1422" y="946"/>
                    <a:pt x="1416" y="940"/>
                    <a:pt x="1416" y="940"/>
                  </a:cubicBezTo>
                  <a:cubicBezTo>
                    <a:pt x="1421" y="938"/>
                    <a:pt x="1421" y="938"/>
                    <a:pt x="1421" y="938"/>
                  </a:cubicBezTo>
                  <a:cubicBezTo>
                    <a:pt x="1420" y="923"/>
                    <a:pt x="1420" y="923"/>
                    <a:pt x="1420" y="923"/>
                  </a:cubicBezTo>
                  <a:cubicBezTo>
                    <a:pt x="1420" y="923"/>
                    <a:pt x="1427" y="927"/>
                    <a:pt x="1431" y="927"/>
                  </a:cubicBezTo>
                  <a:cubicBezTo>
                    <a:pt x="1435" y="926"/>
                    <a:pt x="1430" y="918"/>
                    <a:pt x="1430" y="918"/>
                  </a:cubicBezTo>
                  <a:cubicBezTo>
                    <a:pt x="1442" y="909"/>
                    <a:pt x="1442" y="909"/>
                    <a:pt x="1442" y="909"/>
                  </a:cubicBezTo>
                  <a:cubicBezTo>
                    <a:pt x="1442" y="909"/>
                    <a:pt x="1456" y="914"/>
                    <a:pt x="1461" y="912"/>
                  </a:cubicBezTo>
                  <a:cubicBezTo>
                    <a:pt x="1464" y="910"/>
                    <a:pt x="1460" y="906"/>
                    <a:pt x="1461" y="903"/>
                  </a:cubicBezTo>
                  <a:cubicBezTo>
                    <a:pt x="1462" y="902"/>
                    <a:pt x="1469" y="902"/>
                    <a:pt x="1469" y="902"/>
                  </a:cubicBezTo>
                  <a:cubicBezTo>
                    <a:pt x="1460" y="893"/>
                    <a:pt x="1460" y="893"/>
                    <a:pt x="1460" y="893"/>
                  </a:cubicBezTo>
                  <a:cubicBezTo>
                    <a:pt x="1460" y="893"/>
                    <a:pt x="1477" y="886"/>
                    <a:pt x="1479" y="884"/>
                  </a:cubicBezTo>
                  <a:cubicBezTo>
                    <a:pt x="1482" y="882"/>
                    <a:pt x="1478" y="875"/>
                    <a:pt x="1478" y="875"/>
                  </a:cubicBezTo>
                  <a:cubicBezTo>
                    <a:pt x="1478" y="875"/>
                    <a:pt x="1483" y="874"/>
                    <a:pt x="1488" y="872"/>
                  </a:cubicBezTo>
                  <a:cubicBezTo>
                    <a:pt x="1494" y="872"/>
                    <a:pt x="1494" y="878"/>
                    <a:pt x="1503" y="883"/>
                  </a:cubicBezTo>
                  <a:cubicBezTo>
                    <a:pt x="1511" y="887"/>
                    <a:pt x="1523" y="880"/>
                    <a:pt x="1532" y="876"/>
                  </a:cubicBezTo>
                  <a:cubicBezTo>
                    <a:pt x="1532" y="795"/>
                    <a:pt x="1532" y="795"/>
                    <a:pt x="1532" y="795"/>
                  </a:cubicBezTo>
                  <a:cubicBezTo>
                    <a:pt x="1522" y="796"/>
                    <a:pt x="1522" y="796"/>
                    <a:pt x="1522" y="796"/>
                  </a:cubicBezTo>
                  <a:cubicBezTo>
                    <a:pt x="1522" y="796"/>
                    <a:pt x="1526" y="792"/>
                    <a:pt x="1522" y="788"/>
                  </a:cubicBezTo>
                  <a:cubicBezTo>
                    <a:pt x="1520" y="785"/>
                    <a:pt x="1504" y="795"/>
                    <a:pt x="1504" y="795"/>
                  </a:cubicBezTo>
                  <a:cubicBezTo>
                    <a:pt x="1501" y="790"/>
                    <a:pt x="1501" y="790"/>
                    <a:pt x="1501" y="790"/>
                  </a:cubicBezTo>
                  <a:cubicBezTo>
                    <a:pt x="1509" y="767"/>
                    <a:pt x="1509" y="767"/>
                    <a:pt x="1509" y="767"/>
                  </a:cubicBezTo>
                  <a:cubicBezTo>
                    <a:pt x="1515" y="765"/>
                    <a:pt x="1515" y="765"/>
                    <a:pt x="1515" y="765"/>
                  </a:cubicBezTo>
                  <a:cubicBezTo>
                    <a:pt x="1517" y="743"/>
                    <a:pt x="1517" y="743"/>
                    <a:pt x="1517" y="743"/>
                  </a:cubicBezTo>
                  <a:cubicBezTo>
                    <a:pt x="1507" y="740"/>
                    <a:pt x="1507" y="740"/>
                    <a:pt x="1507" y="740"/>
                  </a:cubicBezTo>
                  <a:cubicBezTo>
                    <a:pt x="1502" y="742"/>
                    <a:pt x="1502" y="742"/>
                    <a:pt x="1502" y="742"/>
                  </a:cubicBezTo>
                  <a:cubicBezTo>
                    <a:pt x="1488" y="737"/>
                    <a:pt x="1488" y="737"/>
                    <a:pt x="1488" y="737"/>
                  </a:cubicBezTo>
                  <a:cubicBezTo>
                    <a:pt x="1488" y="737"/>
                    <a:pt x="1491" y="720"/>
                    <a:pt x="1491" y="718"/>
                  </a:cubicBezTo>
                  <a:cubicBezTo>
                    <a:pt x="1491" y="717"/>
                    <a:pt x="1485" y="715"/>
                    <a:pt x="1485" y="715"/>
                  </a:cubicBezTo>
                  <a:cubicBezTo>
                    <a:pt x="1496" y="707"/>
                    <a:pt x="1496" y="707"/>
                    <a:pt x="1496" y="707"/>
                  </a:cubicBezTo>
                  <a:cubicBezTo>
                    <a:pt x="1501" y="702"/>
                    <a:pt x="1501" y="702"/>
                    <a:pt x="1501" y="702"/>
                  </a:cubicBezTo>
                  <a:cubicBezTo>
                    <a:pt x="1510" y="701"/>
                    <a:pt x="1510" y="701"/>
                    <a:pt x="1510" y="701"/>
                  </a:cubicBezTo>
                  <a:cubicBezTo>
                    <a:pt x="1510" y="701"/>
                    <a:pt x="1516" y="692"/>
                    <a:pt x="1520" y="690"/>
                  </a:cubicBezTo>
                  <a:cubicBezTo>
                    <a:pt x="1524" y="688"/>
                    <a:pt x="1522" y="685"/>
                    <a:pt x="1517" y="681"/>
                  </a:cubicBezTo>
                  <a:cubicBezTo>
                    <a:pt x="1513" y="677"/>
                    <a:pt x="1511" y="683"/>
                    <a:pt x="1506" y="685"/>
                  </a:cubicBezTo>
                  <a:cubicBezTo>
                    <a:pt x="1503" y="686"/>
                    <a:pt x="1497" y="686"/>
                    <a:pt x="1497" y="686"/>
                  </a:cubicBezTo>
                  <a:cubicBezTo>
                    <a:pt x="1498" y="690"/>
                    <a:pt x="1498" y="690"/>
                    <a:pt x="1498" y="690"/>
                  </a:cubicBezTo>
                  <a:cubicBezTo>
                    <a:pt x="1482" y="695"/>
                    <a:pt x="1482" y="695"/>
                    <a:pt x="1482" y="695"/>
                  </a:cubicBezTo>
                  <a:cubicBezTo>
                    <a:pt x="1478" y="682"/>
                    <a:pt x="1478" y="682"/>
                    <a:pt x="1478" y="682"/>
                  </a:cubicBezTo>
                  <a:cubicBezTo>
                    <a:pt x="1478" y="682"/>
                    <a:pt x="1488" y="677"/>
                    <a:pt x="1483" y="674"/>
                  </a:cubicBezTo>
                  <a:cubicBezTo>
                    <a:pt x="1478" y="670"/>
                    <a:pt x="1472" y="682"/>
                    <a:pt x="1472" y="682"/>
                  </a:cubicBezTo>
                  <a:cubicBezTo>
                    <a:pt x="1466" y="681"/>
                    <a:pt x="1466" y="681"/>
                    <a:pt x="1466" y="681"/>
                  </a:cubicBezTo>
                  <a:cubicBezTo>
                    <a:pt x="1457" y="685"/>
                    <a:pt x="1457" y="685"/>
                    <a:pt x="1457" y="685"/>
                  </a:cubicBezTo>
                  <a:cubicBezTo>
                    <a:pt x="1460" y="679"/>
                    <a:pt x="1460" y="679"/>
                    <a:pt x="1460" y="679"/>
                  </a:cubicBezTo>
                  <a:cubicBezTo>
                    <a:pt x="1458" y="667"/>
                    <a:pt x="1458" y="667"/>
                    <a:pt x="1458" y="667"/>
                  </a:cubicBezTo>
                  <a:cubicBezTo>
                    <a:pt x="1446" y="669"/>
                    <a:pt x="1446" y="669"/>
                    <a:pt x="1446" y="669"/>
                  </a:cubicBezTo>
                  <a:cubicBezTo>
                    <a:pt x="1455" y="660"/>
                    <a:pt x="1455" y="660"/>
                    <a:pt x="1455" y="660"/>
                  </a:cubicBezTo>
                  <a:cubicBezTo>
                    <a:pt x="1451" y="658"/>
                    <a:pt x="1451" y="658"/>
                    <a:pt x="1451" y="658"/>
                  </a:cubicBezTo>
                  <a:cubicBezTo>
                    <a:pt x="1452" y="650"/>
                    <a:pt x="1452" y="650"/>
                    <a:pt x="1452" y="650"/>
                  </a:cubicBezTo>
                  <a:cubicBezTo>
                    <a:pt x="1465" y="650"/>
                    <a:pt x="1465" y="650"/>
                    <a:pt x="1465" y="650"/>
                  </a:cubicBezTo>
                  <a:cubicBezTo>
                    <a:pt x="1467" y="644"/>
                    <a:pt x="1467" y="644"/>
                    <a:pt x="1467" y="644"/>
                  </a:cubicBezTo>
                  <a:cubicBezTo>
                    <a:pt x="1476" y="646"/>
                    <a:pt x="1476" y="646"/>
                    <a:pt x="1476" y="646"/>
                  </a:cubicBezTo>
                  <a:cubicBezTo>
                    <a:pt x="1478" y="639"/>
                    <a:pt x="1478" y="639"/>
                    <a:pt x="1478" y="639"/>
                  </a:cubicBezTo>
                  <a:cubicBezTo>
                    <a:pt x="1486" y="627"/>
                    <a:pt x="1486" y="627"/>
                    <a:pt x="1486" y="627"/>
                  </a:cubicBezTo>
                  <a:cubicBezTo>
                    <a:pt x="1486" y="627"/>
                    <a:pt x="1489" y="636"/>
                    <a:pt x="1495" y="633"/>
                  </a:cubicBezTo>
                  <a:cubicBezTo>
                    <a:pt x="1500" y="631"/>
                    <a:pt x="1490" y="619"/>
                    <a:pt x="1490" y="619"/>
                  </a:cubicBezTo>
                  <a:cubicBezTo>
                    <a:pt x="1505" y="606"/>
                    <a:pt x="1505" y="606"/>
                    <a:pt x="1505" y="606"/>
                  </a:cubicBezTo>
                  <a:cubicBezTo>
                    <a:pt x="1501" y="599"/>
                    <a:pt x="1501" y="599"/>
                    <a:pt x="1501" y="599"/>
                  </a:cubicBezTo>
                  <a:cubicBezTo>
                    <a:pt x="1509" y="596"/>
                    <a:pt x="1509" y="596"/>
                    <a:pt x="1509" y="596"/>
                  </a:cubicBezTo>
                  <a:cubicBezTo>
                    <a:pt x="1515" y="584"/>
                    <a:pt x="1515" y="584"/>
                    <a:pt x="1515" y="584"/>
                  </a:cubicBezTo>
                  <a:cubicBezTo>
                    <a:pt x="1515" y="584"/>
                    <a:pt x="1521" y="584"/>
                    <a:pt x="1522" y="581"/>
                  </a:cubicBezTo>
                  <a:cubicBezTo>
                    <a:pt x="1524" y="578"/>
                    <a:pt x="1519" y="575"/>
                    <a:pt x="1519" y="575"/>
                  </a:cubicBezTo>
                  <a:cubicBezTo>
                    <a:pt x="1532" y="556"/>
                    <a:pt x="1532" y="556"/>
                    <a:pt x="1532" y="556"/>
                  </a:cubicBezTo>
                  <a:lnTo>
                    <a:pt x="1532" y="0"/>
                  </a:lnTo>
                  <a:close/>
                  <a:moveTo>
                    <a:pt x="375" y="778"/>
                  </a:moveTo>
                  <a:cubicBezTo>
                    <a:pt x="373" y="786"/>
                    <a:pt x="367" y="785"/>
                    <a:pt x="367" y="785"/>
                  </a:cubicBezTo>
                  <a:cubicBezTo>
                    <a:pt x="367" y="785"/>
                    <a:pt x="377" y="803"/>
                    <a:pt x="372" y="806"/>
                  </a:cubicBezTo>
                  <a:cubicBezTo>
                    <a:pt x="366" y="809"/>
                    <a:pt x="357" y="806"/>
                    <a:pt x="357" y="806"/>
                  </a:cubicBezTo>
                  <a:cubicBezTo>
                    <a:pt x="346" y="807"/>
                    <a:pt x="346" y="807"/>
                    <a:pt x="346" y="807"/>
                  </a:cubicBezTo>
                  <a:cubicBezTo>
                    <a:pt x="340" y="816"/>
                    <a:pt x="340" y="816"/>
                    <a:pt x="340" y="816"/>
                  </a:cubicBezTo>
                  <a:cubicBezTo>
                    <a:pt x="340" y="816"/>
                    <a:pt x="350" y="830"/>
                    <a:pt x="341" y="830"/>
                  </a:cubicBezTo>
                  <a:cubicBezTo>
                    <a:pt x="334" y="831"/>
                    <a:pt x="324" y="830"/>
                    <a:pt x="324" y="830"/>
                  </a:cubicBezTo>
                  <a:cubicBezTo>
                    <a:pt x="324" y="818"/>
                    <a:pt x="324" y="818"/>
                    <a:pt x="324" y="818"/>
                  </a:cubicBezTo>
                  <a:cubicBezTo>
                    <a:pt x="316" y="814"/>
                    <a:pt x="316" y="814"/>
                    <a:pt x="316" y="814"/>
                  </a:cubicBezTo>
                  <a:cubicBezTo>
                    <a:pt x="316" y="814"/>
                    <a:pt x="319" y="808"/>
                    <a:pt x="313" y="803"/>
                  </a:cubicBezTo>
                  <a:cubicBezTo>
                    <a:pt x="307" y="798"/>
                    <a:pt x="299" y="792"/>
                    <a:pt x="299" y="792"/>
                  </a:cubicBezTo>
                  <a:cubicBezTo>
                    <a:pt x="299" y="792"/>
                    <a:pt x="299" y="786"/>
                    <a:pt x="295" y="781"/>
                  </a:cubicBezTo>
                  <a:cubicBezTo>
                    <a:pt x="291" y="775"/>
                    <a:pt x="266" y="769"/>
                    <a:pt x="266" y="764"/>
                  </a:cubicBezTo>
                  <a:cubicBezTo>
                    <a:pt x="267" y="758"/>
                    <a:pt x="277" y="754"/>
                    <a:pt x="277" y="754"/>
                  </a:cubicBezTo>
                  <a:cubicBezTo>
                    <a:pt x="275" y="744"/>
                    <a:pt x="275" y="744"/>
                    <a:pt x="275" y="744"/>
                  </a:cubicBezTo>
                  <a:cubicBezTo>
                    <a:pt x="275" y="744"/>
                    <a:pt x="285" y="740"/>
                    <a:pt x="285" y="736"/>
                  </a:cubicBezTo>
                  <a:cubicBezTo>
                    <a:pt x="285" y="730"/>
                    <a:pt x="286" y="722"/>
                    <a:pt x="286" y="722"/>
                  </a:cubicBezTo>
                  <a:cubicBezTo>
                    <a:pt x="291" y="723"/>
                    <a:pt x="297" y="724"/>
                    <a:pt x="297" y="724"/>
                  </a:cubicBezTo>
                  <a:cubicBezTo>
                    <a:pt x="301" y="729"/>
                    <a:pt x="301" y="729"/>
                    <a:pt x="301" y="729"/>
                  </a:cubicBezTo>
                  <a:cubicBezTo>
                    <a:pt x="302" y="726"/>
                    <a:pt x="302" y="726"/>
                    <a:pt x="302" y="726"/>
                  </a:cubicBezTo>
                  <a:cubicBezTo>
                    <a:pt x="310" y="726"/>
                    <a:pt x="310" y="726"/>
                    <a:pt x="310" y="726"/>
                  </a:cubicBezTo>
                  <a:cubicBezTo>
                    <a:pt x="316" y="735"/>
                    <a:pt x="316" y="735"/>
                    <a:pt x="316" y="735"/>
                  </a:cubicBezTo>
                  <a:cubicBezTo>
                    <a:pt x="319" y="732"/>
                    <a:pt x="319" y="732"/>
                    <a:pt x="319" y="732"/>
                  </a:cubicBezTo>
                  <a:cubicBezTo>
                    <a:pt x="325" y="739"/>
                    <a:pt x="325" y="739"/>
                    <a:pt x="325" y="739"/>
                  </a:cubicBezTo>
                  <a:cubicBezTo>
                    <a:pt x="315" y="739"/>
                    <a:pt x="315" y="739"/>
                    <a:pt x="315" y="739"/>
                  </a:cubicBezTo>
                  <a:cubicBezTo>
                    <a:pt x="315" y="739"/>
                    <a:pt x="313" y="742"/>
                    <a:pt x="316" y="743"/>
                  </a:cubicBezTo>
                  <a:cubicBezTo>
                    <a:pt x="319" y="744"/>
                    <a:pt x="321" y="741"/>
                    <a:pt x="321" y="741"/>
                  </a:cubicBezTo>
                  <a:cubicBezTo>
                    <a:pt x="321" y="741"/>
                    <a:pt x="341" y="739"/>
                    <a:pt x="349" y="744"/>
                  </a:cubicBezTo>
                  <a:cubicBezTo>
                    <a:pt x="355" y="751"/>
                    <a:pt x="356" y="755"/>
                    <a:pt x="356" y="755"/>
                  </a:cubicBezTo>
                  <a:cubicBezTo>
                    <a:pt x="366" y="760"/>
                    <a:pt x="366" y="760"/>
                    <a:pt x="366" y="760"/>
                  </a:cubicBezTo>
                  <a:cubicBezTo>
                    <a:pt x="369" y="770"/>
                    <a:pt x="369" y="770"/>
                    <a:pt x="369" y="770"/>
                  </a:cubicBezTo>
                  <a:cubicBezTo>
                    <a:pt x="369" y="770"/>
                    <a:pt x="376" y="771"/>
                    <a:pt x="375" y="778"/>
                  </a:cubicBezTo>
                  <a:close/>
                  <a:moveTo>
                    <a:pt x="464" y="712"/>
                  </a:moveTo>
                  <a:cubicBezTo>
                    <a:pt x="462" y="717"/>
                    <a:pt x="462" y="724"/>
                    <a:pt x="462" y="724"/>
                  </a:cubicBezTo>
                  <a:cubicBezTo>
                    <a:pt x="449" y="726"/>
                    <a:pt x="449" y="726"/>
                    <a:pt x="449" y="726"/>
                  </a:cubicBezTo>
                  <a:cubicBezTo>
                    <a:pt x="449" y="726"/>
                    <a:pt x="454" y="717"/>
                    <a:pt x="446" y="708"/>
                  </a:cubicBezTo>
                  <a:cubicBezTo>
                    <a:pt x="437" y="698"/>
                    <a:pt x="425" y="697"/>
                    <a:pt x="425" y="697"/>
                  </a:cubicBezTo>
                  <a:cubicBezTo>
                    <a:pt x="408" y="694"/>
                    <a:pt x="408" y="694"/>
                    <a:pt x="408" y="694"/>
                  </a:cubicBezTo>
                  <a:cubicBezTo>
                    <a:pt x="388" y="677"/>
                    <a:pt x="388" y="677"/>
                    <a:pt x="388" y="677"/>
                  </a:cubicBezTo>
                  <a:cubicBezTo>
                    <a:pt x="398" y="683"/>
                    <a:pt x="398" y="683"/>
                    <a:pt x="398" y="683"/>
                  </a:cubicBezTo>
                  <a:cubicBezTo>
                    <a:pt x="401" y="683"/>
                    <a:pt x="401" y="683"/>
                    <a:pt x="401" y="683"/>
                  </a:cubicBezTo>
                  <a:cubicBezTo>
                    <a:pt x="401" y="674"/>
                    <a:pt x="401" y="674"/>
                    <a:pt x="401" y="674"/>
                  </a:cubicBezTo>
                  <a:cubicBezTo>
                    <a:pt x="392" y="669"/>
                    <a:pt x="392" y="669"/>
                    <a:pt x="392" y="669"/>
                  </a:cubicBezTo>
                  <a:cubicBezTo>
                    <a:pt x="389" y="667"/>
                    <a:pt x="389" y="667"/>
                    <a:pt x="389" y="667"/>
                  </a:cubicBezTo>
                  <a:cubicBezTo>
                    <a:pt x="381" y="658"/>
                    <a:pt x="381" y="658"/>
                    <a:pt x="381" y="658"/>
                  </a:cubicBezTo>
                  <a:cubicBezTo>
                    <a:pt x="373" y="650"/>
                    <a:pt x="373" y="650"/>
                    <a:pt x="373" y="650"/>
                  </a:cubicBezTo>
                  <a:cubicBezTo>
                    <a:pt x="375" y="650"/>
                    <a:pt x="375" y="650"/>
                    <a:pt x="375" y="650"/>
                  </a:cubicBezTo>
                  <a:cubicBezTo>
                    <a:pt x="384" y="656"/>
                    <a:pt x="384" y="656"/>
                    <a:pt x="384" y="656"/>
                  </a:cubicBezTo>
                  <a:cubicBezTo>
                    <a:pt x="386" y="661"/>
                    <a:pt x="386" y="661"/>
                    <a:pt x="386" y="661"/>
                  </a:cubicBezTo>
                  <a:cubicBezTo>
                    <a:pt x="401" y="669"/>
                    <a:pt x="401" y="669"/>
                    <a:pt x="401" y="669"/>
                  </a:cubicBezTo>
                  <a:cubicBezTo>
                    <a:pt x="401" y="666"/>
                    <a:pt x="401" y="666"/>
                    <a:pt x="401" y="666"/>
                  </a:cubicBezTo>
                  <a:cubicBezTo>
                    <a:pt x="395" y="658"/>
                    <a:pt x="395" y="658"/>
                    <a:pt x="395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85" y="646"/>
                    <a:pt x="385" y="646"/>
                    <a:pt x="385" y="646"/>
                  </a:cubicBezTo>
                  <a:cubicBezTo>
                    <a:pt x="398" y="653"/>
                    <a:pt x="398" y="653"/>
                    <a:pt x="398" y="653"/>
                  </a:cubicBezTo>
                  <a:cubicBezTo>
                    <a:pt x="385" y="638"/>
                    <a:pt x="385" y="638"/>
                    <a:pt x="385" y="638"/>
                  </a:cubicBezTo>
                  <a:cubicBezTo>
                    <a:pt x="385" y="638"/>
                    <a:pt x="401" y="649"/>
                    <a:pt x="402" y="653"/>
                  </a:cubicBezTo>
                  <a:cubicBezTo>
                    <a:pt x="404" y="656"/>
                    <a:pt x="411" y="662"/>
                    <a:pt x="413" y="663"/>
                  </a:cubicBezTo>
                  <a:cubicBezTo>
                    <a:pt x="414" y="663"/>
                    <a:pt x="414" y="660"/>
                    <a:pt x="414" y="660"/>
                  </a:cubicBezTo>
                  <a:cubicBezTo>
                    <a:pt x="414" y="660"/>
                    <a:pt x="407" y="656"/>
                    <a:pt x="408" y="654"/>
                  </a:cubicBezTo>
                  <a:cubicBezTo>
                    <a:pt x="409" y="651"/>
                    <a:pt x="422" y="660"/>
                    <a:pt x="422" y="650"/>
                  </a:cubicBezTo>
                  <a:cubicBezTo>
                    <a:pt x="423" y="641"/>
                    <a:pt x="411" y="632"/>
                    <a:pt x="411" y="632"/>
                  </a:cubicBezTo>
                  <a:cubicBezTo>
                    <a:pt x="405" y="632"/>
                    <a:pt x="405" y="632"/>
                    <a:pt x="405" y="632"/>
                  </a:cubicBezTo>
                  <a:cubicBezTo>
                    <a:pt x="397" y="629"/>
                    <a:pt x="397" y="629"/>
                    <a:pt x="397" y="629"/>
                  </a:cubicBezTo>
                  <a:cubicBezTo>
                    <a:pt x="393" y="629"/>
                    <a:pt x="393" y="629"/>
                    <a:pt x="393" y="629"/>
                  </a:cubicBezTo>
                  <a:cubicBezTo>
                    <a:pt x="404" y="643"/>
                    <a:pt x="404" y="643"/>
                    <a:pt x="404" y="643"/>
                  </a:cubicBezTo>
                  <a:cubicBezTo>
                    <a:pt x="404" y="643"/>
                    <a:pt x="374" y="620"/>
                    <a:pt x="376" y="618"/>
                  </a:cubicBezTo>
                  <a:cubicBezTo>
                    <a:pt x="379" y="615"/>
                    <a:pt x="385" y="620"/>
                    <a:pt x="385" y="620"/>
                  </a:cubicBezTo>
                  <a:cubicBezTo>
                    <a:pt x="385" y="620"/>
                    <a:pt x="390" y="618"/>
                    <a:pt x="393" y="619"/>
                  </a:cubicBezTo>
                  <a:cubicBezTo>
                    <a:pt x="397" y="619"/>
                    <a:pt x="407" y="625"/>
                    <a:pt x="407" y="625"/>
                  </a:cubicBezTo>
                  <a:cubicBezTo>
                    <a:pt x="407" y="625"/>
                    <a:pt x="421" y="622"/>
                    <a:pt x="426" y="632"/>
                  </a:cubicBezTo>
                  <a:cubicBezTo>
                    <a:pt x="433" y="642"/>
                    <a:pt x="424" y="654"/>
                    <a:pt x="429" y="657"/>
                  </a:cubicBezTo>
                  <a:cubicBezTo>
                    <a:pt x="433" y="660"/>
                    <a:pt x="440" y="670"/>
                    <a:pt x="440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8" y="677"/>
                    <a:pt x="448" y="677"/>
                    <a:pt x="448" y="677"/>
                  </a:cubicBezTo>
                  <a:cubicBezTo>
                    <a:pt x="448" y="677"/>
                    <a:pt x="466" y="682"/>
                    <a:pt x="468" y="692"/>
                  </a:cubicBezTo>
                  <a:cubicBezTo>
                    <a:pt x="470" y="702"/>
                    <a:pt x="467" y="707"/>
                    <a:pt x="464" y="71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3" name="Litauen" descr="© INSCALE GmbH, 05.05.2010&#10;http://www.presentationload.com/">
              <a:extLst>
                <a:ext uri="{FF2B5EF4-FFF2-40B4-BE49-F238E27FC236}">
                  <a16:creationId xmlns:a16="http://schemas.microsoft.com/office/drawing/2014/main" id="{41FA55F6-8DB9-EE46-8377-E9170A569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1314" y="3509648"/>
              <a:ext cx="529729" cy="401010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" name="Sp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EFFD3AF0-CFA3-1843-8C92-5D8CC952D9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28478" y="5334821"/>
              <a:ext cx="1506677" cy="1242637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" name="Italien" descr="© INSCALE GmbH, 05.05.2010&#10;http://www.presentationload.com/">
              <a:extLst>
                <a:ext uri="{FF2B5EF4-FFF2-40B4-BE49-F238E27FC236}">
                  <a16:creationId xmlns:a16="http://schemas.microsoft.com/office/drawing/2014/main" id="{43940C29-EB74-654C-AC81-0E5F42E5BE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63553" y="5059231"/>
              <a:ext cx="1407662" cy="1617242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FCE53FAD-B49D-114A-8F48-8D3BBB21AB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529858" y="5691275"/>
              <a:ext cx="47858" cy="41257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" name="Deutsch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8080B04-E69A-C643-A257-81203151C1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50351" y="3808344"/>
              <a:ext cx="909287" cy="1227784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" name="Saudi-Arabien" descr="© INSCALE GmbH, 05.05.2010&#10;http://www.presentationload.com/">
              <a:extLst>
                <a:ext uri="{FF2B5EF4-FFF2-40B4-BE49-F238E27FC236}">
                  <a16:creationId xmlns:a16="http://schemas.microsoft.com/office/drawing/2014/main" id="{40EA2FBF-960D-B249-B720-F96918CB742E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8580" y="6668221"/>
              <a:ext cx="795420" cy="189779"/>
            </a:xfrm>
            <a:custGeom>
              <a:avLst/>
              <a:gdLst/>
              <a:ahLst/>
              <a:cxnLst>
                <a:cxn ang="0">
                  <a:pos x="333" y="80"/>
                </a:cxn>
                <a:cxn ang="0">
                  <a:pos x="333" y="30"/>
                </a:cxn>
                <a:cxn ang="0">
                  <a:pos x="319" y="13"/>
                </a:cxn>
                <a:cxn ang="0">
                  <a:pos x="224" y="11"/>
                </a:cxn>
                <a:cxn ang="0">
                  <a:pos x="122" y="0"/>
                </a:cxn>
                <a:cxn ang="0">
                  <a:pos x="78" y="7"/>
                </a:cxn>
                <a:cxn ang="0">
                  <a:pos x="66" y="29"/>
                </a:cxn>
                <a:cxn ang="0">
                  <a:pos x="15" y="68"/>
                </a:cxn>
                <a:cxn ang="0">
                  <a:pos x="0" y="80"/>
                </a:cxn>
                <a:cxn ang="0">
                  <a:pos x="333" y="80"/>
                </a:cxn>
              </a:cxnLst>
              <a:rect l="0" t="0" r="r" b="b"/>
              <a:pathLst>
                <a:path w="333" h="80">
                  <a:moveTo>
                    <a:pt x="333" y="80"/>
                  </a:moveTo>
                  <a:cubicBezTo>
                    <a:pt x="333" y="30"/>
                    <a:pt x="333" y="30"/>
                    <a:pt x="333" y="30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9" y="13"/>
                    <a:pt x="251" y="13"/>
                    <a:pt x="224" y="11"/>
                  </a:cubicBezTo>
                  <a:cubicBezTo>
                    <a:pt x="197" y="11"/>
                    <a:pt x="135" y="0"/>
                    <a:pt x="122" y="0"/>
                  </a:cubicBezTo>
                  <a:cubicBezTo>
                    <a:pt x="108" y="0"/>
                    <a:pt x="78" y="7"/>
                    <a:pt x="78" y="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25" y="61"/>
                    <a:pt x="15" y="68"/>
                  </a:cubicBezTo>
                  <a:cubicBezTo>
                    <a:pt x="11" y="70"/>
                    <a:pt x="6" y="74"/>
                    <a:pt x="0" y="80"/>
                  </a:cubicBezTo>
                  <a:lnTo>
                    <a:pt x="333" y="8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9" name="Jord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2556CF34-5F6F-8A40-A05E-6560E9DF22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21832" y="6537852"/>
              <a:ext cx="513227" cy="320148"/>
            </a:xfrm>
            <a:custGeom>
              <a:avLst/>
              <a:gdLst/>
              <a:ahLst/>
              <a:cxnLst>
                <a:cxn ang="0">
                  <a:pos x="5" y="128"/>
                </a:cxn>
                <a:cxn ang="0">
                  <a:pos x="7" y="134"/>
                </a:cxn>
                <a:cxn ang="0">
                  <a:pos x="137" y="134"/>
                </a:cxn>
                <a:cxn ang="0">
                  <a:pos x="152" y="122"/>
                </a:cxn>
                <a:cxn ang="0">
                  <a:pos x="203" y="83"/>
                </a:cxn>
                <a:cxn ang="0">
                  <a:pos x="215" y="61"/>
                </a:cxn>
                <a:cxn ang="0">
                  <a:pos x="158" y="0"/>
                </a:cxn>
                <a:cxn ang="0">
                  <a:pos x="76" y="109"/>
                </a:cxn>
                <a:cxn ang="0">
                  <a:pos x="49" y="110"/>
                </a:cxn>
                <a:cxn ang="0">
                  <a:pos x="42" y="105"/>
                </a:cxn>
                <a:cxn ang="0">
                  <a:pos x="34" y="109"/>
                </a:cxn>
                <a:cxn ang="0">
                  <a:pos x="30" y="109"/>
                </a:cxn>
                <a:cxn ang="0">
                  <a:pos x="18" y="99"/>
                </a:cxn>
                <a:cxn ang="0">
                  <a:pos x="5" y="107"/>
                </a:cxn>
                <a:cxn ang="0">
                  <a:pos x="0" y="110"/>
                </a:cxn>
                <a:cxn ang="0">
                  <a:pos x="3" y="120"/>
                </a:cxn>
                <a:cxn ang="0">
                  <a:pos x="5" y="128"/>
                </a:cxn>
              </a:cxnLst>
              <a:rect l="0" t="0" r="r" b="b"/>
              <a:pathLst>
                <a:path w="215" h="134">
                  <a:moveTo>
                    <a:pt x="5" y="128"/>
                  </a:moveTo>
                  <a:cubicBezTo>
                    <a:pt x="7" y="134"/>
                    <a:pt x="7" y="134"/>
                    <a:pt x="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43" y="128"/>
                    <a:pt x="148" y="124"/>
                    <a:pt x="152" y="122"/>
                  </a:cubicBezTo>
                  <a:cubicBezTo>
                    <a:pt x="162" y="115"/>
                    <a:pt x="203" y="83"/>
                    <a:pt x="203" y="83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0"/>
                    <a:pt x="48" y="106"/>
                    <a:pt x="42" y="105"/>
                  </a:cubicBezTo>
                  <a:cubicBezTo>
                    <a:pt x="35" y="105"/>
                    <a:pt x="34" y="109"/>
                    <a:pt x="34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26" y="100"/>
                    <a:pt x="18" y="99"/>
                  </a:cubicBezTo>
                  <a:cubicBezTo>
                    <a:pt x="10" y="99"/>
                    <a:pt x="5" y="107"/>
                    <a:pt x="5" y="10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8"/>
                    <a:pt x="3" y="120"/>
                  </a:cubicBezTo>
                  <a:cubicBezTo>
                    <a:pt x="7" y="123"/>
                    <a:pt x="5" y="128"/>
                    <a:pt x="5" y="12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0" name="Freeform 9" descr="© INSCALE GmbH, 05.05.2010&#10;http://www.presentationload.com/">
              <a:extLst>
                <a:ext uri="{FF2B5EF4-FFF2-40B4-BE49-F238E27FC236}">
                  <a16:creationId xmlns:a16="http://schemas.microsoft.com/office/drawing/2014/main" id="{AF809ACA-1D57-7D48-86F1-A4CAC2CE4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1017" y="5077384"/>
              <a:ext cx="344901" cy="242586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1" name="Freeform 79" descr="© INSCALE GmbH, 05.05.2010&#10;http://www.presentationload.com/">
              <a:extLst>
                <a:ext uri="{FF2B5EF4-FFF2-40B4-BE49-F238E27FC236}">
                  <a16:creationId xmlns:a16="http://schemas.microsoft.com/office/drawing/2014/main" id="{F93E05D2-73D9-D84A-94A9-519D5AB92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3260" y="5561736"/>
              <a:ext cx="207930" cy="26074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9" y="9"/>
                </a:cxn>
                <a:cxn ang="0">
                  <a:pos x="44" y="9"/>
                </a:cxn>
                <a:cxn ang="0">
                  <a:pos x="34" y="2"/>
                </a:cxn>
                <a:cxn ang="0">
                  <a:pos x="32" y="13"/>
                </a:cxn>
                <a:cxn ang="0">
                  <a:pos x="49" y="36"/>
                </a:cxn>
                <a:cxn ang="0">
                  <a:pos x="30" y="32"/>
                </a:cxn>
                <a:cxn ang="0">
                  <a:pos x="13" y="43"/>
                </a:cxn>
                <a:cxn ang="0">
                  <a:pos x="15" y="70"/>
                </a:cxn>
                <a:cxn ang="0">
                  <a:pos x="2" y="78"/>
                </a:cxn>
                <a:cxn ang="0">
                  <a:pos x="3" y="108"/>
                </a:cxn>
                <a:cxn ang="0">
                  <a:pos x="9" y="108"/>
                </a:cxn>
                <a:cxn ang="0">
                  <a:pos x="9" y="127"/>
                </a:cxn>
                <a:cxn ang="0">
                  <a:pos x="0" y="133"/>
                </a:cxn>
                <a:cxn ang="0">
                  <a:pos x="0" y="144"/>
                </a:cxn>
                <a:cxn ang="0">
                  <a:pos x="7" y="148"/>
                </a:cxn>
                <a:cxn ang="0">
                  <a:pos x="19" y="136"/>
                </a:cxn>
                <a:cxn ang="0">
                  <a:pos x="28" y="138"/>
                </a:cxn>
                <a:cxn ang="0">
                  <a:pos x="25" y="159"/>
                </a:cxn>
                <a:cxn ang="0">
                  <a:pos x="34" y="165"/>
                </a:cxn>
                <a:cxn ang="0">
                  <a:pos x="47" y="163"/>
                </a:cxn>
                <a:cxn ang="0">
                  <a:pos x="49" y="170"/>
                </a:cxn>
                <a:cxn ang="0">
                  <a:pos x="72" y="189"/>
                </a:cxn>
                <a:cxn ang="0">
                  <a:pos x="72" y="199"/>
                </a:cxn>
                <a:cxn ang="0">
                  <a:pos x="82" y="205"/>
                </a:cxn>
                <a:cxn ang="0">
                  <a:pos x="93" y="208"/>
                </a:cxn>
                <a:cxn ang="0">
                  <a:pos x="91" y="193"/>
                </a:cxn>
                <a:cxn ang="0">
                  <a:pos x="87" y="174"/>
                </a:cxn>
                <a:cxn ang="0">
                  <a:pos x="82" y="172"/>
                </a:cxn>
                <a:cxn ang="0">
                  <a:pos x="116" y="106"/>
                </a:cxn>
                <a:cxn ang="0">
                  <a:pos x="121" y="108"/>
                </a:cxn>
                <a:cxn ang="0">
                  <a:pos x="121" y="121"/>
                </a:cxn>
                <a:cxn ang="0">
                  <a:pos x="135" y="129"/>
                </a:cxn>
                <a:cxn ang="0">
                  <a:pos x="145" y="122"/>
                </a:cxn>
                <a:cxn ang="0">
                  <a:pos x="140" y="116"/>
                </a:cxn>
                <a:cxn ang="0">
                  <a:pos x="130" y="96"/>
                </a:cxn>
                <a:cxn ang="0">
                  <a:pos x="138" y="90"/>
                </a:cxn>
                <a:cxn ang="0">
                  <a:pos x="146" y="90"/>
                </a:cxn>
                <a:cxn ang="0">
                  <a:pos x="153" y="92"/>
                </a:cxn>
                <a:cxn ang="0">
                  <a:pos x="158" y="83"/>
                </a:cxn>
                <a:cxn ang="0">
                  <a:pos x="164" y="78"/>
                </a:cxn>
                <a:cxn ang="0">
                  <a:pos x="166" y="66"/>
                </a:cxn>
                <a:cxn ang="0">
                  <a:pos x="153" y="63"/>
                </a:cxn>
                <a:cxn ang="0">
                  <a:pos x="120" y="47"/>
                </a:cxn>
                <a:cxn ang="0">
                  <a:pos x="109" y="43"/>
                </a:cxn>
                <a:cxn ang="0">
                  <a:pos x="94" y="30"/>
                </a:cxn>
                <a:cxn ang="0">
                  <a:pos x="78" y="19"/>
                </a:cxn>
                <a:cxn ang="0">
                  <a:pos x="66" y="10"/>
                </a:cxn>
                <a:cxn ang="0">
                  <a:pos x="60" y="0"/>
                </a:cxn>
              </a:cxnLst>
              <a:rect l="0" t="0" r="r" b="b"/>
              <a:pathLst>
                <a:path w="166" h="208">
                  <a:moveTo>
                    <a:pt x="60" y="0"/>
                  </a:moveTo>
                  <a:cubicBezTo>
                    <a:pt x="59" y="9"/>
                    <a:pt x="59" y="9"/>
                    <a:pt x="5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53" y="30"/>
                    <a:pt x="49" y="36"/>
                  </a:cubicBezTo>
                  <a:cubicBezTo>
                    <a:pt x="44" y="42"/>
                    <a:pt x="36" y="32"/>
                    <a:pt x="30" y="32"/>
                  </a:cubicBezTo>
                  <a:cubicBezTo>
                    <a:pt x="21" y="32"/>
                    <a:pt x="15" y="40"/>
                    <a:pt x="13" y="43"/>
                  </a:cubicBezTo>
                  <a:cubicBezTo>
                    <a:pt x="9" y="49"/>
                    <a:pt x="19" y="66"/>
                    <a:pt x="15" y="70"/>
                  </a:cubicBezTo>
                  <a:cubicBezTo>
                    <a:pt x="11" y="72"/>
                    <a:pt x="6" y="72"/>
                    <a:pt x="2" y="78"/>
                  </a:cubicBezTo>
                  <a:cubicBezTo>
                    <a:pt x="0" y="83"/>
                    <a:pt x="3" y="108"/>
                    <a:pt x="3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2" y="199"/>
                    <a:pt x="72" y="199"/>
                    <a:pt x="72" y="199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82" y="172"/>
                    <a:pt x="82" y="172"/>
                    <a:pt x="82" y="172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21" y="108"/>
                    <a:pt x="121" y="108"/>
                    <a:pt x="121" y="108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53" y="63"/>
                    <a:pt x="153" y="63"/>
                    <a:pt x="153" y="63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2" name="Freeform 141" descr="© INSCALE GmbH, 05.05.2010&#10;http://www.presentationload.com/">
              <a:extLst>
                <a:ext uri="{FF2B5EF4-FFF2-40B4-BE49-F238E27FC236}">
                  <a16:creationId xmlns:a16="http://schemas.microsoft.com/office/drawing/2014/main" id="{29987B60-09DE-B649-90F9-CD11C7246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6659" y="5147524"/>
              <a:ext cx="519827" cy="585114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3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F3F863CD-0F50-7045-83C7-04713D0C0D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4838" y="5592658"/>
              <a:ext cx="223776" cy="228166"/>
            </a:xfrm>
            <a:custGeom>
              <a:avLst/>
              <a:gdLst/>
              <a:ahLst/>
              <a:cxnLst>
                <a:cxn ang="0">
                  <a:pos x="63" y="40"/>
                </a:cxn>
                <a:cxn ang="0">
                  <a:pos x="65" y="36"/>
                </a:cxn>
                <a:cxn ang="0">
                  <a:pos x="68" y="29"/>
                </a:cxn>
                <a:cxn ang="0">
                  <a:pos x="66" y="24"/>
                </a:cxn>
                <a:cxn ang="0">
                  <a:pos x="61" y="22"/>
                </a:cxn>
                <a:cxn ang="0">
                  <a:pos x="59" y="21"/>
                </a:cxn>
                <a:cxn ang="0">
                  <a:pos x="54" y="19"/>
                </a:cxn>
                <a:cxn ang="0">
                  <a:pos x="51" y="16"/>
                </a:cxn>
                <a:cxn ang="0">
                  <a:pos x="47" y="15"/>
                </a:cxn>
                <a:cxn ang="0">
                  <a:pos x="44" y="11"/>
                </a:cxn>
                <a:cxn ang="0">
                  <a:pos x="39" y="9"/>
                </a:cxn>
                <a:cxn ang="0">
                  <a:pos x="37" y="8"/>
                </a:cxn>
                <a:cxn ang="0">
                  <a:pos x="34" y="7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1" y="1"/>
                </a:cxn>
                <a:cxn ang="0">
                  <a:pos x="27" y="4"/>
                </a:cxn>
                <a:cxn ang="0">
                  <a:pos x="24" y="9"/>
                </a:cxn>
                <a:cxn ang="0">
                  <a:pos x="25" y="15"/>
                </a:cxn>
                <a:cxn ang="0">
                  <a:pos x="22" y="20"/>
                </a:cxn>
                <a:cxn ang="0">
                  <a:pos x="18" y="24"/>
                </a:cxn>
                <a:cxn ang="0">
                  <a:pos x="10" y="24"/>
                </a:cxn>
                <a:cxn ang="0">
                  <a:pos x="6" y="25"/>
                </a:cxn>
                <a:cxn ang="0">
                  <a:pos x="0" y="27"/>
                </a:cxn>
                <a:cxn ang="0">
                  <a:pos x="5" y="37"/>
                </a:cxn>
                <a:cxn ang="0">
                  <a:pos x="12" y="38"/>
                </a:cxn>
                <a:cxn ang="0">
                  <a:pos x="26" y="48"/>
                </a:cxn>
                <a:cxn ang="0">
                  <a:pos x="29" y="69"/>
                </a:cxn>
                <a:cxn ang="0">
                  <a:pos x="35" y="55"/>
                </a:cxn>
                <a:cxn ang="0">
                  <a:pos x="46" y="47"/>
                </a:cxn>
                <a:cxn ang="0">
                  <a:pos x="58" y="43"/>
                </a:cxn>
                <a:cxn ang="0">
                  <a:pos x="63" y="42"/>
                </a:cxn>
              </a:cxnLst>
              <a:rect l="0" t="0" r="r" b="b"/>
              <a:pathLst>
                <a:path w="68" h="69">
                  <a:moveTo>
                    <a:pt x="63" y="42"/>
                  </a:moveTo>
                  <a:cubicBezTo>
                    <a:pt x="63" y="41"/>
                    <a:pt x="63" y="40"/>
                    <a:pt x="63" y="40"/>
                  </a:cubicBezTo>
                  <a:cubicBezTo>
                    <a:pt x="63" y="40"/>
                    <a:pt x="64" y="39"/>
                    <a:pt x="64" y="38"/>
                  </a:cubicBezTo>
                  <a:cubicBezTo>
                    <a:pt x="64" y="38"/>
                    <a:pt x="65" y="36"/>
                    <a:pt x="65" y="3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8" y="30"/>
                    <a:pt x="68" y="29"/>
                  </a:cubicBezTo>
                  <a:cubicBezTo>
                    <a:pt x="68" y="29"/>
                    <a:pt x="67" y="27"/>
                    <a:pt x="67" y="27"/>
                  </a:cubicBezTo>
                  <a:cubicBezTo>
                    <a:pt x="67" y="27"/>
                    <a:pt x="66" y="24"/>
                    <a:pt x="66" y="24"/>
                  </a:cubicBezTo>
                  <a:cubicBezTo>
                    <a:pt x="65" y="23"/>
                    <a:pt x="63" y="23"/>
                    <a:pt x="63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8" y="16"/>
                    <a:pt x="47" y="15"/>
                    <a:pt x="47" y="15"/>
                  </a:cubicBezTo>
                  <a:cubicBezTo>
                    <a:pt x="47" y="15"/>
                    <a:pt x="47" y="12"/>
                    <a:pt x="47" y="12"/>
                  </a:cubicBezTo>
                  <a:cubicBezTo>
                    <a:pt x="46" y="11"/>
                    <a:pt x="44" y="11"/>
                    <a:pt x="44" y="11"/>
                  </a:cubicBezTo>
                  <a:cubicBezTo>
                    <a:pt x="44" y="11"/>
                    <a:pt x="44" y="9"/>
                    <a:pt x="43" y="9"/>
                  </a:cubicBezTo>
                  <a:cubicBezTo>
                    <a:pt x="42" y="9"/>
                    <a:pt x="40" y="10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8" y="8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2" y="6"/>
                    <a:pt x="33" y="5"/>
                    <a:pt x="34" y="4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1" y="1"/>
                  </a:cubicBezTo>
                  <a:cubicBezTo>
                    <a:pt x="31" y="1"/>
                    <a:pt x="30" y="4"/>
                    <a:pt x="30" y="4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8"/>
                    <a:pt x="24" y="9"/>
                  </a:cubicBezTo>
                  <a:cubicBezTo>
                    <a:pt x="25" y="9"/>
                    <a:pt x="25" y="10"/>
                    <a:pt x="26" y="11"/>
                  </a:cubicBezTo>
                  <a:cubicBezTo>
                    <a:pt x="26" y="11"/>
                    <a:pt x="25" y="15"/>
                    <a:pt x="25" y="15"/>
                  </a:cubicBezTo>
                  <a:cubicBezTo>
                    <a:pt x="25" y="15"/>
                    <a:pt x="23" y="17"/>
                    <a:pt x="22" y="18"/>
                  </a:cubicBezTo>
                  <a:cubicBezTo>
                    <a:pt x="21" y="19"/>
                    <a:pt x="22" y="20"/>
                    <a:pt x="22" y="20"/>
                  </a:cubicBezTo>
                  <a:cubicBezTo>
                    <a:pt x="21" y="21"/>
                    <a:pt x="21" y="22"/>
                    <a:pt x="20" y="23"/>
                  </a:cubicBezTo>
                  <a:cubicBezTo>
                    <a:pt x="20" y="23"/>
                    <a:pt x="18" y="24"/>
                    <a:pt x="1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1" y="36"/>
                    <a:pt x="12" y="38"/>
                  </a:cubicBezTo>
                  <a:cubicBezTo>
                    <a:pt x="14" y="40"/>
                    <a:pt x="15" y="45"/>
                    <a:pt x="15" y="45"/>
                  </a:cubicBezTo>
                  <a:cubicBezTo>
                    <a:pt x="15" y="45"/>
                    <a:pt x="23" y="46"/>
                    <a:pt x="26" y="48"/>
                  </a:cubicBezTo>
                  <a:cubicBezTo>
                    <a:pt x="28" y="52"/>
                    <a:pt x="31" y="59"/>
                    <a:pt x="31" y="5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3" y="58"/>
                    <a:pt x="35" y="55"/>
                  </a:cubicBezTo>
                  <a:cubicBezTo>
                    <a:pt x="37" y="51"/>
                    <a:pt x="42" y="51"/>
                    <a:pt x="42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60" y="43"/>
                    <a:pt x="61" y="43"/>
                  </a:cubicBezTo>
                  <a:cubicBezTo>
                    <a:pt x="62" y="42"/>
                    <a:pt x="63" y="42"/>
                    <a:pt x="63" y="4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4" name="Freeform 7" descr="© INSCALE GmbH, 05.05.2010&#10;http://www.presentationload.com/">
              <a:extLst>
                <a:ext uri="{FF2B5EF4-FFF2-40B4-BE49-F238E27FC236}">
                  <a16:creationId xmlns:a16="http://schemas.microsoft.com/office/drawing/2014/main" id="{0F12AA26-9A8C-D243-8FAD-8ACD6B875E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9195" y="4433787"/>
              <a:ext cx="704656" cy="397709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5" name="Freeform 20" descr="© INSCALE GmbH, 05.05.2010&#10;http://www.presentationload.com/">
              <a:extLst>
                <a:ext uri="{FF2B5EF4-FFF2-40B4-BE49-F238E27FC236}">
                  <a16:creationId xmlns:a16="http://schemas.microsoft.com/office/drawing/2014/main" id="{3D2CD66F-2E2B-FD4B-AABE-3E54572497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30918" y="5130191"/>
              <a:ext cx="668349" cy="613892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6" name="Freeform 26" descr="© INSCALE GmbH, 05.05.2010&#10;http://www.presentationload.com/">
              <a:extLst>
                <a:ext uri="{FF2B5EF4-FFF2-40B4-BE49-F238E27FC236}">
                  <a16:creationId xmlns:a16="http://schemas.microsoft.com/office/drawing/2014/main" id="{1F4AD5A9-1CB7-AE4B-A406-F5C0281171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820" y="4623566"/>
              <a:ext cx="587488" cy="310247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7" name="Freeform 27" descr="© INSCALE GmbH, 05.05.2010&#10;http://www.presentationload.com/">
              <a:extLst>
                <a:ext uri="{FF2B5EF4-FFF2-40B4-BE49-F238E27FC236}">
                  <a16:creationId xmlns:a16="http://schemas.microsoft.com/office/drawing/2014/main" id="{46302BA9-37CC-C045-9471-C3C5ECBCD18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410" y="4762187"/>
              <a:ext cx="716207" cy="478571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8" name="Freeform 32" descr="© INSCALE GmbH, 05.05.2010&#10;http://www.presentationload.com/">
              <a:extLst>
                <a:ext uri="{FF2B5EF4-FFF2-40B4-BE49-F238E27FC236}">
                  <a16:creationId xmlns:a16="http://schemas.microsoft.com/office/drawing/2014/main" id="{FDE6B26E-0DA2-C349-99AB-CE70EEC855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5180" y="4712680"/>
              <a:ext cx="1071010" cy="760763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9" name="Freeform 52" descr="© INSCALE GmbH, 05.05.2010&#10;http://www.presentationload.com/">
              <a:extLst>
                <a:ext uri="{FF2B5EF4-FFF2-40B4-BE49-F238E27FC236}">
                  <a16:creationId xmlns:a16="http://schemas.microsoft.com/office/drawing/2014/main" id="{2D7945EE-E5D4-0C4D-BE10-BFAAC73CAF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4022" y="3836397"/>
              <a:ext cx="1029753" cy="849878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0" name="Frank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4F4FCEBA-5739-0943-B838-DE52D460DB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478" y="4395832"/>
              <a:ext cx="1496774" cy="1554533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1" name="Sch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6D2684C6-DB94-E042-8D36-6E707F59D0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88331" y="1638269"/>
              <a:ext cx="872981" cy="2145322"/>
            </a:xfrm>
            <a:custGeom>
              <a:avLst/>
              <a:gdLst/>
              <a:ahLst/>
              <a:cxnLst>
                <a:cxn ang="0">
                  <a:pos x="336" y="111"/>
                </a:cxn>
                <a:cxn ang="0">
                  <a:pos x="305" y="38"/>
                </a:cxn>
                <a:cxn ang="0">
                  <a:pos x="247" y="2"/>
                </a:cxn>
                <a:cxn ang="0">
                  <a:pos x="194" y="36"/>
                </a:cxn>
                <a:cxn ang="0">
                  <a:pos x="136" y="151"/>
                </a:cxn>
                <a:cxn ang="0">
                  <a:pos x="98" y="268"/>
                </a:cxn>
                <a:cxn ang="0">
                  <a:pos x="33" y="410"/>
                </a:cxn>
                <a:cxn ang="0">
                  <a:pos x="41" y="538"/>
                </a:cxn>
                <a:cxn ang="0">
                  <a:pos x="12" y="671"/>
                </a:cxn>
                <a:cxn ang="0">
                  <a:pos x="9" y="707"/>
                </a:cxn>
                <a:cxn ang="0">
                  <a:pos x="18" y="737"/>
                </a:cxn>
                <a:cxn ang="0">
                  <a:pos x="37" y="779"/>
                </a:cxn>
                <a:cxn ang="0">
                  <a:pos x="52" y="826"/>
                </a:cxn>
                <a:cxn ang="0">
                  <a:pos x="64" y="871"/>
                </a:cxn>
                <a:cxn ang="0">
                  <a:pos x="106" y="895"/>
                </a:cxn>
                <a:cxn ang="0">
                  <a:pos x="172" y="847"/>
                </a:cxn>
                <a:cxn ang="0">
                  <a:pos x="197" y="756"/>
                </a:cxn>
                <a:cxn ang="0">
                  <a:pos x="196" y="719"/>
                </a:cxn>
                <a:cxn ang="0">
                  <a:pos x="192" y="677"/>
                </a:cxn>
                <a:cxn ang="0">
                  <a:pos x="226" y="648"/>
                </a:cxn>
                <a:cxn ang="0">
                  <a:pos x="237" y="628"/>
                </a:cxn>
                <a:cxn ang="0">
                  <a:pos x="267" y="592"/>
                </a:cxn>
                <a:cxn ang="0">
                  <a:pos x="216" y="557"/>
                </a:cxn>
                <a:cxn ang="0">
                  <a:pos x="193" y="502"/>
                </a:cxn>
                <a:cxn ang="0">
                  <a:pos x="201" y="450"/>
                </a:cxn>
                <a:cxn ang="0">
                  <a:pos x="207" y="432"/>
                </a:cxn>
                <a:cxn ang="0">
                  <a:pos x="225" y="405"/>
                </a:cxn>
                <a:cxn ang="0">
                  <a:pos x="233" y="375"/>
                </a:cxn>
                <a:cxn ang="0">
                  <a:pos x="262" y="357"/>
                </a:cxn>
                <a:cxn ang="0">
                  <a:pos x="290" y="333"/>
                </a:cxn>
                <a:cxn ang="0">
                  <a:pos x="309" y="283"/>
                </a:cxn>
                <a:cxn ang="0">
                  <a:pos x="307" y="221"/>
                </a:cxn>
                <a:cxn ang="0">
                  <a:pos x="329" y="199"/>
                </a:cxn>
                <a:cxn ang="0">
                  <a:pos x="365" y="195"/>
                </a:cxn>
                <a:cxn ang="0">
                  <a:pos x="14" y="718"/>
                </a:cxn>
                <a:cxn ang="0">
                  <a:pos x="207" y="765"/>
                </a:cxn>
                <a:cxn ang="0">
                  <a:pos x="190" y="816"/>
                </a:cxn>
                <a:cxn ang="0">
                  <a:pos x="208" y="788"/>
                </a:cxn>
                <a:cxn ang="0">
                  <a:pos x="277" y="731"/>
                </a:cxn>
                <a:cxn ang="0">
                  <a:pos x="248" y="746"/>
                </a:cxn>
                <a:cxn ang="0">
                  <a:pos x="253" y="787"/>
                </a:cxn>
                <a:cxn ang="0">
                  <a:pos x="277" y="750"/>
                </a:cxn>
                <a:cxn ang="0">
                  <a:pos x="281" y="712"/>
                </a:cxn>
                <a:cxn ang="0">
                  <a:pos x="281" y="689"/>
                </a:cxn>
                <a:cxn ang="0">
                  <a:pos x="243" y="630"/>
                </a:cxn>
                <a:cxn ang="0">
                  <a:pos x="258" y="630"/>
                </a:cxn>
                <a:cxn ang="0">
                  <a:pos x="247" y="656"/>
                </a:cxn>
                <a:cxn ang="0">
                  <a:pos x="251" y="636"/>
                </a:cxn>
                <a:cxn ang="0">
                  <a:pos x="241" y="554"/>
                </a:cxn>
                <a:cxn ang="0">
                  <a:pos x="256" y="573"/>
                </a:cxn>
                <a:cxn ang="0">
                  <a:pos x="195" y="740"/>
                </a:cxn>
                <a:cxn ang="0">
                  <a:pos x="205" y="485"/>
                </a:cxn>
                <a:cxn ang="0">
                  <a:pos x="214" y="425"/>
                </a:cxn>
                <a:cxn ang="0">
                  <a:pos x="294" y="343"/>
                </a:cxn>
                <a:cxn ang="0">
                  <a:pos x="307" y="241"/>
                </a:cxn>
                <a:cxn ang="0">
                  <a:pos x="312" y="222"/>
                </a:cxn>
                <a:cxn ang="0">
                  <a:pos x="325" y="217"/>
                </a:cxn>
                <a:cxn ang="0">
                  <a:pos x="356" y="200"/>
                </a:cxn>
              </a:cxnLst>
              <a:rect l="0" t="0" r="r" b="b"/>
              <a:pathLst>
                <a:path w="365" h="899">
                  <a:moveTo>
                    <a:pt x="364" y="188"/>
                  </a:moveTo>
                  <a:cubicBezTo>
                    <a:pt x="364" y="188"/>
                    <a:pt x="359" y="186"/>
                    <a:pt x="358" y="182"/>
                  </a:cubicBezTo>
                  <a:cubicBezTo>
                    <a:pt x="357" y="178"/>
                    <a:pt x="358" y="175"/>
                    <a:pt x="356" y="173"/>
                  </a:cubicBezTo>
                  <a:cubicBezTo>
                    <a:pt x="354" y="172"/>
                    <a:pt x="347" y="171"/>
                    <a:pt x="347" y="167"/>
                  </a:cubicBezTo>
                  <a:cubicBezTo>
                    <a:pt x="348" y="161"/>
                    <a:pt x="348" y="160"/>
                    <a:pt x="348" y="160"/>
                  </a:cubicBezTo>
                  <a:cubicBezTo>
                    <a:pt x="348" y="160"/>
                    <a:pt x="343" y="159"/>
                    <a:pt x="345" y="155"/>
                  </a:cubicBezTo>
                  <a:cubicBezTo>
                    <a:pt x="348" y="150"/>
                    <a:pt x="353" y="147"/>
                    <a:pt x="352" y="144"/>
                  </a:cubicBezTo>
                  <a:cubicBezTo>
                    <a:pt x="350" y="140"/>
                    <a:pt x="348" y="136"/>
                    <a:pt x="348" y="136"/>
                  </a:cubicBezTo>
                  <a:cubicBezTo>
                    <a:pt x="348" y="136"/>
                    <a:pt x="349" y="129"/>
                    <a:pt x="347" y="125"/>
                  </a:cubicBezTo>
                  <a:cubicBezTo>
                    <a:pt x="345" y="122"/>
                    <a:pt x="336" y="117"/>
                    <a:pt x="336" y="111"/>
                  </a:cubicBezTo>
                  <a:cubicBezTo>
                    <a:pt x="336" y="106"/>
                    <a:pt x="337" y="104"/>
                    <a:pt x="337" y="104"/>
                  </a:cubicBezTo>
                  <a:cubicBezTo>
                    <a:pt x="340" y="101"/>
                    <a:pt x="340" y="101"/>
                    <a:pt x="340" y="101"/>
                  </a:cubicBezTo>
                  <a:cubicBezTo>
                    <a:pt x="339" y="95"/>
                    <a:pt x="339" y="95"/>
                    <a:pt x="339" y="95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93"/>
                    <a:pt x="330" y="87"/>
                    <a:pt x="328" y="81"/>
                  </a:cubicBezTo>
                  <a:cubicBezTo>
                    <a:pt x="327" y="77"/>
                    <a:pt x="325" y="74"/>
                    <a:pt x="326" y="69"/>
                  </a:cubicBezTo>
                  <a:cubicBezTo>
                    <a:pt x="327" y="65"/>
                    <a:pt x="332" y="65"/>
                    <a:pt x="330" y="62"/>
                  </a:cubicBezTo>
                  <a:cubicBezTo>
                    <a:pt x="328" y="59"/>
                    <a:pt x="319" y="50"/>
                    <a:pt x="319" y="50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53"/>
                    <a:pt x="314" y="43"/>
                    <a:pt x="305" y="38"/>
                  </a:cubicBezTo>
                  <a:cubicBezTo>
                    <a:pt x="295" y="33"/>
                    <a:pt x="282" y="31"/>
                    <a:pt x="282" y="31"/>
                  </a:cubicBezTo>
                  <a:cubicBezTo>
                    <a:pt x="278" y="27"/>
                    <a:pt x="278" y="27"/>
                    <a:pt x="278" y="27"/>
                  </a:cubicBezTo>
                  <a:cubicBezTo>
                    <a:pt x="274" y="27"/>
                    <a:pt x="274" y="27"/>
                    <a:pt x="274" y="27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0" y="5"/>
                    <a:pt x="250" y="5"/>
                    <a:pt x="250" y="5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30" y="2"/>
                    <a:pt x="237" y="11"/>
                    <a:pt x="238" y="17"/>
                  </a:cubicBezTo>
                  <a:cubicBezTo>
                    <a:pt x="239" y="25"/>
                    <a:pt x="231" y="34"/>
                    <a:pt x="231" y="34"/>
                  </a:cubicBezTo>
                  <a:cubicBezTo>
                    <a:pt x="239" y="38"/>
                    <a:pt x="239" y="38"/>
                    <a:pt x="239" y="38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198" y="41"/>
                    <a:pt x="198" y="41"/>
                    <a:pt x="198" y="41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9" y="56"/>
                    <a:pt x="188" y="61"/>
                  </a:cubicBezTo>
                  <a:cubicBezTo>
                    <a:pt x="186" y="66"/>
                    <a:pt x="183" y="77"/>
                    <a:pt x="183" y="77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4"/>
                    <a:pt x="149" y="101"/>
                    <a:pt x="149" y="106"/>
                  </a:cubicBezTo>
                  <a:cubicBezTo>
                    <a:pt x="148" y="111"/>
                    <a:pt x="140" y="109"/>
                    <a:pt x="140" y="109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7" y="127"/>
                    <a:pt x="148" y="135"/>
                  </a:cubicBezTo>
                  <a:cubicBezTo>
                    <a:pt x="150" y="141"/>
                    <a:pt x="144" y="143"/>
                    <a:pt x="136" y="151"/>
                  </a:cubicBezTo>
                  <a:cubicBezTo>
                    <a:pt x="130" y="157"/>
                    <a:pt x="132" y="162"/>
                    <a:pt x="130" y="169"/>
                  </a:cubicBezTo>
                  <a:cubicBezTo>
                    <a:pt x="128" y="175"/>
                    <a:pt x="123" y="176"/>
                    <a:pt x="123" y="176"/>
                  </a:cubicBezTo>
                  <a:cubicBezTo>
                    <a:pt x="126" y="189"/>
                    <a:pt x="126" y="189"/>
                    <a:pt x="126" y="18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00" y="201"/>
                    <a:pt x="100" y="201"/>
                    <a:pt x="100" y="201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03" y="253"/>
                    <a:pt x="103" y="253"/>
                    <a:pt x="103" y="253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79" y="300"/>
                    <a:pt x="79" y="300"/>
                    <a:pt x="79" y="300"/>
                  </a:cubicBezTo>
                  <a:cubicBezTo>
                    <a:pt x="93" y="310"/>
                    <a:pt x="93" y="310"/>
                    <a:pt x="93" y="310"/>
                  </a:cubicBezTo>
                  <a:cubicBezTo>
                    <a:pt x="94" y="325"/>
                    <a:pt x="94" y="325"/>
                    <a:pt x="94" y="325"/>
                  </a:cubicBezTo>
                  <a:cubicBezTo>
                    <a:pt x="89" y="337"/>
                    <a:pt x="89" y="337"/>
                    <a:pt x="89" y="337"/>
                  </a:cubicBezTo>
                  <a:cubicBezTo>
                    <a:pt x="89" y="337"/>
                    <a:pt x="69" y="331"/>
                    <a:pt x="59" y="334"/>
                  </a:cubicBezTo>
                  <a:cubicBezTo>
                    <a:pt x="47" y="337"/>
                    <a:pt x="35" y="365"/>
                    <a:pt x="35" y="365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30" y="385"/>
                    <a:pt x="30" y="385"/>
                    <a:pt x="30" y="385"/>
                  </a:cubicBezTo>
                  <a:cubicBezTo>
                    <a:pt x="37" y="404"/>
                    <a:pt x="37" y="404"/>
                    <a:pt x="37" y="404"/>
                  </a:cubicBezTo>
                  <a:cubicBezTo>
                    <a:pt x="33" y="410"/>
                    <a:pt x="33" y="410"/>
                    <a:pt x="33" y="410"/>
                  </a:cubicBezTo>
                  <a:cubicBezTo>
                    <a:pt x="36" y="421"/>
                    <a:pt x="36" y="421"/>
                    <a:pt x="36" y="421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41" y="452"/>
                    <a:pt x="41" y="452"/>
                    <a:pt x="41" y="452"/>
                  </a:cubicBezTo>
                  <a:cubicBezTo>
                    <a:pt x="35" y="487"/>
                    <a:pt x="35" y="487"/>
                    <a:pt x="35" y="487"/>
                  </a:cubicBezTo>
                  <a:cubicBezTo>
                    <a:pt x="45" y="497"/>
                    <a:pt x="45" y="497"/>
                    <a:pt x="45" y="497"/>
                  </a:cubicBezTo>
                  <a:cubicBezTo>
                    <a:pt x="45" y="497"/>
                    <a:pt x="50" y="500"/>
                    <a:pt x="54" y="503"/>
                  </a:cubicBezTo>
                  <a:cubicBezTo>
                    <a:pt x="58" y="507"/>
                    <a:pt x="59" y="511"/>
                    <a:pt x="55" y="523"/>
                  </a:cubicBezTo>
                  <a:cubicBezTo>
                    <a:pt x="53" y="535"/>
                    <a:pt x="45" y="529"/>
                    <a:pt x="45" y="529"/>
                  </a:cubicBezTo>
                  <a:cubicBezTo>
                    <a:pt x="36" y="532"/>
                    <a:pt x="36" y="532"/>
                    <a:pt x="36" y="532"/>
                  </a:cubicBezTo>
                  <a:cubicBezTo>
                    <a:pt x="41" y="538"/>
                    <a:pt x="41" y="538"/>
                    <a:pt x="41" y="538"/>
                  </a:cubicBezTo>
                  <a:cubicBezTo>
                    <a:pt x="43" y="547"/>
                    <a:pt x="43" y="547"/>
                    <a:pt x="43" y="547"/>
                  </a:cubicBezTo>
                  <a:cubicBezTo>
                    <a:pt x="43" y="547"/>
                    <a:pt x="49" y="561"/>
                    <a:pt x="51" y="568"/>
                  </a:cubicBezTo>
                  <a:cubicBezTo>
                    <a:pt x="54" y="576"/>
                    <a:pt x="46" y="572"/>
                    <a:pt x="45" y="577"/>
                  </a:cubicBezTo>
                  <a:cubicBezTo>
                    <a:pt x="44" y="581"/>
                    <a:pt x="48" y="584"/>
                    <a:pt x="45" y="597"/>
                  </a:cubicBezTo>
                  <a:cubicBezTo>
                    <a:pt x="41" y="609"/>
                    <a:pt x="30" y="603"/>
                    <a:pt x="26" y="607"/>
                  </a:cubicBezTo>
                  <a:cubicBezTo>
                    <a:pt x="21" y="610"/>
                    <a:pt x="28" y="611"/>
                    <a:pt x="27" y="616"/>
                  </a:cubicBezTo>
                  <a:cubicBezTo>
                    <a:pt x="27" y="620"/>
                    <a:pt x="21" y="619"/>
                    <a:pt x="19" y="623"/>
                  </a:cubicBezTo>
                  <a:cubicBezTo>
                    <a:pt x="16" y="625"/>
                    <a:pt x="25" y="643"/>
                    <a:pt x="25" y="643"/>
                  </a:cubicBezTo>
                  <a:cubicBezTo>
                    <a:pt x="25" y="643"/>
                    <a:pt x="21" y="651"/>
                    <a:pt x="19" y="658"/>
                  </a:cubicBezTo>
                  <a:cubicBezTo>
                    <a:pt x="17" y="665"/>
                    <a:pt x="16" y="671"/>
                    <a:pt x="12" y="671"/>
                  </a:cubicBezTo>
                  <a:cubicBezTo>
                    <a:pt x="8" y="671"/>
                    <a:pt x="11" y="662"/>
                    <a:pt x="10" y="657"/>
                  </a:cubicBezTo>
                  <a:cubicBezTo>
                    <a:pt x="9" y="652"/>
                    <a:pt x="1" y="657"/>
                    <a:pt x="1" y="657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0" y="664"/>
                    <a:pt x="3" y="668"/>
                    <a:pt x="3" y="673"/>
                  </a:cubicBezTo>
                  <a:cubicBezTo>
                    <a:pt x="3" y="676"/>
                    <a:pt x="0" y="679"/>
                    <a:pt x="0" y="679"/>
                  </a:cubicBezTo>
                  <a:cubicBezTo>
                    <a:pt x="0" y="679"/>
                    <a:pt x="5" y="693"/>
                    <a:pt x="5" y="696"/>
                  </a:cubicBezTo>
                  <a:cubicBezTo>
                    <a:pt x="5" y="699"/>
                    <a:pt x="1" y="699"/>
                    <a:pt x="1" y="699"/>
                  </a:cubicBezTo>
                  <a:cubicBezTo>
                    <a:pt x="2" y="703"/>
                    <a:pt x="2" y="703"/>
                    <a:pt x="2" y="703"/>
                  </a:cubicBezTo>
                  <a:cubicBezTo>
                    <a:pt x="2" y="703"/>
                    <a:pt x="6" y="700"/>
                    <a:pt x="9" y="702"/>
                  </a:cubicBezTo>
                  <a:cubicBezTo>
                    <a:pt x="10" y="703"/>
                    <a:pt x="9" y="707"/>
                    <a:pt x="9" y="707"/>
                  </a:cubicBezTo>
                  <a:cubicBezTo>
                    <a:pt x="11" y="707"/>
                    <a:pt x="11" y="707"/>
                    <a:pt x="11" y="707"/>
                  </a:cubicBezTo>
                  <a:cubicBezTo>
                    <a:pt x="14" y="697"/>
                    <a:pt x="14" y="697"/>
                    <a:pt x="14" y="697"/>
                  </a:cubicBezTo>
                  <a:cubicBezTo>
                    <a:pt x="17" y="700"/>
                    <a:pt x="17" y="700"/>
                    <a:pt x="17" y="700"/>
                  </a:cubicBezTo>
                  <a:cubicBezTo>
                    <a:pt x="10" y="710"/>
                    <a:pt x="10" y="710"/>
                    <a:pt x="10" y="710"/>
                  </a:cubicBezTo>
                  <a:cubicBezTo>
                    <a:pt x="10" y="712"/>
                    <a:pt x="10" y="712"/>
                    <a:pt x="10" y="712"/>
                  </a:cubicBezTo>
                  <a:cubicBezTo>
                    <a:pt x="25" y="704"/>
                    <a:pt x="25" y="704"/>
                    <a:pt x="25" y="704"/>
                  </a:cubicBezTo>
                  <a:cubicBezTo>
                    <a:pt x="22" y="709"/>
                    <a:pt x="22" y="709"/>
                    <a:pt x="22" y="709"/>
                  </a:cubicBezTo>
                  <a:cubicBezTo>
                    <a:pt x="25" y="713"/>
                    <a:pt x="25" y="713"/>
                    <a:pt x="25" y="713"/>
                  </a:cubicBezTo>
                  <a:cubicBezTo>
                    <a:pt x="21" y="730"/>
                    <a:pt x="21" y="730"/>
                    <a:pt x="21" y="730"/>
                  </a:cubicBezTo>
                  <a:cubicBezTo>
                    <a:pt x="18" y="737"/>
                    <a:pt x="18" y="737"/>
                    <a:pt x="18" y="737"/>
                  </a:cubicBezTo>
                  <a:cubicBezTo>
                    <a:pt x="22" y="741"/>
                    <a:pt x="22" y="741"/>
                    <a:pt x="22" y="741"/>
                  </a:cubicBezTo>
                  <a:cubicBezTo>
                    <a:pt x="17" y="746"/>
                    <a:pt x="17" y="746"/>
                    <a:pt x="17" y="746"/>
                  </a:cubicBezTo>
                  <a:cubicBezTo>
                    <a:pt x="22" y="746"/>
                    <a:pt x="22" y="746"/>
                    <a:pt x="22" y="746"/>
                  </a:cubicBezTo>
                  <a:cubicBezTo>
                    <a:pt x="24" y="746"/>
                    <a:pt x="26" y="754"/>
                    <a:pt x="26" y="757"/>
                  </a:cubicBezTo>
                  <a:cubicBezTo>
                    <a:pt x="26" y="761"/>
                    <a:pt x="27" y="768"/>
                    <a:pt x="29" y="768"/>
                  </a:cubicBezTo>
                  <a:cubicBezTo>
                    <a:pt x="31" y="768"/>
                    <a:pt x="32" y="761"/>
                    <a:pt x="32" y="761"/>
                  </a:cubicBezTo>
                  <a:cubicBezTo>
                    <a:pt x="32" y="770"/>
                    <a:pt x="32" y="770"/>
                    <a:pt x="32" y="770"/>
                  </a:cubicBezTo>
                  <a:cubicBezTo>
                    <a:pt x="34" y="771"/>
                    <a:pt x="34" y="771"/>
                    <a:pt x="34" y="771"/>
                  </a:cubicBezTo>
                  <a:cubicBezTo>
                    <a:pt x="32" y="777"/>
                    <a:pt x="32" y="777"/>
                    <a:pt x="32" y="777"/>
                  </a:cubicBezTo>
                  <a:cubicBezTo>
                    <a:pt x="37" y="779"/>
                    <a:pt x="37" y="779"/>
                    <a:pt x="37" y="779"/>
                  </a:cubicBezTo>
                  <a:cubicBezTo>
                    <a:pt x="37" y="786"/>
                    <a:pt x="37" y="786"/>
                    <a:pt x="37" y="786"/>
                  </a:cubicBezTo>
                  <a:cubicBezTo>
                    <a:pt x="42" y="791"/>
                    <a:pt x="42" y="791"/>
                    <a:pt x="42" y="791"/>
                  </a:cubicBezTo>
                  <a:cubicBezTo>
                    <a:pt x="42" y="796"/>
                    <a:pt x="42" y="796"/>
                    <a:pt x="42" y="796"/>
                  </a:cubicBezTo>
                  <a:cubicBezTo>
                    <a:pt x="48" y="804"/>
                    <a:pt x="48" y="804"/>
                    <a:pt x="48" y="804"/>
                  </a:cubicBezTo>
                  <a:cubicBezTo>
                    <a:pt x="50" y="803"/>
                    <a:pt x="50" y="803"/>
                    <a:pt x="50" y="803"/>
                  </a:cubicBezTo>
                  <a:cubicBezTo>
                    <a:pt x="50" y="803"/>
                    <a:pt x="52" y="815"/>
                    <a:pt x="55" y="816"/>
                  </a:cubicBezTo>
                  <a:cubicBezTo>
                    <a:pt x="60" y="818"/>
                    <a:pt x="61" y="814"/>
                    <a:pt x="61" y="814"/>
                  </a:cubicBezTo>
                  <a:cubicBezTo>
                    <a:pt x="61" y="814"/>
                    <a:pt x="64" y="822"/>
                    <a:pt x="64" y="825"/>
                  </a:cubicBezTo>
                  <a:cubicBezTo>
                    <a:pt x="64" y="829"/>
                    <a:pt x="58" y="828"/>
                    <a:pt x="58" y="828"/>
                  </a:cubicBezTo>
                  <a:cubicBezTo>
                    <a:pt x="58" y="828"/>
                    <a:pt x="57" y="823"/>
                    <a:pt x="52" y="826"/>
                  </a:cubicBezTo>
                  <a:cubicBezTo>
                    <a:pt x="48" y="830"/>
                    <a:pt x="58" y="834"/>
                    <a:pt x="58" y="834"/>
                  </a:cubicBezTo>
                  <a:cubicBezTo>
                    <a:pt x="58" y="834"/>
                    <a:pt x="61" y="839"/>
                    <a:pt x="59" y="841"/>
                  </a:cubicBezTo>
                  <a:cubicBezTo>
                    <a:pt x="55" y="844"/>
                    <a:pt x="51" y="838"/>
                    <a:pt x="49" y="837"/>
                  </a:cubicBezTo>
                  <a:cubicBezTo>
                    <a:pt x="47" y="835"/>
                    <a:pt x="44" y="835"/>
                    <a:pt x="43" y="836"/>
                  </a:cubicBezTo>
                  <a:cubicBezTo>
                    <a:pt x="42" y="837"/>
                    <a:pt x="47" y="839"/>
                    <a:pt x="47" y="839"/>
                  </a:cubicBezTo>
                  <a:cubicBezTo>
                    <a:pt x="48" y="844"/>
                    <a:pt x="48" y="844"/>
                    <a:pt x="48" y="844"/>
                  </a:cubicBezTo>
                  <a:cubicBezTo>
                    <a:pt x="48" y="844"/>
                    <a:pt x="54" y="852"/>
                    <a:pt x="58" y="856"/>
                  </a:cubicBezTo>
                  <a:cubicBezTo>
                    <a:pt x="61" y="861"/>
                    <a:pt x="61" y="865"/>
                    <a:pt x="61" y="865"/>
                  </a:cubicBezTo>
                  <a:cubicBezTo>
                    <a:pt x="65" y="866"/>
                    <a:pt x="65" y="866"/>
                    <a:pt x="65" y="866"/>
                  </a:cubicBezTo>
                  <a:cubicBezTo>
                    <a:pt x="64" y="871"/>
                    <a:pt x="64" y="871"/>
                    <a:pt x="64" y="871"/>
                  </a:cubicBezTo>
                  <a:cubicBezTo>
                    <a:pt x="64" y="871"/>
                    <a:pt x="67" y="871"/>
                    <a:pt x="69" y="877"/>
                  </a:cubicBezTo>
                  <a:cubicBezTo>
                    <a:pt x="71" y="881"/>
                    <a:pt x="64" y="882"/>
                    <a:pt x="64" y="882"/>
                  </a:cubicBezTo>
                  <a:cubicBezTo>
                    <a:pt x="64" y="888"/>
                    <a:pt x="64" y="888"/>
                    <a:pt x="64" y="888"/>
                  </a:cubicBezTo>
                  <a:cubicBezTo>
                    <a:pt x="64" y="888"/>
                    <a:pt x="67" y="891"/>
                    <a:pt x="66" y="894"/>
                  </a:cubicBezTo>
                  <a:cubicBezTo>
                    <a:pt x="65" y="896"/>
                    <a:pt x="62" y="893"/>
                    <a:pt x="62" y="893"/>
                  </a:cubicBezTo>
                  <a:cubicBezTo>
                    <a:pt x="61" y="897"/>
                    <a:pt x="61" y="897"/>
                    <a:pt x="61" y="897"/>
                  </a:cubicBezTo>
                  <a:cubicBezTo>
                    <a:pt x="65" y="896"/>
                    <a:pt x="65" y="896"/>
                    <a:pt x="65" y="896"/>
                  </a:cubicBezTo>
                  <a:cubicBezTo>
                    <a:pt x="65" y="896"/>
                    <a:pt x="78" y="899"/>
                    <a:pt x="82" y="899"/>
                  </a:cubicBezTo>
                  <a:cubicBezTo>
                    <a:pt x="85" y="899"/>
                    <a:pt x="91" y="895"/>
                    <a:pt x="97" y="893"/>
                  </a:cubicBezTo>
                  <a:cubicBezTo>
                    <a:pt x="103" y="891"/>
                    <a:pt x="106" y="895"/>
                    <a:pt x="106" y="895"/>
                  </a:cubicBezTo>
                  <a:cubicBezTo>
                    <a:pt x="112" y="894"/>
                    <a:pt x="112" y="894"/>
                    <a:pt x="112" y="894"/>
                  </a:cubicBezTo>
                  <a:cubicBezTo>
                    <a:pt x="112" y="894"/>
                    <a:pt x="117" y="885"/>
                    <a:pt x="118" y="880"/>
                  </a:cubicBezTo>
                  <a:cubicBezTo>
                    <a:pt x="119" y="876"/>
                    <a:pt x="111" y="875"/>
                    <a:pt x="111" y="869"/>
                  </a:cubicBezTo>
                  <a:cubicBezTo>
                    <a:pt x="111" y="865"/>
                    <a:pt x="118" y="854"/>
                    <a:pt x="120" y="852"/>
                  </a:cubicBezTo>
                  <a:cubicBezTo>
                    <a:pt x="123" y="851"/>
                    <a:pt x="129" y="855"/>
                    <a:pt x="131" y="854"/>
                  </a:cubicBezTo>
                  <a:cubicBezTo>
                    <a:pt x="133" y="852"/>
                    <a:pt x="129" y="844"/>
                    <a:pt x="129" y="844"/>
                  </a:cubicBezTo>
                  <a:cubicBezTo>
                    <a:pt x="147" y="842"/>
                    <a:pt x="147" y="842"/>
                    <a:pt x="147" y="842"/>
                  </a:cubicBezTo>
                  <a:cubicBezTo>
                    <a:pt x="155" y="844"/>
                    <a:pt x="155" y="844"/>
                    <a:pt x="155" y="844"/>
                  </a:cubicBezTo>
                  <a:cubicBezTo>
                    <a:pt x="161" y="839"/>
                    <a:pt x="161" y="839"/>
                    <a:pt x="161" y="839"/>
                  </a:cubicBezTo>
                  <a:cubicBezTo>
                    <a:pt x="172" y="847"/>
                    <a:pt x="172" y="847"/>
                    <a:pt x="172" y="847"/>
                  </a:cubicBezTo>
                  <a:cubicBezTo>
                    <a:pt x="172" y="847"/>
                    <a:pt x="176" y="838"/>
                    <a:pt x="178" y="837"/>
                  </a:cubicBezTo>
                  <a:cubicBezTo>
                    <a:pt x="179" y="835"/>
                    <a:pt x="181" y="820"/>
                    <a:pt x="181" y="820"/>
                  </a:cubicBezTo>
                  <a:cubicBezTo>
                    <a:pt x="184" y="810"/>
                    <a:pt x="184" y="810"/>
                    <a:pt x="184" y="810"/>
                  </a:cubicBezTo>
                  <a:cubicBezTo>
                    <a:pt x="188" y="807"/>
                    <a:pt x="188" y="807"/>
                    <a:pt x="188" y="807"/>
                  </a:cubicBezTo>
                  <a:cubicBezTo>
                    <a:pt x="192" y="791"/>
                    <a:pt x="192" y="791"/>
                    <a:pt x="192" y="791"/>
                  </a:cubicBezTo>
                  <a:cubicBezTo>
                    <a:pt x="190" y="785"/>
                    <a:pt x="190" y="785"/>
                    <a:pt x="190" y="785"/>
                  </a:cubicBezTo>
                  <a:cubicBezTo>
                    <a:pt x="190" y="785"/>
                    <a:pt x="193" y="784"/>
                    <a:pt x="194" y="781"/>
                  </a:cubicBezTo>
                  <a:cubicBezTo>
                    <a:pt x="195" y="777"/>
                    <a:pt x="191" y="775"/>
                    <a:pt x="191" y="775"/>
                  </a:cubicBezTo>
                  <a:cubicBezTo>
                    <a:pt x="192" y="761"/>
                    <a:pt x="192" y="761"/>
                    <a:pt x="192" y="761"/>
                  </a:cubicBezTo>
                  <a:cubicBezTo>
                    <a:pt x="192" y="761"/>
                    <a:pt x="195" y="762"/>
                    <a:pt x="197" y="756"/>
                  </a:cubicBezTo>
                  <a:cubicBezTo>
                    <a:pt x="200" y="751"/>
                    <a:pt x="191" y="746"/>
                    <a:pt x="191" y="746"/>
                  </a:cubicBezTo>
                  <a:cubicBezTo>
                    <a:pt x="193" y="744"/>
                    <a:pt x="193" y="744"/>
                    <a:pt x="193" y="744"/>
                  </a:cubicBezTo>
                  <a:cubicBezTo>
                    <a:pt x="194" y="735"/>
                    <a:pt x="194" y="735"/>
                    <a:pt x="194" y="735"/>
                  </a:cubicBezTo>
                  <a:cubicBezTo>
                    <a:pt x="192" y="728"/>
                    <a:pt x="192" y="728"/>
                    <a:pt x="192" y="728"/>
                  </a:cubicBezTo>
                  <a:cubicBezTo>
                    <a:pt x="188" y="728"/>
                    <a:pt x="188" y="728"/>
                    <a:pt x="188" y="728"/>
                  </a:cubicBezTo>
                  <a:cubicBezTo>
                    <a:pt x="188" y="728"/>
                    <a:pt x="188" y="726"/>
                    <a:pt x="191" y="725"/>
                  </a:cubicBezTo>
                  <a:cubicBezTo>
                    <a:pt x="195" y="725"/>
                    <a:pt x="198" y="728"/>
                    <a:pt x="198" y="728"/>
                  </a:cubicBezTo>
                  <a:cubicBezTo>
                    <a:pt x="197" y="722"/>
                    <a:pt x="197" y="722"/>
                    <a:pt x="197" y="722"/>
                  </a:cubicBezTo>
                  <a:cubicBezTo>
                    <a:pt x="193" y="720"/>
                    <a:pt x="193" y="720"/>
                    <a:pt x="193" y="720"/>
                  </a:cubicBezTo>
                  <a:cubicBezTo>
                    <a:pt x="196" y="719"/>
                    <a:pt x="196" y="719"/>
                    <a:pt x="196" y="719"/>
                  </a:cubicBezTo>
                  <a:cubicBezTo>
                    <a:pt x="196" y="719"/>
                    <a:pt x="196" y="711"/>
                    <a:pt x="198" y="707"/>
                  </a:cubicBezTo>
                  <a:cubicBezTo>
                    <a:pt x="201" y="703"/>
                    <a:pt x="192" y="698"/>
                    <a:pt x="192" y="698"/>
                  </a:cubicBezTo>
                  <a:cubicBezTo>
                    <a:pt x="195" y="697"/>
                    <a:pt x="195" y="697"/>
                    <a:pt x="195" y="697"/>
                  </a:cubicBezTo>
                  <a:cubicBezTo>
                    <a:pt x="192" y="692"/>
                    <a:pt x="192" y="692"/>
                    <a:pt x="192" y="692"/>
                  </a:cubicBezTo>
                  <a:cubicBezTo>
                    <a:pt x="192" y="692"/>
                    <a:pt x="198" y="694"/>
                    <a:pt x="201" y="687"/>
                  </a:cubicBezTo>
                  <a:cubicBezTo>
                    <a:pt x="204" y="679"/>
                    <a:pt x="183" y="679"/>
                    <a:pt x="183" y="679"/>
                  </a:cubicBezTo>
                  <a:cubicBezTo>
                    <a:pt x="182" y="682"/>
                    <a:pt x="182" y="682"/>
                    <a:pt x="182" y="682"/>
                  </a:cubicBezTo>
                  <a:cubicBezTo>
                    <a:pt x="176" y="681"/>
                    <a:pt x="176" y="681"/>
                    <a:pt x="176" y="681"/>
                  </a:cubicBezTo>
                  <a:cubicBezTo>
                    <a:pt x="176" y="677"/>
                    <a:pt x="176" y="677"/>
                    <a:pt x="176" y="677"/>
                  </a:cubicBezTo>
                  <a:cubicBezTo>
                    <a:pt x="192" y="677"/>
                    <a:pt x="192" y="677"/>
                    <a:pt x="192" y="677"/>
                  </a:cubicBezTo>
                  <a:cubicBezTo>
                    <a:pt x="195" y="677"/>
                    <a:pt x="201" y="680"/>
                    <a:pt x="201" y="680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2" y="668"/>
                    <a:pt x="202" y="668"/>
                    <a:pt x="202" y="668"/>
                  </a:cubicBezTo>
                  <a:cubicBezTo>
                    <a:pt x="208" y="672"/>
                    <a:pt x="208" y="672"/>
                    <a:pt x="208" y="672"/>
                  </a:cubicBezTo>
                  <a:cubicBezTo>
                    <a:pt x="208" y="672"/>
                    <a:pt x="212" y="671"/>
                    <a:pt x="213" y="671"/>
                  </a:cubicBezTo>
                  <a:cubicBezTo>
                    <a:pt x="214" y="671"/>
                    <a:pt x="218" y="666"/>
                    <a:pt x="218" y="666"/>
                  </a:cubicBezTo>
                  <a:cubicBezTo>
                    <a:pt x="218" y="661"/>
                    <a:pt x="218" y="661"/>
                    <a:pt x="218" y="661"/>
                  </a:cubicBezTo>
                  <a:cubicBezTo>
                    <a:pt x="222" y="662"/>
                    <a:pt x="222" y="662"/>
                    <a:pt x="222" y="662"/>
                  </a:cubicBezTo>
                  <a:cubicBezTo>
                    <a:pt x="223" y="647"/>
                    <a:pt x="223" y="647"/>
                    <a:pt x="223" y="647"/>
                  </a:cubicBezTo>
                  <a:cubicBezTo>
                    <a:pt x="226" y="648"/>
                    <a:pt x="226" y="648"/>
                    <a:pt x="226" y="648"/>
                  </a:cubicBezTo>
                  <a:cubicBezTo>
                    <a:pt x="228" y="658"/>
                    <a:pt x="228" y="658"/>
                    <a:pt x="228" y="658"/>
                  </a:cubicBezTo>
                  <a:cubicBezTo>
                    <a:pt x="235" y="659"/>
                    <a:pt x="235" y="659"/>
                    <a:pt x="235" y="659"/>
                  </a:cubicBezTo>
                  <a:cubicBezTo>
                    <a:pt x="237" y="649"/>
                    <a:pt x="237" y="649"/>
                    <a:pt x="237" y="649"/>
                  </a:cubicBezTo>
                  <a:cubicBezTo>
                    <a:pt x="237" y="649"/>
                    <a:pt x="239" y="649"/>
                    <a:pt x="241" y="648"/>
                  </a:cubicBezTo>
                  <a:cubicBezTo>
                    <a:pt x="242" y="647"/>
                    <a:pt x="242" y="643"/>
                    <a:pt x="242" y="643"/>
                  </a:cubicBezTo>
                  <a:cubicBezTo>
                    <a:pt x="246" y="642"/>
                    <a:pt x="246" y="642"/>
                    <a:pt x="246" y="642"/>
                  </a:cubicBezTo>
                  <a:cubicBezTo>
                    <a:pt x="248" y="640"/>
                    <a:pt x="248" y="640"/>
                    <a:pt x="248" y="640"/>
                  </a:cubicBezTo>
                  <a:cubicBezTo>
                    <a:pt x="245" y="639"/>
                    <a:pt x="245" y="639"/>
                    <a:pt x="245" y="639"/>
                  </a:cubicBezTo>
                  <a:cubicBezTo>
                    <a:pt x="243" y="633"/>
                    <a:pt x="243" y="633"/>
                    <a:pt x="243" y="633"/>
                  </a:cubicBezTo>
                  <a:cubicBezTo>
                    <a:pt x="237" y="628"/>
                    <a:pt x="237" y="628"/>
                    <a:pt x="237" y="628"/>
                  </a:cubicBezTo>
                  <a:cubicBezTo>
                    <a:pt x="239" y="625"/>
                    <a:pt x="239" y="625"/>
                    <a:pt x="239" y="625"/>
                  </a:cubicBezTo>
                  <a:cubicBezTo>
                    <a:pt x="244" y="625"/>
                    <a:pt x="244" y="625"/>
                    <a:pt x="244" y="625"/>
                  </a:cubicBezTo>
                  <a:cubicBezTo>
                    <a:pt x="258" y="610"/>
                    <a:pt x="258" y="610"/>
                    <a:pt x="258" y="610"/>
                  </a:cubicBezTo>
                  <a:cubicBezTo>
                    <a:pt x="258" y="607"/>
                    <a:pt x="258" y="607"/>
                    <a:pt x="258" y="607"/>
                  </a:cubicBezTo>
                  <a:cubicBezTo>
                    <a:pt x="266" y="601"/>
                    <a:pt x="266" y="601"/>
                    <a:pt x="266" y="601"/>
                  </a:cubicBezTo>
                  <a:cubicBezTo>
                    <a:pt x="267" y="600"/>
                    <a:pt x="267" y="600"/>
                    <a:pt x="267" y="600"/>
                  </a:cubicBezTo>
                  <a:cubicBezTo>
                    <a:pt x="259" y="600"/>
                    <a:pt x="259" y="600"/>
                    <a:pt x="259" y="600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67" y="592"/>
                    <a:pt x="267" y="592"/>
                    <a:pt x="267" y="592"/>
                  </a:cubicBezTo>
                  <a:cubicBezTo>
                    <a:pt x="261" y="588"/>
                    <a:pt x="261" y="588"/>
                    <a:pt x="261" y="588"/>
                  </a:cubicBezTo>
                  <a:cubicBezTo>
                    <a:pt x="256" y="578"/>
                    <a:pt x="256" y="578"/>
                    <a:pt x="256" y="578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5" y="578"/>
                    <a:pt x="242" y="570"/>
                    <a:pt x="242" y="570"/>
                  </a:cubicBezTo>
                  <a:cubicBezTo>
                    <a:pt x="242" y="566"/>
                    <a:pt x="242" y="566"/>
                    <a:pt x="242" y="566"/>
                  </a:cubicBezTo>
                  <a:cubicBezTo>
                    <a:pt x="241" y="564"/>
                    <a:pt x="241" y="564"/>
                    <a:pt x="241" y="564"/>
                  </a:cubicBezTo>
                  <a:cubicBezTo>
                    <a:pt x="237" y="565"/>
                    <a:pt x="237" y="565"/>
                    <a:pt x="237" y="565"/>
                  </a:cubicBezTo>
                  <a:cubicBezTo>
                    <a:pt x="227" y="554"/>
                    <a:pt x="227" y="554"/>
                    <a:pt x="227" y="554"/>
                  </a:cubicBezTo>
                  <a:cubicBezTo>
                    <a:pt x="227" y="554"/>
                    <a:pt x="228" y="550"/>
                    <a:pt x="225" y="549"/>
                  </a:cubicBezTo>
                  <a:cubicBezTo>
                    <a:pt x="221" y="548"/>
                    <a:pt x="216" y="557"/>
                    <a:pt x="216" y="557"/>
                  </a:cubicBezTo>
                  <a:cubicBezTo>
                    <a:pt x="213" y="552"/>
                    <a:pt x="213" y="552"/>
                    <a:pt x="213" y="552"/>
                  </a:cubicBezTo>
                  <a:cubicBezTo>
                    <a:pt x="213" y="552"/>
                    <a:pt x="215" y="550"/>
                    <a:pt x="213" y="548"/>
                  </a:cubicBezTo>
                  <a:cubicBezTo>
                    <a:pt x="210" y="546"/>
                    <a:pt x="198" y="548"/>
                    <a:pt x="198" y="548"/>
                  </a:cubicBezTo>
                  <a:cubicBezTo>
                    <a:pt x="205" y="541"/>
                    <a:pt x="205" y="541"/>
                    <a:pt x="205" y="541"/>
                  </a:cubicBezTo>
                  <a:cubicBezTo>
                    <a:pt x="200" y="534"/>
                    <a:pt x="200" y="534"/>
                    <a:pt x="200" y="534"/>
                  </a:cubicBezTo>
                  <a:cubicBezTo>
                    <a:pt x="196" y="533"/>
                    <a:pt x="196" y="533"/>
                    <a:pt x="196" y="533"/>
                  </a:cubicBezTo>
                  <a:cubicBezTo>
                    <a:pt x="198" y="525"/>
                    <a:pt x="198" y="525"/>
                    <a:pt x="198" y="525"/>
                  </a:cubicBezTo>
                  <a:cubicBezTo>
                    <a:pt x="196" y="515"/>
                    <a:pt x="196" y="515"/>
                    <a:pt x="196" y="515"/>
                  </a:cubicBezTo>
                  <a:cubicBezTo>
                    <a:pt x="196" y="515"/>
                    <a:pt x="198" y="509"/>
                    <a:pt x="198" y="506"/>
                  </a:cubicBezTo>
                  <a:cubicBezTo>
                    <a:pt x="198" y="504"/>
                    <a:pt x="193" y="502"/>
                    <a:pt x="193" y="502"/>
                  </a:cubicBezTo>
                  <a:cubicBezTo>
                    <a:pt x="195" y="491"/>
                    <a:pt x="195" y="491"/>
                    <a:pt x="195" y="491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6" y="488"/>
                    <a:pt x="196" y="488"/>
                    <a:pt x="196" y="488"/>
                  </a:cubicBezTo>
                  <a:cubicBezTo>
                    <a:pt x="192" y="479"/>
                    <a:pt x="192" y="479"/>
                    <a:pt x="192" y="479"/>
                  </a:cubicBezTo>
                  <a:cubicBezTo>
                    <a:pt x="198" y="483"/>
                    <a:pt x="198" y="483"/>
                    <a:pt x="198" y="483"/>
                  </a:cubicBezTo>
                  <a:cubicBezTo>
                    <a:pt x="201" y="479"/>
                    <a:pt x="201" y="479"/>
                    <a:pt x="201" y="479"/>
                  </a:cubicBezTo>
                  <a:cubicBezTo>
                    <a:pt x="201" y="479"/>
                    <a:pt x="200" y="475"/>
                    <a:pt x="198" y="473"/>
                  </a:cubicBezTo>
                  <a:cubicBezTo>
                    <a:pt x="195" y="472"/>
                    <a:pt x="197" y="464"/>
                    <a:pt x="197" y="464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201" y="450"/>
                    <a:pt x="201" y="450"/>
                    <a:pt x="201" y="450"/>
                  </a:cubicBezTo>
                  <a:cubicBezTo>
                    <a:pt x="206" y="448"/>
                    <a:pt x="206" y="448"/>
                    <a:pt x="206" y="448"/>
                  </a:cubicBezTo>
                  <a:cubicBezTo>
                    <a:pt x="206" y="445"/>
                    <a:pt x="206" y="445"/>
                    <a:pt x="206" y="445"/>
                  </a:cubicBezTo>
                  <a:cubicBezTo>
                    <a:pt x="200" y="445"/>
                    <a:pt x="200" y="445"/>
                    <a:pt x="200" y="445"/>
                  </a:cubicBezTo>
                  <a:cubicBezTo>
                    <a:pt x="199" y="441"/>
                    <a:pt x="199" y="441"/>
                    <a:pt x="199" y="441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196" y="432"/>
                    <a:pt x="196" y="432"/>
                    <a:pt x="196" y="432"/>
                  </a:cubicBezTo>
                  <a:cubicBezTo>
                    <a:pt x="194" y="430"/>
                    <a:pt x="194" y="430"/>
                    <a:pt x="194" y="430"/>
                  </a:cubicBezTo>
                  <a:cubicBezTo>
                    <a:pt x="199" y="428"/>
                    <a:pt x="199" y="428"/>
                    <a:pt x="199" y="428"/>
                  </a:cubicBezTo>
                  <a:cubicBezTo>
                    <a:pt x="202" y="434"/>
                    <a:pt x="202" y="434"/>
                    <a:pt x="202" y="434"/>
                  </a:cubicBezTo>
                  <a:cubicBezTo>
                    <a:pt x="207" y="432"/>
                    <a:pt x="207" y="432"/>
                    <a:pt x="207" y="432"/>
                  </a:cubicBezTo>
                  <a:cubicBezTo>
                    <a:pt x="205" y="430"/>
                    <a:pt x="205" y="430"/>
                    <a:pt x="205" y="430"/>
                  </a:cubicBezTo>
                  <a:cubicBezTo>
                    <a:pt x="207" y="427"/>
                    <a:pt x="207" y="427"/>
                    <a:pt x="207" y="427"/>
                  </a:cubicBezTo>
                  <a:cubicBezTo>
                    <a:pt x="207" y="427"/>
                    <a:pt x="212" y="427"/>
                    <a:pt x="212" y="425"/>
                  </a:cubicBezTo>
                  <a:cubicBezTo>
                    <a:pt x="212" y="418"/>
                    <a:pt x="212" y="418"/>
                    <a:pt x="212" y="418"/>
                  </a:cubicBezTo>
                  <a:cubicBezTo>
                    <a:pt x="213" y="414"/>
                    <a:pt x="213" y="414"/>
                    <a:pt x="213" y="414"/>
                  </a:cubicBezTo>
                  <a:cubicBezTo>
                    <a:pt x="213" y="414"/>
                    <a:pt x="211" y="408"/>
                    <a:pt x="213" y="408"/>
                  </a:cubicBezTo>
                  <a:cubicBezTo>
                    <a:pt x="215" y="407"/>
                    <a:pt x="216" y="410"/>
                    <a:pt x="216" y="410"/>
                  </a:cubicBezTo>
                  <a:cubicBezTo>
                    <a:pt x="221" y="407"/>
                    <a:pt x="221" y="407"/>
                    <a:pt x="221" y="407"/>
                  </a:cubicBezTo>
                  <a:cubicBezTo>
                    <a:pt x="221" y="407"/>
                    <a:pt x="218" y="403"/>
                    <a:pt x="221" y="401"/>
                  </a:cubicBezTo>
                  <a:cubicBezTo>
                    <a:pt x="222" y="400"/>
                    <a:pt x="225" y="405"/>
                    <a:pt x="225" y="405"/>
                  </a:cubicBezTo>
                  <a:cubicBezTo>
                    <a:pt x="229" y="399"/>
                    <a:pt x="229" y="399"/>
                    <a:pt x="229" y="399"/>
                  </a:cubicBezTo>
                  <a:cubicBezTo>
                    <a:pt x="225" y="397"/>
                    <a:pt x="225" y="397"/>
                    <a:pt x="225" y="397"/>
                  </a:cubicBezTo>
                  <a:cubicBezTo>
                    <a:pt x="228" y="396"/>
                    <a:pt x="228" y="396"/>
                    <a:pt x="228" y="396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22" y="395"/>
                    <a:pt x="222" y="395"/>
                    <a:pt x="222" y="395"/>
                  </a:cubicBezTo>
                  <a:cubicBezTo>
                    <a:pt x="226" y="392"/>
                    <a:pt x="226" y="392"/>
                    <a:pt x="226" y="392"/>
                  </a:cubicBezTo>
                  <a:cubicBezTo>
                    <a:pt x="231" y="380"/>
                    <a:pt x="231" y="380"/>
                    <a:pt x="231" y="380"/>
                  </a:cubicBezTo>
                  <a:cubicBezTo>
                    <a:pt x="234" y="380"/>
                    <a:pt x="234" y="380"/>
                    <a:pt x="234" y="380"/>
                  </a:cubicBezTo>
                  <a:cubicBezTo>
                    <a:pt x="239" y="377"/>
                    <a:pt x="239" y="377"/>
                    <a:pt x="239" y="377"/>
                  </a:cubicBezTo>
                  <a:cubicBezTo>
                    <a:pt x="233" y="375"/>
                    <a:pt x="233" y="375"/>
                    <a:pt x="233" y="375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43" y="378"/>
                    <a:pt x="243" y="378"/>
                    <a:pt x="243" y="378"/>
                  </a:cubicBezTo>
                  <a:cubicBezTo>
                    <a:pt x="243" y="378"/>
                    <a:pt x="244" y="374"/>
                    <a:pt x="246" y="371"/>
                  </a:cubicBezTo>
                  <a:cubicBezTo>
                    <a:pt x="248" y="368"/>
                    <a:pt x="249" y="361"/>
                    <a:pt x="249" y="361"/>
                  </a:cubicBezTo>
                  <a:cubicBezTo>
                    <a:pt x="249" y="361"/>
                    <a:pt x="251" y="362"/>
                    <a:pt x="254" y="360"/>
                  </a:cubicBezTo>
                  <a:cubicBezTo>
                    <a:pt x="256" y="359"/>
                    <a:pt x="255" y="353"/>
                    <a:pt x="255" y="35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61" y="363"/>
                    <a:pt x="261" y="363"/>
                    <a:pt x="261" y="363"/>
                  </a:cubicBezTo>
                  <a:cubicBezTo>
                    <a:pt x="263" y="361"/>
                    <a:pt x="263" y="361"/>
                    <a:pt x="263" y="361"/>
                  </a:cubicBezTo>
                  <a:cubicBezTo>
                    <a:pt x="262" y="357"/>
                    <a:pt x="262" y="357"/>
                    <a:pt x="262" y="357"/>
                  </a:cubicBezTo>
                  <a:cubicBezTo>
                    <a:pt x="270" y="348"/>
                    <a:pt x="270" y="348"/>
                    <a:pt x="270" y="34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8" y="344"/>
                    <a:pt x="278" y="344"/>
                    <a:pt x="278" y="344"/>
                  </a:cubicBezTo>
                  <a:cubicBezTo>
                    <a:pt x="278" y="340"/>
                    <a:pt x="278" y="340"/>
                    <a:pt x="278" y="340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1" y="334"/>
                    <a:pt x="281" y="334"/>
                    <a:pt x="281" y="334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0" y="333"/>
                    <a:pt x="290" y="333"/>
                    <a:pt x="290" y="333"/>
                  </a:cubicBezTo>
                  <a:cubicBezTo>
                    <a:pt x="290" y="333"/>
                    <a:pt x="293" y="325"/>
                    <a:pt x="294" y="321"/>
                  </a:cubicBezTo>
                  <a:cubicBezTo>
                    <a:pt x="295" y="318"/>
                    <a:pt x="293" y="313"/>
                    <a:pt x="293" y="313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9" y="302"/>
                    <a:pt x="299" y="302"/>
                    <a:pt x="299" y="3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06" y="288"/>
                    <a:pt x="306" y="288"/>
                    <a:pt x="306" y="288"/>
                  </a:cubicBezTo>
                  <a:cubicBezTo>
                    <a:pt x="304" y="286"/>
                    <a:pt x="304" y="286"/>
                    <a:pt x="304" y="286"/>
                  </a:cubicBezTo>
                  <a:cubicBezTo>
                    <a:pt x="308" y="285"/>
                    <a:pt x="308" y="285"/>
                    <a:pt x="308" y="285"/>
                  </a:cubicBezTo>
                  <a:cubicBezTo>
                    <a:pt x="309" y="283"/>
                    <a:pt x="309" y="283"/>
                    <a:pt x="309" y="283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295" y="277"/>
                    <a:pt x="295" y="277"/>
                    <a:pt x="295" y="277"/>
                  </a:cubicBezTo>
                  <a:cubicBezTo>
                    <a:pt x="298" y="269"/>
                    <a:pt x="298" y="269"/>
                    <a:pt x="298" y="269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98" y="259"/>
                    <a:pt x="298" y="259"/>
                    <a:pt x="298" y="259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3" y="246"/>
                    <a:pt x="293" y="238"/>
                    <a:pt x="295" y="234"/>
                  </a:cubicBezTo>
                  <a:cubicBezTo>
                    <a:pt x="296" y="230"/>
                    <a:pt x="304" y="231"/>
                    <a:pt x="309" y="229"/>
                  </a:cubicBezTo>
                  <a:cubicBezTo>
                    <a:pt x="315" y="226"/>
                    <a:pt x="307" y="221"/>
                    <a:pt x="307" y="221"/>
                  </a:cubicBezTo>
                  <a:cubicBezTo>
                    <a:pt x="313" y="219"/>
                    <a:pt x="313" y="219"/>
                    <a:pt x="313" y="219"/>
                  </a:cubicBezTo>
                  <a:cubicBezTo>
                    <a:pt x="313" y="216"/>
                    <a:pt x="313" y="216"/>
                    <a:pt x="313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5" y="196"/>
                    <a:pt x="315" y="196"/>
                    <a:pt x="315" y="196"/>
                  </a:cubicBezTo>
                  <a:cubicBezTo>
                    <a:pt x="319" y="196"/>
                    <a:pt x="319" y="196"/>
                    <a:pt x="319" y="196"/>
                  </a:cubicBezTo>
                  <a:cubicBezTo>
                    <a:pt x="322" y="201"/>
                    <a:pt x="322" y="201"/>
                    <a:pt x="322" y="201"/>
                  </a:cubicBezTo>
                  <a:cubicBezTo>
                    <a:pt x="326" y="201"/>
                    <a:pt x="326" y="201"/>
                    <a:pt x="326" y="201"/>
                  </a:cubicBezTo>
                  <a:cubicBezTo>
                    <a:pt x="324" y="193"/>
                    <a:pt x="324" y="193"/>
                    <a:pt x="324" y="193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6" y="201"/>
                    <a:pt x="336" y="201"/>
                    <a:pt x="336" y="201"/>
                  </a:cubicBezTo>
                  <a:cubicBezTo>
                    <a:pt x="337" y="205"/>
                    <a:pt x="337" y="205"/>
                    <a:pt x="337" y="205"/>
                  </a:cubicBezTo>
                  <a:cubicBezTo>
                    <a:pt x="340" y="200"/>
                    <a:pt x="340" y="200"/>
                    <a:pt x="340" y="200"/>
                  </a:cubicBezTo>
                  <a:cubicBezTo>
                    <a:pt x="339" y="196"/>
                    <a:pt x="339" y="196"/>
                    <a:pt x="339" y="196"/>
                  </a:cubicBezTo>
                  <a:cubicBezTo>
                    <a:pt x="350" y="196"/>
                    <a:pt x="350" y="196"/>
                    <a:pt x="350" y="196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4" y="188"/>
                  </a:lnTo>
                  <a:close/>
                  <a:moveTo>
                    <a:pt x="14" y="718"/>
                  </a:moveTo>
                  <a:cubicBezTo>
                    <a:pt x="21" y="719"/>
                    <a:pt x="21" y="719"/>
                    <a:pt x="21" y="719"/>
                  </a:cubicBezTo>
                  <a:cubicBezTo>
                    <a:pt x="22" y="712"/>
                    <a:pt x="22" y="712"/>
                    <a:pt x="22" y="712"/>
                  </a:cubicBezTo>
                  <a:cubicBezTo>
                    <a:pt x="19" y="709"/>
                    <a:pt x="19" y="709"/>
                    <a:pt x="19" y="709"/>
                  </a:cubicBezTo>
                  <a:cubicBezTo>
                    <a:pt x="17" y="712"/>
                    <a:pt x="17" y="712"/>
                    <a:pt x="17" y="712"/>
                  </a:cubicBezTo>
                  <a:cubicBezTo>
                    <a:pt x="16" y="712"/>
                    <a:pt x="16" y="712"/>
                    <a:pt x="16" y="712"/>
                  </a:cubicBezTo>
                  <a:cubicBezTo>
                    <a:pt x="8" y="720"/>
                    <a:pt x="8" y="720"/>
                    <a:pt x="8" y="720"/>
                  </a:cubicBezTo>
                  <a:cubicBezTo>
                    <a:pt x="14" y="721"/>
                    <a:pt x="14" y="721"/>
                    <a:pt x="14" y="721"/>
                  </a:cubicBezTo>
                  <a:lnTo>
                    <a:pt x="14" y="718"/>
                  </a:lnTo>
                  <a:close/>
                  <a:moveTo>
                    <a:pt x="20" y="727"/>
                  </a:moveTo>
                  <a:cubicBezTo>
                    <a:pt x="19" y="723"/>
                    <a:pt x="19" y="723"/>
                    <a:pt x="19" y="723"/>
                  </a:cubicBezTo>
                  <a:cubicBezTo>
                    <a:pt x="11" y="725"/>
                    <a:pt x="11" y="725"/>
                    <a:pt x="11" y="725"/>
                  </a:cubicBezTo>
                  <a:cubicBezTo>
                    <a:pt x="13" y="728"/>
                    <a:pt x="13" y="728"/>
                    <a:pt x="13" y="728"/>
                  </a:cubicBezTo>
                  <a:cubicBezTo>
                    <a:pt x="13" y="730"/>
                    <a:pt x="13" y="730"/>
                    <a:pt x="13" y="730"/>
                  </a:cubicBezTo>
                  <a:cubicBezTo>
                    <a:pt x="16" y="730"/>
                    <a:pt x="16" y="730"/>
                    <a:pt x="16" y="730"/>
                  </a:cubicBezTo>
                  <a:cubicBezTo>
                    <a:pt x="17" y="727"/>
                    <a:pt x="17" y="727"/>
                    <a:pt x="17" y="727"/>
                  </a:cubicBezTo>
                  <a:lnTo>
                    <a:pt x="20" y="727"/>
                  </a:lnTo>
                  <a:close/>
                  <a:moveTo>
                    <a:pt x="211" y="760"/>
                  </a:moveTo>
                  <a:cubicBezTo>
                    <a:pt x="207" y="765"/>
                    <a:pt x="207" y="765"/>
                    <a:pt x="207" y="765"/>
                  </a:cubicBezTo>
                  <a:cubicBezTo>
                    <a:pt x="208" y="771"/>
                    <a:pt x="208" y="771"/>
                    <a:pt x="208" y="771"/>
                  </a:cubicBezTo>
                  <a:cubicBezTo>
                    <a:pt x="207" y="771"/>
                    <a:pt x="207" y="771"/>
                    <a:pt x="207" y="771"/>
                  </a:cubicBezTo>
                  <a:cubicBezTo>
                    <a:pt x="207" y="773"/>
                    <a:pt x="207" y="773"/>
                    <a:pt x="207" y="773"/>
                  </a:cubicBezTo>
                  <a:cubicBezTo>
                    <a:pt x="205" y="783"/>
                    <a:pt x="205" y="783"/>
                    <a:pt x="205" y="783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0" y="792"/>
                    <a:pt x="200" y="792"/>
                    <a:pt x="200" y="792"/>
                  </a:cubicBezTo>
                  <a:cubicBezTo>
                    <a:pt x="198" y="792"/>
                    <a:pt x="198" y="792"/>
                    <a:pt x="198" y="792"/>
                  </a:cubicBezTo>
                  <a:cubicBezTo>
                    <a:pt x="198" y="792"/>
                    <a:pt x="195" y="797"/>
                    <a:pt x="194" y="801"/>
                  </a:cubicBezTo>
                  <a:cubicBezTo>
                    <a:pt x="193" y="804"/>
                    <a:pt x="194" y="807"/>
                    <a:pt x="193" y="808"/>
                  </a:cubicBezTo>
                  <a:cubicBezTo>
                    <a:pt x="193" y="810"/>
                    <a:pt x="190" y="812"/>
                    <a:pt x="190" y="816"/>
                  </a:cubicBezTo>
                  <a:cubicBezTo>
                    <a:pt x="190" y="821"/>
                    <a:pt x="190" y="821"/>
                    <a:pt x="190" y="821"/>
                  </a:cubicBezTo>
                  <a:cubicBezTo>
                    <a:pt x="193" y="823"/>
                    <a:pt x="193" y="823"/>
                    <a:pt x="193" y="823"/>
                  </a:cubicBezTo>
                  <a:cubicBezTo>
                    <a:pt x="192" y="836"/>
                    <a:pt x="192" y="836"/>
                    <a:pt x="192" y="836"/>
                  </a:cubicBezTo>
                  <a:cubicBezTo>
                    <a:pt x="192" y="836"/>
                    <a:pt x="196" y="833"/>
                    <a:pt x="197" y="830"/>
                  </a:cubicBezTo>
                  <a:cubicBezTo>
                    <a:pt x="198" y="825"/>
                    <a:pt x="197" y="824"/>
                    <a:pt x="197" y="822"/>
                  </a:cubicBezTo>
                  <a:cubicBezTo>
                    <a:pt x="197" y="820"/>
                    <a:pt x="199" y="817"/>
                    <a:pt x="200" y="815"/>
                  </a:cubicBezTo>
                  <a:cubicBezTo>
                    <a:pt x="201" y="813"/>
                    <a:pt x="200" y="807"/>
                    <a:pt x="200" y="807"/>
                  </a:cubicBezTo>
                  <a:cubicBezTo>
                    <a:pt x="204" y="796"/>
                    <a:pt x="204" y="796"/>
                    <a:pt x="204" y="796"/>
                  </a:cubicBezTo>
                  <a:cubicBezTo>
                    <a:pt x="206" y="796"/>
                    <a:pt x="206" y="796"/>
                    <a:pt x="206" y="796"/>
                  </a:cubicBezTo>
                  <a:cubicBezTo>
                    <a:pt x="208" y="788"/>
                    <a:pt x="208" y="788"/>
                    <a:pt x="208" y="788"/>
                  </a:cubicBezTo>
                  <a:cubicBezTo>
                    <a:pt x="207" y="785"/>
                    <a:pt x="207" y="785"/>
                    <a:pt x="207" y="785"/>
                  </a:cubicBezTo>
                  <a:cubicBezTo>
                    <a:pt x="209" y="783"/>
                    <a:pt x="209" y="783"/>
                    <a:pt x="209" y="783"/>
                  </a:cubicBezTo>
                  <a:cubicBezTo>
                    <a:pt x="208" y="782"/>
                    <a:pt x="208" y="782"/>
                    <a:pt x="208" y="782"/>
                  </a:cubicBezTo>
                  <a:cubicBezTo>
                    <a:pt x="210" y="779"/>
                    <a:pt x="210" y="779"/>
                    <a:pt x="210" y="779"/>
                  </a:cubicBezTo>
                  <a:cubicBezTo>
                    <a:pt x="209" y="777"/>
                    <a:pt x="209" y="777"/>
                    <a:pt x="209" y="777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4" y="763"/>
                    <a:pt x="214" y="763"/>
                    <a:pt x="214" y="763"/>
                  </a:cubicBezTo>
                  <a:lnTo>
                    <a:pt x="211" y="760"/>
                  </a:lnTo>
                  <a:close/>
                  <a:moveTo>
                    <a:pt x="277" y="731"/>
                  </a:moveTo>
                  <a:cubicBezTo>
                    <a:pt x="281" y="724"/>
                    <a:pt x="281" y="724"/>
                    <a:pt x="281" y="724"/>
                  </a:cubicBezTo>
                  <a:cubicBezTo>
                    <a:pt x="278" y="718"/>
                    <a:pt x="278" y="718"/>
                    <a:pt x="278" y="718"/>
                  </a:cubicBezTo>
                  <a:cubicBezTo>
                    <a:pt x="272" y="719"/>
                    <a:pt x="272" y="719"/>
                    <a:pt x="272" y="719"/>
                  </a:cubicBezTo>
                  <a:cubicBezTo>
                    <a:pt x="270" y="724"/>
                    <a:pt x="270" y="724"/>
                    <a:pt x="270" y="724"/>
                  </a:cubicBezTo>
                  <a:cubicBezTo>
                    <a:pt x="270" y="719"/>
                    <a:pt x="270" y="719"/>
                    <a:pt x="270" y="719"/>
                  </a:cubicBezTo>
                  <a:cubicBezTo>
                    <a:pt x="270" y="719"/>
                    <a:pt x="267" y="719"/>
                    <a:pt x="266" y="720"/>
                  </a:cubicBezTo>
                  <a:cubicBezTo>
                    <a:pt x="264" y="721"/>
                    <a:pt x="263" y="724"/>
                    <a:pt x="263" y="724"/>
                  </a:cubicBezTo>
                  <a:cubicBezTo>
                    <a:pt x="263" y="724"/>
                    <a:pt x="262" y="723"/>
                    <a:pt x="259" y="726"/>
                  </a:cubicBezTo>
                  <a:cubicBezTo>
                    <a:pt x="257" y="729"/>
                    <a:pt x="253" y="739"/>
                    <a:pt x="253" y="739"/>
                  </a:cubicBezTo>
                  <a:cubicBezTo>
                    <a:pt x="253" y="739"/>
                    <a:pt x="248" y="741"/>
                    <a:pt x="248" y="746"/>
                  </a:cubicBezTo>
                  <a:cubicBezTo>
                    <a:pt x="247" y="753"/>
                    <a:pt x="253" y="753"/>
                    <a:pt x="253" y="757"/>
                  </a:cubicBezTo>
                  <a:cubicBezTo>
                    <a:pt x="251" y="762"/>
                    <a:pt x="249" y="763"/>
                    <a:pt x="249" y="763"/>
                  </a:cubicBezTo>
                  <a:cubicBezTo>
                    <a:pt x="251" y="765"/>
                    <a:pt x="251" y="765"/>
                    <a:pt x="251" y="765"/>
                  </a:cubicBezTo>
                  <a:cubicBezTo>
                    <a:pt x="251" y="772"/>
                    <a:pt x="251" y="772"/>
                    <a:pt x="251" y="772"/>
                  </a:cubicBezTo>
                  <a:cubicBezTo>
                    <a:pt x="254" y="773"/>
                    <a:pt x="254" y="773"/>
                    <a:pt x="254" y="773"/>
                  </a:cubicBezTo>
                  <a:cubicBezTo>
                    <a:pt x="254" y="776"/>
                    <a:pt x="254" y="776"/>
                    <a:pt x="254" y="776"/>
                  </a:cubicBezTo>
                  <a:cubicBezTo>
                    <a:pt x="254" y="776"/>
                    <a:pt x="257" y="775"/>
                    <a:pt x="257" y="776"/>
                  </a:cubicBezTo>
                  <a:cubicBezTo>
                    <a:pt x="257" y="777"/>
                    <a:pt x="255" y="778"/>
                    <a:pt x="255" y="778"/>
                  </a:cubicBezTo>
                  <a:cubicBezTo>
                    <a:pt x="255" y="782"/>
                    <a:pt x="255" y="782"/>
                    <a:pt x="255" y="782"/>
                  </a:cubicBezTo>
                  <a:cubicBezTo>
                    <a:pt x="255" y="783"/>
                    <a:pt x="253" y="787"/>
                    <a:pt x="253" y="787"/>
                  </a:cubicBezTo>
                  <a:cubicBezTo>
                    <a:pt x="258" y="785"/>
                    <a:pt x="258" y="785"/>
                    <a:pt x="258" y="785"/>
                  </a:cubicBezTo>
                  <a:cubicBezTo>
                    <a:pt x="261" y="779"/>
                    <a:pt x="261" y="779"/>
                    <a:pt x="261" y="779"/>
                  </a:cubicBezTo>
                  <a:cubicBezTo>
                    <a:pt x="260" y="779"/>
                    <a:pt x="260" y="779"/>
                    <a:pt x="260" y="779"/>
                  </a:cubicBezTo>
                  <a:cubicBezTo>
                    <a:pt x="261" y="774"/>
                    <a:pt x="261" y="774"/>
                    <a:pt x="261" y="774"/>
                  </a:cubicBezTo>
                  <a:cubicBezTo>
                    <a:pt x="262" y="772"/>
                    <a:pt x="262" y="772"/>
                    <a:pt x="262" y="772"/>
                  </a:cubicBezTo>
                  <a:cubicBezTo>
                    <a:pt x="261" y="772"/>
                    <a:pt x="261" y="772"/>
                    <a:pt x="261" y="772"/>
                  </a:cubicBezTo>
                  <a:cubicBezTo>
                    <a:pt x="266" y="766"/>
                    <a:pt x="266" y="766"/>
                    <a:pt x="266" y="766"/>
                  </a:cubicBezTo>
                  <a:cubicBezTo>
                    <a:pt x="271" y="763"/>
                    <a:pt x="271" y="763"/>
                    <a:pt x="271" y="763"/>
                  </a:cubicBezTo>
                  <a:cubicBezTo>
                    <a:pt x="271" y="758"/>
                    <a:pt x="271" y="758"/>
                    <a:pt x="271" y="758"/>
                  </a:cubicBezTo>
                  <a:cubicBezTo>
                    <a:pt x="277" y="750"/>
                    <a:pt x="277" y="750"/>
                    <a:pt x="277" y="750"/>
                  </a:cubicBezTo>
                  <a:cubicBezTo>
                    <a:pt x="274" y="750"/>
                    <a:pt x="274" y="750"/>
                    <a:pt x="274" y="750"/>
                  </a:cubicBezTo>
                  <a:cubicBezTo>
                    <a:pt x="271" y="746"/>
                    <a:pt x="271" y="746"/>
                    <a:pt x="271" y="746"/>
                  </a:cubicBezTo>
                  <a:cubicBezTo>
                    <a:pt x="271" y="746"/>
                    <a:pt x="273" y="743"/>
                    <a:pt x="274" y="740"/>
                  </a:cubicBezTo>
                  <a:cubicBezTo>
                    <a:pt x="274" y="738"/>
                    <a:pt x="271" y="735"/>
                    <a:pt x="271" y="735"/>
                  </a:cubicBezTo>
                  <a:cubicBezTo>
                    <a:pt x="272" y="730"/>
                    <a:pt x="272" y="730"/>
                    <a:pt x="272" y="730"/>
                  </a:cubicBezTo>
                  <a:lnTo>
                    <a:pt x="277" y="731"/>
                  </a:lnTo>
                  <a:close/>
                  <a:moveTo>
                    <a:pt x="280" y="719"/>
                  </a:moveTo>
                  <a:cubicBezTo>
                    <a:pt x="282" y="721"/>
                    <a:pt x="282" y="721"/>
                    <a:pt x="282" y="721"/>
                  </a:cubicBezTo>
                  <a:cubicBezTo>
                    <a:pt x="286" y="711"/>
                    <a:pt x="286" y="711"/>
                    <a:pt x="286" y="711"/>
                  </a:cubicBezTo>
                  <a:cubicBezTo>
                    <a:pt x="281" y="712"/>
                    <a:pt x="281" y="712"/>
                    <a:pt x="281" y="712"/>
                  </a:cubicBezTo>
                  <a:lnTo>
                    <a:pt x="280" y="719"/>
                  </a:lnTo>
                  <a:close/>
                  <a:moveTo>
                    <a:pt x="286" y="715"/>
                  </a:moveTo>
                  <a:cubicBezTo>
                    <a:pt x="290" y="715"/>
                    <a:pt x="290" y="715"/>
                    <a:pt x="290" y="715"/>
                  </a:cubicBezTo>
                  <a:cubicBezTo>
                    <a:pt x="291" y="712"/>
                    <a:pt x="291" y="712"/>
                    <a:pt x="291" y="712"/>
                  </a:cubicBezTo>
                  <a:cubicBezTo>
                    <a:pt x="288" y="712"/>
                    <a:pt x="288" y="712"/>
                    <a:pt x="288" y="712"/>
                  </a:cubicBezTo>
                  <a:lnTo>
                    <a:pt x="286" y="715"/>
                  </a:lnTo>
                  <a:close/>
                  <a:moveTo>
                    <a:pt x="282" y="691"/>
                  </a:moveTo>
                  <a:cubicBezTo>
                    <a:pt x="287" y="688"/>
                    <a:pt x="287" y="688"/>
                    <a:pt x="287" y="688"/>
                  </a:cubicBezTo>
                  <a:cubicBezTo>
                    <a:pt x="280" y="684"/>
                    <a:pt x="280" y="684"/>
                    <a:pt x="280" y="684"/>
                  </a:cubicBezTo>
                  <a:cubicBezTo>
                    <a:pt x="281" y="689"/>
                    <a:pt x="281" y="689"/>
                    <a:pt x="281" y="689"/>
                  </a:cubicBezTo>
                  <a:lnTo>
                    <a:pt x="282" y="691"/>
                  </a:lnTo>
                  <a:close/>
                  <a:moveTo>
                    <a:pt x="243" y="630"/>
                  </a:moveTo>
                  <a:cubicBezTo>
                    <a:pt x="255" y="631"/>
                    <a:pt x="255" y="631"/>
                    <a:pt x="255" y="631"/>
                  </a:cubicBezTo>
                  <a:cubicBezTo>
                    <a:pt x="256" y="630"/>
                    <a:pt x="256" y="630"/>
                    <a:pt x="256" y="630"/>
                  </a:cubicBezTo>
                  <a:cubicBezTo>
                    <a:pt x="254" y="626"/>
                    <a:pt x="254" y="626"/>
                    <a:pt x="254" y="626"/>
                  </a:cubicBezTo>
                  <a:cubicBezTo>
                    <a:pt x="251" y="625"/>
                    <a:pt x="251" y="625"/>
                    <a:pt x="251" y="625"/>
                  </a:cubicBezTo>
                  <a:cubicBezTo>
                    <a:pt x="248" y="626"/>
                    <a:pt x="248" y="626"/>
                    <a:pt x="248" y="626"/>
                  </a:cubicBezTo>
                  <a:cubicBezTo>
                    <a:pt x="249" y="628"/>
                    <a:pt x="249" y="628"/>
                    <a:pt x="249" y="628"/>
                  </a:cubicBezTo>
                  <a:cubicBezTo>
                    <a:pt x="243" y="628"/>
                    <a:pt x="243" y="628"/>
                    <a:pt x="243" y="628"/>
                  </a:cubicBezTo>
                  <a:lnTo>
                    <a:pt x="243" y="630"/>
                  </a:lnTo>
                  <a:close/>
                  <a:moveTo>
                    <a:pt x="254" y="615"/>
                  </a:moveTo>
                  <a:cubicBezTo>
                    <a:pt x="253" y="620"/>
                    <a:pt x="253" y="620"/>
                    <a:pt x="253" y="620"/>
                  </a:cubicBezTo>
                  <a:cubicBezTo>
                    <a:pt x="258" y="617"/>
                    <a:pt x="258" y="617"/>
                    <a:pt x="258" y="617"/>
                  </a:cubicBezTo>
                  <a:lnTo>
                    <a:pt x="254" y="615"/>
                  </a:lnTo>
                  <a:close/>
                  <a:moveTo>
                    <a:pt x="266" y="610"/>
                  </a:moveTo>
                  <a:cubicBezTo>
                    <a:pt x="265" y="607"/>
                    <a:pt x="265" y="607"/>
                    <a:pt x="265" y="607"/>
                  </a:cubicBezTo>
                  <a:cubicBezTo>
                    <a:pt x="259" y="610"/>
                    <a:pt x="259" y="610"/>
                    <a:pt x="259" y="610"/>
                  </a:cubicBezTo>
                  <a:cubicBezTo>
                    <a:pt x="262" y="612"/>
                    <a:pt x="262" y="612"/>
                    <a:pt x="262" y="612"/>
                  </a:cubicBezTo>
                  <a:lnTo>
                    <a:pt x="266" y="610"/>
                  </a:lnTo>
                  <a:close/>
                  <a:moveTo>
                    <a:pt x="258" y="630"/>
                  </a:moveTo>
                  <a:cubicBezTo>
                    <a:pt x="261" y="629"/>
                    <a:pt x="261" y="629"/>
                    <a:pt x="261" y="629"/>
                  </a:cubicBezTo>
                  <a:cubicBezTo>
                    <a:pt x="258" y="626"/>
                    <a:pt x="258" y="626"/>
                    <a:pt x="258" y="626"/>
                  </a:cubicBezTo>
                  <a:lnTo>
                    <a:pt x="258" y="630"/>
                  </a:lnTo>
                  <a:close/>
                  <a:moveTo>
                    <a:pt x="249" y="651"/>
                  </a:moveTo>
                  <a:cubicBezTo>
                    <a:pt x="253" y="644"/>
                    <a:pt x="253" y="644"/>
                    <a:pt x="253" y="644"/>
                  </a:cubicBezTo>
                  <a:cubicBezTo>
                    <a:pt x="250" y="643"/>
                    <a:pt x="250" y="643"/>
                    <a:pt x="250" y="643"/>
                  </a:cubicBezTo>
                  <a:cubicBezTo>
                    <a:pt x="246" y="649"/>
                    <a:pt x="246" y="649"/>
                    <a:pt x="246" y="649"/>
                  </a:cubicBezTo>
                  <a:lnTo>
                    <a:pt x="249" y="651"/>
                  </a:lnTo>
                  <a:close/>
                  <a:moveTo>
                    <a:pt x="245" y="653"/>
                  </a:moveTo>
                  <a:cubicBezTo>
                    <a:pt x="244" y="656"/>
                    <a:pt x="245" y="658"/>
                    <a:pt x="247" y="656"/>
                  </a:cubicBezTo>
                  <a:cubicBezTo>
                    <a:pt x="249" y="653"/>
                    <a:pt x="246" y="651"/>
                    <a:pt x="245" y="653"/>
                  </a:cubicBezTo>
                  <a:close/>
                  <a:moveTo>
                    <a:pt x="238" y="652"/>
                  </a:moveTo>
                  <a:cubicBezTo>
                    <a:pt x="241" y="653"/>
                    <a:pt x="241" y="653"/>
                    <a:pt x="241" y="653"/>
                  </a:cubicBezTo>
                  <a:cubicBezTo>
                    <a:pt x="243" y="649"/>
                    <a:pt x="243" y="649"/>
                    <a:pt x="243" y="649"/>
                  </a:cubicBezTo>
                  <a:cubicBezTo>
                    <a:pt x="242" y="649"/>
                    <a:pt x="242" y="649"/>
                    <a:pt x="242" y="649"/>
                  </a:cubicBezTo>
                  <a:lnTo>
                    <a:pt x="238" y="652"/>
                  </a:lnTo>
                  <a:close/>
                  <a:moveTo>
                    <a:pt x="251" y="632"/>
                  </a:moveTo>
                  <a:cubicBezTo>
                    <a:pt x="249" y="633"/>
                    <a:pt x="249" y="633"/>
                    <a:pt x="249" y="633"/>
                  </a:cubicBezTo>
                  <a:cubicBezTo>
                    <a:pt x="246" y="635"/>
                    <a:pt x="246" y="635"/>
                    <a:pt x="246" y="635"/>
                  </a:cubicBezTo>
                  <a:cubicBezTo>
                    <a:pt x="251" y="636"/>
                    <a:pt x="251" y="636"/>
                    <a:pt x="251" y="636"/>
                  </a:cubicBezTo>
                  <a:lnTo>
                    <a:pt x="251" y="632"/>
                  </a:lnTo>
                  <a:close/>
                  <a:moveTo>
                    <a:pt x="229" y="662"/>
                  </a:moveTo>
                  <a:cubicBezTo>
                    <a:pt x="229" y="664"/>
                    <a:pt x="229" y="664"/>
                    <a:pt x="229" y="664"/>
                  </a:cubicBezTo>
                  <a:cubicBezTo>
                    <a:pt x="232" y="666"/>
                    <a:pt x="232" y="666"/>
                    <a:pt x="232" y="666"/>
                  </a:cubicBezTo>
                  <a:cubicBezTo>
                    <a:pt x="231" y="661"/>
                    <a:pt x="231" y="661"/>
                    <a:pt x="231" y="661"/>
                  </a:cubicBezTo>
                  <a:lnTo>
                    <a:pt x="229" y="662"/>
                  </a:lnTo>
                  <a:close/>
                  <a:moveTo>
                    <a:pt x="246" y="562"/>
                  </a:moveTo>
                  <a:cubicBezTo>
                    <a:pt x="244" y="562"/>
                    <a:pt x="244" y="562"/>
                    <a:pt x="244" y="562"/>
                  </a:cubicBezTo>
                  <a:cubicBezTo>
                    <a:pt x="243" y="558"/>
                    <a:pt x="243" y="558"/>
                    <a:pt x="243" y="558"/>
                  </a:cubicBezTo>
                  <a:cubicBezTo>
                    <a:pt x="241" y="554"/>
                    <a:pt x="241" y="554"/>
                    <a:pt x="241" y="554"/>
                  </a:cubicBezTo>
                  <a:cubicBezTo>
                    <a:pt x="240" y="554"/>
                    <a:pt x="240" y="554"/>
                    <a:pt x="240" y="554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6" y="567"/>
                    <a:pt x="246" y="567"/>
                    <a:pt x="246" y="567"/>
                  </a:cubicBezTo>
                  <a:lnTo>
                    <a:pt x="246" y="562"/>
                  </a:lnTo>
                  <a:close/>
                  <a:moveTo>
                    <a:pt x="245" y="571"/>
                  </a:moveTo>
                  <a:cubicBezTo>
                    <a:pt x="248" y="572"/>
                    <a:pt x="249" y="569"/>
                    <a:pt x="246" y="569"/>
                  </a:cubicBezTo>
                  <a:cubicBezTo>
                    <a:pt x="243" y="569"/>
                    <a:pt x="243" y="571"/>
                    <a:pt x="245" y="571"/>
                  </a:cubicBezTo>
                  <a:close/>
                  <a:moveTo>
                    <a:pt x="253" y="571"/>
                  </a:moveTo>
                  <a:cubicBezTo>
                    <a:pt x="250" y="571"/>
                    <a:pt x="250" y="574"/>
                    <a:pt x="253" y="576"/>
                  </a:cubicBezTo>
                  <a:cubicBezTo>
                    <a:pt x="255" y="577"/>
                    <a:pt x="256" y="576"/>
                    <a:pt x="256" y="573"/>
                  </a:cubicBezTo>
                  <a:cubicBezTo>
                    <a:pt x="255" y="571"/>
                    <a:pt x="254" y="571"/>
                    <a:pt x="253" y="571"/>
                  </a:cubicBezTo>
                  <a:close/>
                  <a:moveTo>
                    <a:pt x="200" y="696"/>
                  </a:moveTo>
                  <a:cubicBezTo>
                    <a:pt x="199" y="693"/>
                    <a:pt x="199" y="693"/>
                    <a:pt x="199" y="693"/>
                  </a:cubicBezTo>
                  <a:cubicBezTo>
                    <a:pt x="198" y="693"/>
                    <a:pt x="198" y="693"/>
                    <a:pt x="198" y="69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202" y="698"/>
                    <a:pt x="202" y="698"/>
                    <a:pt x="202" y="698"/>
                  </a:cubicBezTo>
                  <a:lnTo>
                    <a:pt x="200" y="696"/>
                  </a:lnTo>
                  <a:close/>
                  <a:moveTo>
                    <a:pt x="198" y="739"/>
                  </a:moveTo>
                  <a:cubicBezTo>
                    <a:pt x="195" y="736"/>
                    <a:pt x="195" y="736"/>
                    <a:pt x="195" y="736"/>
                  </a:cubicBezTo>
                  <a:cubicBezTo>
                    <a:pt x="195" y="740"/>
                    <a:pt x="195" y="740"/>
                    <a:pt x="195" y="740"/>
                  </a:cubicBezTo>
                  <a:lnTo>
                    <a:pt x="198" y="739"/>
                  </a:lnTo>
                  <a:close/>
                  <a:moveTo>
                    <a:pt x="266" y="598"/>
                  </a:moveTo>
                  <a:cubicBezTo>
                    <a:pt x="263" y="596"/>
                    <a:pt x="263" y="596"/>
                    <a:pt x="263" y="596"/>
                  </a:cubicBezTo>
                  <a:cubicBezTo>
                    <a:pt x="261" y="598"/>
                    <a:pt x="261" y="598"/>
                    <a:pt x="261" y="598"/>
                  </a:cubicBezTo>
                  <a:lnTo>
                    <a:pt x="266" y="598"/>
                  </a:lnTo>
                  <a:close/>
                  <a:moveTo>
                    <a:pt x="205" y="485"/>
                  </a:moveTo>
                  <a:cubicBezTo>
                    <a:pt x="206" y="482"/>
                    <a:pt x="206" y="482"/>
                    <a:pt x="206" y="482"/>
                  </a:cubicBezTo>
                  <a:cubicBezTo>
                    <a:pt x="202" y="479"/>
                    <a:pt x="202" y="479"/>
                    <a:pt x="202" y="479"/>
                  </a:cubicBezTo>
                  <a:cubicBezTo>
                    <a:pt x="200" y="482"/>
                    <a:pt x="200" y="482"/>
                    <a:pt x="200" y="482"/>
                  </a:cubicBezTo>
                  <a:lnTo>
                    <a:pt x="205" y="485"/>
                  </a:lnTo>
                  <a:close/>
                  <a:moveTo>
                    <a:pt x="199" y="439"/>
                  </a:moveTo>
                  <a:cubicBezTo>
                    <a:pt x="201" y="439"/>
                    <a:pt x="201" y="439"/>
                    <a:pt x="201" y="439"/>
                  </a:cubicBezTo>
                  <a:cubicBezTo>
                    <a:pt x="200" y="432"/>
                    <a:pt x="200" y="432"/>
                    <a:pt x="200" y="432"/>
                  </a:cubicBezTo>
                  <a:cubicBezTo>
                    <a:pt x="198" y="431"/>
                    <a:pt x="198" y="431"/>
                    <a:pt x="198" y="431"/>
                  </a:cubicBezTo>
                  <a:lnTo>
                    <a:pt x="199" y="439"/>
                  </a:lnTo>
                  <a:close/>
                  <a:moveTo>
                    <a:pt x="217" y="421"/>
                  </a:moveTo>
                  <a:cubicBezTo>
                    <a:pt x="216" y="419"/>
                    <a:pt x="216" y="419"/>
                    <a:pt x="216" y="419"/>
                  </a:cubicBezTo>
                  <a:cubicBezTo>
                    <a:pt x="214" y="419"/>
                    <a:pt x="214" y="419"/>
                    <a:pt x="214" y="419"/>
                  </a:cubicBezTo>
                  <a:cubicBezTo>
                    <a:pt x="214" y="421"/>
                    <a:pt x="214" y="421"/>
                    <a:pt x="214" y="421"/>
                  </a:cubicBezTo>
                  <a:cubicBezTo>
                    <a:pt x="214" y="425"/>
                    <a:pt x="214" y="425"/>
                    <a:pt x="214" y="425"/>
                  </a:cubicBezTo>
                  <a:lnTo>
                    <a:pt x="217" y="421"/>
                  </a:lnTo>
                  <a:close/>
                  <a:moveTo>
                    <a:pt x="220" y="411"/>
                  </a:moveTo>
                  <a:cubicBezTo>
                    <a:pt x="215" y="412"/>
                    <a:pt x="214" y="415"/>
                    <a:pt x="216" y="416"/>
                  </a:cubicBezTo>
                  <a:cubicBezTo>
                    <a:pt x="220" y="418"/>
                    <a:pt x="223" y="411"/>
                    <a:pt x="220" y="411"/>
                  </a:cubicBezTo>
                  <a:close/>
                  <a:moveTo>
                    <a:pt x="234" y="392"/>
                  </a:moveTo>
                  <a:cubicBezTo>
                    <a:pt x="232" y="384"/>
                    <a:pt x="232" y="384"/>
                    <a:pt x="232" y="384"/>
                  </a:cubicBezTo>
                  <a:cubicBezTo>
                    <a:pt x="231" y="393"/>
                    <a:pt x="231" y="393"/>
                    <a:pt x="231" y="393"/>
                  </a:cubicBezTo>
                  <a:lnTo>
                    <a:pt x="234" y="392"/>
                  </a:lnTo>
                  <a:close/>
                  <a:moveTo>
                    <a:pt x="294" y="340"/>
                  </a:moveTo>
                  <a:cubicBezTo>
                    <a:pt x="294" y="343"/>
                    <a:pt x="294" y="343"/>
                    <a:pt x="294" y="343"/>
                  </a:cubicBezTo>
                  <a:cubicBezTo>
                    <a:pt x="297" y="342"/>
                    <a:pt x="297" y="342"/>
                    <a:pt x="297" y="342"/>
                  </a:cubicBezTo>
                  <a:cubicBezTo>
                    <a:pt x="296" y="336"/>
                    <a:pt x="296" y="336"/>
                    <a:pt x="296" y="336"/>
                  </a:cubicBezTo>
                  <a:lnTo>
                    <a:pt x="294" y="340"/>
                  </a:lnTo>
                  <a:close/>
                  <a:moveTo>
                    <a:pt x="293" y="335"/>
                  </a:moveTo>
                  <a:cubicBezTo>
                    <a:pt x="290" y="340"/>
                    <a:pt x="294" y="336"/>
                    <a:pt x="294" y="336"/>
                  </a:cubicBezTo>
                  <a:cubicBezTo>
                    <a:pt x="296" y="333"/>
                    <a:pt x="295" y="331"/>
                    <a:pt x="293" y="335"/>
                  </a:cubicBezTo>
                  <a:close/>
                  <a:moveTo>
                    <a:pt x="298" y="236"/>
                  </a:moveTo>
                  <a:cubicBezTo>
                    <a:pt x="300" y="240"/>
                    <a:pt x="300" y="240"/>
                    <a:pt x="300" y="240"/>
                  </a:cubicBezTo>
                  <a:cubicBezTo>
                    <a:pt x="306" y="242"/>
                    <a:pt x="306" y="242"/>
                    <a:pt x="306" y="242"/>
                  </a:cubicBezTo>
                  <a:cubicBezTo>
                    <a:pt x="307" y="241"/>
                    <a:pt x="307" y="241"/>
                    <a:pt x="307" y="241"/>
                  </a:cubicBezTo>
                  <a:cubicBezTo>
                    <a:pt x="304" y="239"/>
                    <a:pt x="304" y="239"/>
                    <a:pt x="304" y="239"/>
                  </a:cubicBezTo>
                  <a:cubicBezTo>
                    <a:pt x="305" y="236"/>
                    <a:pt x="305" y="236"/>
                    <a:pt x="305" y="236"/>
                  </a:cubicBezTo>
                  <a:cubicBezTo>
                    <a:pt x="303" y="235"/>
                    <a:pt x="303" y="235"/>
                    <a:pt x="303" y="235"/>
                  </a:cubicBezTo>
                  <a:cubicBezTo>
                    <a:pt x="302" y="237"/>
                    <a:pt x="302" y="237"/>
                    <a:pt x="302" y="237"/>
                  </a:cubicBezTo>
                  <a:cubicBezTo>
                    <a:pt x="302" y="235"/>
                    <a:pt x="302" y="235"/>
                    <a:pt x="302" y="235"/>
                  </a:cubicBezTo>
                  <a:lnTo>
                    <a:pt x="298" y="236"/>
                  </a:lnTo>
                  <a:close/>
                  <a:moveTo>
                    <a:pt x="312" y="222"/>
                  </a:moveTo>
                  <a:cubicBezTo>
                    <a:pt x="315" y="226"/>
                    <a:pt x="315" y="226"/>
                    <a:pt x="315" y="226"/>
                  </a:cubicBezTo>
                  <a:cubicBezTo>
                    <a:pt x="314" y="221"/>
                    <a:pt x="314" y="221"/>
                    <a:pt x="314" y="221"/>
                  </a:cubicBezTo>
                  <a:lnTo>
                    <a:pt x="312" y="222"/>
                  </a:lnTo>
                  <a:close/>
                  <a:moveTo>
                    <a:pt x="320" y="227"/>
                  </a:moveTo>
                  <a:cubicBezTo>
                    <a:pt x="322" y="224"/>
                    <a:pt x="322" y="224"/>
                    <a:pt x="322" y="224"/>
                  </a:cubicBezTo>
                  <a:cubicBezTo>
                    <a:pt x="317" y="225"/>
                    <a:pt x="317" y="225"/>
                    <a:pt x="317" y="225"/>
                  </a:cubicBezTo>
                  <a:lnTo>
                    <a:pt x="320" y="227"/>
                  </a:lnTo>
                  <a:close/>
                  <a:moveTo>
                    <a:pt x="322" y="222"/>
                  </a:moveTo>
                  <a:cubicBezTo>
                    <a:pt x="326" y="222"/>
                    <a:pt x="326" y="222"/>
                    <a:pt x="326" y="222"/>
                  </a:cubicBezTo>
                  <a:cubicBezTo>
                    <a:pt x="326" y="221"/>
                    <a:pt x="326" y="221"/>
                    <a:pt x="326" y="221"/>
                  </a:cubicBezTo>
                  <a:cubicBezTo>
                    <a:pt x="322" y="220"/>
                    <a:pt x="322" y="220"/>
                    <a:pt x="322" y="220"/>
                  </a:cubicBezTo>
                  <a:lnTo>
                    <a:pt x="322" y="222"/>
                  </a:lnTo>
                  <a:close/>
                  <a:moveTo>
                    <a:pt x="325" y="217"/>
                  </a:moveTo>
                  <a:cubicBezTo>
                    <a:pt x="326" y="213"/>
                    <a:pt x="326" y="213"/>
                    <a:pt x="326" y="213"/>
                  </a:cubicBezTo>
                  <a:cubicBezTo>
                    <a:pt x="322" y="215"/>
                    <a:pt x="322" y="215"/>
                    <a:pt x="322" y="215"/>
                  </a:cubicBezTo>
                  <a:lnTo>
                    <a:pt x="325" y="217"/>
                  </a:lnTo>
                  <a:close/>
                  <a:moveTo>
                    <a:pt x="319" y="219"/>
                  </a:moveTo>
                  <a:cubicBezTo>
                    <a:pt x="317" y="218"/>
                    <a:pt x="315" y="219"/>
                    <a:pt x="315" y="219"/>
                  </a:cubicBezTo>
                  <a:cubicBezTo>
                    <a:pt x="315" y="219"/>
                    <a:pt x="314" y="220"/>
                    <a:pt x="316" y="221"/>
                  </a:cubicBezTo>
                  <a:cubicBezTo>
                    <a:pt x="319" y="221"/>
                    <a:pt x="320" y="220"/>
                    <a:pt x="319" y="219"/>
                  </a:cubicBezTo>
                  <a:close/>
                  <a:moveTo>
                    <a:pt x="354" y="202"/>
                  </a:moveTo>
                  <a:cubicBezTo>
                    <a:pt x="356" y="202"/>
                    <a:pt x="356" y="202"/>
                    <a:pt x="356" y="202"/>
                  </a:cubicBezTo>
                  <a:cubicBezTo>
                    <a:pt x="356" y="200"/>
                    <a:pt x="356" y="200"/>
                    <a:pt x="356" y="200"/>
                  </a:cubicBezTo>
                  <a:cubicBezTo>
                    <a:pt x="354" y="200"/>
                    <a:pt x="354" y="200"/>
                    <a:pt x="354" y="200"/>
                  </a:cubicBezTo>
                  <a:lnTo>
                    <a:pt x="354" y="20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F7636D6-9045-8046-846A-18BC3CC14DDE}"/>
              </a:ext>
            </a:extLst>
          </p:cNvPr>
          <p:cNvSpPr txBox="1"/>
          <p:nvPr userDrawn="1"/>
        </p:nvSpPr>
        <p:spPr>
          <a:xfrm>
            <a:off x="462013" y="2723949"/>
            <a:ext cx="226193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 You can highlight countries by double clicking on it and click drawing tools&gt;format&gt;shape fill and select a brand </a:t>
            </a:r>
            <a:r>
              <a:rPr lang="en-US" sz="1200" dirty="0" err="1"/>
              <a:t>colour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17143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stralia Map 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Rectangle 185">
            <a:extLst>
              <a:ext uri="{FF2B5EF4-FFF2-40B4-BE49-F238E27FC236}">
                <a16:creationId xmlns:a16="http://schemas.microsoft.com/office/drawing/2014/main" id="{1B24D510-5F04-0D4B-B09A-D6FCD87783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Title 1">
            <a:extLst>
              <a:ext uri="{FF2B5EF4-FFF2-40B4-BE49-F238E27FC236}">
                <a16:creationId xmlns:a16="http://schemas.microsoft.com/office/drawing/2014/main" id="{B4E0AB8A-C16B-0643-9066-4140FF474C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Australia</a:t>
            </a:r>
            <a:endParaRPr lang="en-US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8D485D-A667-DC44-81C7-6C226C580FE2}"/>
              </a:ext>
            </a:extLst>
          </p:cNvPr>
          <p:cNvGrpSpPr/>
          <p:nvPr userDrawn="1"/>
        </p:nvGrpSpPr>
        <p:grpSpPr>
          <a:xfrm>
            <a:off x="5431819" y="436846"/>
            <a:ext cx="6482275" cy="6091887"/>
            <a:chOff x="4450184" y="1201437"/>
            <a:chExt cx="4115592" cy="3867735"/>
          </a:xfrm>
        </p:grpSpPr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53826" y="2119391"/>
              <a:ext cx="298048" cy="319287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40660" y="1760190"/>
              <a:ext cx="875119" cy="667601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44805" y="4165732"/>
              <a:ext cx="1020971" cy="903440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0184" y="1201437"/>
              <a:ext cx="2625353" cy="119732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83103" y="2231865"/>
              <a:ext cx="199754" cy="108847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33351" y="2409652"/>
              <a:ext cx="2282917" cy="244908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70960D-A87D-FC4E-BA86-5B8E0C3BBE6B}"/>
              </a:ext>
            </a:extLst>
          </p:cNvPr>
          <p:cNvSpPr txBox="1"/>
          <p:nvPr userDrawn="1"/>
        </p:nvSpPr>
        <p:spPr>
          <a:xfrm>
            <a:off x="462013" y="2723949"/>
            <a:ext cx="226193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 You can highlight countries by double clicking on it and click drawing tools&gt;format&gt;shape fill and select a brand </a:t>
            </a:r>
            <a:r>
              <a:rPr lang="en-US" sz="1200" dirty="0" err="1"/>
              <a:t>colour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550358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3850"/>
            <a:ext cx="10934497" cy="55722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592263"/>
            <a:ext cx="3554209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Category Title here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5" y="2121145"/>
            <a:ext cx="3554205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white as the </a:t>
            </a:r>
            <a:r>
              <a:rPr lang="en-US" dirty="0" err="1"/>
              <a:t>colour</a:t>
            </a:r>
            <a:r>
              <a:rPr lang="en-US" dirty="0"/>
              <a:t> and place inside the blue circle.</a:t>
            </a:r>
          </a:p>
          <a:p>
            <a:r>
              <a:rPr lang="en-US" dirty="0"/>
              <a:t>Any unwanted Icons can be masked with a simple white box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4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5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4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FDD0A0D-4813-0442-B7A9-81BFB4829B0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697802F-0840-EE48-B35C-9CB300CE1D8F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Subtitle 2">
            <a:extLst>
              <a:ext uri="{FF2B5EF4-FFF2-40B4-BE49-F238E27FC236}">
                <a16:creationId xmlns:a16="http://schemas.microsoft.com/office/drawing/2014/main" id="{26402C3C-F59C-3A42-B015-2EA68FBF825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0418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CFCF589-AF37-934C-9D77-389344C39EC6}"/>
              </a:ext>
            </a:extLst>
          </p:cNvPr>
          <p:cNvSpPr/>
          <p:nvPr userDrawn="1"/>
        </p:nvSpPr>
        <p:spPr>
          <a:xfrm>
            <a:off x="4187824" y="0"/>
            <a:ext cx="8004175" cy="685800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9148"/>
            <a:ext cx="3322921" cy="8213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7" y="1592262"/>
            <a:ext cx="3321608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Copy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6" y="2121144"/>
            <a:ext cx="3321608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Kingspan Blue as the </a:t>
            </a:r>
            <a:r>
              <a:rPr lang="en-US" dirty="0" err="1"/>
              <a:t>colour</a:t>
            </a:r>
            <a:r>
              <a:rPr lang="en-US" dirty="0"/>
              <a:t> and place inside the white circle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2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3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3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BC67C90-EE5C-624B-803D-A24E2B956D1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9B69D5E-ED9C-544E-A604-69F54D7871C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Subtitle 2">
            <a:extLst>
              <a:ext uri="{FF2B5EF4-FFF2-40B4-BE49-F238E27FC236}">
                <a16:creationId xmlns:a16="http://schemas.microsoft.com/office/drawing/2014/main" id="{9C1708ED-C33A-E546-BF47-ADC82014D16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D0268A4-3A87-5D4C-AF1D-0FE814E58E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106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A0AD9CA-DD4F-6849-9EBD-847328BAD8DE}"/>
              </a:ext>
            </a:extLst>
          </p:cNvPr>
          <p:cNvSpPr/>
          <p:nvPr userDrawn="1"/>
        </p:nvSpPr>
        <p:spPr>
          <a:xfrm>
            <a:off x="890524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DBA820-B79F-8940-93B5-9A3B88CEEBE6}"/>
              </a:ext>
            </a:extLst>
          </p:cNvPr>
          <p:cNvSpPr/>
          <p:nvPr userDrawn="1"/>
        </p:nvSpPr>
        <p:spPr>
          <a:xfrm>
            <a:off x="27608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12DD1A3-2ECA-2941-93A2-23BA1BB974D6}"/>
              </a:ext>
            </a:extLst>
          </p:cNvPr>
          <p:cNvSpPr/>
          <p:nvPr userDrawn="1"/>
        </p:nvSpPr>
        <p:spPr>
          <a:xfrm>
            <a:off x="45896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4DA6F6B-A360-834A-B6A1-672292E771E1}"/>
              </a:ext>
            </a:extLst>
          </p:cNvPr>
          <p:cNvSpPr/>
          <p:nvPr userDrawn="1"/>
        </p:nvSpPr>
        <p:spPr>
          <a:xfrm>
            <a:off x="6489841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1162878-B24C-CB4E-82D5-450D8A9335EA}"/>
              </a:ext>
            </a:extLst>
          </p:cNvPr>
          <p:cNvSpPr/>
          <p:nvPr userDrawn="1"/>
        </p:nvSpPr>
        <p:spPr>
          <a:xfrm>
            <a:off x="8313789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4B2BB32-0183-9442-AD45-3D1F3A7510B4}"/>
              </a:ext>
            </a:extLst>
          </p:cNvPr>
          <p:cNvSpPr/>
          <p:nvPr userDrawn="1"/>
        </p:nvSpPr>
        <p:spPr>
          <a:xfrm>
            <a:off x="1016752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1566"/>
            <a:ext cx="10934496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8A2391B-7CB4-D048-93B2-01298DBE852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4797425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B9895C84-2A29-B648-9FCB-581D7A666A5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5265738"/>
            <a:ext cx="1725410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C4372F70-3F92-984D-A1D6-64A68A41CC4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491189" y="4797425"/>
            <a:ext cx="169663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11357760-943B-E346-879B-5120DFBB54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91189" y="5265738"/>
            <a:ext cx="169663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AB36158F-1BCC-9142-AC83-0549E61597E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29614" y="4797425"/>
            <a:ext cx="1694949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A6B674D9-7291-2045-937A-0C8BE04CBCD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29614" y="5265738"/>
            <a:ext cx="1694949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D345FC74-CE8E-024B-9255-A89BBBAAAF2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06540" y="4797425"/>
            <a:ext cx="1658034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77946A5A-2264-094F-849A-D29C2FE0346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06540" y="5265738"/>
            <a:ext cx="1658034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2B8AE223-BAE7-584D-B3CF-E89FCAF2D75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006465" y="4797425"/>
            <a:ext cx="171747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6FD89598-B46E-E149-80A9-FFF06C86794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006465" y="5265738"/>
            <a:ext cx="1717472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E9C16BF4-14AA-904F-8536-6397929D2C9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9873766" y="4797425"/>
            <a:ext cx="169434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D10C066C-33CD-ED43-90D0-B8F060FE81F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9873766" y="5265738"/>
            <a:ext cx="169434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8F9FF5E-F6CE-BD44-8EE0-5F95979213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C5920A3-68C0-0748-B9EC-F7A9A8E276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Subtitle 2">
            <a:extLst>
              <a:ext uri="{FF2B5EF4-FFF2-40B4-BE49-F238E27FC236}">
                <a16:creationId xmlns:a16="http://schemas.microsoft.com/office/drawing/2014/main" id="{496FCA75-A150-5D4F-9612-55D226FB00C1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140201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BB4072D-3150-684F-96E4-3E2B94E27921}"/>
              </a:ext>
            </a:extLst>
          </p:cNvPr>
          <p:cNvGrpSpPr/>
          <p:nvPr userDrawn="1"/>
        </p:nvGrpSpPr>
        <p:grpSpPr>
          <a:xfrm>
            <a:off x="374053" y="-12529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0D6FCC16-AC36-7B41-9B9B-3B1A96FD6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4262DF0-E744-6041-AAE9-9D127B7A9AC3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lerts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D6B311C-FDD8-7A4A-9E1B-4E8579537454}"/>
              </a:ext>
            </a:extLst>
          </p:cNvPr>
          <p:cNvGrpSpPr/>
          <p:nvPr userDrawn="1"/>
        </p:nvGrpSpPr>
        <p:grpSpPr>
          <a:xfrm>
            <a:off x="8541224" y="3305151"/>
            <a:ext cx="1580322" cy="1608757"/>
            <a:chOff x="5750970" y="2169250"/>
            <a:chExt cx="1580322" cy="1608757"/>
          </a:xfrm>
        </p:grpSpPr>
        <p:pic>
          <p:nvPicPr>
            <p:cNvPr id="174" name="Picture 173" descr="A close up of a logo&#10;&#10;Description automatically generated">
              <a:extLst>
                <a:ext uri="{FF2B5EF4-FFF2-40B4-BE49-F238E27FC236}">
                  <a16:creationId xmlns:a16="http://schemas.microsoft.com/office/drawing/2014/main" id="{545988BF-965C-AA47-9425-0D6D6D39B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535BD7F4-24A1-0747-87AF-EF4D15762673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se Study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5088489E-7174-F243-A7AA-497CA2725050}"/>
              </a:ext>
            </a:extLst>
          </p:cNvPr>
          <p:cNvGrpSpPr/>
          <p:nvPr userDrawn="1"/>
        </p:nvGrpSpPr>
        <p:grpSpPr>
          <a:xfrm>
            <a:off x="5767441" y="1746216"/>
            <a:ext cx="1580322" cy="1715119"/>
            <a:chOff x="367748" y="405538"/>
            <a:chExt cx="1580322" cy="1715119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9684B06A-814D-4241-89C0-3A6DA490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93807C27-7A76-734F-9F6C-D956CCFA4A62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</a:t>
              </a:r>
            </a:p>
            <a:p>
              <a:pPr algn="ctr"/>
              <a:r>
                <a:rPr lang="en-US" sz="1200" dirty="0"/>
                <a:t>Service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064A34D-C51B-FA46-AAF8-C7D071096ECE}"/>
              </a:ext>
            </a:extLst>
          </p:cNvPr>
          <p:cNvGrpSpPr/>
          <p:nvPr userDrawn="1"/>
        </p:nvGrpSpPr>
        <p:grpSpPr>
          <a:xfrm>
            <a:off x="5773190" y="-28593"/>
            <a:ext cx="1580322" cy="1566045"/>
            <a:chOff x="367748" y="2169250"/>
            <a:chExt cx="1580322" cy="1566045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95E333A6-653E-F645-8071-A8B53C73A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E3DF9503-1188-EF42-874E-90566CC4A8DD}"/>
                </a:ext>
              </a:extLst>
            </p:cNvPr>
            <p:cNvSpPr txBox="1"/>
            <p:nvPr/>
          </p:nvSpPr>
          <p:spPr>
            <a:xfrm>
              <a:off x="367748" y="345829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rand DNA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89866316-E303-0344-BE71-8D9017A98606}"/>
              </a:ext>
            </a:extLst>
          </p:cNvPr>
          <p:cNvGrpSpPr/>
          <p:nvPr userDrawn="1"/>
        </p:nvGrpSpPr>
        <p:grpSpPr>
          <a:xfrm>
            <a:off x="7138849" y="1746216"/>
            <a:ext cx="1580322" cy="1553763"/>
            <a:chOff x="5750970" y="2169250"/>
            <a:chExt cx="1580322" cy="155376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E241773-9743-8D49-ACAA-E64CE7684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46513CAC-B56C-2E49-BFC1-44A1F6A2B074}"/>
                </a:ext>
              </a:extLst>
            </p:cNvPr>
            <p:cNvSpPr txBox="1"/>
            <p:nvPr/>
          </p:nvSpPr>
          <p:spPr>
            <a:xfrm>
              <a:off x="5750970" y="344601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llaboration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7AD6A17-ED90-6547-A570-1EAE684B017F}"/>
              </a:ext>
            </a:extLst>
          </p:cNvPr>
          <p:cNvGrpSpPr/>
          <p:nvPr userDrawn="1"/>
        </p:nvGrpSpPr>
        <p:grpSpPr>
          <a:xfrm>
            <a:off x="390557" y="3313364"/>
            <a:ext cx="1580322" cy="1537449"/>
            <a:chOff x="9480376" y="3968750"/>
            <a:chExt cx="1580322" cy="1537449"/>
          </a:xfrm>
        </p:grpSpPr>
        <p:pic>
          <p:nvPicPr>
            <p:cNvPr id="186" name="Picture 18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B6D36BF-1E77-B047-A477-9B1A19440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5CDFDBC-E158-B549-BB68-75DB5E0F1ED6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act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8D4F745E-0219-0346-8DD9-592D94CD0F1A}"/>
              </a:ext>
            </a:extLst>
          </p:cNvPr>
          <p:cNvGrpSpPr/>
          <p:nvPr userDrawn="1"/>
        </p:nvGrpSpPr>
        <p:grpSpPr>
          <a:xfrm>
            <a:off x="7155839" y="-23657"/>
            <a:ext cx="1580322" cy="1537586"/>
            <a:chOff x="5750970" y="3968613"/>
            <a:chExt cx="1580322" cy="1537586"/>
          </a:xfrm>
        </p:grpSpPr>
        <p:pic>
          <p:nvPicPr>
            <p:cNvPr id="189" name="Picture 188" descr="A close up of a logo&#10;&#10;Description automatically generated">
              <a:extLst>
                <a:ext uri="{FF2B5EF4-FFF2-40B4-BE49-F238E27FC236}">
                  <a16:creationId xmlns:a16="http://schemas.microsoft.com/office/drawing/2014/main" id="{5BEC7397-EA5B-8047-8142-35A4E2846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E0E91293-FA98-274D-A2CA-30660D44AC83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acteria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FF8C05F-938E-3540-AE08-1D6175D46C00}"/>
              </a:ext>
            </a:extLst>
          </p:cNvPr>
          <p:cNvGrpSpPr/>
          <p:nvPr userDrawn="1"/>
        </p:nvGrpSpPr>
        <p:grpSpPr>
          <a:xfrm>
            <a:off x="1627715" y="3302734"/>
            <a:ext cx="1580322" cy="1740157"/>
            <a:chOff x="7667309" y="2169250"/>
            <a:chExt cx="1580322" cy="1740157"/>
          </a:xfrm>
        </p:grpSpPr>
        <p:pic>
          <p:nvPicPr>
            <p:cNvPr id="192" name="Picture 191" descr="A close up of a sign&#10;&#10;Description automatically generated">
              <a:extLst>
                <a:ext uri="{FF2B5EF4-FFF2-40B4-BE49-F238E27FC236}">
                  <a16:creationId xmlns:a16="http://schemas.microsoft.com/office/drawing/2014/main" id="{2BE03BB0-45C2-824D-9534-7FAB7C4E66C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D4D9A9BA-AAC4-B544-A6DC-868CB55D999B}"/>
                </a:ext>
              </a:extLst>
            </p:cNvPr>
            <p:cNvSpPr txBox="1"/>
            <p:nvPr/>
          </p:nvSpPr>
          <p:spPr>
            <a:xfrm>
              <a:off x="7667309" y="344774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liant Solution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56138BC7-748A-D049-82ED-CAE61EC15437}"/>
              </a:ext>
            </a:extLst>
          </p:cNvPr>
          <p:cNvGrpSpPr/>
          <p:nvPr userDrawn="1"/>
        </p:nvGrpSpPr>
        <p:grpSpPr>
          <a:xfrm>
            <a:off x="374053" y="1763790"/>
            <a:ext cx="1580322" cy="1530453"/>
            <a:chOff x="367748" y="405538"/>
            <a:chExt cx="1580322" cy="1530453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64632124-D98E-4C47-B909-97AA1F99C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561DC6A-9438-874F-AA4C-5AEC225CF95B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lendar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588EF020-AE7A-2B48-9265-38C1075295F9}"/>
              </a:ext>
            </a:extLst>
          </p:cNvPr>
          <p:cNvGrpSpPr/>
          <p:nvPr userDrawn="1"/>
        </p:nvGrpSpPr>
        <p:grpSpPr>
          <a:xfrm>
            <a:off x="1637039" y="1750338"/>
            <a:ext cx="1580322" cy="1530453"/>
            <a:chOff x="2063552" y="405538"/>
            <a:chExt cx="1580322" cy="1530453"/>
          </a:xfrm>
        </p:grpSpPr>
        <p:pic>
          <p:nvPicPr>
            <p:cNvPr id="198" name="Picture 197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16375AE-E24C-3744-9A70-E2C84CEEB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35A4F2E9-4BE7-1E4B-B530-BC1CD4ADCE1C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art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910D802-A6C8-274C-9C65-47AFAC4CFE8B}"/>
              </a:ext>
            </a:extLst>
          </p:cNvPr>
          <p:cNvGrpSpPr/>
          <p:nvPr userDrawn="1"/>
        </p:nvGrpSpPr>
        <p:grpSpPr>
          <a:xfrm>
            <a:off x="1643847" y="-28593"/>
            <a:ext cx="1580322" cy="1722252"/>
            <a:chOff x="367748" y="3968613"/>
            <a:chExt cx="1580322" cy="1722252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2B8E77AE-2D9B-4A47-8684-1C0D40558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37909" y="3968613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7C81AE6-3996-7647-A9B4-8438B7CFC46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ccredited Installer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08690EF9-DDDF-1F40-818B-75754B172961}"/>
              </a:ext>
            </a:extLst>
          </p:cNvPr>
          <p:cNvGrpSpPr/>
          <p:nvPr userDrawn="1"/>
        </p:nvGrpSpPr>
        <p:grpSpPr>
          <a:xfrm>
            <a:off x="3000586" y="1746216"/>
            <a:ext cx="1580322" cy="1537449"/>
            <a:chOff x="5750970" y="3968750"/>
            <a:chExt cx="1580322" cy="1537449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6594CE0C-26AF-A047-A3D6-A9C611F7E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1164C9F6-C764-5E40-B736-75839445A2D1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unication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FCA607D7-2C8C-3D4B-B351-BBA093EE00BE}"/>
              </a:ext>
            </a:extLst>
          </p:cNvPr>
          <p:cNvGrpSpPr/>
          <p:nvPr userDrawn="1"/>
        </p:nvGrpSpPr>
        <p:grpSpPr>
          <a:xfrm>
            <a:off x="4369981" y="1746216"/>
            <a:ext cx="1580322" cy="1537586"/>
            <a:chOff x="7667309" y="3968613"/>
            <a:chExt cx="1580322" cy="1537586"/>
          </a:xfrm>
        </p:grpSpPr>
        <p:pic>
          <p:nvPicPr>
            <p:cNvPr id="207" name="Picture 206" descr="A close up of a sign&#10;&#10;Description automatically generated">
              <a:extLst>
                <a:ext uri="{FF2B5EF4-FFF2-40B4-BE49-F238E27FC236}">
                  <a16:creationId xmlns:a16="http://schemas.microsoft.com/office/drawing/2014/main" id="{A290880F-F450-4B44-9E67-E63D21ABC8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4CE1E15B-D5EC-FB44-95DA-0FE4DCD2172E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ed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DA3EF250-8F71-4F44-B1B0-3FFF284AD16D}"/>
              </a:ext>
            </a:extLst>
          </p:cNvPr>
          <p:cNvGrpSpPr/>
          <p:nvPr userDrawn="1"/>
        </p:nvGrpSpPr>
        <p:grpSpPr>
          <a:xfrm>
            <a:off x="4378756" y="3320360"/>
            <a:ext cx="1580322" cy="1530453"/>
            <a:chOff x="5750970" y="405538"/>
            <a:chExt cx="1580322" cy="1530453"/>
          </a:xfrm>
        </p:grpSpPr>
        <p:pic>
          <p:nvPicPr>
            <p:cNvPr id="210" name="Picture 209" descr="A close up of a sign&#10;&#10;Description automatically generated">
              <a:extLst>
                <a:ext uri="{FF2B5EF4-FFF2-40B4-BE49-F238E27FC236}">
                  <a16:creationId xmlns:a16="http://schemas.microsoft.com/office/drawing/2014/main" id="{BBF960DB-5E07-EB4D-BC48-1A5EF2910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A6D742A9-6A61-054A-9CDC-5E9FA42210F8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cate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DFAEBC59-2894-9C47-8523-D8693974B992}"/>
              </a:ext>
            </a:extLst>
          </p:cNvPr>
          <p:cNvGrpSpPr/>
          <p:nvPr userDrawn="1"/>
        </p:nvGrpSpPr>
        <p:grpSpPr>
          <a:xfrm>
            <a:off x="8534296" y="1742769"/>
            <a:ext cx="1580322" cy="1564192"/>
            <a:chOff x="2063552" y="2169250"/>
            <a:chExt cx="1580322" cy="1564192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F922517B-CA2F-6346-B1BA-B6F47E903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5FE21AD-85C6-D345-9A10-7B46BEA32814}"/>
                </a:ext>
              </a:extLst>
            </p:cNvPr>
            <p:cNvSpPr txBox="1"/>
            <p:nvPr/>
          </p:nvSpPr>
          <p:spPr>
            <a:xfrm>
              <a:off x="2063552" y="345644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B8F8ED8-D362-9043-A3D6-7462ACC1CE05}"/>
              </a:ext>
            </a:extLst>
          </p:cNvPr>
          <p:cNvGrpSpPr/>
          <p:nvPr userDrawn="1"/>
        </p:nvGrpSpPr>
        <p:grpSpPr>
          <a:xfrm>
            <a:off x="3004181" y="-22880"/>
            <a:ext cx="1580322" cy="1544397"/>
            <a:chOff x="9480376" y="2169250"/>
            <a:chExt cx="1580322" cy="1544397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F1BAC1CF-C9BB-2D4F-9500-7BB40CF84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D6299A57-6EF6-664C-BE40-A9AACB5631BD}"/>
                </a:ext>
              </a:extLst>
            </p:cNvPr>
            <p:cNvSpPr txBox="1"/>
            <p:nvPr/>
          </p:nvSpPr>
          <p:spPr>
            <a:xfrm>
              <a:off x="9480376" y="343664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d Blu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A917B2A9-4483-0C4E-B212-56D00A07DDEC}"/>
              </a:ext>
            </a:extLst>
          </p:cNvPr>
          <p:cNvGrpSpPr/>
          <p:nvPr userDrawn="1"/>
        </p:nvGrpSpPr>
        <p:grpSpPr>
          <a:xfrm>
            <a:off x="3001276" y="3313364"/>
            <a:ext cx="1580322" cy="1537449"/>
            <a:chOff x="5750970" y="3968750"/>
            <a:chExt cx="1580322" cy="1537449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CBA9383E-7B9F-B647-A0C8-4D320BE8F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AC9539E8-2107-DC4D-9FEA-ED7CB940FDF8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ivils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57A30889-B007-AD40-85E4-F6F17A1F1D52}"/>
              </a:ext>
            </a:extLst>
          </p:cNvPr>
          <p:cNvGrpSpPr/>
          <p:nvPr userDrawn="1"/>
        </p:nvGrpSpPr>
        <p:grpSpPr>
          <a:xfrm>
            <a:off x="5767441" y="3302734"/>
            <a:ext cx="1580322" cy="1722252"/>
            <a:chOff x="7667309" y="3968613"/>
            <a:chExt cx="1580322" cy="1722252"/>
          </a:xfrm>
        </p:grpSpPr>
        <p:pic>
          <p:nvPicPr>
            <p:cNvPr id="222" name="Picture 221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8D68CAAC-0F8A-3248-B6FC-B6C507489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73A02D73-85E4-D54E-B75C-5B46FFAF3D1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 </a:t>
              </a:r>
              <a:br>
                <a:rPr lang="en-US" sz="1200" dirty="0"/>
              </a:br>
              <a:r>
                <a:rPr lang="en-US" sz="1200" dirty="0"/>
                <a:t>Focu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C6939DA3-B198-C44D-A756-96A1E60EB82A}"/>
              </a:ext>
            </a:extLst>
          </p:cNvPr>
          <p:cNvGrpSpPr/>
          <p:nvPr userDrawn="1"/>
        </p:nvGrpSpPr>
        <p:grpSpPr>
          <a:xfrm>
            <a:off x="7141403" y="3313364"/>
            <a:ext cx="1580322" cy="1746998"/>
            <a:chOff x="5750970" y="2169250"/>
            <a:chExt cx="1580322" cy="1746998"/>
          </a:xfrm>
        </p:grpSpPr>
        <p:pic>
          <p:nvPicPr>
            <p:cNvPr id="225" name="Picture 224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4708964-CE3F-9D48-8BBA-2CFD73C8D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B23F0FC8-6B3E-0944-9F32-860C86EFC6FA}"/>
                </a:ext>
              </a:extLst>
            </p:cNvPr>
            <p:cNvSpPr txBox="1"/>
            <p:nvPr/>
          </p:nvSpPr>
          <p:spPr>
            <a:xfrm>
              <a:off x="5750970" y="345458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Containerised</a:t>
              </a:r>
              <a:r>
                <a:rPr lang="en-US" sz="1200" dirty="0"/>
                <a:t> Design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D8D3B16F-07A5-B944-A6E5-5DC37CA04E3C}"/>
              </a:ext>
            </a:extLst>
          </p:cNvPr>
          <p:cNvGrpSpPr/>
          <p:nvPr userDrawn="1"/>
        </p:nvGrpSpPr>
        <p:grpSpPr>
          <a:xfrm>
            <a:off x="4369981" y="-14955"/>
            <a:ext cx="1580322" cy="1537586"/>
            <a:chOff x="2063552" y="3968613"/>
            <a:chExt cx="1580322" cy="1537586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2788A875-5726-6B42-B1D9-4DAF20BCC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28B723FF-C4D0-5245-B84D-8D72732425F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gricultur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5EFF25D9-F93F-7148-9B95-038D2822567D}"/>
              </a:ext>
            </a:extLst>
          </p:cNvPr>
          <p:cNvGrpSpPr/>
          <p:nvPr userDrawn="1"/>
        </p:nvGrpSpPr>
        <p:grpSpPr>
          <a:xfrm>
            <a:off x="8541224" y="-26646"/>
            <a:ext cx="1580322" cy="1565539"/>
            <a:chOff x="7667309" y="405538"/>
            <a:chExt cx="1580322" cy="1565539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E4A0CF04-4EC5-814B-9421-725F8B1E1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2E0C3064-CD98-1B45-A64E-168C14E6084B}"/>
                </a:ext>
              </a:extLst>
            </p:cNvPr>
            <p:cNvSpPr txBox="1"/>
            <p:nvPr/>
          </p:nvSpPr>
          <p:spPr>
            <a:xfrm>
              <a:off x="7667309" y="169407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us Stop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A640E644-110F-8C49-9371-6D9238ABE916}"/>
              </a:ext>
            </a:extLst>
          </p:cNvPr>
          <p:cNvGrpSpPr/>
          <p:nvPr userDrawn="1"/>
        </p:nvGrpSpPr>
        <p:grpSpPr>
          <a:xfrm>
            <a:off x="9960528" y="3320360"/>
            <a:ext cx="1580322" cy="1740001"/>
            <a:chOff x="2063552" y="2169250"/>
            <a:chExt cx="1580322" cy="174000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838E1618-59F8-FD4E-A284-7D0B04246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3EB45999-6401-CD4F-A88E-21C4FB74114C}"/>
                </a:ext>
              </a:extLst>
            </p:cNvPr>
            <p:cNvSpPr txBox="1"/>
            <p:nvPr/>
          </p:nvSpPr>
          <p:spPr>
            <a:xfrm>
              <a:off x="2063552" y="344758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centration Less Than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211471AA-4E2C-6045-8300-C5AAE621AEE5}"/>
              </a:ext>
            </a:extLst>
          </p:cNvPr>
          <p:cNvGrpSpPr/>
          <p:nvPr userDrawn="1"/>
        </p:nvGrpSpPr>
        <p:grpSpPr>
          <a:xfrm>
            <a:off x="9954108" y="1742769"/>
            <a:ext cx="1580322" cy="1537449"/>
            <a:chOff x="367748" y="3968750"/>
            <a:chExt cx="1580322" cy="1537449"/>
          </a:xfrm>
        </p:grpSpPr>
        <p:pic>
          <p:nvPicPr>
            <p:cNvPr id="237" name="Picture 236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22C9C45-18CD-7A42-922D-4ED8DAE8A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5500F41A-2337-484C-8F87-3EFC5157C48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rols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5E2A23B-F9F0-2249-A919-88854DE225BB}"/>
              </a:ext>
            </a:extLst>
          </p:cNvPr>
          <p:cNvGrpSpPr/>
          <p:nvPr userDrawn="1"/>
        </p:nvGrpSpPr>
        <p:grpSpPr>
          <a:xfrm>
            <a:off x="9954108" y="-24119"/>
            <a:ext cx="1580322" cy="1566138"/>
            <a:chOff x="367748" y="2169250"/>
            <a:chExt cx="1580322" cy="1566138"/>
          </a:xfrm>
        </p:grpSpPr>
        <p:pic>
          <p:nvPicPr>
            <p:cNvPr id="240" name="Picture 23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7790CCC-4BC9-994E-B5EC-2E60C341C7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C9E76F3C-BBAC-5845-B4C8-74EA95D89503}"/>
                </a:ext>
              </a:extLst>
            </p:cNvPr>
            <p:cNvSpPr txBox="1"/>
            <p:nvPr/>
          </p:nvSpPr>
          <p:spPr>
            <a:xfrm>
              <a:off x="367748" y="345838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A93816-B89C-4948-9307-37A1BA81EE01}"/>
              </a:ext>
            </a:extLst>
          </p:cNvPr>
          <p:cNvGrpSpPr/>
          <p:nvPr userDrawn="1"/>
        </p:nvGrpSpPr>
        <p:grpSpPr>
          <a:xfrm>
            <a:off x="7143380" y="5092727"/>
            <a:ext cx="1580322" cy="1806074"/>
            <a:chOff x="3896140" y="3968613"/>
            <a:chExt cx="1580322" cy="1806074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AAF03E1D-6D2B-CC42-810D-332EBE69A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966301" y="3968613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B280E7F6-3DD1-DB4C-A9D3-245B50D94576}"/>
                </a:ext>
              </a:extLst>
            </p:cNvPr>
            <p:cNvSpPr txBox="1"/>
            <p:nvPr/>
          </p:nvSpPr>
          <p:spPr>
            <a:xfrm>
              <a:off x="3896140" y="531302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uble </a:t>
              </a:r>
              <a:br>
                <a:rPr lang="en-US" sz="1200" dirty="0"/>
              </a:br>
              <a:r>
                <a:rPr lang="en-US" sz="1200" dirty="0"/>
                <a:t>Bunded Tank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1160E0BC-312B-5749-8E2C-788C647D52D7}"/>
              </a:ext>
            </a:extLst>
          </p:cNvPr>
          <p:cNvGrpSpPr/>
          <p:nvPr userDrawn="1"/>
        </p:nvGrpSpPr>
        <p:grpSpPr>
          <a:xfrm>
            <a:off x="8535621" y="5084886"/>
            <a:ext cx="1580322" cy="1608757"/>
            <a:chOff x="7667309" y="2169250"/>
            <a:chExt cx="1580322" cy="1608757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4BEA655A-CE87-DB47-A33B-39D7B43F0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0189D3BC-84F9-1C43-AF9C-F6C71B68E32C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sign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6C2E3B41-B23F-1140-B5DE-19AE0335E465}"/>
              </a:ext>
            </a:extLst>
          </p:cNvPr>
          <p:cNvGrpSpPr/>
          <p:nvPr userDrawn="1"/>
        </p:nvGrpSpPr>
        <p:grpSpPr>
          <a:xfrm>
            <a:off x="367748" y="5076640"/>
            <a:ext cx="1580322" cy="1608757"/>
            <a:chOff x="367748" y="2169250"/>
            <a:chExt cx="1580322" cy="1608757"/>
          </a:xfrm>
        </p:grpSpPr>
        <p:pic>
          <p:nvPicPr>
            <p:cNvPr id="249" name="Picture 24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9CD3CFDD-9B01-1944-90CC-690882E16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B77E6B8C-3EEE-4A4C-B119-88D10C831E79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3080C162-9ACA-9649-AAA4-E3919FA0CE94}"/>
              </a:ext>
            </a:extLst>
          </p:cNvPr>
          <p:cNvGrpSpPr/>
          <p:nvPr userDrawn="1"/>
        </p:nvGrpSpPr>
        <p:grpSpPr>
          <a:xfrm>
            <a:off x="2989227" y="5076640"/>
            <a:ext cx="1580322" cy="1608757"/>
            <a:chOff x="3896140" y="2169250"/>
            <a:chExt cx="1580322" cy="1608757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BA99FADF-C9C2-744B-ABD7-2E0E24957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D9DEAC2-E13E-DB45-A6EF-B3096BAF7954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mpsit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4E0500C9-7689-B441-9E80-8B1C10481232}"/>
              </a:ext>
            </a:extLst>
          </p:cNvPr>
          <p:cNvGrpSpPr/>
          <p:nvPr userDrawn="1"/>
        </p:nvGrpSpPr>
        <p:grpSpPr>
          <a:xfrm>
            <a:off x="1625854" y="5080465"/>
            <a:ext cx="1580322" cy="1587504"/>
            <a:chOff x="3896140" y="3968750"/>
            <a:chExt cx="1580322" cy="1587504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A390A808-7B12-DD4F-A3E1-6CDEFC9DF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14D3C6B5-5606-3A4D-A141-6F4FD65FCFB9}"/>
                </a:ext>
              </a:extLst>
            </p:cNvPr>
            <p:cNvSpPr txBox="1"/>
            <p:nvPr/>
          </p:nvSpPr>
          <p:spPr>
            <a:xfrm>
              <a:off x="3896140" y="527925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truction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340B1088-F5C2-A94E-B775-3FF347DFDE02}"/>
              </a:ext>
            </a:extLst>
          </p:cNvPr>
          <p:cNvGrpSpPr/>
          <p:nvPr userDrawn="1"/>
        </p:nvGrpSpPr>
        <p:grpSpPr>
          <a:xfrm>
            <a:off x="5771791" y="5084886"/>
            <a:ext cx="1580322" cy="1608757"/>
            <a:chOff x="367748" y="2169250"/>
            <a:chExt cx="1580322" cy="1608757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F3160-7693-B647-AAD3-A5F94A711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0B8FD068-3704-A245-A241-3C8A27766E0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 Service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739299A-FCC2-C040-95C6-C2EC211988EB}"/>
              </a:ext>
            </a:extLst>
          </p:cNvPr>
          <p:cNvGrpSpPr/>
          <p:nvPr userDrawn="1"/>
        </p:nvGrpSpPr>
        <p:grpSpPr>
          <a:xfrm>
            <a:off x="4380509" y="5076640"/>
            <a:ext cx="1580322" cy="1608757"/>
            <a:chOff x="367748" y="2169250"/>
            <a:chExt cx="1580322" cy="1608757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8A7E159B-B9AF-4149-A50F-9D2CE9CF7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C576CB03-2114-7D4E-B4F0-4283DF40847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acts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CEBABC10-0D3B-3E4B-9843-901E63CE1B78}"/>
              </a:ext>
            </a:extLst>
          </p:cNvPr>
          <p:cNvGrpSpPr/>
          <p:nvPr userDrawn="1"/>
        </p:nvGrpSpPr>
        <p:grpSpPr>
          <a:xfrm>
            <a:off x="9976412" y="5084886"/>
            <a:ext cx="1580322" cy="1793423"/>
            <a:chOff x="3896140" y="405538"/>
            <a:chExt cx="1580322" cy="179342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1038D68E-F995-FD46-BFDA-8976A03C1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D1593DD-E3EB-7144-8247-78BA446326BD}"/>
                </a:ext>
              </a:extLst>
            </p:cNvPr>
            <p:cNvSpPr txBox="1"/>
            <p:nvPr/>
          </p:nvSpPr>
          <p:spPr>
            <a:xfrm>
              <a:off x="3896140" y="173729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Water 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8021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50221498-D76C-9D46-8117-7D1CD9CCFD9D}"/>
              </a:ext>
            </a:extLst>
          </p:cNvPr>
          <p:cNvGrpSpPr/>
          <p:nvPr userDrawn="1"/>
        </p:nvGrpSpPr>
        <p:grpSpPr>
          <a:xfrm>
            <a:off x="4380509" y="0"/>
            <a:ext cx="1580322" cy="1530453"/>
            <a:chOff x="3896140" y="405538"/>
            <a:chExt cx="1580322" cy="1530453"/>
          </a:xfrm>
        </p:grpSpPr>
        <p:pic>
          <p:nvPicPr>
            <p:cNvPr id="171" name="Picture 17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B4151B7-F01F-374F-8B4D-364EFD86D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D03FE6D7-884E-4346-A059-29EF66582267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rop Alert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2A0DFDF4-CB46-E44C-8524-19425DC1D40E}"/>
              </a:ext>
            </a:extLst>
          </p:cNvPr>
          <p:cNvGrpSpPr/>
          <p:nvPr userDrawn="1"/>
        </p:nvGrpSpPr>
        <p:grpSpPr>
          <a:xfrm>
            <a:off x="3002939" y="17780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8151A87E-6F08-4549-8747-60C02D058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3814486B-6A38-C94F-9F28-F6AD94B777BD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wnload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6327C041-6C19-0D40-8131-83A9E8761B0D}"/>
              </a:ext>
            </a:extLst>
          </p:cNvPr>
          <p:cNvGrpSpPr/>
          <p:nvPr userDrawn="1"/>
        </p:nvGrpSpPr>
        <p:grpSpPr>
          <a:xfrm>
            <a:off x="5765810" y="4526"/>
            <a:ext cx="1580322" cy="1521875"/>
            <a:chOff x="3896140" y="2169250"/>
            <a:chExt cx="1580322" cy="152187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5B6E4E08-78D2-5047-A763-15DD8BA7F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67DAD732-6E72-6F49-AEEA-EB1DCA3ABA02}"/>
                </a:ext>
              </a:extLst>
            </p:cNvPr>
            <p:cNvSpPr txBox="1"/>
            <p:nvPr/>
          </p:nvSpPr>
          <p:spPr>
            <a:xfrm>
              <a:off x="3896140" y="341412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livery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7BAF2BF-FC4F-7A47-931E-C102C8E4ED68}"/>
              </a:ext>
            </a:extLst>
          </p:cNvPr>
          <p:cNvGrpSpPr/>
          <p:nvPr userDrawn="1"/>
        </p:nvGrpSpPr>
        <p:grpSpPr>
          <a:xfrm>
            <a:off x="1657712" y="17780"/>
            <a:ext cx="1580322" cy="1715119"/>
            <a:chOff x="5750970" y="405538"/>
            <a:chExt cx="1580322" cy="1715119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BEA6BFED-D760-7B4B-BB1C-1C0C638F3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F2AC0507-B105-9346-AF0E-F30AB2E9F994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</a:t>
              </a:r>
              <a:br>
                <a:rPr lang="en-US" sz="1200" dirty="0"/>
              </a:br>
              <a:r>
                <a:rPr lang="en-US" sz="1200" dirty="0"/>
                <a:t>Laundry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21BE7CE9-4172-684F-98D5-AC6A445EBE72}"/>
              </a:ext>
            </a:extLst>
          </p:cNvPr>
          <p:cNvGrpSpPr/>
          <p:nvPr userDrawn="1"/>
        </p:nvGrpSpPr>
        <p:grpSpPr>
          <a:xfrm>
            <a:off x="343232" y="17780"/>
            <a:ext cx="1580322" cy="1530453"/>
            <a:chOff x="9480376" y="405538"/>
            <a:chExt cx="1580322" cy="153045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1BD92CC-9411-5A4D-92A5-09ADB3048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FF1C0D68-D998-F544-9F55-84604A8B60C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D83F1AA7-2B9D-7349-9035-2A35C1360550}"/>
              </a:ext>
            </a:extLst>
          </p:cNvPr>
          <p:cNvGrpSpPr/>
          <p:nvPr userDrawn="1"/>
        </p:nvGrpSpPr>
        <p:grpSpPr>
          <a:xfrm>
            <a:off x="343232" y="1755612"/>
            <a:ext cx="1580322" cy="1530453"/>
            <a:chOff x="367748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2D8BFC2-1175-094B-9C79-38ED104B5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812A1409-5044-5948-BB0A-4B1B269DCA2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ail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79E740CC-3137-2A40-BAD8-D000A1C1C02E}"/>
              </a:ext>
            </a:extLst>
          </p:cNvPr>
          <p:cNvGrpSpPr/>
          <p:nvPr userDrawn="1"/>
        </p:nvGrpSpPr>
        <p:grpSpPr>
          <a:xfrm>
            <a:off x="1657712" y="1746390"/>
            <a:ext cx="1580322" cy="1537449"/>
            <a:chOff x="367748" y="3968750"/>
            <a:chExt cx="1580322" cy="1537449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4924E03-F555-EA49-B9A5-BB5FF5DFD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3FEC2C78-5095-1E45-BFA8-4B8EC71AC8B4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AF990BDE-4D1C-244D-BB84-60F0668432E4}"/>
              </a:ext>
            </a:extLst>
          </p:cNvPr>
          <p:cNvGrpSpPr/>
          <p:nvPr userDrawn="1"/>
        </p:nvGrpSpPr>
        <p:grpSpPr>
          <a:xfrm>
            <a:off x="3026228" y="1755395"/>
            <a:ext cx="1580322" cy="1536771"/>
            <a:chOff x="3896140" y="2169250"/>
            <a:chExt cx="1580322" cy="1536771"/>
          </a:xfrm>
        </p:grpSpPr>
        <p:pic>
          <p:nvPicPr>
            <p:cNvPr id="192" name="Picture 191" descr="A close up of a logo&#10;&#10;Description automatically generated">
              <a:extLst>
                <a:ext uri="{FF2B5EF4-FFF2-40B4-BE49-F238E27FC236}">
                  <a16:creationId xmlns:a16="http://schemas.microsoft.com/office/drawing/2014/main" id="{920A2D21-906C-B04B-93CD-4B613B1E2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81834B9E-B48D-E74C-8D3A-2F00C0BE87EF}"/>
                </a:ext>
              </a:extLst>
            </p:cNvPr>
            <p:cNvSpPr txBox="1"/>
            <p:nvPr/>
          </p:nvSpPr>
          <p:spPr>
            <a:xfrm>
              <a:off x="3896140" y="342902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powerment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07B9FEBE-2129-1F44-B28B-B4B2A4149EFA}"/>
              </a:ext>
            </a:extLst>
          </p:cNvPr>
          <p:cNvGrpSpPr/>
          <p:nvPr userDrawn="1"/>
        </p:nvGrpSpPr>
        <p:grpSpPr>
          <a:xfrm>
            <a:off x="4361877" y="1755395"/>
            <a:ext cx="1580322" cy="1537449"/>
            <a:chOff x="367748" y="3968750"/>
            <a:chExt cx="1580322" cy="1537449"/>
          </a:xfrm>
        </p:grpSpPr>
        <p:pic>
          <p:nvPicPr>
            <p:cNvPr id="195" name="Picture 194" descr="A close up of a logo&#10;&#10;Description automatically generated">
              <a:extLst>
                <a:ext uri="{FF2B5EF4-FFF2-40B4-BE49-F238E27FC236}">
                  <a16:creationId xmlns:a16="http://schemas.microsoft.com/office/drawing/2014/main" id="{B6122C6F-CA89-B542-B16B-F39E290940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EB889A1-4936-B646-B959-B5261EEE7D5F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 Solutions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D656741-A054-4B42-B0DC-9D8462D4B712}"/>
              </a:ext>
            </a:extLst>
          </p:cNvPr>
          <p:cNvGrpSpPr/>
          <p:nvPr userDrawn="1"/>
        </p:nvGrpSpPr>
        <p:grpSpPr>
          <a:xfrm>
            <a:off x="5778373" y="1757471"/>
            <a:ext cx="1580322" cy="1534695"/>
            <a:chOff x="367748" y="2169250"/>
            <a:chExt cx="1580322" cy="1534695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9667614-6800-AA4C-B0ED-C7234C9FB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39DE722-46F4-EB4F-BEC1-C3AB835B01B6}"/>
                </a:ext>
              </a:extLst>
            </p:cNvPr>
            <p:cNvSpPr txBox="1"/>
            <p:nvPr/>
          </p:nvSpPr>
          <p:spPr>
            <a:xfrm>
              <a:off x="367748" y="342694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-Commerce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9C7A2839-6BC5-FF4D-8FD2-2A6F2D07C943}"/>
              </a:ext>
            </a:extLst>
          </p:cNvPr>
          <p:cNvGrpSpPr/>
          <p:nvPr userDrawn="1"/>
        </p:nvGrpSpPr>
        <p:grpSpPr>
          <a:xfrm>
            <a:off x="9951671" y="12953"/>
            <a:ext cx="1580322" cy="1705069"/>
            <a:chOff x="2063552" y="2169250"/>
            <a:chExt cx="1580322" cy="1705069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131737B1-A25C-8C45-B911-402571C5B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8F8B36C-5349-A340-BAD2-D47ADF48D2BC}"/>
                </a:ext>
              </a:extLst>
            </p:cNvPr>
            <p:cNvSpPr txBox="1"/>
            <p:nvPr/>
          </p:nvSpPr>
          <p:spPr>
            <a:xfrm>
              <a:off x="2063552" y="3412654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vironmentally</a:t>
              </a:r>
              <a:br>
                <a:rPr lang="en-US" sz="1200" dirty="0"/>
              </a:br>
              <a:r>
                <a:rPr lang="en-US" sz="1200" dirty="0"/>
                <a:t>Friendly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C46B788A-1DD8-B24A-863E-49E117037287}"/>
              </a:ext>
            </a:extLst>
          </p:cNvPr>
          <p:cNvGrpSpPr/>
          <p:nvPr userDrawn="1"/>
        </p:nvGrpSpPr>
        <p:grpSpPr>
          <a:xfrm>
            <a:off x="8546269" y="12953"/>
            <a:ext cx="1580322" cy="1537586"/>
            <a:chOff x="5750970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176440D8-6923-B244-9019-D0B47FFA1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0FC9591F-D7A3-3446-AC27-887E2468013B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fficiency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6F226A5-4C34-DA48-B111-62BD12AB6AC6}"/>
              </a:ext>
            </a:extLst>
          </p:cNvPr>
          <p:cNvGrpSpPr/>
          <p:nvPr userDrawn="1"/>
        </p:nvGrpSpPr>
        <p:grpSpPr>
          <a:xfrm>
            <a:off x="7143380" y="5144"/>
            <a:ext cx="1580322" cy="1537449"/>
            <a:chOff x="3896140" y="3968750"/>
            <a:chExt cx="1580322" cy="1537449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E03209AE-D236-2A44-80BB-8E73D7E36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5BEEF663-F7FC-654B-B091-81F93758B4C6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asy to Install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830B4AA5-EB34-D54D-9427-80C0D93EC6C0}"/>
              </a:ext>
            </a:extLst>
          </p:cNvPr>
          <p:cNvGrpSpPr/>
          <p:nvPr userDrawn="1"/>
        </p:nvGrpSpPr>
        <p:grpSpPr>
          <a:xfrm>
            <a:off x="9951671" y="1737034"/>
            <a:ext cx="1580322" cy="1537449"/>
            <a:chOff x="5750970" y="3968750"/>
            <a:chExt cx="1580322" cy="1537449"/>
          </a:xfrm>
        </p:grpSpPr>
        <p:pic>
          <p:nvPicPr>
            <p:cNvPr id="210" name="Picture 209" descr="A close up of a logo&#10;&#10;Description automatically generated">
              <a:extLst>
                <a:ext uri="{FF2B5EF4-FFF2-40B4-BE49-F238E27FC236}">
                  <a16:creationId xmlns:a16="http://schemas.microsoft.com/office/drawing/2014/main" id="{5BF55BCB-C1B5-CF41-A2BA-CCF7951A1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0C2898CF-EA1E-3C4B-96DD-AC28D7AE2C95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lexi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6206C2B-32F1-A14F-92C4-3E56CDBC5A4D}"/>
              </a:ext>
            </a:extLst>
          </p:cNvPr>
          <p:cNvGrpSpPr/>
          <p:nvPr userDrawn="1"/>
        </p:nvGrpSpPr>
        <p:grpSpPr>
          <a:xfrm>
            <a:off x="343232" y="3311573"/>
            <a:ext cx="1580322" cy="1530453"/>
            <a:chOff x="9480376" y="405538"/>
            <a:chExt cx="1580322" cy="1530453"/>
          </a:xfrm>
        </p:grpSpPr>
        <p:pic>
          <p:nvPicPr>
            <p:cNvPr id="213" name="Picture 212" descr="A close up of a logo&#10;&#10;Description automatically generated">
              <a:extLst>
                <a:ext uri="{FF2B5EF4-FFF2-40B4-BE49-F238E27FC236}">
                  <a16:creationId xmlns:a16="http://schemas.microsoft.com/office/drawing/2014/main" id="{628B300F-A10E-164D-BCAC-63D99147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7EB8851-1CAF-6D4C-83BE-B5C6CBB5E2F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ll Volume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B649E25E-258F-8840-887B-C1B937A38644}"/>
              </a:ext>
            </a:extLst>
          </p:cNvPr>
          <p:cNvGrpSpPr/>
          <p:nvPr userDrawn="1"/>
        </p:nvGrpSpPr>
        <p:grpSpPr>
          <a:xfrm>
            <a:off x="1657712" y="3316021"/>
            <a:ext cx="1580322" cy="1537449"/>
            <a:chOff x="7667309" y="3968750"/>
            <a:chExt cx="1580322" cy="1537449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C6D27AE4-4053-B446-910A-CD22888D7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39687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65616293-1E72-D444-BDF1-821275DEE285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utur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0A61EC18-1016-5148-BE26-965D6AC37F63}"/>
              </a:ext>
            </a:extLst>
          </p:cNvPr>
          <p:cNvGrpSpPr/>
          <p:nvPr userDrawn="1"/>
        </p:nvGrpSpPr>
        <p:grpSpPr>
          <a:xfrm>
            <a:off x="3094381" y="3300493"/>
            <a:ext cx="1440000" cy="1720296"/>
            <a:chOff x="4433924" y="448331"/>
            <a:chExt cx="1440000" cy="1720296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DEF2D25F-F0BB-0F42-AEF8-E84570108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433924" y="448331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CF5EAB-07DF-884D-B55B-4B57C3C05E79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 </a:t>
              </a:r>
              <a:br>
                <a:rPr lang="en-US" sz="1200" dirty="0"/>
              </a:br>
              <a:r>
                <a:rPr lang="en-US" sz="1200" dirty="0"/>
                <a:t>Perform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458D89A9-681A-F34A-A299-1532CC14C896}"/>
              </a:ext>
            </a:extLst>
          </p:cNvPr>
          <p:cNvGrpSpPr/>
          <p:nvPr userDrawn="1"/>
        </p:nvGrpSpPr>
        <p:grpSpPr>
          <a:xfrm>
            <a:off x="4455882" y="3300491"/>
            <a:ext cx="1440000" cy="1554196"/>
            <a:chOff x="5837032" y="429765"/>
            <a:chExt cx="1440000" cy="1554196"/>
          </a:xfrm>
        </p:grpSpPr>
        <p:pic>
          <p:nvPicPr>
            <p:cNvPr id="222" name="Picture 221" descr="A close up of a logo&#10;&#10;Description automatically generated">
              <a:extLst>
                <a:ext uri="{FF2B5EF4-FFF2-40B4-BE49-F238E27FC236}">
                  <a16:creationId xmlns:a16="http://schemas.microsoft.com/office/drawing/2014/main" id="{916335E0-EA23-1144-9FE8-32AB12966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A5F7A08E-84F4-3243-A2D4-EFF9E66F59C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safe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5D3D33E9-A3BD-4A4E-B4FD-73D621549651}"/>
              </a:ext>
            </a:extLst>
          </p:cNvPr>
          <p:cNvGrpSpPr/>
          <p:nvPr userDrawn="1"/>
        </p:nvGrpSpPr>
        <p:grpSpPr>
          <a:xfrm>
            <a:off x="9951671" y="3300491"/>
            <a:ext cx="1580322" cy="1537586"/>
            <a:chOff x="2063552" y="3968613"/>
            <a:chExt cx="1580322" cy="1537586"/>
          </a:xfrm>
        </p:grpSpPr>
        <p:pic>
          <p:nvPicPr>
            <p:cNvPr id="225" name="Picture 224" descr="A close up of a logo&#10;&#10;Description automatically generated">
              <a:extLst>
                <a:ext uri="{FF2B5EF4-FFF2-40B4-BE49-F238E27FC236}">
                  <a16:creationId xmlns:a16="http://schemas.microsoft.com/office/drawing/2014/main" id="{114BC0DF-DC48-014D-9BC3-25BB74871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0B99956C-D3BA-404C-9CD6-DAA3CA16EEE7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 Leaks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B36408F-664E-5648-92B3-179713A1FD42}"/>
              </a:ext>
            </a:extLst>
          </p:cNvPr>
          <p:cNvGrpSpPr/>
          <p:nvPr userDrawn="1"/>
        </p:nvGrpSpPr>
        <p:grpSpPr>
          <a:xfrm>
            <a:off x="343232" y="4961419"/>
            <a:ext cx="1580322" cy="1524154"/>
            <a:chOff x="2063552" y="2169250"/>
            <a:chExt cx="1580322" cy="1524154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BB727CEE-5917-4A45-971A-11DEC8154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1146F023-6429-7745-A118-B157919F0521}"/>
                </a:ext>
              </a:extLst>
            </p:cNvPr>
            <p:cNvSpPr txBox="1"/>
            <p:nvPr/>
          </p:nvSpPr>
          <p:spPr>
            <a:xfrm>
              <a:off x="2063552" y="34164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ursing Hom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A815FBA7-AA68-6B46-B8CC-9DEBE411081F}"/>
              </a:ext>
            </a:extLst>
          </p:cNvPr>
          <p:cNvGrpSpPr/>
          <p:nvPr userDrawn="1"/>
        </p:nvGrpSpPr>
        <p:grpSpPr>
          <a:xfrm>
            <a:off x="8540353" y="3286257"/>
            <a:ext cx="1580322" cy="1552865"/>
            <a:chOff x="5750970" y="2148717"/>
            <a:chExt cx="1580322" cy="1552865"/>
          </a:xfrm>
        </p:grpSpPr>
        <p:pic>
          <p:nvPicPr>
            <p:cNvPr id="231" name="Picture 230" descr="A close up of a sign&#10;&#10;Description automatically generated">
              <a:extLst>
                <a:ext uri="{FF2B5EF4-FFF2-40B4-BE49-F238E27FC236}">
                  <a16:creationId xmlns:a16="http://schemas.microsoft.com/office/drawing/2014/main" id="{79000ED5-2632-6644-AFCE-3B042D75B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821131" y="2148717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E2AAB9CC-EF37-4B4E-9FD4-5E54F541EF64}"/>
                </a:ext>
              </a:extLst>
            </p:cNvPr>
            <p:cNvSpPr txBox="1"/>
            <p:nvPr/>
          </p:nvSpPr>
          <p:spPr>
            <a:xfrm>
              <a:off x="5750970" y="342458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odular System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95496837-8DB8-F34A-9A21-0C5DECD346B2}"/>
              </a:ext>
            </a:extLst>
          </p:cNvPr>
          <p:cNvGrpSpPr/>
          <p:nvPr userDrawn="1"/>
        </p:nvGrpSpPr>
        <p:grpSpPr>
          <a:xfrm>
            <a:off x="1657712" y="4955120"/>
            <a:ext cx="1580322" cy="1537586"/>
            <a:chOff x="2063552" y="3968613"/>
            <a:chExt cx="1580322" cy="1537586"/>
          </a:xfrm>
        </p:grpSpPr>
        <p:pic>
          <p:nvPicPr>
            <p:cNvPr id="234" name="Picture 23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038BA89-A93D-2D45-AC2F-F062A0380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72C0688E-FFAE-5445-B3CA-C9DC4A423080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ise Free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6C482F69-F0EE-9B4B-A3AA-8ED0E10855C9}"/>
              </a:ext>
            </a:extLst>
          </p:cNvPr>
          <p:cNvGrpSpPr/>
          <p:nvPr userDrawn="1"/>
        </p:nvGrpSpPr>
        <p:grpSpPr>
          <a:xfrm>
            <a:off x="7147415" y="3307624"/>
            <a:ext cx="1580322" cy="1530453"/>
            <a:chOff x="5750970" y="405538"/>
            <a:chExt cx="1580322" cy="1530453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05961423-9164-E44F-89AA-4703489EB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057027C5-2881-6D41-B37A-6EB5F95F9D6B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ulti-Company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1EDC3AD-C4DF-7C4D-8D19-AD54564BF376}"/>
              </a:ext>
            </a:extLst>
          </p:cNvPr>
          <p:cNvGrpSpPr/>
          <p:nvPr userDrawn="1"/>
        </p:nvGrpSpPr>
        <p:grpSpPr>
          <a:xfrm>
            <a:off x="5752381" y="3322404"/>
            <a:ext cx="1580322" cy="1719741"/>
            <a:chOff x="2980152" y="3322404"/>
            <a:chExt cx="1580322" cy="1719741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53CAC480-8A14-E942-AF0D-3479B89C3169}"/>
                </a:ext>
              </a:extLst>
            </p:cNvPr>
            <p:cNvSpPr txBox="1"/>
            <p:nvPr/>
          </p:nvSpPr>
          <p:spPr>
            <a:xfrm>
              <a:off x="2980152" y="458048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Low Thermal Conductivity</a:t>
              </a:r>
            </a:p>
          </p:txBody>
        </p:sp>
        <p:pic>
          <p:nvPicPr>
            <p:cNvPr id="241" name="Picture 240" descr="A close up of a logo&#10;&#10;Description automatically generated">
              <a:extLst>
                <a:ext uri="{FF2B5EF4-FFF2-40B4-BE49-F238E27FC236}">
                  <a16:creationId xmlns:a16="http://schemas.microsoft.com/office/drawing/2014/main" id="{BDCA369E-9F57-9843-A26C-551A65D49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3066" y="3322404"/>
              <a:ext cx="1440000" cy="1440000"/>
            </a:xfrm>
            <a:prstGeom prst="rect">
              <a:avLst/>
            </a:prstGeom>
          </p:spPr>
        </p:pic>
      </p:grpSp>
      <p:pic>
        <p:nvPicPr>
          <p:cNvPr id="242" name="Picture 241" descr="A close up of a logo&#10;&#10;Description automatically generated">
            <a:extLst>
              <a:ext uri="{FF2B5EF4-FFF2-40B4-BE49-F238E27FC236}">
                <a16:creationId xmlns:a16="http://schemas.microsoft.com/office/drawing/2014/main" id="{4C306442-58F5-5A47-AFC2-5A4559620D11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7224823" y="1761923"/>
            <a:ext cx="1440000" cy="1440000"/>
          </a:xfrm>
          <a:prstGeom prst="rect">
            <a:avLst/>
          </a:prstGeom>
        </p:spPr>
      </p:pic>
      <p:pic>
        <p:nvPicPr>
          <p:cNvPr id="243" name="Picture 242" descr="A close up of a logo&#10;&#10;Description automatically generated">
            <a:extLst>
              <a:ext uri="{FF2B5EF4-FFF2-40B4-BE49-F238E27FC236}">
                <a16:creationId xmlns:a16="http://schemas.microsoft.com/office/drawing/2014/main" id="{37C829E3-2E24-A14D-ABCA-3B0A5AA92299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8612763" y="1767617"/>
            <a:ext cx="1440000" cy="1440000"/>
          </a:xfrm>
          <a:prstGeom prst="rect">
            <a:avLst/>
          </a:prstGeom>
        </p:spPr>
      </p:pic>
      <p:sp>
        <p:nvSpPr>
          <p:cNvPr id="244" name="TextBox 243">
            <a:extLst>
              <a:ext uri="{FF2B5EF4-FFF2-40B4-BE49-F238E27FC236}">
                <a16:creationId xmlns:a16="http://schemas.microsoft.com/office/drawing/2014/main" id="{4CFF9556-6CB0-E748-8A9C-BCB871C1A852}"/>
              </a:ext>
            </a:extLst>
          </p:cNvPr>
          <p:cNvSpPr txBox="1"/>
          <p:nvPr userDrawn="1"/>
        </p:nvSpPr>
        <p:spPr>
          <a:xfrm>
            <a:off x="715466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07805582-7E54-DD4A-9271-9561F3DA171B}"/>
              </a:ext>
            </a:extLst>
          </p:cNvPr>
          <p:cNvSpPr txBox="1"/>
          <p:nvPr userDrawn="1"/>
        </p:nvSpPr>
        <p:spPr>
          <a:xfrm>
            <a:off x="854260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</p:spTree>
    <p:extLst>
      <p:ext uri="{BB962C8B-B14F-4D97-AF65-F5344CB8AC3E}">
        <p14:creationId xmlns:p14="http://schemas.microsoft.com/office/powerpoint/2010/main" val="3304982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D5FF9B05-B734-3C45-83E4-FDCEFC88B1C7}"/>
              </a:ext>
            </a:extLst>
          </p:cNvPr>
          <p:cNvGrpSpPr/>
          <p:nvPr userDrawn="1"/>
        </p:nvGrpSpPr>
        <p:grpSpPr>
          <a:xfrm>
            <a:off x="2992453" y="1617206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C4E3C020-A2BA-FB48-BB4C-F1C06698B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AAFEBB2E-BF9F-EA4E-9E9F-8FC47713F20C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cesses &amp; Data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B251DC2-41E1-3B4F-BC53-EF5605D64E9E}"/>
              </a:ext>
            </a:extLst>
          </p:cNvPr>
          <p:cNvGrpSpPr/>
          <p:nvPr userDrawn="1"/>
        </p:nvGrpSpPr>
        <p:grpSpPr>
          <a:xfrm>
            <a:off x="1621801" y="1622141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79B6A91C-1C58-324E-A8D3-8C58CF090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DC0F5970-5AE7-1A4B-BCBA-2320E932293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ject Tracking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320A5C4F-2848-8F4C-94DB-9D8E9FFE1133}"/>
              </a:ext>
            </a:extLst>
          </p:cNvPr>
          <p:cNvGrpSpPr/>
          <p:nvPr userDrawn="1"/>
        </p:nvGrpSpPr>
        <p:grpSpPr>
          <a:xfrm>
            <a:off x="4406194" y="1610210"/>
            <a:ext cx="1580322" cy="1722115"/>
            <a:chOff x="5750970" y="3968750"/>
            <a:chExt cx="1580322" cy="172211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1189C764-F6DB-FE45-9AB2-63E7DBC1C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74960FCF-5DDF-7B4D-BE10-E4DC4F857604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umping </a:t>
              </a:r>
              <a:br>
                <a:rPr lang="en-US" sz="1200" dirty="0"/>
              </a:br>
              <a:r>
                <a:rPr lang="en-US" sz="1200" dirty="0"/>
                <a:t>Stations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187FBFA-B3A4-254E-A187-F4E2EFCA49D6}"/>
              </a:ext>
            </a:extLst>
          </p:cNvPr>
          <p:cNvGrpSpPr/>
          <p:nvPr userDrawn="1"/>
        </p:nvGrpSpPr>
        <p:grpSpPr>
          <a:xfrm>
            <a:off x="5748340" y="1619297"/>
            <a:ext cx="1580322" cy="1530453"/>
            <a:chOff x="3896140" y="405538"/>
            <a:chExt cx="1580322" cy="1530453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0FD9866B-EC00-C043-8824-E82A94C72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9027EFED-85E1-D549-BAB5-9A2B9FE20D31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 Control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E19EF0FC-78B3-1B4E-B9B3-FA249C9CC8A8}"/>
              </a:ext>
            </a:extLst>
          </p:cNvPr>
          <p:cNvGrpSpPr/>
          <p:nvPr userDrawn="1"/>
        </p:nvGrpSpPr>
        <p:grpSpPr>
          <a:xfrm>
            <a:off x="7158370" y="1607240"/>
            <a:ext cx="1580322" cy="1532435"/>
            <a:chOff x="7667309" y="2169250"/>
            <a:chExt cx="1580322" cy="1532435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0364D460-89CF-2047-A881-C6B0203A3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3A7B073D-7A15-BF4A-936D-0AA7A7118E5A}"/>
                </a:ext>
              </a:extLst>
            </p:cNvPr>
            <p:cNvSpPr txBox="1"/>
            <p:nvPr/>
          </p:nvSpPr>
          <p:spPr>
            <a:xfrm>
              <a:off x="7667309" y="342468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1DE3D6AA-67AD-164A-803F-586500EDB5A2}"/>
              </a:ext>
            </a:extLst>
          </p:cNvPr>
          <p:cNvGrpSpPr/>
          <p:nvPr userDrawn="1"/>
        </p:nvGrpSpPr>
        <p:grpSpPr>
          <a:xfrm>
            <a:off x="365149" y="1625181"/>
            <a:ext cx="1580322" cy="1530453"/>
            <a:chOff x="9480376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8727F5C-3D5B-124D-8161-B468684C9B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26C3FF5-ABAD-4949-BA71-EB4D618BE55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ortable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760EC1A-EBE2-6F4D-B23F-9258112B15BA}"/>
              </a:ext>
            </a:extLst>
          </p:cNvPr>
          <p:cNvGrpSpPr/>
          <p:nvPr userDrawn="1"/>
        </p:nvGrpSpPr>
        <p:grpSpPr>
          <a:xfrm>
            <a:off x="8531671" y="1607240"/>
            <a:ext cx="1580322" cy="1519720"/>
            <a:chOff x="7667309" y="2169250"/>
            <a:chExt cx="1580322" cy="1519720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4686F63-1BCA-FC4E-9E27-3CB984408C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5462DC1F-8C40-DB48-991F-49E5A02E8052}"/>
                </a:ext>
              </a:extLst>
            </p:cNvPr>
            <p:cNvSpPr txBox="1"/>
            <p:nvPr/>
          </p:nvSpPr>
          <p:spPr>
            <a:xfrm>
              <a:off x="7667309" y="341197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cycling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2FE3-1BA6-1340-8FA3-F3FF7C50AE60}"/>
              </a:ext>
            </a:extLst>
          </p:cNvPr>
          <p:cNvGrpSpPr/>
          <p:nvPr userDrawn="1"/>
        </p:nvGrpSpPr>
        <p:grpSpPr>
          <a:xfrm>
            <a:off x="9943929" y="1613389"/>
            <a:ext cx="1580322" cy="1534270"/>
            <a:chOff x="3896140" y="2169250"/>
            <a:chExt cx="1580322" cy="1534270"/>
          </a:xfrm>
        </p:grpSpPr>
        <p:pic>
          <p:nvPicPr>
            <p:cNvPr id="192" name="Picture 19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FCBBFB0-F7D6-304F-AE1A-F29DE2973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CF9AA23D-4538-4344-9C30-AB3CE2029482}"/>
                </a:ext>
              </a:extLst>
            </p:cNvPr>
            <p:cNvSpPr txBox="1"/>
            <p:nvPr/>
          </p:nvSpPr>
          <p:spPr>
            <a:xfrm>
              <a:off x="3896140" y="342652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ainwater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626DB841-8413-B249-A985-397E6F8C5918}"/>
              </a:ext>
            </a:extLst>
          </p:cNvPr>
          <p:cNvGrpSpPr/>
          <p:nvPr userDrawn="1"/>
        </p:nvGrpSpPr>
        <p:grpSpPr>
          <a:xfrm>
            <a:off x="364907" y="3334873"/>
            <a:ext cx="1580322" cy="1702577"/>
            <a:chOff x="9480376" y="2169250"/>
            <a:chExt cx="1580322" cy="1702577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B90CF042-2A6F-0A42-BD3F-CEAE17D81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27D6A808-E45D-154E-8799-26F7374C48C8}"/>
                </a:ext>
              </a:extLst>
            </p:cNvPr>
            <p:cNvSpPr txBox="1"/>
            <p:nvPr/>
          </p:nvSpPr>
          <p:spPr>
            <a:xfrm>
              <a:off x="9480376" y="34101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gulations Compliant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0723FB96-6C9E-AD4E-9E0B-0C9080331A47}"/>
              </a:ext>
            </a:extLst>
          </p:cNvPr>
          <p:cNvGrpSpPr/>
          <p:nvPr userDrawn="1"/>
        </p:nvGrpSpPr>
        <p:grpSpPr>
          <a:xfrm>
            <a:off x="1694588" y="3335589"/>
            <a:ext cx="1580322" cy="1537586"/>
            <a:chOff x="7667309" y="3968613"/>
            <a:chExt cx="1580322" cy="1537586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B2590BB-C06E-0247-B2BF-98D76BA90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1D1B94C6-3AA0-414C-BE2C-D42D7D0E737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aves Money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822D493-F8E1-F347-8D07-88EA0FA4A027}"/>
              </a:ext>
            </a:extLst>
          </p:cNvPr>
          <p:cNvGrpSpPr/>
          <p:nvPr userDrawn="1"/>
        </p:nvGrpSpPr>
        <p:grpSpPr>
          <a:xfrm>
            <a:off x="9940811" y="3331694"/>
            <a:ext cx="1580322" cy="1537449"/>
            <a:chOff x="9480376" y="3968750"/>
            <a:chExt cx="1580322" cy="1537449"/>
          </a:xfrm>
        </p:grpSpPr>
        <p:pic>
          <p:nvPicPr>
            <p:cNvPr id="201" name="Picture 200" descr="A close up of a sign&#10;&#10;Description automatically generated">
              <a:extLst>
                <a:ext uri="{FF2B5EF4-FFF2-40B4-BE49-F238E27FC236}">
                  <a16:creationId xmlns:a16="http://schemas.microsoft.com/office/drawing/2014/main" id="{D8D500D4-2091-D141-82C4-58D2928E9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E61E58B-2A00-5A4D-821E-7A7F9A895651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utions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43B416DE-BA12-4B44-8994-2A96850E7344}"/>
              </a:ext>
            </a:extLst>
          </p:cNvPr>
          <p:cNvGrpSpPr/>
          <p:nvPr userDrawn="1"/>
        </p:nvGrpSpPr>
        <p:grpSpPr>
          <a:xfrm>
            <a:off x="348263" y="5007655"/>
            <a:ext cx="1580322" cy="1537586"/>
            <a:chOff x="2063552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DDCA9CEF-8587-B841-896C-91455A6CE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2774260C-04D7-EF4E-BCE3-C29A5358D0B2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mall Footprint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B9B2FDF0-C1D7-6442-B9CC-BF01348A9D2A}"/>
              </a:ext>
            </a:extLst>
          </p:cNvPr>
          <p:cNvGrpSpPr/>
          <p:nvPr userDrawn="1"/>
        </p:nvGrpSpPr>
        <p:grpSpPr>
          <a:xfrm>
            <a:off x="8538251" y="3338690"/>
            <a:ext cx="1580322" cy="1530453"/>
            <a:chOff x="3896140" y="405538"/>
            <a:chExt cx="1580322" cy="1530453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C028BE95-2B6D-714B-8F76-039F58A76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AA82EC1F-5879-054A-9B10-84D405848878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hallow Dig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17D212F4-38F1-904F-9465-CFE2BA9A864E}"/>
              </a:ext>
            </a:extLst>
          </p:cNvPr>
          <p:cNvGrpSpPr/>
          <p:nvPr userDrawn="1"/>
        </p:nvGrpSpPr>
        <p:grpSpPr>
          <a:xfrm>
            <a:off x="4381418" y="3331694"/>
            <a:ext cx="1580322" cy="1537449"/>
            <a:chOff x="2063552" y="3968750"/>
            <a:chExt cx="1580322" cy="1537449"/>
          </a:xfrm>
        </p:grpSpPr>
        <p:pic>
          <p:nvPicPr>
            <p:cNvPr id="210" name="Picture 20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5C86CA9-BD63-F041-90F5-2B9F44622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133713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40DE84B5-0AD6-3C4E-9262-045C36511B3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9B01FA4-39B4-F14E-B2AF-41D44DD00344}"/>
              </a:ext>
            </a:extLst>
          </p:cNvPr>
          <p:cNvGrpSpPr/>
          <p:nvPr userDrawn="1"/>
        </p:nvGrpSpPr>
        <p:grpSpPr>
          <a:xfrm>
            <a:off x="5780961" y="3331694"/>
            <a:ext cx="1580322" cy="1530453"/>
            <a:chOff x="2063552" y="405538"/>
            <a:chExt cx="1580322" cy="1530453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05123355-5585-C44D-8DD2-355D8A788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F5C72FF9-43EC-C645-9BCB-796FCA96B54B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0CDC5290-D307-224D-B1BD-859A0685A92B}"/>
              </a:ext>
            </a:extLst>
          </p:cNvPr>
          <p:cNvGrpSpPr/>
          <p:nvPr userDrawn="1"/>
        </p:nvGrpSpPr>
        <p:grpSpPr>
          <a:xfrm>
            <a:off x="7139575" y="3331694"/>
            <a:ext cx="1580322" cy="1533162"/>
            <a:chOff x="7667309" y="2169250"/>
            <a:chExt cx="1580322" cy="1533162"/>
          </a:xfrm>
        </p:grpSpPr>
        <p:pic>
          <p:nvPicPr>
            <p:cNvPr id="216" name="Picture 21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8007F9AE-54C8-6046-8B24-86DB14EED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A8C2A97D-4925-6F4D-B883-11C673198F20}"/>
                </a:ext>
              </a:extLst>
            </p:cNvPr>
            <p:cNvSpPr txBox="1"/>
            <p:nvPr/>
          </p:nvSpPr>
          <p:spPr>
            <a:xfrm>
              <a:off x="7667309" y="342541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cure Login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38E2671E-0AC0-F64A-916E-7168528EB017}"/>
              </a:ext>
            </a:extLst>
          </p:cNvPr>
          <p:cNvGrpSpPr/>
          <p:nvPr userDrawn="1"/>
        </p:nvGrpSpPr>
        <p:grpSpPr>
          <a:xfrm>
            <a:off x="3011106" y="3338345"/>
            <a:ext cx="1580322" cy="1722115"/>
            <a:chOff x="367748" y="3968750"/>
            <a:chExt cx="1580322" cy="1722115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2DAC62A9-89E8-9D42-8FEA-1A0D5E2C4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52932A-4C25-FF40-A317-8F0F82775CE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rvice &amp; Mainten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283C09C6-E58E-1B4B-AE0E-250F7BA6013E}"/>
              </a:ext>
            </a:extLst>
          </p:cNvPr>
          <p:cNvGrpSpPr/>
          <p:nvPr userDrawn="1"/>
        </p:nvGrpSpPr>
        <p:grpSpPr>
          <a:xfrm>
            <a:off x="1636940" y="5011222"/>
            <a:ext cx="1580322" cy="1530453"/>
            <a:chOff x="5750970" y="405538"/>
            <a:chExt cx="1580322" cy="1530453"/>
          </a:xfrm>
        </p:grpSpPr>
        <p:pic>
          <p:nvPicPr>
            <p:cNvPr id="222" name="Picture 221" descr="A picture containing clock, drawing&#10;&#10;Description automatically generated">
              <a:extLst>
                <a:ext uri="{FF2B5EF4-FFF2-40B4-BE49-F238E27FC236}">
                  <a16:creationId xmlns:a16="http://schemas.microsoft.com/office/drawing/2014/main" id="{092E7878-B49C-E442-AC66-75B1B2A83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C2B30F84-6783-254E-BA7B-4F65CC1A13EE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cial Offer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AA8DBC51-2D8C-F041-98FE-A6C3C2CAD5A2}"/>
              </a:ext>
            </a:extLst>
          </p:cNvPr>
          <p:cNvGrpSpPr/>
          <p:nvPr userDrawn="1"/>
        </p:nvGrpSpPr>
        <p:grpSpPr>
          <a:xfrm>
            <a:off x="5768685" y="5007655"/>
            <a:ext cx="1580322" cy="1537586"/>
            <a:chOff x="9480376" y="3968613"/>
            <a:chExt cx="1580322" cy="1537586"/>
          </a:xfrm>
        </p:grpSpPr>
        <p:pic>
          <p:nvPicPr>
            <p:cNvPr id="225" name="Picture 224" descr="A close up of a sign&#10;&#10;Description automatically generated">
              <a:extLst>
                <a:ext uri="{FF2B5EF4-FFF2-40B4-BE49-F238E27FC236}">
                  <a16:creationId xmlns:a16="http://schemas.microsoft.com/office/drawing/2014/main" id="{ED0835FD-FFC1-764A-9945-99103A8F9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550537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C7DBCD7C-2EA8-DF4B-9FF4-034C4D4CE8BD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te Visit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F8677F9F-1009-1C47-BFDC-4A288375C333}"/>
              </a:ext>
            </a:extLst>
          </p:cNvPr>
          <p:cNvGrpSpPr/>
          <p:nvPr userDrawn="1"/>
        </p:nvGrpSpPr>
        <p:grpSpPr>
          <a:xfrm>
            <a:off x="8543219" y="5011222"/>
            <a:ext cx="1580322" cy="1530453"/>
            <a:chOff x="9480376" y="405538"/>
            <a:chExt cx="1580322" cy="1530453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6BC42775-981F-E244-A04C-7F84D3509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C70A05B1-78E9-6E4A-BDFC-728EF7BDE40F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trength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E5501891-2A00-2748-9864-8C1FDE7676CE}"/>
              </a:ext>
            </a:extLst>
          </p:cNvPr>
          <p:cNvGrpSpPr/>
          <p:nvPr userDrawn="1"/>
        </p:nvGrpSpPr>
        <p:grpSpPr>
          <a:xfrm>
            <a:off x="4367367" y="5008814"/>
            <a:ext cx="1580322" cy="1535268"/>
            <a:chOff x="3896140" y="2169250"/>
            <a:chExt cx="1580322" cy="1535268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B9A467E9-44FF-8B47-BFEF-C83E4B84E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7F018EDF-9D26-DB4E-92AE-DB0377544BF3}"/>
                </a:ext>
              </a:extLst>
            </p:cNvPr>
            <p:cNvSpPr txBox="1"/>
            <p:nvPr/>
          </p:nvSpPr>
          <p:spPr>
            <a:xfrm>
              <a:off x="3896140" y="342751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ar Powered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8AC17010-A3BD-784A-AAFE-2DB0F00957E5}"/>
              </a:ext>
            </a:extLst>
          </p:cNvPr>
          <p:cNvGrpSpPr/>
          <p:nvPr userDrawn="1"/>
        </p:nvGrpSpPr>
        <p:grpSpPr>
          <a:xfrm>
            <a:off x="7125524" y="5028537"/>
            <a:ext cx="1580322" cy="1704771"/>
            <a:chOff x="7667309" y="2169250"/>
            <a:chExt cx="1580322" cy="170477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5B873053-38F6-474E-930F-327E70A53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FF696787-2BE6-974F-836C-75EE5D892D89}"/>
                </a:ext>
              </a:extLst>
            </p:cNvPr>
            <p:cNvSpPr txBox="1"/>
            <p:nvPr/>
          </p:nvSpPr>
          <p:spPr>
            <a:xfrm>
              <a:off x="7667309" y="341235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ngle Piece System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1DCDABB0-46F8-0C4E-9E5B-987D611089FD}"/>
              </a:ext>
            </a:extLst>
          </p:cNvPr>
          <p:cNvGrpSpPr/>
          <p:nvPr userDrawn="1"/>
        </p:nvGrpSpPr>
        <p:grpSpPr>
          <a:xfrm>
            <a:off x="3081267" y="5002145"/>
            <a:ext cx="1440000" cy="1548606"/>
            <a:chOff x="447469" y="435355"/>
            <a:chExt cx="1440000" cy="1548606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120CE43A-E423-CD4D-A369-014543A1F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47469" y="435355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31917F9E-AF1F-6143-B212-E2D90BC72999}"/>
                </a:ext>
              </a:extLst>
            </p:cNvPr>
            <p:cNvSpPr txBox="1"/>
            <p:nvPr/>
          </p:nvSpPr>
          <p:spPr>
            <a:xfrm>
              <a:off x="623888" y="1706962"/>
              <a:ext cx="10933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ed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E428DF4-B435-C54D-A86C-981018C62D88}"/>
              </a:ext>
            </a:extLst>
          </p:cNvPr>
          <p:cNvGrpSpPr/>
          <p:nvPr userDrawn="1"/>
        </p:nvGrpSpPr>
        <p:grpSpPr>
          <a:xfrm>
            <a:off x="9935378" y="4912057"/>
            <a:ext cx="1580322" cy="1728783"/>
            <a:chOff x="2980152" y="439844"/>
            <a:chExt cx="1580322" cy="1728783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DBBD4DFA-1A7C-C04D-8851-983348BB9835}"/>
                </a:ext>
              </a:extLst>
            </p:cNvPr>
            <p:cNvSpPr txBox="1"/>
            <p:nvPr/>
          </p:nvSpPr>
          <p:spPr>
            <a:xfrm>
              <a:off x="2980152" y="17069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241" name="Picture 24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36CB3935-6F60-AA44-B73D-49F280D85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1607" y="439844"/>
              <a:ext cx="1440001" cy="1440001"/>
            </a:xfrm>
            <a:prstGeom prst="rect">
              <a:avLst/>
            </a:prstGeom>
          </p:spPr>
        </p:pic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4E0594-3FC5-284C-8CA8-142703B2E5C8}"/>
              </a:ext>
            </a:extLst>
          </p:cNvPr>
          <p:cNvGrpSpPr/>
          <p:nvPr userDrawn="1"/>
        </p:nvGrpSpPr>
        <p:grpSpPr>
          <a:xfrm>
            <a:off x="2988608" y="32068"/>
            <a:ext cx="1580322" cy="1530453"/>
            <a:chOff x="9480376" y="405538"/>
            <a:chExt cx="1580322" cy="1530453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71AE286F-954F-4A43-AE0F-7D522CDF4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07592D84-2A7D-5A41-B872-17BC093CFDFB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ur Values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9D662942-B567-8D4C-982A-9B579FA1D5C2}"/>
              </a:ext>
            </a:extLst>
          </p:cNvPr>
          <p:cNvGrpSpPr/>
          <p:nvPr userDrawn="1"/>
        </p:nvGrpSpPr>
        <p:grpSpPr>
          <a:xfrm>
            <a:off x="367748" y="32068"/>
            <a:ext cx="1580322" cy="1530453"/>
            <a:chOff x="7667309" y="405538"/>
            <a:chExt cx="1580322" cy="1530453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28C6A8B0-0869-5D4B-88AB-B1C66AD22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396C7199-7469-024C-8A76-CDCB271DBA0D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Odour</a:t>
              </a:r>
              <a:r>
                <a:rPr lang="en-US" sz="1200" dirty="0"/>
                <a:t> Free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0E488593-FAD3-8F44-8F34-07D25BED6DBB}"/>
              </a:ext>
            </a:extLst>
          </p:cNvPr>
          <p:cNvGrpSpPr/>
          <p:nvPr userDrawn="1"/>
        </p:nvGrpSpPr>
        <p:grpSpPr>
          <a:xfrm>
            <a:off x="1622444" y="33832"/>
            <a:ext cx="1580322" cy="1531754"/>
            <a:chOff x="7667309" y="2169250"/>
            <a:chExt cx="1580322" cy="1531754"/>
          </a:xfrm>
        </p:grpSpPr>
        <p:pic>
          <p:nvPicPr>
            <p:cNvPr id="249" name="Picture 248" descr="A close up of a logo&#10;&#10;Description automatically generated">
              <a:extLst>
                <a:ext uri="{FF2B5EF4-FFF2-40B4-BE49-F238E27FC236}">
                  <a16:creationId xmlns:a16="http://schemas.microsoft.com/office/drawing/2014/main" id="{4C160267-0103-8843-AECF-D6336149C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CA58BF1D-0A20-2A4F-8307-1F2613CB743B}"/>
                </a:ext>
              </a:extLst>
            </p:cNvPr>
            <p:cNvSpPr txBox="1"/>
            <p:nvPr/>
          </p:nvSpPr>
          <p:spPr>
            <a:xfrm>
              <a:off x="7667309" y="34240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ffic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C2A1B2BB-A4DA-6048-81B4-ADF88CCE01F5}"/>
              </a:ext>
            </a:extLst>
          </p:cNvPr>
          <p:cNvGrpSpPr/>
          <p:nvPr userDrawn="1"/>
        </p:nvGrpSpPr>
        <p:grpSpPr>
          <a:xfrm>
            <a:off x="8533073" y="32068"/>
            <a:ext cx="1580322" cy="1530453"/>
            <a:chOff x="2063552" y="405538"/>
            <a:chExt cx="1580322" cy="1530453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F3C3B792-8EB9-0141-9595-2247AE002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0681653-5B27-2743-9DCD-810057A26B41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hon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E226A9B4-8892-DE46-86E7-4A69C0FE21EF}"/>
              </a:ext>
            </a:extLst>
          </p:cNvPr>
          <p:cNvGrpSpPr/>
          <p:nvPr userDrawn="1"/>
        </p:nvGrpSpPr>
        <p:grpSpPr>
          <a:xfrm>
            <a:off x="9976412" y="33982"/>
            <a:ext cx="1580322" cy="1522052"/>
            <a:chOff x="9480376" y="2169250"/>
            <a:chExt cx="1580322" cy="1522052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B207A063-F812-314B-9FDF-09F49A4E3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9A94FDB4-6307-E441-8D4A-86777CB963BF}"/>
                </a:ext>
              </a:extLst>
            </p:cNvPr>
            <p:cNvSpPr txBox="1"/>
            <p:nvPr/>
          </p:nvSpPr>
          <p:spPr>
            <a:xfrm>
              <a:off x="9480376" y="341430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lastic Bottle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C63AFDD5-CE96-3D48-A605-D5B370572B40}"/>
              </a:ext>
            </a:extLst>
          </p:cNvPr>
          <p:cNvGrpSpPr/>
          <p:nvPr userDrawn="1"/>
        </p:nvGrpSpPr>
        <p:grpSpPr>
          <a:xfrm>
            <a:off x="4368417" y="32068"/>
            <a:ext cx="1580322" cy="1522478"/>
            <a:chOff x="2063552" y="2169250"/>
            <a:chExt cx="1580322" cy="1522478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8A5A345F-615C-7F48-BFF3-A4B0C04977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A0E364DB-97AF-BB45-AA03-22E802AC1877}"/>
                </a:ext>
              </a:extLst>
            </p:cNvPr>
            <p:cNvSpPr txBox="1"/>
            <p:nvPr/>
          </p:nvSpPr>
          <p:spPr>
            <a:xfrm>
              <a:off x="2063552" y="341472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artnerships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E289086-3E8C-764E-AB0A-BC7D77A51BE2}"/>
              </a:ext>
            </a:extLst>
          </p:cNvPr>
          <p:cNvGrpSpPr/>
          <p:nvPr userDrawn="1"/>
        </p:nvGrpSpPr>
        <p:grpSpPr>
          <a:xfrm>
            <a:off x="7156962" y="29028"/>
            <a:ext cx="1580322" cy="1537449"/>
            <a:chOff x="9480376" y="3968750"/>
            <a:chExt cx="1580322" cy="1537449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092241A2-D0FC-5544-8D04-B17D89817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E8ADB606-7C54-8C42-BE14-8B1EC8A3AC95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ace of Mind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02530772-90EE-7C4B-9564-3CD7B6036C55}"/>
              </a:ext>
            </a:extLst>
          </p:cNvPr>
          <p:cNvGrpSpPr/>
          <p:nvPr userDrawn="1"/>
        </p:nvGrpSpPr>
        <p:grpSpPr>
          <a:xfrm>
            <a:off x="5733766" y="32068"/>
            <a:ext cx="1580322" cy="1530453"/>
            <a:chOff x="3896140" y="405538"/>
            <a:chExt cx="1580322" cy="153045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7C029809-6AC7-F347-A4BC-A64858600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789C6533-C103-6F46-9A12-42288513CF2B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destri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818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4570AEBB-C30B-E44D-9111-0AE6C330D3A1}"/>
              </a:ext>
            </a:extLst>
          </p:cNvPr>
          <p:cNvGrpSpPr/>
          <p:nvPr userDrawn="1"/>
        </p:nvGrpSpPr>
        <p:grpSpPr>
          <a:xfrm>
            <a:off x="9944851" y="1769165"/>
            <a:ext cx="1580322" cy="1515700"/>
            <a:chOff x="3896140" y="2169250"/>
            <a:chExt cx="1580322" cy="1515700"/>
          </a:xfrm>
        </p:grpSpPr>
        <p:pic>
          <p:nvPicPr>
            <p:cNvPr id="36" name="Picture 35" descr="A picture containing drawing, clock&#10;&#10;Description automatically generated">
              <a:extLst>
                <a:ext uri="{FF2B5EF4-FFF2-40B4-BE49-F238E27FC236}">
                  <a16:creationId xmlns:a16="http://schemas.microsoft.com/office/drawing/2014/main" id="{9B4BEC6F-AA4F-A545-8C87-99FC179FE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2EA73C-C1ED-5045-B0FB-E4EC61EF34B3}"/>
                </a:ext>
              </a:extLst>
            </p:cNvPr>
            <p:cNvSpPr txBox="1"/>
            <p:nvPr/>
          </p:nvSpPr>
          <p:spPr>
            <a:xfrm>
              <a:off x="3896140" y="340795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ndow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79E4E6E-41B0-9446-BB0C-E30038A9309E}"/>
              </a:ext>
            </a:extLst>
          </p:cNvPr>
          <p:cNvGrpSpPr/>
          <p:nvPr userDrawn="1"/>
        </p:nvGrpSpPr>
        <p:grpSpPr>
          <a:xfrm>
            <a:off x="8598934" y="1775549"/>
            <a:ext cx="1580322" cy="1533056"/>
            <a:chOff x="9480376" y="2169250"/>
            <a:chExt cx="1580322" cy="1533056"/>
          </a:xfrm>
        </p:grpSpPr>
        <p:pic>
          <p:nvPicPr>
            <p:cNvPr id="39" name="Picture 38" descr="A close up of a logo&#10;&#10;Description automatically generated">
              <a:extLst>
                <a:ext uri="{FF2B5EF4-FFF2-40B4-BE49-F238E27FC236}">
                  <a16:creationId xmlns:a16="http://schemas.microsoft.com/office/drawing/2014/main" id="{03BB665C-F40D-8243-9AB6-4B3C48B35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3309480-8DC9-B248-B035-23DB4C3CC6C1}"/>
                </a:ext>
              </a:extLst>
            </p:cNvPr>
            <p:cNvSpPr txBox="1"/>
            <p:nvPr/>
          </p:nvSpPr>
          <p:spPr>
            <a:xfrm>
              <a:off x="9480376" y="3425307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eather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84A8CE6-D7F9-0C41-825A-3122941CC914}"/>
              </a:ext>
            </a:extLst>
          </p:cNvPr>
          <p:cNvGrpSpPr/>
          <p:nvPr userDrawn="1"/>
        </p:nvGrpSpPr>
        <p:grpSpPr>
          <a:xfrm>
            <a:off x="5819456" y="1775053"/>
            <a:ext cx="1580322" cy="1530453"/>
            <a:chOff x="7667309" y="405538"/>
            <a:chExt cx="1580322" cy="1530453"/>
          </a:xfrm>
        </p:grpSpPr>
        <p:pic>
          <p:nvPicPr>
            <p:cNvPr id="42" name="Picture 4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1D98900-CCDA-0446-B28C-EEB537139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C9FAB1A-EDF7-414E-BF78-85CCF32BBEB0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rning/Alert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F5734D8-F6F6-3F4B-85FA-5E4D75B1CA78}"/>
              </a:ext>
            </a:extLst>
          </p:cNvPr>
          <p:cNvGrpSpPr/>
          <p:nvPr userDrawn="1"/>
        </p:nvGrpSpPr>
        <p:grpSpPr>
          <a:xfrm>
            <a:off x="4438655" y="1775549"/>
            <a:ext cx="1580322" cy="1533019"/>
            <a:chOff x="2063552" y="2169250"/>
            <a:chExt cx="1580322" cy="1533019"/>
          </a:xfrm>
        </p:grpSpPr>
        <p:pic>
          <p:nvPicPr>
            <p:cNvPr id="45" name="Picture 44" descr="A close up of a logo&#10;&#10;Description automatically generated">
              <a:extLst>
                <a:ext uri="{FF2B5EF4-FFF2-40B4-BE49-F238E27FC236}">
                  <a16:creationId xmlns:a16="http://schemas.microsoft.com/office/drawing/2014/main" id="{3979F712-4AE5-E949-8186-E7C0E850A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82D9F6E-808A-7246-8A5A-53E0CE58A2A2}"/>
                </a:ext>
              </a:extLst>
            </p:cNvPr>
            <p:cNvSpPr txBox="1"/>
            <p:nvPr/>
          </p:nvSpPr>
          <p:spPr>
            <a:xfrm>
              <a:off x="2063552" y="342527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&amp; Energy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B4F476E-2BA4-1E42-B910-5C33EE507D8D}"/>
              </a:ext>
            </a:extLst>
          </p:cNvPr>
          <p:cNvGrpSpPr/>
          <p:nvPr userDrawn="1"/>
        </p:nvGrpSpPr>
        <p:grpSpPr>
          <a:xfrm>
            <a:off x="7204917" y="1775053"/>
            <a:ext cx="1580322" cy="1906781"/>
            <a:chOff x="367748" y="3968750"/>
            <a:chExt cx="1580322" cy="1906781"/>
          </a:xfrm>
        </p:grpSpPr>
        <p:pic>
          <p:nvPicPr>
            <p:cNvPr id="48" name="Picture 4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13E6C-A104-D643-98BD-2DD1F33BC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9CC41FE-F107-FF4F-A8E7-3565BC178BD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Management Solutions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6B109DB-4D5A-C34E-A718-8FCB29DE4150}"/>
              </a:ext>
            </a:extLst>
          </p:cNvPr>
          <p:cNvGrpSpPr/>
          <p:nvPr userDrawn="1"/>
        </p:nvGrpSpPr>
        <p:grpSpPr>
          <a:xfrm>
            <a:off x="312763" y="3548264"/>
            <a:ext cx="1580322" cy="1518425"/>
            <a:chOff x="367748" y="2169250"/>
            <a:chExt cx="1580322" cy="1518425"/>
          </a:xfrm>
        </p:grpSpPr>
        <p:pic>
          <p:nvPicPr>
            <p:cNvPr id="51" name="Picture 50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412C461-D680-D741-AE16-55D5F4E81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717BF53-325B-2944-A211-D3A206BB23FB}"/>
                </a:ext>
              </a:extLst>
            </p:cNvPr>
            <p:cNvSpPr txBox="1"/>
            <p:nvPr/>
          </p:nvSpPr>
          <p:spPr>
            <a:xfrm>
              <a:off x="367748" y="34106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reles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1D43B28-E605-0544-A061-94103551D3D1}"/>
              </a:ext>
            </a:extLst>
          </p:cNvPr>
          <p:cNvGrpSpPr/>
          <p:nvPr userDrawn="1"/>
        </p:nvGrpSpPr>
        <p:grpSpPr>
          <a:xfrm>
            <a:off x="1679887" y="3544218"/>
            <a:ext cx="1580322" cy="1530453"/>
            <a:chOff x="7667309" y="405538"/>
            <a:chExt cx="1580322" cy="1530453"/>
          </a:xfrm>
        </p:grpSpPr>
        <p:pic>
          <p:nvPicPr>
            <p:cNvPr id="54" name="Picture 5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AECA182-8441-FC4F-B691-A4C74ABFE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5B7E7D3-FF4E-BA4D-A5CD-308BCDC14E8A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C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FEDC0B3-04D1-BF44-B969-DA25682FD9F3}"/>
              </a:ext>
            </a:extLst>
          </p:cNvPr>
          <p:cNvGrpSpPr/>
          <p:nvPr userDrawn="1"/>
        </p:nvGrpSpPr>
        <p:grpSpPr>
          <a:xfrm>
            <a:off x="5855089" y="3524350"/>
            <a:ext cx="1580322" cy="1715118"/>
            <a:chOff x="9480376" y="2169250"/>
            <a:chExt cx="1580322" cy="1715118"/>
          </a:xfrm>
        </p:grpSpPr>
        <p:pic>
          <p:nvPicPr>
            <p:cNvPr id="57" name="Picture 56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2AF0BEC-24E7-DB41-B840-6DFD23E22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8A03034-D395-EF45-89D8-8D2B795E39D0}"/>
                </a:ext>
              </a:extLst>
            </p:cNvPr>
            <p:cNvSpPr txBox="1"/>
            <p:nvPr/>
          </p:nvSpPr>
          <p:spPr>
            <a:xfrm>
              <a:off x="9480376" y="342270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10 Year Guarantee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C0E630D-6D57-2E47-A620-08F55FBA8DDE}"/>
              </a:ext>
            </a:extLst>
          </p:cNvPr>
          <p:cNvGrpSpPr/>
          <p:nvPr userDrawn="1"/>
        </p:nvGrpSpPr>
        <p:grpSpPr>
          <a:xfrm>
            <a:off x="3088827" y="3524350"/>
            <a:ext cx="1580322" cy="1715119"/>
            <a:chOff x="367748" y="405538"/>
            <a:chExt cx="1580322" cy="1715119"/>
          </a:xfrm>
        </p:grpSpPr>
        <p:pic>
          <p:nvPicPr>
            <p:cNvPr id="60" name="Picture 59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31C3E95A-31BC-7842-9595-6F21301F3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F8DD463-B058-E44A-A31A-97584612D06D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60 Years Experience</a:t>
              </a:r>
              <a:endParaRPr lang="en-US" sz="1200" dirty="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534A86F-6563-3E4F-95F3-C2B67DD91F4F}"/>
              </a:ext>
            </a:extLst>
          </p:cNvPr>
          <p:cNvGrpSpPr/>
          <p:nvPr userDrawn="1"/>
        </p:nvGrpSpPr>
        <p:grpSpPr>
          <a:xfrm>
            <a:off x="4469628" y="3514411"/>
            <a:ext cx="1580322" cy="1715119"/>
            <a:chOff x="367748" y="405538"/>
            <a:chExt cx="1580322" cy="1715119"/>
          </a:xfrm>
        </p:grpSpPr>
        <p:pic>
          <p:nvPicPr>
            <p:cNvPr id="63" name="Picture 62" descr="A close up of a logo&#10;&#10;Description automatically generated">
              <a:extLst>
                <a:ext uri="{FF2B5EF4-FFF2-40B4-BE49-F238E27FC236}">
                  <a16:creationId xmlns:a16="http://schemas.microsoft.com/office/drawing/2014/main" id="{781CD0E7-DCB1-C743-8C05-526044B2E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523E7290-B2D2-5E49-874A-9E3DB1AE76A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5 Year</a:t>
              </a:r>
              <a:br>
                <a:rPr lang="en-US" sz="1200" dirty="0"/>
              </a:br>
              <a:r>
                <a:rPr lang="en-US" sz="1200" dirty="0"/>
                <a:t>Guarantee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C21E6CA-E0FC-AC4F-9C44-985FF310F44D}"/>
              </a:ext>
            </a:extLst>
          </p:cNvPr>
          <p:cNvGrpSpPr/>
          <p:nvPr userDrawn="1"/>
        </p:nvGrpSpPr>
        <p:grpSpPr>
          <a:xfrm>
            <a:off x="425327" y="1785108"/>
            <a:ext cx="1439941" cy="1698626"/>
            <a:chOff x="425327" y="14365"/>
            <a:chExt cx="1439941" cy="1698626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17BE41B-859D-1F4E-BAE0-77DC661C0ED1}"/>
                </a:ext>
              </a:extLst>
            </p:cNvPr>
            <p:cNvSpPr txBox="1"/>
            <p:nvPr/>
          </p:nvSpPr>
          <p:spPr>
            <a:xfrm>
              <a:off x="617127" y="1251326"/>
              <a:ext cx="10933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Value of Space</a:t>
              </a:r>
            </a:p>
          </p:txBody>
        </p:sp>
        <p:pic>
          <p:nvPicPr>
            <p:cNvPr id="67" name="Picture 66" descr="A close up of a logo&#10;&#10;Description automatically generated">
              <a:extLst>
                <a:ext uri="{FF2B5EF4-FFF2-40B4-BE49-F238E27FC236}">
                  <a16:creationId xmlns:a16="http://schemas.microsoft.com/office/drawing/2014/main" id="{A7B9F8DA-DE54-5244-88F4-F73738E7E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25327" y="14365"/>
              <a:ext cx="1439941" cy="1439941"/>
            </a:xfrm>
            <a:prstGeom prst="rect">
              <a:avLst/>
            </a:prstGeom>
          </p:spPr>
        </p:pic>
      </p:grpSp>
      <p:pic>
        <p:nvPicPr>
          <p:cNvPr id="68" name="Picture 67" descr="A close up of a logo&#10;&#10;Description automatically generated">
            <a:extLst>
              <a:ext uri="{FF2B5EF4-FFF2-40B4-BE49-F238E27FC236}">
                <a16:creationId xmlns:a16="http://schemas.microsoft.com/office/drawing/2014/main" id="{1C1C2472-D34D-D743-83E9-472FDDE9ACD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093720" y="1770743"/>
            <a:ext cx="1440000" cy="1440000"/>
          </a:xfrm>
          <a:prstGeom prst="rect">
            <a:avLst/>
          </a:prstGeom>
        </p:spPr>
      </p:pic>
      <p:pic>
        <p:nvPicPr>
          <p:cNvPr id="69" name="Picture 68" descr="A close up of a logo&#10;&#10;Description automatically generated">
            <a:extLst>
              <a:ext uri="{FF2B5EF4-FFF2-40B4-BE49-F238E27FC236}">
                <a16:creationId xmlns:a16="http://schemas.microsoft.com/office/drawing/2014/main" id="{1A8D4D40-5926-7E4E-9409-346D94F9A48B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767840" y="1770743"/>
            <a:ext cx="1440000" cy="14400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501BCBFB-16E0-674E-8BFA-C2B8B84A3463}"/>
              </a:ext>
            </a:extLst>
          </p:cNvPr>
          <p:cNvSpPr txBox="1"/>
          <p:nvPr userDrawn="1"/>
        </p:nvSpPr>
        <p:spPr>
          <a:xfrm>
            <a:off x="194118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DCBDD38-CEDC-4C45-9F16-63397D74B2D5}"/>
              </a:ext>
            </a:extLst>
          </p:cNvPr>
          <p:cNvSpPr txBox="1"/>
          <p:nvPr userDrawn="1"/>
        </p:nvSpPr>
        <p:spPr>
          <a:xfrm>
            <a:off x="326706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A73E3EA-1058-0945-B47B-B01E5F27DF8C}"/>
              </a:ext>
            </a:extLst>
          </p:cNvPr>
          <p:cNvGrpSpPr/>
          <p:nvPr userDrawn="1"/>
        </p:nvGrpSpPr>
        <p:grpSpPr>
          <a:xfrm>
            <a:off x="418424" y="9898"/>
            <a:ext cx="1440001" cy="1717254"/>
            <a:chOff x="4441292" y="451373"/>
            <a:chExt cx="1440001" cy="1717254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9029692-0A8B-9946-AE15-00C1B5C63887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107" name="Picture 106" descr="A picture containing object, clock&#10;&#10;Description automatically generated">
              <a:extLst>
                <a:ext uri="{FF2B5EF4-FFF2-40B4-BE49-F238E27FC236}">
                  <a16:creationId xmlns:a16="http://schemas.microsoft.com/office/drawing/2014/main" id="{7A1BE080-7C5A-CD46-A875-A8840BBA2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441292" y="451373"/>
              <a:ext cx="1440001" cy="1440001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CD871D3-5D9B-C445-B58A-3F400D10C036}"/>
              </a:ext>
            </a:extLst>
          </p:cNvPr>
          <p:cNvGrpSpPr/>
          <p:nvPr userDrawn="1"/>
        </p:nvGrpSpPr>
        <p:grpSpPr>
          <a:xfrm>
            <a:off x="3015807" y="0"/>
            <a:ext cx="1580322" cy="1530453"/>
            <a:chOff x="2063552" y="405538"/>
            <a:chExt cx="1580322" cy="1530453"/>
          </a:xfrm>
        </p:grpSpPr>
        <p:pic>
          <p:nvPicPr>
            <p:cNvPr id="109" name="Picture 10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5E5B0A6-749C-B448-A592-2864D8A39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E521F28-9561-AD44-B722-533CBBE7DDCF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chnology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BB9F985-9B0F-E047-B510-1BB9EF36F33E}"/>
              </a:ext>
            </a:extLst>
          </p:cNvPr>
          <p:cNvGrpSpPr/>
          <p:nvPr userDrawn="1"/>
        </p:nvGrpSpPr>
        <p:grpSpPr>
          <a:xfrm>
            <a:off x="8563826" y="20904"/>
            <a:ext cx="1580322" cy="1501025"/>
            <a:chOff x="5750970" y="2169250"/>
            <a:chExt cx="1580322" cy="1501025"/>
          </a:xfrm>
        </p:grpSpPr>
        <p:pic>
          <p:nvPicPr>
            <p:cNvPr id="112" name="Picture 111" descr="A close up of a logo&#10;&#10;Description automatically generated">
              <a:extLst>
                <a:ext uri="{FF2B5EF4-FFF2-40B4-BE49-F238E27FC236}">
                  <a16:creationId xmlns:a16="http://schemas.microsoft.com/office/drawing/2014/main" id="{83428831-0B07-C443-A5D9-527124647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FB0C301-92BC-E541-B57F-525F1CEE2CEA}"/>
                </a:ext>
              </a:extLst>
            </p:cNvPr>
            <p:cNvSpPr txBox="1"/>
            <p:nvPr/>
          </p:nvSpPr>
          <p:spPr>
            <a:xfrm>
              <a:off x="5750970" y="33932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rusted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A064281-FE15-D047-AB93-75FFD984539C}"/>
              </a:ext>
            </a:extLst>
          </p:cNvPr>
          <p:cNvGrpSpPr/>
          <p:nvPr userDrawn="1"/>
        </p:nvGrpSpPr>
        <p:grpSpPr>
          <a:xfrm>
            <a:off x="4381418" y="1961"/>
            <a:ext cx="1580322" cy="1537449"/>
            <a:chOff x="3896140" y="3968750"/>
            <a:chExt cx="1580322" cy="1537449"/>
          </a:xfrm>
        </p:grpSpPr>
        <p:pic>
          <p:nvPicPr>
            <p:cNvPr id="115" name="Picture 114" descr="A close up of a logo&#10;&#10;Description automatically generated">
              <a:extLst>
                <a:ext uri="{FF2B5EF4-FFF2-40B4-BE49-F238E27FC236}">
                  <a16:creationId xmlns:a16="http://schemas.microsoft.com/office/drawing/2014/main" id="{7A4E366A-C689-9F45-9BE2-7565B861A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3E2AF2E-D974-BC44-82F4-AAA15C760FD0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lemetry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F05FAF8-30CF-B54D-A9D8-9AD47435166B}"/>
              </a:ext>
            </a:extLst>
          </p:cNvPr>
          <p:cNvGrpSpPr/>
          <p:nvPr userDrawn="1"/>
        </p:nvGrpSpPr>
        <p:grpSpPr>
          <a:xfrm>
            <a:off x="5774501" y="0"/>
            <a:ext cx="1580322" cy="1555646"/>
            <a:chOff x="1638370" y="428315"/>
            <a:chExt cx="1580322" cy="1555646"/>
          </a:xfrm>
        </p:grpSpPr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60DA4B5-6EAA-E84C-AD7B-B149EBD9CD91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in</a:t>
              </a:r>
            </a:p>
          </p:txBody>
        </p:sp>
        <p:pic>
          <p:nvPicPr>
            <p:cNvPr id="119" name="Picture 11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A2C1789-8CA5-0B48-A125-F634DA7011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701611" y="428315"/>
              <a:ext cx="1441450" cy="1441450"/>
            </a:xfrm>
            <a:prstGeom prst="rect">
              <a:avLst/>
            </a:prstGeom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52128973-2794-CD4A-967B-7EA3F6DA1F82}"/>
              </a:ext>
            </a:extLst>
          </p:cNvPr>
          <p:cNvGrpSpPr/>
          <p:nvPr userDrawn="1"/>
        </p:nvGrpSpPr>
        <p:grpSpPr>
          <a:xfrm>
            <a:off x="1699390" y="0"/>
            <a:ext cx="1440000" cy="1738862"/>
            <a:chOff x="5837032" y="429765"/>
            <a:chExt cx="1440000" cy="1738862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1E22EBBD-946D-EE4B-A99A-9BC7B6497A4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Saving</a:t>
              </a:r>
            </a:p>
          </p:txBody>
        </p:sp>
        <p:pic>
          <p:nvPicPr>
            <p:cNvPr id="122" name="Picture 121" descr="A close up of a sign&#10;&#10;Description automatically generated">
              <a:extLst>
                <a:ext uri="{FF2B5EF4-FFF2-40B4-BE49-F238E27FC236}">
                  <a16:creationId xmlns:a16="http://schemas.microsoft.com/office/drawing/2014/main" id="{8C332DCE-70D7-B94D-A86F-41FCCE60F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0E466CF5-77E6-2849-825F-BCE63DDCA0FC}"/>
              </a:ext>
            </a:extLst>
          </p:cNvPr>
          <p:cNvGrpSpPr/>
          <p:nvPr userDrawn="1"/>
        </p:nvGrpSpPr>
        <p:grpSpPr>
          <a:xfrm>
            <a:off x="7139575" y="9709"/>
            <a:ext cx="1580322" cy="1548606"/>
            <a:chOff x="1638370" y="435355"/>
            <a:chExt cx="1580322" cy="1548606"/>
          </a:xfrm>
        </p:grpSpPr>
        <p:pic>
          <p:nvPicPr>
            <p:cNvPr id="124" name="Picture 123" descr="A close up of a logo&#10;&#10;Description automatically generated">
              <a:extLst>
                <a:ext uri="{FF2B5EF4-FFF2-40B4-BE49-F238E27FC236}">
                  <a16:creationId xmlns:a16="http://schemas.microsoft.com/office/drawing/2014/main" id="{29C8F395-99FF-CB41-9A35-870DA67F2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753119" y="435355"/>
              <a:ext cx="1440000" cy="1440000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11004237-79D8-FF41-BB20-F72958AB83CA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ermal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132D0852-F109-4840-8B7D-22633932F88B}"/>
              </a:ext>
            </a:extLst>
          </p:cNvPr>
          <p:cNvGrpSpPr/>
          <p:nvPr userDrawn="1"/>
        </p:nvGrpSpPr>
        <p:grpSpPr>
          <a:xfrm>
            <a:off x="9951586" y="0"/>
            <a:ext cx="1580322" cy="1530453"/>
            <a:chOff x="3896140" y="405538"/>
            <a:chExt cx="1580322" cy="1530453"/>
          </a:xfrm>
        </p:grpSpPr>
        <p:pic>
          <p:nvPicPr>
            <p:cNvPr id="127" name="Picture 126" descr="A close up of a sign&#10;&#10;Description automatically generated">
              <a:extLst>
                <a:ext uri="{FF2B5EF4-FFF2-40B4-BE49-F238E27FC236}">
                  <a16:creationId xmlns:a16="http://schemas.microsoft.com/office/drawing/2014/main" id="{F253349E-D85B-1A40-A086-F689B655B8B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8875A09-5C32-D144-B13C-55E5EB13EEC9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User interfa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2529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Europe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CD78BE-D550-3246-8FEB-D416FAC204D3}"/>
              </a:ext>
            </a:extLst>
          </p:cNvPr>
          <p:cNvGrpSpPr/>
          <p:nvPr userDrawn="1"/>
        </p:nvGrpSpPr>
        <p:grpSpPr>
          <a:xfrm>
            <a:off x="5188350" y="889056"/>
            <a:ext cx="7003650" cy="5968944"/>
            <a:chOff x="2140350" y="889056"/>
            <a:chExt cx="7003650" cy="5968944"/>
          </a:xfrm>
          <a:solidFill>
            <a:srgbClr val="09417A"/>
          </a:solidFill>
        </p:grpSpPr>
        <p:sp>
          <p:nvSpPr>
            <p:cNvPr id="24" name="Schweiz" descr="© INSCALE GmbH, 05.05.2010&#10;http://www.presentationload.com/">
              <a:extLst>
                <a:ext uri="{FF2B5EF4-FFF2-40B4-BE49-F238E27FC236}">
                  <a16:creationId xmlns:a16="http://schemas.microsoft.com/office/drawing/2014/main" id="{0535A40E-70FD-D749-B162-DC04351056F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795" y="4950314"/>
              <a:ext cx="496724" cy="308596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Niederlande" descr="© INSCALE GmbH, 05.05.2010&#10;http://www.presentationload.com/">
              <a:extLst>
                <a:ext uri="{FF2B5EF4-FFF2-40B4-BE49-F238E27FC236}">
                  <a16:creationId xmlns:a16="http://schemas.microsoft.com/office/drawing/2014/main" id="{0DCA152D-5DDD-B948-BCED-F5B1025605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99514" y="4054230"/>
              <a:ext cx="401010" cy="420814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Belgien" descr="© INSCALE GmbH, 05.05.2010&#10;http://www.presentationload.com/">
              <a:extLst>
                <a:ext uri="{FF2B5EF4-FFF2-40B4-BE49-F238E27FC236}">
                  <a16:creationId xmlns:a16="http://schemas.microsoft.com/office/drawing/2014/main" id="{2172DDBA-DAA5-E949-A629-02FCD0C8C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8652" y="4354575"/>
              <a:ext cx="384507" cy="316847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Luxemburg" descr="© INSCALE GmbH, 05.05.2010&#10;http://www.presentationload.com/">
              <a:extLst>
                <a:ext uri="{FF2B5EF4-FFF2-40B4-BE49-F238E27FC236}">
                  <a16:creationId xmlns:a16="http://schemas.microsoft.com/office/drawing/2014/main" id="{78A776CD-D227-524B-ADEE-E471815288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5598" y="4570757"/>
              <a:ext cx="84162" cy="118817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Däne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C6F5416-35DB-0D4D-A2D2-08A7E76DCB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539" y="3400732"/>
              <a:ext cx="640296" cy="488473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Öster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285B4E3B-DD89-CA4E-81BB-B697A13BA9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1953" y="4758886"/>
              <a:ext cx="820172" cy="407611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Vereinigtes König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C9A0A0F0-FBC1-DF4A-8C0E-F29B4DB0CB3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20917" y="2849549"/>
              <a:ext cx="853178" cy="1597439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I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3F1B05C-8F35-D049-B939-DC4F4DDD4F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94169" y="3570708"/>
              <a:ext cx="486822" cy="552833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51C3C924-F01B-9441-898E-A9937FDC4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350" y="5564207"/>
              <a:ext cx="483523" cy="802020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Zypern" descr="© INSCALE GmbH, 05.05.2010&#10;http://www.presentationload.com/">
              <a:extLst>
                <a:ext uri="{FF2B5EF4-FFF2-40B4-BE49-F238E27FC236}">
                  <a16:creationId xmlns:a16="http://schemas.microsoft.com/office/drawing/2014/main" id="{B4366EEE-FEB3-8048-B035-64847330C6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0649" y="6377778"/>
              <a:ext cx="267340" cy="255788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Bosnien und Herzegowina" descr="© INSCALE GmbH, 05.05.2010&#10;http://www.presentationload.com/">
              <a:extLst>
                <a:ext uri="{FF2B5EF4-FFF2-40B4-BE49-F238E27FC236}">
                  <a16:creationId xmlns:a16="http://schemas.microsoft.com/office/drawing/2014/main" id="{B471F671-CFAF-FF41-AAF4-11A16BD358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5156" y="5323271"/>
              <a:ext cx="473621" cy="405961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Alb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57A54FD-ABAE-6B45-8616-11F2359A57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3924" y="5696227"/>
              <a:ext cx="240936" cy="457119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Mazedo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20BD5DB-52E3-E246-A72E-7B5EEE4E1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4095" y="5706128"/>
              <a:ext cx="301996" cy="250837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Norwegen" descr="© INSCALE GmbH, 05.05.2010&#10;http://www.presentationload.com/">
              <a:extLst>
                <a:ext uri="{FF2B5EF4-FFF2-40B4-BE49-F238E27FC236}">
                  <a16:creationId xmlns:a16="http://schemas.microsoft.com/office/drawing/2014/main" id="{629EDFA3-5E72-A84A-A5CA-5AA9A68875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85008" y="1263662"/>
              <a:ext cx="1648597" cy="2099114"/>
            </a:xfrm>
            <a:custGeom>
              <a:avLst/>
              <a:gdLst/>
              <a:ahLst/>
              <a:cxnLst>
                <a:cxn ang="0">
                  <a:pos x="626" y="61"/>
                </a:cxn>
                <a:cxn ang="0">
                  <a:pos x="605" y="40"/>
                </a:cxn>
                <a:cxn ang="0">
                  <a:pos x="586" y="22"/>
                </a:cxn>
                <a:cxn ang="0">
                  <a:pos x="547" y="55"/>
                </a:cxn>
                <a:cxn ang="0">
                  <a:pos x="532" y="46"/>
                </a:cxn>
                <a:cxn ang="0">
                  <a:pos x="465" y="77"/>
                </a:cxn>
                <a:cxn ang="0">
                  <a:pos x="445" y="116"/>
                </a:cxn>
                <a:cxn ang="0">
                  <a:pos x="410" y="132"/>
                </a:cxn>
                <a:cxn ang="0">
                  <a:pos x="380" y="181"/>
                </a:cxn>
                <a:cxn ang="0">
                  <a:pos x="374" y="209"/>
                </a:cxn>
                <a:cxn ang="0">
                  <a:pos x="330" y="227"/>
                </a:cxn>
                <a:cxn ang="0">
                  <a:pos x="331" y="254"/>
                </a:cxn>
                <a:cxn ang="0">
                  <a:pos x="331" y="290"/>
                </a:cxn>
                <a:cxn ang="0">
                  <a:pos x="275" y="339"/>
                </a:cxn>
                <a:cxn ang="0">
                  <a:pos x="261" y="381"/>
                </a:cxn>
                <a:cxn ang="0">
                  <a:pos x="252" y="428"/>
                </a:cxn>
                <a:cxn ang="0">
                  <a:pos x="198" y="471"/>
                </a:cxn>
                <a:cxn ang="0">
                  <a:pos x="224" y="509"/>
                </a:cxn>
                <a:cxn ang="0">
                  <a:pos x="141" y="534"/>
                </a:cxn>
                <a:cxn ang="0">
                  <a:pos x="122" y="571"/>
                </a:cxn>
                <a:cxn ang="0">
                  <a:pos x="96" y="584"/>
                </a:cxn>
                <a:cxn ang="0">
                  <a:pos x="69" y="595"/>
                </a:cxn>
                <a:cxn ang="0">
                  <a:pos x="26" y="611"/>
                </a:cxn>
                <a:cxn ang="0">
                  <a:pos x="23" y="650"/>
                </a:cxn>
                <a:cxn ang="0">
                  <a:pos x="83" y="675"/>
                </a:cxn>
                <a:cxn ang="0">
                  <a:pos x="74" y="678"/>
                </a:cxn>
                <a:cxn ang="0">
                  <a:pos x="38" y="704"/>
                </a:cxn>
                <a:cxn ang="0">
                  <a:pos x="55" y="723"/>
                </a:cxn>
                <a:cxn ang="0">
                  <a:pos x="42" y="766"/>
                </a:cxn>
                <a:cxn ang="0">
                  <a:pos x="26" y="785"/>
                </a:cxn>
                <a:cxn ang="0">
                  <a:pos x="34" y="813"/>
                </a:cxn>
                <a:cxn ang="0">
                  <a:pos x="65" y="873"/>
                </a:cxn>
                <a:cxn ang="0">
                  <a:pos x="182" y="789"/>
                </a:cxn>
                <a:cxn ang="0">
                  <a:pos x="230" y="815"/>
                </a:cxn>
                <a:cxn ang="0">
                  <a:pos x="305" y="482"/>
                </a:cxn>
                <a:cxn ang="0">
                  <a:pos x="443" y="205"/>
                </a:cxn>
                <a:cxn ang="0">
                  <a:pos x="595" y="78"/>
                </a:cxn>
                <a:cxn ang="0">
                  <a:pos x="18" y="803"/>
                </a:cxn>
                <a:cxn ang="0">
                  <a:pos x="10" y="767"/>
                </a:cxn>
                <a:cxn ang="0">
                  <a:pos x="14" y="743"/>
                </a:cxn>
                <a:cxn ang="0">
                  <a:pos x="10" y="711"/>
                </a:cxn>
                <a:cxn ang="0">
                  <a:pos x="8" y="699"/>
                </a:cxn>
                <a:cxn ang="0">
                  <a:pos x="7" y="680"/>
                </a:cxn>
                <a:cxn ang="0">
                  <a:pos x="15" y="632"/>
                </a:cxn>
                <a:cxn ang="0">
                  <a:pos x="44" y="600"/>
                </a:cxn>
                <a:cxn ang="0">
                  <a:pos x="58" y="582"/>
                </a:cxn>
                <a:cxn ang="0">
                  <a:pos x="106" y="551"/>
                </a:cxn>
                <a:cxn ang="0">
                  <a:pos x="123" y="537"/>
                </a:cxn>
                <a:cxn ang="0">
                  <a:pos x="162" y="515"/>
                </a:cxn>
                <a:cxn ang="0">
                  <a:pos x="259" y="367"/>
                </a:cxn>
                <a:cxn ang="0">
                  <a:pos x="264" y="359"/>
                </a:cxn>
                <a:cxn ang="0">
                  <a:pos x="301" y="294"/>
                </a:cxn>
                <a:cxn ang="0">
                  <a:pos x="351" y="208"/>
                </a:cxn>
                <a:cxn ang="0">
                  <a:pos x="296" y="220"/>
                </a:cxn>
                <a:cxn ang="0">
                  <a:pos x="362" y="187"/>
                </a:cxn>
                <a:cxn ang="0">
                  <a:pos x="322" y="218"/>
                </a:cxn>
                <a:cxn ang="0">
                  <a:pos x="320" y="183"/>
                </a:cxn>
                <a:cxn ang="0">
                  <a:pos x="367" y="152"/>
                </a:cxn>
                <a:cxn ang="0">
                  <a:pos x="411" y="97"/>
                </a:cxn>
                <a:cxn ang="0">
                  <a:pos x="407" y="97"/>
                </a:cxn>
                <a:cxn ang="0">
                  <a:pos x="492" y="40"/>
                </a:cxn>
                <a:cxn ang="0">
                  <a:pos x="514" y="56"/>
                </a:cxn>
                <a:cxn ang="0">
                  <a:pos x="538" y="19"/>
                </a:cxn>
              </a:cxnLst>
              <a:rect l="0" t="0" r="r" b="b"/>
              <a:pathLst>
                <a:path w="690" h="880">
                  <a:moveTo>
                    <a:pt x="685" y="71"/>
                  </a:moveTo>
                  <a:cubicBezTo>
                    <a:pt x="685" y="68"/>
                    <a:pt x="685" y="68"/>
                    <a:pt x="685" y="68"/>
                  </a:cubicBezTo>
                  <a:cubicBezTo>
                    <a:pt x="681" y="68"/>
                    <a:pt x="681" y="68"/>
                    <a:pt x="681" y="68"/>
                  </a:cubicBezTo>
                  <a:cubicBezTo>
                    <a:pt x="681" y="68"/>
                    <a:pt x="681" y="66"/>
                    <a:pt x="678" y="66"/>
                  </a:cubicBezTo>
                  <a:cubicBezTo>
                    <a:pt x="673" y="66"/>
                    <a:pt x="673" y="66"/>
                    <a:pt x="673" y="66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3" y="76"/>
                    <a:pt x="673" y="76"/>
                    <a:pt x="673" y="76"/>
                  </a:cubicBezTo>
                  <a:cubicBezTo>
                    <a:pt x="673" y="72"/>
                    <a:pt x="673" y="72"/>
                    <a:pt x="673" y="72"/>
                  </a:cubicBezTo>
                  <a:cubicBezTo>
                    <a:pt x="668" y="64"/>
                    <a:pt x="668" y="64"/>
                    <a:pt x="668" y="64"/>
                  </a:cubicBezTo>
                  <a:cubicBezTo>
                    <a:pt x="666" y="64"/>
                    <a:pt x="666" y="64"/>
                    <a:pt x="666" y="64"/>
                  </a:cubicBezTo>
                  <a:cubicBezTo>
                    <a:pt x="668" y="72"/>
                    <a:pt x="668" y="72"/>
                    <a:pt x="668" y="72"/>
                  </a:cubicBezTo>
                  <a:cubicBezTo>
                    <a:pt x="666" y="76"/>
                    <a:pt x="666" y="76"/>
                    <a:pt x="666" y="76"/>
                  </a:cubicBezTo>
                  <a:cubicBezTo>
                    <a:pt x="664" y="73"/>
                    <a:pt x="664" y="73"/>
                    <a:pt x="664" y="73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59" y="77"/>
                    <a:pt x="659" y="77"/>
                    <a:pt x="659" y="77"/>
                  </a:cubicBezTo>
                  <a:cubicBezTo>
                    <a:pt x="659" y="77"/>
                    <a:pt x="656" y="81"/>
                    <a:pt x="655" y="81"/>
                  </a:cubicBezTo>
                  <a:cubicBezTo>
                    <a:pt x="654" y="80"/>
                    <a:pt x="655" y="77"/>
                    <a:pt x="656" y="75"/>
                  </a:cubicBezTo>
                  <a:cubicBezTo>
                    <a:pt x="657" y="74"/>
                    <a:pt x="657" y="67"/>
                    <a:pt x="654" y="66"/>
                  </a:cubicBezTo>
                  <a:cubicBezTo>
                    <a:pt x="652" y="64"/>
                    <a:pt x="649" y="71"/>
                    <a:pt x="649" y="71"/>
                  </a:cubicBezTo>
                  <a:cubicBezTo>
                    <a:pt x="647" y="71"/>
                    <a:pt x="647" y="71"/>
                    <a:pt x="647" y="71"/>
                  </a:cubicBezTo>
                  <a:cubicBezTo>
                    <a:pt x="647" y="71"/>
                    <a:pt x="653" y="64"/>
                    <a:pt x="649" y="62"/>
                  </a:cubicBezTo>
                  <a:cubicBezTo>
                    <a:pt x="645" y="59"/>
                    <a:pt x="641" y="62"/>
                    <a:pt x="641" y="62"/>
                  </a:cubicBezTo>
                  <a:cubicBezTo>
                    <a:pt x="637" y="59"/>
                    <a:pt x="637" y="59"/>
                    <a:pt x="637" y="59"/>
                  </a:cubicBezTo>
                  <a:cubicBezTo>
                    <a:pt x="633" y="61"/>
                    <a:pt x="633" y="61"/>
                    <a:pt x="633" y="61"/>
                  </a:cubicBezTo>
                  <a:cubicBezTo>
                    <a:pt x="632" y="59"/>
                    <a:pt x="632" y="59"/>
                    <a:pt x="632" y="59"/>
                  </a:cubicBezTo>
                  <a:cubicBezTo>
                    <a:pt x="632" y="59"/>
                    <a:pt x="629" y="62"/>
                    <a:pt x="626" y="61"/>
                  </a:cubicBezTo>
                  <a:cubicBezTo>
                    <a:pt x="624" y="60"/>
                    <a:pt x="626" y="58"/>
                    <a:pt x="626" y="58"/>
                  </a:cubicBezTo>
                  <a:cubicBezTo>
                    <a:pt x="626" y="57"/>
                    <a:pt x="624" y="56"/>
                    <a:pt x="625" y="53"/>
                  </a:cubicBezTo>
                  <a:cubicBezTo>
                    <a:pt x="625" y="51"/>
                    <a:pt x="646" y="57"/>
                    <a:pt x="646" y="57"/>
                  </a:cubicBezTo>
                  <a:cubicBezTo>
                    <a:pt x="646" y="57"/>
                    <a:pt x="655" y="57"/>
                    <a:pt x="662" y="52"/>
                  </a:cubicBezTo>
                  <a:cubicBezTo>
                    <a:pt x="668" y="47"/>
                    <a:pt x="666" y="41"/>
                    <a:pt x="666" y="41"/>
                  </a:cubicBezTo>
                  <a:cubicBezTo>
                    <a:pt x="666" y="41"/>
                    <a:pt x="678" y="35"/>
                    <a:pt x="677" y="30"/>
                  </a:cubicBezTo>
                  <a:cubicBezTo>
                    <a:pt x="675" y="26"/>
                    <a:pt x="667" y="28"/>
                    <a:pt x="667" y="28"/>
                  </a:cubicBezTo>
                  <a:cubicBezTo>
                    <a:pt x="667" y="28"/>
                    <a:pt x="664" y="24"/>
                    <a:pt x="661" y="24"/>
                  </a:cubicBezTo>
                  <a:cubicBezTo>
                    <a:pt x="656" y="24"/>
                    <a:pt x="652" y="27"/>
                    <a:pt x="652" y="27"/>
                  </a:cubicBezTo>
                  <a:cubicBezTo>
                    <a:pt x="655" y="19"/>
                    <a:pt x="655" y="19"/>
                    <a:pt x="655" y="19"/>
                  </a:cubicBezTo>
                  <a:cubicBezTo>
                    <a:pt x="651" y="19"/>
                    <a:pt x="651" y="19"/>
                    <a:pt x="651" y="19"/>
                  </a:cubicBezTo>
                  <a:cubicBezTo>
                    <a:pt x="651" y="19"/>
                    <a:pt x="652" y="16"/>
                    <a:pt x="648" y="16"/>
                  </a:cubicBezTo>
                  <a:cubicBezTo>
                    <a:pt x="644" y="15"/>
                    <a:pt x="645" y="21"/>
                    <a:pt x="642" y="21"/>
                  </a:cubicBezTo>
                  <a:cubicBezTo>
                    <a:pt x="640" y="22"/>
                    <a:pt x="642" y="16"/>
                    <a:pt x="640" y="16"/>
                  </a:cubicBezTo>
                  <a:cubicBezTo>
                    <a:pt x="639" y="16"/>
                    <a:pt x="632" y="22"/>
                    <a:pt x="632" y="22"/>
                  </a:cubicBezTo>
                  <a:cubicBezTo>
                    <a:pt x="632" y="15"/>
                    <a:pt x="632" y="15"/>
                    <a:pt x="632" y="15"/>
                  </a:cubicBezTo>
                  <a:cubicBezTo>
                    <a:pt x="632" y="15"/>
                    <a:pt x="629" y="10"/>
                    <a:pt x="622" y="11"/>
                  </a:cubicBezTo>
                  <a:cubicBezTo>
                    <a:pt x="615" y="11"/>
                    <a:pt x="616" y="22"/>
                    <a:pt x="616" y="22"/>
                  </a:cubicBezTo>
                  <a:cubicBezTo>
                    <a:pt x="617" y="25"/>
                    <a:pt x="617" y="25"/>
                    <a:pt x="617" y="25"/>
                  </a:cubicBezTo>
                  <a:cubicBezTo>
                    <a:pt x="616" y="36"/>
                    <a:pt x="616" y="36"/>
                    <a:pt x="616" y="36"/>
                  </a:cubicBezTo>
                  <a:cubicBezTo>
                    <a:pt x="619" y="36"/>
                    <a:pt x="619" y="36"/>
                    <a:pt x="619" y="36"/>
                  </a:cubicBezTo>
                  <a:cubicBezTo>
                    <a:pt x="619" y="39"/>
                    <a:pt x="619" y="39"/>
                    <a:pt x="619" y="39"/>
                  </a:cubicBezTo>
                  <a:cubicBezTo>
                    <a:pt x="614" y="39"/>
                    <a:pt x="614" y="39"/>
                    <a:pt x="614" y="39"/>
                  </a:cubicBezTo>
                  <a:cubicBezTo>
                    <a:pt x="613" y="35"/>
                    <a:pt x="613" y="35"/>
                    <a:pt x="613" y="35"/>
                  </a:cubicBezTo>
                  <a:cubicBezTo>
                    <a:pt x="608" y="40"/>
                    <a:pt x="608" y="40"/>
                    <a:pt x="608" y="40"/>
                  </a:cubicBezTo>
                  <a:cubicBezTo>
                    <a:pt x="605" y="40"/>
                    <a:pt x="605" y="40"/>
                    <a:pt x="605" y="40"/>
                  </a:cubicBezTo>
                  <a:cubicBezTo>
                    <a:pt x="605" y="42"/>
                    <a:pt x="605" y="42"/>
                    <a:pt x="605" y="42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603" y="37"/>
                    <a:pt x="606" y="34"/>
                    <a:pt x="608" y="33"/>
                  </a:cubicBezTo>
                  <a:cubicBezTo>
                    <a:pt x="610" y="31"/>
                    <a:pt x="612" y="25"/>
                    <a:pt x="610" y="22"/>
                  </a:cubicBezTo>
                  <a:cubicBezTo>
                    <a:pt x="609" y="21"/>
                    <a:pt x="605" y="26"/>
                    <a:pt x="604" y="28"/>
                  </a:cubicBezTo>
                  <a:cubicBezTo>
                    <a:pt x="604" y="30"/>
                    <a:pt x="599" y="32"/>
                    <a:pt x="599" y="32"/>
                  </a:cubicBezTo>
                  <a:cubicBezTo>
                    <a:pt x="599" y="32"/>
                    <a:pt x="601" y="29"/>
                    <a:pt x="602" y="28"/>
                  </a:cubicBezTo>
                  <a:cubicBezTo>
                    <a:pt x="603" y="27"/>
                    <a:pt x="606" y="21"/>
                    <a:pt x="606" y="21"/>
                  </a:cubicBezTo>
                  <a:cubicBezTo>
                    <a:pt x="602" y="21"/>
                    <a:pt x="602" y="21"/>
                    <a:pt x="602" y="21"/>
                  </a:cubicBezTo>
                  <a:cubicBezTo>
                    <a:pt x="601" y="21"/>
                    <a:pt x="598" y="25"/>
                    <a:pt x="598" y="25"/>
                  </a:cubicBezTo>
                  <a:cubicBezTo>
                    <a:pt x="598" y="25"/>
                    <a:pt x="598" y="22"/>
                    <a:pt x="599" y="21"/>
                  </a:cubicBezTo>
                  <a:cubicBezTo>
                    <a:pt x="599" y="19"/>
                    <a:pt x="604" y="19"/>
                    <a:pt x="608" y="18"/>
                  </a:cubicBezTo>
                  <a:cubicBezTo>
                    <a:pt x="613" y="17"/>
                    <a:pt x="612" y="5"/>
                    <a:pt x="612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5"/>
                    <a:pt x="604" y="8"/>
                    <a:pt x="603" y="6"/>
                  </a:cubicBezTo>
                  <a:cubicBezTo>
                    <a:pt x="601" y="6"/>
                    <a:pt x="604" y="2"/>
                    <a:pt x="602" y="1"/>
                  </a:cubicBezTo>
                  <a:cubicBezTo>
                    <a:pt x="600" y="0"/>
                    <a:pt x="598" y="5"/>
                    <a:pt x="596" y="5"/>
                  </a:cubicBezTo>
                  <a:cubicBezTo>
                    <a:pt x="593" y="6"/>
                    <a:pt x="591" y="1"/>
                    <a:pt x="587" y="2"/>
                  </a:cubicBezTo>
                  <a:cubicBezTo>
                    <a:pt x="584" y="4"/>
                    <a:pt x="591" y="11"/>
                    <a:pt x="589" y="11"/>
                  </a:cubicBezTo>
                  <a:cubicBezTo>
                    <a:pt x="587" y="12"/>
                    <a:pt x="585" y="9"/>
                    <a:pt x="581" y="8"/>
                  </a:cubicBezTo>
                  <a:cubicBezTo>
                    <a:pt x="577" y="8"/>
                    <a:pt x="584" y="13"/>
                    <a:pt x="584" y="13"/>
                  </a:cubicBezTo>
                  <a:cubicBezTo>
                    <a:pt x="581" y="14"/>
                    <a:pt x="581" y="14"/>
                    <a:pt x="581" y="14"/>
                  </a:cubicBezTo>
                  <a:cubicBezTo>
                    <a:pt x="583" y="17"/>
                    <a:pt x="583" y="17"/>
                    <a:pt x="583" y="17"/>
                  </a:cubicBezTo>
                  <a:cubicBezTo>
                    <a:pt x="586" y="17"/>
                    <a:pt x="586" y="17"/>
                    <a:pt x="586" y="17"/>
                  </a:cubicBezTo>
                  <a:cubicBezTo>
                    <a:pt x="593" y="21"/>
                    <a:pt x="593" y="21"/>
                    <a:pt x="593" y="21"/>
                  </a:cubicBezTo>
                  <a:cubicBezTo>
                    <a:pt x="586" y="22"/>
                    <a:pt x="586" y="22"/>
                    <a:pt x="586" y="22"/>
                  </a:cubicBezTo>
                  <a:cubicBezTo>
                    <a:pt x="587" y="27"/>
                    <a:pt x="587" y="27"/>
                    <a:pt x="587" y="27"/>
                  </a:cubicBezTo>
                  <a:cubicBezTo>
                    <a:pt x="583" y="27"/>
                    <a:pt x="583" y="27"/>
                    <a:pt x="583" y="27"/>
                  </a:cubicBezTo>
                  <a:cubicBezTo>
                    <a:pt x="583" y="30"/>
                    <a:pt x="583" y="30"/>
                    <a:pt x="583" y="30"/>
                  </a:cubicBezTo>
                  <a:cubicBezTo>
                    <a:pt x="585" y="31"/>
                    <a:pt x="585" y="31"/>
                    <a:pt x="585" y="31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7" y="36"/>
                    <a:pt x="587" y="36"/>
                    <a:pt x="587" y="36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87" y="45"/>
                    <a:pt x="587" y="45"/>
                    <a:pt x="587" y="45"/>
                  </a:cubicBezTo>
                  <a:cubicBezTo>
                    <a:pt x="580" y="45"/>
                    <a:pt x="580" y="45"/>
                    <a:pt x="580" y="45"/>
                  </a:cubicBezTo>
                  <a:cubicBezTo>
                    <a:pt x="576" y="55"/>
                    <a:pt x="576" y="55"/>
                    <a:pt x="576" y="55"/>
                  </a:cubicBezTo>
                  <a:cubicBezTo>
                    <a:pt x="574" y="35"/>
                    <a:pt x="574" y="35"/>
                    <a:pt x="574" y="35"/>
                  </a:cubicBezTo>
                  <a:cubicBezTo>
                    <a:pt x="569" y="37"/>
                    <a:pt x="569" y="37"/>
                    <a:pt x="569" y="37"/>
                  </a:cubicBezTo>
                  <a:cubicBezTo>
                    <a:pt x="575" y="26"/>
                    <a:pt x="575" y="26"/>
                    <a:pt x="575" y="26"/>
                  </a:cubicBezTo>
                  <a:cubicBezTo>
                    <a:pt x="573" y="24"/>
                    <a:pt x="573" y="24"/>
                    <a:pt x="573" y="24"/>
                  </a:cubicBezTo>
                  <a:cubicBezTo>
                    <a:pt x="573" y="24"/>
                    <a:pt x="574" y="17"/>
                    <a:pt x="569" y="17"/>
                  </a:cubicBezTo>
                  <a:cubicBezTo>
                    <a:pt x="564" y="18"/>
                    <a:pt x="564" y="32"/>
                    <a:pt x="564" y="32"/>
                  </a:cubicBezTo>
                  <a:cubicBezTo>
                    <a:pt x="560" y="33"/>
                    <a:pt x="560" y="33"/>
                    <a:pt x="560" y="33"/>
                  </a:cubicBezTo>
                  <a:cubicBezTo>
                    <a:pt x="560" y="33"/>
                    <a:pt x="561" y="41"/>
                    <a:pt x="558" y="45"/>
                  </a:cubicBezTo>
                  <a:cubicBezTo>
                    <a:pt x="556" y="50"/>
                    <a:pt x="550" y="60"/>
                    <a:pt x="550" y="60"/>
                  </a:cubicBezTo>
                  <a:cubicBezTo>
                    <a:pt x="550" y="60"/>
                    <a:pt x="555" y="62"/>
                    <a:pt x="554" y="65"/>
                  </a:cubicBezTo>
                  <a:cubicBezTo>
                    <a:pt x="553" y="68"/>
                    <a:pt x="551" y="73"/>
                    <a:pt x="551" y="73"/>
                  </a:cubicBezTo>
                  <a:cubicBezTo>
                    <a:pt x="549" y="78"/>
                    <a:pt x="549" y="78"/>
                    <a:pt x="549" y="78"/>
                  </a:cubicBezTo>
                  <a:cubicBezTo>
                    <a:pt x="546" y="74"/>
                    <a:pt x="546" y="74"/>
                    <a:pt x="546" y="74"/>
                  </a:cubicBezTo>
                  <a:cubicBezTo>
                    <a:pt x="544" y="77"/>
                    <a:pt x="544" y="77"/>
                    <a:pt x="544" y="77"/>
                  </a:cubicBezTo>
                  <a:cubicBezTo>
                    <a:pt x="541" y="71"/>
                    <a:pt x="541" y="71"/>
                    <a:pt x="541" y="71"/>
                  </a:cubicBezTo>
                  <a:cubicBezTo>
                    <a:pt x="547" y="55"/>
                    <a:pt x="547" y="55"/>
                    <a:pt x="547" y="55"/>
                  </a:cubicBezTo>
                  <a:cubicBezTo>
                    <a:pt x="542" y="55"/>
                    <a:pt x="542" y="55"/>
                    <a:pt x="542" y="55"/>
                  </a:cubicBezTo>
                  <a:cubicBezTo>
                    <a:pt x="541" y="52"/>
                    <a:pt x="541" y="52"/>
                    <a:pt x="541" y="52"/>
                  </a:cubicBezTo>
                  <a:cubicBezTo>
                    <a:pt x="553" y="34"/>
                    <a:pt x="553" y="34"/>
                    <a:pt x="553" y="34"/>
                  </a:cubicBezTo>
                  <a:cubicBezTo>
                    <a:pt x="551" y="32"/>
                    <a:pt x="551" y="32"/>
                    <a:pt x="551" y="32"/>
                  </a:cubicBezTo>
                  <a:cubicBezTo>
                    <a:pt x="551" y="32"/>
                    <a:pt x="556" y="25"/>
                    <a:pt x="554" y="24"/>
                  </a:cubicBezTo>
                  <a:cubicBezTo>
                    <a:pt x="552" y="22"/>
                    <a:pt x="546" y="29"/>
                    <a:pt x="546" y="29"/>
                  </a:cubicBezTo>
                  <a:cubicBezTo>
                    <a:pt x="546" y="22"/>
                    <a:pt x="546" y="22"/>
                    <a:pt x="546" y="22"/>
                  </a:cubicBezTo>
                  <a:cubicBezTo>
                    <a:pt x="540" y="22"/>
                    <a:pt x="540" y="22"/>
                    <a:pt x="540" y="22"/>
                  </a:cubicBezTo>
                  <a:cubicBezTo>
                    <a:pt x="542" y="26"/>
                    <a:pt x="542" y="26"/>
                    <a:pt x="542" y="26"/>
                  </a:cubicBezTo>
                  <a:cubicBezTo>
                    <a:pt x="541" y="31"/>
                    <a:pt x="541" y="31"/>
                    <a:pt x="541" y="31"/>
                  </a:cubicBezTo>
                  <a:cubicBezTo>
                    <a:pt x="537" y="26"/>
                    <a:pt x="537" y="26"/>
                    <a:pt x="537" y="26"/>
                  </a:cubicBezTo>
                  <a:cubicBezTo>
                    <a:pt x="534" y="29"/>
                    <a:pt x="534" y="29"/>
                    <a:pt x="534" y="29"/>
                  </a:cubicBezTo>
                  <a:cubicBezTo>
                    <a:pt x="535" y="24"/>
                    <a:pt x="535" y="24"/>
                    <a:pt x="535" y="24"/>
                  </a:cubicBezTo>
                  <a:cubicBezTo>
                    <a:pt x="534" y="22"/>
                    <a:pt x="534" y="22"/>
                    <a:pt x="534" y="22"/>
                  </a:cubicBezTo>
                  <a:cubicBezTo>
                    <a:pt x="532" y="26"/>
                    <a:pt x="532" y="26"/>
                    <a:pt x="532" y="26"/>
                  </a:cubicBezTo>
                  <a:cubicBezTo>
                    <a:pt x="525" y="21"/>
                    <a:pt x="525" y="21"/>
                    <a:pt x="525" y="21"/>
                  </a:cubicBezTo>
                  <a:cubicBezTo>
                    <a:pt x="523" y="27"/>
                    <a:pt x="523" y="27"/>
                    <a:pt x="523" y="27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6" y="31"/>
                    <a:pt x="526" y="31"/>
                    <a:pt x="526" y="31"/>
                  </a:cubicBezTo>
                  <a:cubicBezTo>
                    <a:pt x="526" y="35"/>
                    <a:pt x="526" y="35"/>
                    <a:pt x="526" y="35"/>
                  </a:cubicBezTo>
                  <a:cubicBezTo>
                    <a:pt x="523" y="34"/>
                    <a:pt x="523" y="34"/>
                    <a:pt x="523" y="3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9"/>
                    <a:pt x="519" y="39"/>
                    <a:pt x="519" y="39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46"/>
                    <a:pt x="532" y="46"/>
                    <a:pt x="532" y="46"/>
                  </a:cubicBezTo>
                  <a:cubicBezTo>
                    <a:pt x="532" y="48"/>
                    <a:pt x="532" y="48"/>
                    <a:pt x="532" y="48"/>
                  </a:cubicBezTo>
                  <a:cubicBezTo>
                    <a:pt x="532" y="48"/>
                    <a:pt x="530" y="46"/>
                    <a:pt x="527" y="45"/>
                  </a:cubicBezTo>
                  <a:cubicBezTo>
                    <a:pt x="525" y="43"/>
                    <a:pt x="521" y="43"/>
                    <a:pt x="521" y="43"/>
                  </a:cubicBezTo>
                  <a:cubicBezTo>
                    <a:pt x="520" y="53"/>
                    <a:pt x="520" y="53"/>
                    <a:pt x="520" y="53"/>
                  </a:cubicBezTo>
                  <a:cubicBezTo>
                    <a:pt x="522" y="52"/>
                    <a:pt x="522" y="52"/>
                    <a:pt x="522" y="52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25" y="58"/>
                    <a:pt x="522" y="57"/>
                    <a:pt x="519" y="56"/>
                  </a:cubicBezTo>
                  <a:cubicBezTo>
                    <a:pt x="515" y="56"/>
                    <a:pt x="514" y="59"/>
                    <a:pt x="514" y="59"/>
                  </a:cubicBezTo>
                  <a:cubicBezTo>
                    <a:pt x="505" y="75"/>
                    <a:pt x="505" y="75"/>
                    <a:pt x="505" y="75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4" y="78"/>
                    <a:pt x="504" y="78"/>
                    <a:pt x="504" y="78"/>
                  </a:cubicBezTo>
                  <a:cubicBezTo>
                    <a:pt x="508" y="83"/>
                    <a:pt x="508" y="83"/>
                    <a:pt x="508" y="83"/>
                  </a:cubicBezTo>
                  <a:cubicBezTo>
                    <a:pt x="505" y="85"/>
                    <a:pt x="505" y="85"/>
                    <a:pt x="505" y="85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04" y="92"/>
                    <a:pt x="504" y="92"/>
                    <a:pt x="504" y="92"/>
                  </a:cubicBezTo>
                  <a:cubicBezTo>
                    <a:pt x="499" y="83"/>
                    <a:pt x="499" y="83"/>
                    <a:pt x="499" y="83"/>
                  </a:cubicBezTo>
                  <a:cubicBezTo>
                    <a:pt x="486" y="91"/>
                    <a:pt x="486" y="91"/>
                    <a:pt x="486" y="91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6" y="89"/>
                    <a:pt x="497" y="83"/>
                    <a:pt x="498" y="79"/>
                  </a:cubicBezTo>
                  <a:cubicBezTo>
                    <a:pt x="499" y="76"/>
                    <a:pt x="489" y="78"/>
                    <a:pt x="489" y="78"/>
                  </a:cubicBezTo>
                  <a:cubicBezTo>
                    <a:pt x="489" y="78"/>
                    <a:pt x="486" y="75"/>
                    <a:pt x="484" y="78"/>
                  </a:cubicBezTo>
                  <a:cubicBezTo>
                    <a:pt x="481" y="81"/>
                    <a:pt x="487" y="84"/>
                    <a:pt x="487" y="84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1" y="76"/>
                    <a:pt x="476" y="76"/>
                  </a:cubicBezTo>
                  <a:cubicBezTo>
                    <a:pt x="472" y="76"/>
                    <a:pt x="472" y="82"/>
                    <a:pt x="472" y="82"/>
                  </a:cubicBezTo>
                  <a:cubicBezTo>
                    <a:pt x="465" y="77"/>
                    <a:pt x="465" y="77"/>
                    <a:pt x="465" y="77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464" y="80"/>
                    <a:pt x="460" y="79"/>
                    <a:pt x="458" y="82"/>
                  </a:cubicBezTo>
                  <a:cubicBezTo>
                    <a:pt x="456" y="87"/>
                    <a:pt x="465" y="87"/>
                    <a:pt x="465" y="87"/>
                  </a:cubicBezTo>
                  <a:cubicBezTo>
                    <a:pt x="462" y="90"/>
                    <a:pt x="462" y="90"/>
                    <a:pt x="462" y="90"/>
                  </a:cubicBezTo>
                  <a:cubicBezTo>
                    <a:pt x="472" y="92"/>
                    <a:pt x="472" y="92"/>
                    <a:pt x="472" y="92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3" y="94"/>
                    <a:pt x="473" y="94"/>
                    <a:pt x="473" y="94"/>
                  </a:cubicBezTo>
                  <a:cubicBezTo>
                    <a:pt x="474" y="95"/>
                    <a:pt x="474" y="95"/>
                    <a:pt x="474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7"/>
                    <a:pt x="478" y="97"/>
                    <a:pt x="478" y="97"/>
                  </a:cubicBezTo>
                  <a:cubicBezTo>
                    <a:pt x="475" y="97"/>
                    <a:pt x="475" y="97"/>
                    <a:pt x="475" y="97"/>
                  </a:cubicBezTo>
                  <a:cubicBezTo>
                    <a:pt x="478" y="103"/>
                    <a:pt x="478" y="103"/>
                    <a:pt x="478" y="103"/>
                  </a:cubicBezTo>
                  <a:cubicBezTo>
                    <a:pt x="478" y="106"/>
                    <a:pt x="478" y="106"/>
                    <a:pt x="478" y="106"/>
                  </a:cubicBezTo>
                  <a:cubicBezTo>
                    <a:pt x="478" y="106"/>
                    <a:pt x="484" y="110"/>
                    <a:pt x="482" y="111"/>
                  </a:cubicBezTo>
                  <a:cubicBezTo>
                    <a:pt x="479" y="112"/>
                    <a:pt x="474" y="103"/>
                    <a:pt x="474" y="103"/>
                  </a:cubicBezTo>
                  <a:cubicBezTo>
                    <a:pt x="469" y="100"/>
                    <a:pt x="469" y="100"/>
                    <a:pt x="469" y="100"/>
                  </a:cubicBezTo>
                  <a:cubicBezTo>
                    <a:pt x="469" y="100"/>
                    <a:pt x="465" y="94"/>
                    <a:pt x="460" y="94"/>
                  </a:cubicBezTo>
                  <a:cubicBezTo>
                    <a:pt x="457" y="94"/>
                    <a:pt x="459" y="100"/>
                    <a:pt x="459" y="100"/>
                  </a:cubicBezTo>
                  <a:cubicBezTo>
                    <a:pt x="461" y="104"/>
                    <a:pt x="461" y="104"/>
                    <a:pt x="461" y="104"/>
                  </a:cubicBezTo>
                  <a:cubicBezTo>
                    <a:pt x="458" y="106"/>
                    <a:pt x="458" y="106"/>
                    <a:pt x="458" y="106"/>
                  </a:cubicBezTo>
                  <a:cubicBezTo>
                    <a:pt x="456" y="111"/>
                    <a:pt x="456" y="111"/>
                    <a:pt x="456" y="111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57" y="102"/>
                    <a:pt x="457" y="102"/>
                    <a:pt x="457" y="102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1" y="106"/>
                    <a:pt x="451" y="106"/>
                    <a:pt x="451" y="106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448" y="124"/>
                    <a:pt x="448" y="124"/>
                    <a:pt x="448" y="124"/>
                  </a:cubicBezTo>
                  <a:cubicBezTo>
                    <a:pt x="452" y="129"/>
                    <a:pt x="452" y="129"/>
                    <a:pt x="452" y="129"/>
                  </a:cubicBezTo>
                  <a:cubicBezTo>
                    <a:pt x="444" y="126"/>
                    <a:pt x="444" y="126"/>
                    <a:pt x="444" y="126"/>
                  </a:cubicBezTo>
                  <a:cubicBezTo>
                    <a:pt x="442" y="140"/>
                    <a:pt x="442" y="140"/>
                    <a:pt x="442" y="140"/>
                  </a:cubicBezTo>
                  <a:cubicBezTo>
                    <a:pt x="440" y="140"/>
                    <a:pt x="440" y="140"/>
                    <a:pt x="440" y="140"/>
                  </a:cubicBezTo>
                  <a:cubicBezTo>
                    <a:pt x="436" y="147"/>
                    <a:pt x="436" y="147"/>
                    <a:pt x="436" y="147"/>
                  </a:cubicBezTo>
                  <a:cubicBezTo>
                    <a:pt x="434" y="144"/>
                    <a:pt x="434" y="144"/>
                    <a:pt x="434" y="144"/>
                  </a:cubicBezTo>
                  <a:cubicBezTo>
                    <a:pt x="439" y="138"/>
                    <a:pt x="439" y="138"/>
                    <a:pt x="439" y="138"/>
                  </a:cubicBezTo>
                  <a:cubicBezTo>
                    <a:pt x="441" y="129"/>
                    <a:pt x="441" y="129"/>
                    <a:pt x="441" y="129"/>
                  </a:cubicBezTo>
                  <a:cubicBezTo>
                    <a:pt x="440" y="128"/>
                    <a:pt x="440" y="128"/>
                    <a:pt x="440" y="128"/>
                  </a:cubicBezTo>
                  <a:cubicBezTo>
                    <a:pt x="443" y="125"/>
                    <a:pt x="443" y="125"/>
                    <a:pt x="443" y="125"/>
                  </a:cubicBezTo>
                  <a:cubicBezTo>
                    <a:pt x="441" y="120"/>
                    <a:pt x="441" y="120"/>
                    <a:pt x="441" y="120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09"/>
                    <a:pt x="439" y="102"/>
                    <a:pt x="439" y="102"/>
                  </a:cubicBezTo>
                  <a:cubicBezTo>
                    <a:pt x="434" y="106"/>
                    <a:pt x="434" y="106"/>
                    <a:pt x="434" y="106"/>
                  </a:cubicBezTo>
                  <a:cubicBezTo>
                    <a:pt x="434" y="106"/>
                    <a:pt x="435" y="112"/>
                    <a:pt x="432" y="115"/>
                  </a:cubicBezTo>
                  <a:cubicBezTo>
                    <a:pt x="428" y="118"/>
                    <a:pt x="431" y="124"/>
                    <a:pt x="431" y="124"/>
                  </a:cubicBezTo>
                  <a:cubicBezTo>
                    <a:pt x="434" y="126"/>
                    <a:pt x="434" y="126"/>
                    <a:pt x="434" y="126"/>
                  </a:cubicBezTo>
                  <a:cubicBezTo>
                    <a:pt x="429" y="128"/>
                    <a:pt x="429" y="128"/>
                    <a:pt x="429" y="128"/>
                  </a:cubicBezTo>
                  <a:cubicBezTo>
                    <a:pt x="429" y="137"/>
                    <a:pt x="429" y="137"/>
                    <a:pt x="429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7" y="124"/>
                    <a:pt x="427" y="124"/>
                    <a:pt x="427" y="124"/>
                  </a:cubicBezTo>
                  <a:cubicBezTo>
                    <a:pt x="426" y="124"/>
                    <a:pt x="426" y="124"/>
                    <a:pt x="426" y="124"/>
                  </a:cubicBezTo>
                  <a:cubicBezTo>
                    <a:pt x="426" y="113"/>
                    <a:pt x="426" y="113"/>
                    <a:pt x="426" y="113"/>
                  </a:cubicBezTo>
                  <a:cubicBezTo>
                    <a:pt x="426" y="113"/>
                    <a:pt x="421" y="115"/>
                    <a:pt x="413" y="119"/>
                  </a:cubicBezTo>
                  <a:cubicBezTo>
                    <a:pt x="405" y="121"/>
                    <a:pt x="410" y="132"/>
                    <a:pt x="410" y="132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3" y="132"/>
                    <a:pt x="413" y="134"/>
                    <a:pt x="412" y="137"/>
                  </a:cubicBezTo>
                  <a:cubicBezTo>
                    <a:pt x="411" y="139"/>
                    <a:pt x="416" y="142"/>
                    <a:pt x="420" y="142"/>
                  </a:cubicBezTo>
                  <a:cubicBezTo>
                    <a:pt x="424" y="143"/>
                    <a:pt x="424" y="150"/>
                    <a:pt x="424" y="150"/>
                  </a:cubicBezTo>
                  <a:cubicBezTo>
                    <a:pt x="427" y="151"/>
                    <a:pt x="427" y="151"/>
                    <a:pt x="427" y="151"/>
                  </a:cubicBezTo>
                  <a:cubicBezTo>
                    <a:pt x="425" y="152"/>
                    <a:pt x="425" y="152"/>
                    <a:pt x="425" y="152"/>
                  </a:cubicBezTo>
                  <a:cubicBezTo>
                    <a:pt x="425" y="152"/>
                    <a:pt x="421" y="150"/>
                    <a:pt x="421" y="147"/>
                  </a:cubicBezTo>
                  <a:cubicBezTo>
                    <a:pt x="421" y="144"/>
                    <a:pt x="416" y="144"/>
                    <a:pt x="412" y="143"/>
                  </a:cubicBezTo>
                  <a:cubicBezTo>
                    <a:pt x="410" y="143"/>
                    <a:pt x="407" y="134"/>
                    <a:pt x="407" y="134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9" y="136"/>
                    <a:pt x="400" y="140"/>
                    <a:pt x="402" y="143"/>
                  </a:cubicBezTo>
                  <a:cubicBezTo>
                    <a:pt x="405" y="146"/>
                    <a:pt x="409" y="147"/>
                    <a:pt x="409" y="147"/>
                  </a:cubicBezTo>
                  <a:cubicBezTo>
                    <a:pt x="409" y="147"/>
                    <a:pt x="405" y="148"/>
                    <a:pt x="402" y="146"/>
                  </a:cubicBezTo>
                  <a:cubicBezTo>
                    <a:pt x="399" y="145"/>
                    <a:pt x="394" y="138"/>
                    <a:pt x="394" y="138"/>
                  </a:cubicBezTo>
                  <a:cubicBezTo>
                    <a:pt x="390" y="139"/>
                    <a:pt x="390" y="139"/>
                    <a:pt x="390" y="139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92" y="159"/>
                    <a:pt x="392" y="159"/>
                    <a:pt x="392" y="159"/>
                  </a:cubicBezTo>
                  <a:cubicBezTo>
                    <a:pt x="380" y="160"/>
                    <a:pt x="380" y="160"/>
                    <a:pt x="380" y="160"/>
                  </a:cubicBezTo>
                  <a:cubicBezTo>
                    <a:pt x="384" y="165"/>
                    <a:pt x="384" y="165"/>
                    <a:pt x="384" y="165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84" y="174"/>
                    <a:pt x="384" y="174"/>
                    <a:pt x="384" y="174"/>
                  </a:cubicBezTo>
                  <a:cubicBezTo>
                    <a:pt x="387" y="176"/>
                    <a:pt x="387" y="176"/>
                    <a:pt x="387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0" y="181"/>
                    <a:pt x="380" y="181"/>
                    <a:pt x="380" y="181"/>
                  </a:cubicBezTo>
                  <a:cubicBezTo>
                    <a:pt x="385" y="183"/>
                    <a:pt x="385" y="183"/>
                    <a:pt x="385" y="183"/>
                  </a:cubicBezTo>
                  <a:cubicBezTo>
                    <a:pt x="377" y="183"/>
                    <a:pt x="377" y="183"/>
                    <a:pt x="377" y="183"/>
                  </a:cubicBezTo>
                  <a:cubicBezTo>
                    <a:pt x="371" y="184"/>
                    <a:pt x="377" y="187"/>
                    <a:pt x="377" y="187"/>
                  </a:cubicBezTo>
                  <a:cubicBezTo>
                    <a:pt x="382" y="189"/>
                    <a:pt x="382" y="189"/>
                    <a:pt x="382" y="189"/>
                  </a:cubicBezTo>
                  <a:cubicBezTo>
                    <a:pt x="382" y="189"/>
                    <a:pt x="375" y="187"/>
                    <a:pt x="372" y="188"/>
                  </a:cubicBezTo>
                  <a:cubicBezTo>
                    <a:pt x="370" y="188"/>
                    <a:pt x="371" y="190"/>
                    <a:pt x="371" y="190"/>
                  </a:cubicBezTo>
                  <a:cubicBezTo>
                    <a:pt x="375" y="191"/>
                    <a:pt x="375" y="191"/>
                    <a:pt x="375" y="191"/>
                  </a:cubicBezTo>
                  <a:cubicBezTo>
                    <a:pt x="374" y="195"/>
                    <a:pt x="374" y="195"/>
                    <a:pt x="374" y="195"/>
                  </a:cubicBezTo>
                  <a:cubicBezTo>
                    <a:pt x="374" y="192"/>
                    <a:pt x="374" y="192"/>
                    <a:pt x="374" y="192"/>
                  </a:cubicBezTo>
                  <a:cubicBezTo>
                    <a:pt x="370" y="191"/>
                    <a:pt x="370" y="191"/>
                    <a:pt x="370" y="191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91"/>
                    <a:pt x="367" y="191"/>
                    <a:pt x="367" y="191"/>
                  </a:cubicBezTo>
                  <a:cubicBezTo>
                    <a:pt x="367" y="191"/>
                    <a:pt x="366" y="192"/>
                    <a:pt x="361" y="192"/>
                  </a:cubicBezTo>
                  <a:cubicBezTo>
                    <a:pt x="357" y="192"/>
                    <a:pt x="357" y="200"/>
                    <a:pt x="357" y="200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68" y="203"/>
                    <a:pt x="369" y="205"/>
                    <a:pt x="372" y="205"/>
                  </a:cubicBezTo>
                  <a:cubicBezTo>
                    <a:pt x="375" y="205"/>
                    <a:pt x="382" y="199"/>
                    <a:pt x="382" y="199"/>
                  </a:cubicBezTo>
                  <a:cubicBezTo>
                    <a:pt x="380" y="203"/>
                    <a:pt x="380" y="203"/>
                    <a:pt x="380" y="203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76" y="207"/>
                    <a:pt x="376" y="207"/>
                    <a:pt x="376" y="207"/>
                  </a:cubicBezTo>
                  <a:cubicBezTo>
                    <a:pt x="376" y="213"/>
                    <a:pt x="376" y="213"/>
                    <a:pt x="376" y="213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4" y="209"/>
                    <a:pt x="374" y="209"/>
                    <a:pt x="374" y="209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211"/>
                    <a:pt x="364" y="208"/>
                    <a:pt x="361" y="208"/>
                  </a:cubicBezTo>
                  <a:cubicBezTo>
                    <a:pt x="358" y="207"/>
                    <a:pt x="353" y="209"/>
                    <a:pt x="351" y="213"/>
                  </a:cubicBezTo>
                  <a:cubicBezTo>
                    <a:pt x="348" y="215"/>
                    <a:pt x="355" y="215"/>
                    <a:pt x="358" y="216"/>
                  </a:cubicBezTo>
                  <a:cubicBezTo>
                    <a:pt x="362" y="217"/>
                    <a:pt x="361" y="221"/>
                    <a:pt x="361" y="221"/>
                  </a:cubicBezTo>
                  <a:cubicBezTo>
                    <a:pt x="364" y="223"/>
                    <a:pt x="364" y="223"/>
                    <a:pt x="364" y="223"/>
                  </a:cubicBezTo>
                  <a:cubicBezTo>
                    <a:pt x="363" y="224"/>
                    <a:pt x="363" y="224"/>
                    <a:pt x="363" y="224"/>
                  </a:cubicBezTo>
                  <a:cubicBezTo>
                    <a:pt x="363" y="224"/>
                    <a:pt x="359" y="221"/>
                    <a:pt x="357" y="219"/>
                  </a:cubicBezTo>
                  <a:cubicBezTo>
                    <a:pt x="355" y="217"/>
                    <a:pt x="348" y="216"/>
                    <a:pt x="348" y="216"/>
                  </a:cubicBezTo>
                  <a:cubicBezTo>
                    <a:pt x="347" y="218"/>
                    <a:pt x="347" y="218"/>
                    <a:pt x="347" y="218"/>
                  </a:cubicBezTo>
                  <a:cubicBezTo>
                    <a:pt x="353" y="219"/>
                    <a:pt x="353" y="219"/>
                    <a:pt x="353" y="219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52" y="223"/>
                    <a:pt x="352" y="223"/>
                    <a:pt x="352" y="223"/>
                  </a:cubicBezTo>
                  <a:cubicBezTo>
                    <a:pt x="355" y="222"/>
                    <a:pt x="355" y="222"/>
                    <a:pt x="355" y="222"/>
                  </a:cubicBezTo>
                  <a:cubicBezTo>
                    <a:pt x="358" y="223"/>
                    <a:pt x="358" y="223"/>
                    <a:pt x="358" y="223"/>
                  </a:cubicBezTo>
                  <a:cubicBezTo>
                    <a:pt x="351" y="226"/>
                    <a:pt x="351" y="226"/>
                    <a:pt x="351" y="226"/>
                  </a:cubicBezTo>
                  <a:cubicBezTo>
                    <a:pt x="352" y="230"/>
                    <a:pt x="352" y="230"/>
                    <a:pt x="352" y="230"/>
                  </a:cubicBezTo>
                  <a:cubicBezTo>
                    <a:pt x="352" y="230"/>
                    <a:pt x="354" y="229"/>
                    <a:pt x="356" y="231"/>
                  </a:cubicBezTo>
                  <a:cubicBezTo>
                    <a:pt x="357" y="233"/>
                    <a:pt x="352" y="236"/>
                    <a:pt x="348" y="235"/>
                  </a:cubicBezTo>
                  <a:cubicBezTo>
                    <a:pt x="345" y="233"/>
                    <a:pt x="346" y="221"/>
                    <a:pt x="346" y="221"/>
                  </a:cubicBezTo>
                  <a:cubicBezTo>
                    <a:pt x="343" y="221"/>
                    <a:pt x="343" y="221"/>
                    <a:pt x="343" y="221"/>
                  </a:cubicBezTo>
                  <a:cubicBezTo>
                    <a:pt x="338" y="230"/>
                    <a:pt x="338" y="230"/>
                    <a:pt x="338" y="230"/>
                  </a:cubicBezTo>
                  <a:cubicBezTo>
                    <a:pt x="337" y="224"/>
                    <a:pt x="337" y="224"/>
                    <a:pt x="337" y="224"/>
                  </a:cubicBezTo>
                  <a:cubicBezTo>
                    <a:pt x="335" y="224"/>
                    <a:pt x="335" y="224"/>
                    <a:pt x="335" y="224"/>
                  </a:cubicBezTo>
                  <a:cubicBezTo>
                    <a:pt x="334" y="229"/>
                    <a:pt x="334" y="229"/>
                    <a:pt x="334" y="229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27" y="235"/>
                    <a:pt x="327" y="235"/>
                    <a:pt x="327" y="235"/>
                  </a:cubicBezTo>
                  <a:cubicBezTo>
                    <a:pt x="329" y="238"/>
                    <a:pt x="329" y="238"/>
                    <a:pt x="329" y="238"/>
                  </a:cubicBezTo>
                  <a:cubicBezTo>
                    <a:pt x="331" y="237"/>
                    <a:pt x="331" y="237"/>
                    <a:pt x="331" y="237"/>
                  </a:cubicBezTo>
                  <a:cubicBezTo>
                    <a:pt x="331" y="234"/>
                    <a:pt x="331" y="234"/>
                    <a:pt x="331" y="234"/>
                  </a:cubicBezTo>
                  <a:cubicBezTo>
                    <a:pt x="335" y="232"/>
                    <a:pt x="335" y="232"/>
                    <a:pt x="335" y="232"/>
                  </a:cubicBezTo>
                  <a:cubicBezTo>
                    <a:pt x="337" y="234"/>
                    <a:pt x="337" y="234"/>
                    <a:pt x="337" y="234"/>
                  </a:cubicBezTo>
                  <a:cubicBezTo>
                    <a:pt x="333" y="237"/>
                    <a:pt x="333" y="237"/>
                    <a:pt x="333" y="237"/>
                  </a:cubicBezTo>
                  <a:cubicBezTo>
                    <a:pt x="335" y="238"/>
                    <a:pt x="335" y="238"/>
                    <a:pt x="335" y="238"/>
                  </a:cubicBezTo>
                  <a:cubicBezTo>
                    <a:pt x="335" y="238"/>
                    <a:pt x="339" y="238"/>
                    <a:pt x="341" y="239"/>
                  </a:cubicBezTo>
                  <a:cubicBezTo>
                    <a:pt x="343" y="239"/>
                    <a:pt x="340" y="236"/>
                    <a:pt x="340" y="234"/>
                  </a:cubicBezTo>
                  <a:cubicBezTo>
                    <a:pt x="340" y="233"/>
                    <a:pt x="344" y="234"/>
                    <a:pt x="345" y="236"/>
                  </a:cubicBezTo>
                  <a:cubicBezTo>
                    <a:pt x="346" y="238"/>
                    <a:pt x="344" y="242"/>
                    <a:pt x="343" y="242"/>
                  </a:cubicBezTo>
                  <a:cubicBezTo>
                    <a:pt x="341" y="244"/>
                    <a:pt x="342" y="242"/>
                    <a:pt x="339" y="240"/>
                  </a:cubicBezTo>
                  <a:cubicBezTo>
                    <a:pt x="336" y="239"/>
                    <a:pt x="334" y="244"/>
                    <a:pt x="330" y="244"/>
                  </a:cubicBezTo>
                  <a:cubicBezTo>
                    <a:pt x="327" y="244"/>
                    <a:pt x="322" y="245"/>
                    <a:pt x="322" y="245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2" y="248"/>
                    <a:pt x="322" y="248"/>
                    <a:pt x="322" y="248"/>
                  </a:cubicBezTo>
                  <a:cubicBezTo>
                    <a:pt x="318" y="248"/>
                    <a:pt x="318" y="248"/>
                    <a:pt x="318" y="248"/>
                  </a:cubicBezTo>
                  <a:cubicBezTo>
                    <a:pt x="315" y="252"/>
                    <a:pt x="315" y="252"/>
                    <a:pt x="315" y="252"/>
                  </a:cubicBezTo>
                  <a:cubicBezTo>
                    <a:pt x="321" y="253"/>
                    <a:pt x="321" y="253"/>
                    <a:pt x="321" y="253"/>
                  </a:cubicBezTo>
                  <a:cubicBezTo>
                    <a:pt x="315" y="256"/>
                    <a:pt x="315" y="256"/>
                    <a:pt x="315" y="256"/>
                  </a:cubicBezTo>
                  <a:cubicBezTo>
                    <a:pt x="315" y="256"/>
                    <a:pt x="318" y="260"/>
                    <a:pt x="322" y="258"/>
                  </a:cubicBezTo>
                  <a:cubicBezTo>
                    <a:pt x="327" y="256"/>
                    <a:pt x="331" y="249"/>
                    <a:pt x="331" y="249"/>
                  </a:cubicBezTo>
                  <a:cubicBezTo>
                    <a:pt x="342" y="256"/>
                    <a:pt x="342" y="256"/>
                    <a:pt x="342" y="256"/>
                  </a:cubicBezTo>
                  <a:cubicBezTo>
                    <a:pt x="334" y="253"/>
                    <a:pt x="334" y="253"/>
                    <a:pt x="334" y="253"/>
                  </a:cubicBezTo>
                  <a:cubicBezTo>
                    <a:pt x="331" y="254"/>
                    <a:pt x="331" y="254"/>
                    <a:pt x="331" y="254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29" y="256"/>
                    <a:pt x="329" y="256"/>
                    <a:pt x="329" y="256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0" y="263"/>
                    <a:pt x="330" y="263"/>
                    <a:pt x="330" y="263"/>
                  </a:cubicBezTo>
                  <a:cubicBezTo>
                    <a:pt x="328" y="267"/>
                    <a:pt x="328" y="267"/>
                    <a:pt x="328" y="267"/>
                  </a:cubicBezTo>
                  <a:cubicBezTo>
                    <a:pt x="329" y="269"/>
                    <a:pt x="335" y="267"/>
                    <a:pt x="335" y="267"/>
                  </a:cubicBezTo>
                  <a:cubicBezTo>
                    <a:pt x="339" y="265"/>
                    <a:pt x="339" y="265"/>
                    <a:pt x="339" y="265"/>
                  </a:cubicBezTo>
                  <a:cubicBezTo>
                    <a:pt x="336" y="274"/>
                    <a:pt x="336" y="274"/>
                    <a:pt x="336" y="274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7" y="278"/>
                    <a:pt x="337" y="278"/>
                    <a:pt x="337" y="278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1"/>
                    <a:pt x="339" y="281"/>
                    <a:pt x="337" y="280"/>
                  </a:cubicBezTo>
                  <a:cubicBezTo>
                    <a:pt x="335" y="280"/>
                    <a:pt x="333" y="271"/>
                    <a:pt x="331" y="270"/>
                  </a:cubicBezTo>
                  <a:cubicBezTo>
                    <a:pt x="329" y="270"/>
                    <a:pt x="327" y="271"/>
                    <a:pt x="327" y="271"/>
                  </a:cubicBezTo>
                  <a:cubicBezTo>
                    <a:pt x="327" y="271"/>
                    <a:pt x="325" y="267"/>
                    <a:pt x="322" y="266"/>
                  </a:cubicBezTo>
                  <a:cubicBezTo>
                    <a:pt x="319" y="266"/>
                    <a:pt x="313" y="273"/>
                    <a:pt x="313" y="273"/>
                  </a:cubicBezTo>
                  <a:cubicBezTo>
                    <a:pt x="321" y="274"/>
                    <a:pt x="321" y="274"/>
                    <a:pt x="321" y="274"/>
                  </a:cubicBezTo>
                  <a:cubicBezTo>
                    <a:pt x="321" y="274"/>
                    <a:pt x="318" y="276"/>
                    <a:pt x="314" y="276"/>
                  </a:cubicBezTo>
                  <a:cubicBezTo>
                    <a:pt x="312" y="276"/>
                    <a:pt x="313" y="279"/>
                    <a:pt x="312" y="281"/>
                  </a:cubicBezTo>
                  <a:cubicBezTo>
                    <a:pt x="310" y="283"/>
                    <a:pt x="306" y="285"/>
                    <a:pt x="306" y="285"/>
                  </a:cubicBezTo>
                  <a:cubicBezTo>
                    <a:pt x="317" y="285"/>
                    <a:pt x="317" y="285"/>
                    <a:pt x="317" y="285"/>
                  </a:cubicBezTo>
                  <a:cubicBezTo>
                    <a:pt x="322" y="285"/>
                    <a:pt x="327" y="282"/>
                    <a:pt x="327" y="282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35" y="285"/>
                    <a:pt x="335" y="285"/>
                    <a:pt x="335" y="285"/>
                  </a:cubicBezTo>
                  <a:cubicBezTo>
                    <a:pt x="334" y="295"/>
                    <a:pt x="334" y="295"/>
                    <a:pt x="334" y="295"/>
                  </a:cubicBezTo>
                  <a:cubicBezTo>
                    <a:pt x="331" y="290"/>
                    <a:pt x="331" y="290"/>
                    <a:pt x="331" y="290"/>
                  </a:cubicBezTo>
                  <a:cubicBezTo>
                    <a:pt x="323" y="287"/>
                    <a:pt x="323" y="287"/>
                    <a:pt x="323" y="287"/>
                  </a:cubicBezTo>
                  <a:cubicBezTo>
                    <a:pt x="318" y="294"/>
                    <a:pt x="318" y="294"/>
                    <a:pt x="318" y="294"/>
                  </a:cubicBezTo>
                  <a:cubicBezTo>
                    <a:pt x="321" y="287"/>
                    <a:pt x="321" y="287"/>
                    <a:pt x="321" y="287"/>
                  </a:cubicBezTo>
                  <a:cubicBezTo>
                    <a:pt x="308" y="288"/>
                    <a:pt x="308" y="288"/>
                    <a:pt x="308" y="288"/>
                  </a:cubicBezTo>
                  <a:cubicBezTo>
                    <a:pt x="303" y="302"/>
                    <a:pt x="303" y="302"/>
                    <a:pt x="303" y="302"/>
                  </a:cubicBezTo>
                  <a:cubicBezTo>
                    <a:pt x="297" y="301"/>
                    <a:pt x="297" y="301"/>
                    <a:pt x="297" y="301"/>
                  </a:cubicBezTo>
                  <a:cubicBezTo>
                    <a:pt x="296" y="304"/>
                    <a:pt x="296" y="304"/>
                    <a:pt x="296" y="304"/>
                  </a:cubicBezTo>
                  <a:cubicBezTo>
                    <a:pt x="296" y="304"/>
                    <a:pt x="295" y="303"/>
                    <a:pt x="290" y="305"/>
                  </a:cubicBezTo>
                  <a:cubicBezTo>
                    <a:pt x="284" y="308"/>
                    <a:pt x="284" y="311"/>
                    <a:pt x="284" y="311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286" y="316"/>
                    <a:pt x="286" y="316"/>
                    <a:pt x="286" y="316"/>
                  </a:cubicBezTo>
                  <a:cubicBezTo>
                    <a:pt x="281" y="317"/>
                    <a:pt x="281" y="317"/>
                    <a:pt x="281" y="317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79" y="321"/>
                    <a:pt x="279" y="321"/>
                    <a:pt x="279" y="321"/>
                  </a:cubicBezTo>
                  <a:cubicBezTo>
                    <a:pt x="276" y="321"/>
                    <a:pt x="276" y="321"/>
                    <a:pt x="276" y="321"/>
                  </a:cubicBezTo>
                  <a:cubicBezTo>
                    <a:pt x="282" y="327"/>
                    <a:pt x="282" y="327"/>
                    <a:pt x="282" y="327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75" y="331"/>
                    <a:pt x="275" y="331"/>
                    <a:pt x="275" y="331"/>
                  </a:cubicBezTo>
                  <a:cubicBezTo>
                    <a:pt x="277" y="333"/>
                    <a:pt x="277" y="333"/>
                    <a:pt x="277" y="333"/>
                  </a:cubicBezTo>
                  <a:cubicBezTo>
                    <a:pt x="281" y="332"/>
                    <a:pt x="281" y="332"/>
                    <a:pt x="281" y="332"/>
                  </a:cubicBezTo>
                  <a:cubicBezTo>
                    <a:pt x="287" y="335"/>
                    <a:pt x="287" y="335"/>
                    <a:pt x="287" y="335"/>
                  </a:cubicBezTo>
                  <a:cubicBezTo>
                    <a:pt x="287" y="335"/>
                    <a:pt x="282" y="334"/>
                    <a:pt x="279" y="335"/>
                  </a:cubicBezTo>
                  <a:cubicBezTo>
                    <a:pt x="276" y="336"/>
                    <a:pt x="278" y="339"/>
                    <a:pt x="278" y="339"/>
                  </a:cubicBezTo>
                  <a:cubicBezTo>
                    <a:pt x="275" y="339"/>
                    <a:pt x="275" y="339"/>
                    <a:pt x="275" y="339"/>
                  </a:cubicBezTo>
                  <a:cubicBezTo>
                    <a:pt x="275" y="335"/>
                    <a:pt x="275" y="335"/>
                    <a:pt x="275" y="335"/>
                  </a:cubicBezTo>
                  <a:cubicBezTo>
                    <a:pt x="271" y="334"/>
                    <a:pt x="271" y="334"/>
                    <a:pt x="271" y="334"/>
                  </a:cubicBezTo>
                  <a:cubicBezTo>
                    <a:pt x="270" y="336"/>
                    <a:pt x="270" y="336"/>
                    <a:pt x="270" y="336"/>
                  </a:cubicBezTo>
                  <a:cubicBezTo>
                    <a:pt x="273" y="340"/>
                    <a:pt x="273" y="340"/>
                    <a:pt x="273" y="340"/>
                  </a:cubicBezTo>
                  <a:cubicBezTo>
                    <a:pt x="273" y="340"/>
                    <a:pt x="270" y="346"/>
                    <a:pt x="272" y="348"/>
                  </a:cubicBezTo>
                  <a:cubicBezTo>
                    <a:pt x="275" y="350"/>
                    <a:pt x="284" y="347"/>
                    <a:pt x="284" y="348"/>
                  </a:cubicBezTo>
                  <a:cubicBezTo>
                    <a:pt x="284" y="349"/>
                    <a:pt x="275" y="350"/>
                    <a:pt x="275" y="350"/>
                  </a:cubicBezTo>
                  <a:cubicBezTo>
                    <a:pt x="271" y="356"/>
                    <a:pt x="271" y="356"/>
                    <a:pt x="271" y="35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85" y="351"/>
                    <a:pt x="285" y="351"/>
                    <a:pt x="285" y="351"/>
                  </a:cubicBezTo>
                  <a:cubicBezTo>
                    <a:pt x="287" y="351"/>
                    <a:pt x="287" y="351"/>
                    <a:pt x="287" y="351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0" y="353"/>
                    <a:pt x="290" y="353"/>
                    <a:pt x="290" y="353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285" y="360"/>
                    <a:pt x="285" y="360"/>
                    <a:pt x="285" y="360"/>
                  </a:cubicBezTo>
                  <a:cubicBezTo>
                    <a:pt x="285" y="360"/>
                    <a:pt x="286" y="355"/>
                    <a:pt x="285" y="353"/>
                  </a:cubicBezTo>
                  <a:cubicBezTo>
                    <a:pt x="282" y="351"/>
                    <a:pt x="277" y="356"/>
                    <a:pt x="275" y="357"/>
                  </a:cubicBezTo>
                  <a:cubicBezTo>
                    <a:pt x="273" y="359"/>
                    <a:pt x="263" y="360"/>
                    <a:pt x="262" y="363"/>
                  </a:cubicBezTo>
                  <a:cubicBezTo>
                    <a:pt x="260" y="366"/>
                    <a:pt x="269" y="364"/>
                    <a:pt x="269" y="364"/>
                  </a:cubicBezTo>
                  <a:cubicBezTo>
                    <a:pt x="268" y="371"/>
                    <a:pt x="268" y="371"/>
                    <a:pt x="268" y="371"/>
                  </a:cubicBezTo>
                  <a:cubicBezTo>
                    <a:pt x="274" y="375"/>
                    <a:pt x="274" y="375"/>
                    <a:pt x="274" y="375"/>
                  </a:cubicBezTo>
                  <a:cubicBezTo>
                    <a:pt x="274" y="375"/>
                    <a:pt x="262" y="372"/>
                    <a:pt x="261" y="375"/>
                  </a:cubicBezTo>
                  <a:cubicBezTo>
                    <a:pt x="259" y="378"/>
                    <a:pt x="261" y="381"/>
                    <a:pt x="261" y="381"/>
                  </a:cubicBezTo>
                  <a:cubicBezTo>
                    <a:pt x="259" y="381"/>
                    <a:pt x="259" y="381"/>
                    <a:pt x="259" y="381"/>
                  </a:cubicBezTo>
                  <a:cubicBezTo>
                    <a:pt x="257" y="383"/>
                    <a:pt x="257" y="383"/>
                    <a:pt x="257" y="383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7"/>
                    <a:pt x="256" y="386"/>
                    <a:pt x="253" y="389"/>
                  </a:cubicBezTo>
                  <a:cubicBezTo>
                    <a:pt x="249" y="391"/>
                    <a:pt x="254" y="398"/>
                    <a:pt x="254" y="398"/>
                  </a:cubicBezTo>
                  <a:cubicBezTo>
                    <a:pt x="258" y="399"/>
                    <a:pt x="258" y="399"/>
                    <a:pt x="258" y="399"/>
                  </a:cubicBezTo>
                  <a:cubicBezTo>
                    <a:pt x="259" y="405"/>
                    <a:pt x="259" y="405"/>
                    <a:pt x="259" y="405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49" y="396"/>
                    <a:pt x="249" y="396"/>
                    <a:pt x="249" y="396"/>
                  </a:cubicBezTo>
                  <a:cubicBezTo>
                    <a:pt x="247" y="404"/>
                    <a:pt x="247" y="404"/>
                    <a:pt x="247" y="404"/>
                  </a:cubicBezTo>
                  <a:cubicBezTo>
                    <a:pt x="252" y="404"/>
                    <a:pt x="252" y="404"/>
                    <a:pt x="252" y="404"/>
                  </a:cubicBezTo>
                  <a:cubicBezTo>
                    <a:pt x="252" y="404"/>
                    <a:pt x="248" y="406"/>
                    <a:pt x="246" y="409"/>
                  </a:cubicBezTo>
                  <a:cubicBezTo>
                    <a:pt x="244" y="411"/>
                    <a:pt x="246" y="416"/>
                    <a:pt x="246" y="416"/>
                  </a:cubicBezTo>
                  <a:cubicBezTo>
                    <a:pt x="241" y="418"/>
                    <a:pt x="241" y="418"/>
                    <a:pt x="241" y="418"/>
                  </a:cubicBezTo>
                  <a:cubicBezTo>
                    <a:pt x="243" y="420"/>
                    <a:pt x="243" y="420"/>
                    <a:pt x="243" y="420"/>
                  </a:cubicBezTo>
                  <a:cubicBezTo>
                    <a:pt x="248" y="416"/>
                    <a:pt x="248" y="416"/>
                    <a:pt x="248" y="416"/>
                  </a:cubicBezTo>
                  <a:cubicBezTo>
                    <a:pt x="248" y="413"/>
                    <a:pt x="248" y="413"/>
                    <a:pt x="248" y="413"/>
                  </a:cubicBezTo>
                  <a:cubicBezTo>
                    <a:pt x="253" y="411"/>
                    <a:pt x="253" y="411"/>
                    <a:pt x="253" y="411"/>
                  </a:cubicBezTo>
                  <a:cubicBezTo>
                    <a:pt x="249" y="415"/>
                    <a:pt x="249" y="415"/>
                    <a:pt x="249" y="415"/>
                  </a:cubicBezTo>
                  <a:cubicBezTo>
                    <a:pt x="254" y="419"/>
                    <a:pt x="254" y="419"/>
                    <a:pt x="254" y="419"/>
                  </a:cubicBezTo>
                  <a:cubicBezTo>
                    <a:pt x="253" y="423"/>
                    <a:pt x="253" y="423"/>
                    <a:pt x="253" y="423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1" y="414"/>
                    <a:pt x="271" y="414"/>
                    <a:pt x="271" y="414"/>
                  </a:cubicBezTo>
                  <a:cubicBezTo>
                    <a:pt x="256" y="427"/>
                    <a:pt x="256" y="427"/>
                    <a:pt x="256" y="427"/>
                  </a:cubicBezTo>
                  <a:cubicBezTo>
                    <a:pt x="252" y="428"/>
                    <a:pt x="252" y="428"/>
                    <a:pt x="252" y="428"/>
                  </a:cubicBezTo>
                  <a:cubicBezTo>
                    <a:pt x="249" y="421"/>
                    <a:pt x="249" y="421"/>
                    <a:pt x="249" y="421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43" y="424"/>
                    <a:pt x="243" y="424"/>
                    <a:pt x="243" y="424"/>
                  </a:cubicBezTo>
                  <a:cubicBezTo>
                    <a:pt x="243" y="424"/>
                    <a:pt x="239" y="424"/>
                    <a:pt x="239" y="426"/>
                  </a:cubicBezTo>
                  <a:cubicBezTo>
                    <a:pt x="239" y="427"/>
                    <a:pt x="235" y="435"/>
                    <a:pt x="231" y="435"/>
                  </a:cubicBezTo>
                  <a:cubicBezTo>
                    <a:pt x="228" y="436"/>
                    <a:pt x="222" y="440"/>
                    <a:pt x="222" y="440"/>
                  </a:cubicBezTo>
                  <a:cubicBezTo>
                    <a:pt x="224" y="442"/>
                    <a:pt x="224" y="442"/>
                    <a:pt x="224" y="442"/>
                  </a:cubicBezTo>
                  <a:cubicBezTo>
                    <a:pt x="224" y="442"/>
                    <a:pt x="216" y="446"/>
                    <a:pt x="221" y="450"/>
                  </a:cubicBezTo>
                  <a:cubicBezTo>
                    <a:pt x="224" y="452"/>
                    <a:pt x="231" y="441"/>
                    <a:pt x="231" y="441"/>
                  </a:cubicBezTo>
                  <a:cubicBezTo>
                    <a:pt x="242" y="436"/>
                    <a:pt x="242" y="436"/>
                    <a:pt x="242" y="436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8" y="446"/>
                    <a:pt x="232" y="447"/>
                    <a:pt x="228" y="450"/>
                  </a:cubicBezTo>
                  <a:cubicBezTo>
                    <a:pt x="223" y="452"/>
                    <a:pt x="226" y="457"/>
                    <a:pt x="226" y="457"/>
                  </a:cubicBezTo>
                  <a:cubicBezTo>
                    <a:pt x="223" y="458"/>
                    <a:pt x="223" y="458"/>
                    <a:pt x="223" y="458"/>
                  </a:cubicBezTo>
                  <a:cubicBezTo>
                    <a:pt x="219" y="455"/>
                    <a:pt x="219" y="455"/>
                    <a:pt x="219" y="455"/>
                  </a:cubicBezTo>
                  <a:cubicBezTo>
                    <a:pt x="215" y="457"/>
                    <a:pt x="215" y="457"/>
                    <a:pt x="215" y="457"/>
                  </a:cubicBezTo>
                  <a:cubicBezTo>
                    <a:pt x="215" y="457"/>
                    <a:pt x="219" y="463"/>
                    <a:pt x="221" y="465"/>
                  </a:cubicBezTo>
                  <a:cubicBezTo>
                    <a:pt x="222" y="467"/>
                    <a:pt x="231" y="459"/>
                    <a:pt x="231" y="459"/>
                  </a:cubicBezTo>
                  <a:cubicBezTo>
                    <a:pt x="226" y="468"/>
                    <a:pt x="226" y="468"/>
                    <a:pt x="226" y="468"/>
                  </a:cubicBezTo>
                  <a:cubicBezTo>
                    <a:pt x="221" y="471"/>
                    <a:pt x="221" y="471"/>
                    <a:pt x="221" y="471"/>
                  </a:cubicBezTo>
                  <a:cubicBezTo>
                    <a:pt x="213" y="459"/>
                    <a:pt x="213" y="459"/>
                    <a:pt x="213" y="459"/>
                  </a:cubicBezTo>
                  <a:cubicBezTo>
                    <a:pt x="204" y="467"/>
                    <a:pt x="204" y="467"/>
                    <a:pt x="204" y="467"/>
                  </a:cubicBezTo>
                  <a:cubicBezTo>
                    <a:pt x="207" y="470"/>
                    <a:pt x="207" y="470"/>
                    <a:pt x="207" y="470"/>
                  </a:cubicBezTo>
                  <a:cubicBezTo>
                    <a:pt x="200" y="468"/>
                    <a:pt x="200" y="468"/>
                    <a:pt x="200" y="468"/>
                  </a:cubicBezTo>
                  <a:cubicBezTo>
                    <a:pt x="198" y="471"/>
                    <a:pt x="198" y="471"/>
                    <a:pt x="198" y="471"/>
                  </a:cubicBezTo>
                  <a:cubicBezTo>
                    <a:pt x="203" y="474"/>
                    <a:pt x="203" y="474"/>
                    <a:pt x="203" y="474"/>
                  </a:cubicBezTo>
                  <a:cubicBezTo>
                    <a:pt x="198" y="475"/>
                    <a:pt x="198" y="475"/>
                    <a:pt x="198" y="475"/>
                  </a:cubicBezTo>
                  <a:cubicBezTo>
                    <a:pt x="198" y="475"/>
                    <a:pt x="189" y="485"/>
                    <a:pt x="188" y="486"/>
                  </a:cubicBezTo>
                  <a:cubicBezTo>
                    <a:pt x="188" y="487"/>
                    <a:pt x="191" y="490"/>
                    <a:pt x="191" y="490"/>
                  </a:cubicBezTo>
                  <a:cubicBezTo>
                    <a:pt x="184" y="489"/>
                    <a:pt x="184" y="489"/>
                    <a:pt x="184" y="489"/>
                  </a:cubicBezTo>
                  <a:cubicBezTo>
                    <a:pt x="182" y="498"/>
                    <a:pt x="182" y="498"/>
                    <a:pt x="182" y="498"/>
                  </a:cubicBezTo>
                  <a:cubicBezTo>
                    <a:pt x="182" y="498"/>
                    <a:pt x="188" y="498"/>
                    <a:pt x="188" y="500"/>
                  </a:cubicBezTo>
                  <a:cubicBezTo>
                    <a:pt x="188" y="502"/>
                    <a:pt x="179" y="504"/>
                    <a:pt x="174" y="505"/>
                  </a:cubicBezTo>
                  <a:cubicBezTo>
                    <a:pt x="169" y="507"/>
                    <a:pt x="169" y="517"/>
                    <a:pt x="169" y="517"/>
                  </a:cubicBezTo>
                  <a:cubicBezTo>
                    <a:pt x="169" y="517"/>
                    <a:pt x="184" y="509"/>
                    <a:pt x="183" y="514"/>
                  </a:cubicBezTo>
                  <a:cubicBezTo>
                    <a:pt x="183" y="518"/>
                    <a:pt x="176" y="517"/>
                    <a:pt x="176" y="517"/>
                  </a:cubicBezTo>
                  <a:cubicBezTo>
                    <a:pt x="177" y="520"/>
                    <a:pt x="177" y="520"/>
                    <a:pt x="177" y="520"/>
                  </a:cubicBezTo>
                  <a:cubicBezTo>
                    <a:pt x="182" y="522"/>
                    <a:pt x="182" y="522"/>
                    <a:pt x="182" y="52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181" y="529"/>
                    <a:pt x="181" y="529"/>
                    <a:pt x="181" y="529"/>
                  </a:cubicBezTo>
                  <a:cubicBezTo>
                    <a:pt x="198" y="520"/>
                    <a:pt x="198" y="520"/>
                    <a:pt x="198" y="520"/>
                  </a:cubicBezTo>
                  <a:cubicBezTo>
                    <a:pt x="198" y="520"/>
                    <a:pt x="202" y="517"/>
                    <a:pt x="203" y="516"/>
                  </a:cubicBezTo>
                  <a:cubicBezTo>
                    <a:pt x="205" y="515"/>
                    <a:pt x="206" y="513"/>
                    <a:pt x="209" y="512"/>
                  </a:cubicBezTo>
                  <a:cubicBezTo>
                    <a:pt x="211" y="512"/>
                    <a:pt x="213" y="508"/>
                    <a:pt x="213" y="505"/>
                  </a:cubicBezTo>
                  <a:cubicBezTo>
                    <a:pt x="213" y="502"/>
                    <a:pt x="202" y="507"/>
                    <a:pt x="202" y="507"/>
                  </a:cubicBezTo>
                  <a:cubicBezTo>
                    <a:pt x="202" y="507"/>
                    <a:pt x="209" y="502"/>
                    <a:pt x="212" y="500"/>
                  </a:cubicBezTo>
                  <a:cubicBezTo>
                    <a:pt x="214" y="499"/>
                    <a:pt x="215" y="494"/>
                    <a:pt x="221" y="494"/>
                  </a:cubicBezTo>
                  <a:cubicBezTo>
                    <a:pt x="225" y="494"/>
                    <a:pt x="226" y="498"/>
                    <a:pt x="226" y="498"/>
                  </a:cubicBezTo>
                  <a:cubicBezTo>
                    <a:pt x="215" y="503"/>
                    <a:pt x="215" y="503"/>
                    <a:pt x="215" y="503"/>
                  </a:cubicBezTo>
                  <a:cubicBezTo>
                    <a:pt x="214" y="506"/>
                    <a:pt x="214" y="506"/>
                    <a:pt x="214" y="506"/>
                  </a:cubicBezTo>
                  <a:cubicBezTo>
                    <a:pt x="214" y="506"/>
                    <a:pt x="223" y="506"/>
                    <a:pt x="224" y="509"/>
                  </a:cubicBezTo>
                  <a:cubicBezTo>
                    <a:pt x="224" y="513"/>
                    <a:pt x="214" y="515"/>
                    <a:pt x="211" y="516"/>
                  </a:cubicBezTo>
                  <a:cubicBezTo>
                    <a:pt x="208" y="516"/>
                    <a:pt x="203" y="521"/>
                    <a:pt x="202" y="524"/>
                  </a:cubicBezTo>
                  <a:cubicBezTo>
                    <a:pt x="202" y="528"/>
                    <a:pt x="206" y="522"/>
                    <a:pt x="208" y="523"/>
                  </a:cubicBezTo>
                  <a:cubicBezTo>
                    <a:pt x="209" y="525"/>
                    <a:pt x="206" y="526"/>
                    <a:pt x="205" y="528"/>
                  </a:cubicBezTo>
                  <a:cubicBezTo>
                    <a:pt x="203" y="530"/>
                    <a:pt x="208" y="531"/>
                    <a:pt x="208" y="531"/>
                  </a:cubicBezTo>
                  <a:cubicBezTo>
                    <a:pt x="205" y="533"/>
                    <a:pt x="205" y="533"/>
                    <a:pt x="205" y="533"/>
                  </a:cubicBezTo>
                  <a:cubicBezTo>
                    <a:pt x="205" y="533"/>
                    <a:pt x="194" y="530"/>
                    <a:pt x="188" y="532"/>
                  </a:cubicBezTo>
                  <a:cubicBezTo>
                    <a:pt x="181" y="534"/>
                    <a:pt x="187" y="539"/>
                    <a:pt x="187" y="539"/>
                  </a:cubicBezTo>
                  <a:cubicBezTo>
                    <a:pt x="180" y="538"/>
                    <a:pt x="180" y="538"/>
                    <a:pt x="180" y="538"/>
                  </a:cubicBezTo>
                  <a:cubicBezTo>
                    <a:pt x="175" y="540"/>
                    <a:pt x="175" y="540"/>
                    <a:pt x="175" y="540"/>
                  </a:cubicBezTo>
                  <a:cubicBezTo>
                    <a:pt x="180" y="532"/>
                    <a:pt x="180" y="532"/>
                    <a:pt x="180" y="532"/>
                  </a:cubicBezTo>
                  <a:cubicBezTo>
                    <a:pt x="175" y="518"/>
                    <a:pt x="175" y="518"/>
                    <a:pt x="175" y="518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6" y="523"/>
                    <a:pt x="166" y="523"/>
                    <a:pt x="166" y="523"/>
                  </a:cubicBezTo>
                  <a:cubicBezTo>
                    <a:pt x="158" y="526"/>
                    <a:pt x="158" y="526"/>
                    <a:pt x="158" y="526"/>
                  </a:cubicBezTo>
                  <a:cubicBezTo>
                    <a:pt x="157" y="530"/>
                    <a:pt x="157" y="530"/>
                    <a:pt x="157" y="530"/>
                  </a:cubicBezTo>
                  <a:cubicBezTo>
                    <a:pt x="164" y="531"/>
                    <a:pt x="164" y="531"/>
                    <a:pt x="164" y="531"/>
                  </a:cubicBezTo>
                  <a:cubicBezTo>
                    <a:pt x="157" y="532"/>
                    <a:pt x="157" y="532"/>
                    <a:pt x="157" y="532"/>
                  </a:cubicBezTo>
                  <a:cubicBezTo>
                    <a:pt x="156" y="536"/>
                    <a:pt x="156" y="536"/>
                    <a:pt x="156" y="536"/>
                  </a:cubicBezTo>
                  <a:cubicBezTo>
                    <a:pt x="162" y="537"/>
                    <a:pt x="162" y="537"/>
                    <a:pt x="162" y="537"/>
                  </a:cubicBezTo>
                  <a:cubicBezTo>
                    <a:pt x="150" y="539"/>
                    <a:pt x="150" y="539"/>
                    <a:pt x="150" y="539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47" y="534"/>
                    <a:pt x="147" y="534"/>
                    <a:pt x="147" y="534"/>
                  </a:cubicBezTo>
                  <a:cubicBezTo>
                    <a:pt x="145" y="532"/>
                    <a:pt x="145" y="532"/>
                    <a:pt x="145" y="532"/>
                  </a:cubicBezTo>
                  <a:cubicBezTo>
                    <a:pt x="141" y="534"/>
                    <a:pt x="141" y="534"/>
                    <a:pt x="141" y="534"/>
                  </a:cubicBezTo>
                  <a:cubicBezTo>
                    <a:pt x="145" y="538"/>
                    <a:pt x="145" y="538"/>
                    <a:pt x="145" y="538"/>
                  </a:cubicBezTo>
                  <a:cubicBezTo>
                    <a:pt x="138" y="538"/>
                    <a:pt x="138" y="538"/>
                    <a:pt x="138" y="538"/>
                  </a:cubicBezTo>
                  <a:cubicBezTo>
                    <a:pt x="134" y="541"/>
                    <a:pt x="134" y="541"/>
                    <a:pt x="134" y="541"/>
                  </a:cubicBezTo>
                  <a:cubicBezTo>
                    <a:pt x="139" y="547"/>
                    <a:pt x="139" y="547"/>
                    <a:pt x="139" y="547"/>
                  </a:cubicBezTo>
                  <a:cubicBezTo>
                    <a:pt x="143" y="548"/>
                    <a:pt x="143" y="548"/>
                    <a:pt x="143" y="548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5" y="552"/>
                    <a:pt x="135" y="552"/>
                    <a:pt x="135" y="552"/>
                  </a:cubicBezTo>
                  <a:cubicBezTo>
                    <a:pt x="126" y="551"/>
                    <a:pt x="126" y="551"/>
                    <a:pt x="126" y="551"/>
                  </a:cubicBezTo>
                  <a:cubicBezTo>
                    <a:pt x="126" y="555"/>
                    <a:pt x="126" y="555"/>
                    <a:pt x="126" y="555"/>
                  </a:cubicBezTo>
                  <a:cubicBezTo>
                    <a:pt x="132" y="563"/>
                    <a:pt x="132" y="563"/>
                    <a:pt x="132" y="563"/>
                  </a:cubicBezTo>
                  <a:cubicBezTo>
                    <a:pt x="138" y="561"/>
                    <a:pt x="138" y="561"/>
                    <a:pt x="138" y="561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2" y="566"/>
                    <a:pt x="132" y="566"/>
                    <a:pt x="132" y="566"/>
                  </a:cubicBezTo>
                  <a:cubicBezTo>
                    <a:pt x="137" y="568"/>
                    <a:pt x="137" y="568"/>
                    <a:pt x="137" y="568"/>
                  </a:cubicBezTo>
                  <a:cubicBezTo>
                    <a:pt x="135" y="569"/>
                    <a:pt x="135" y="569"/>
                    <a:pt x="135" y="569"/>
                  </a:cubicBezTo>
                  <a:cubicBezTo>
                    <a:pt x="130" y="567"/>
                    <a:pt x="130" y="567"/>
                    <a:pt x="130" y="567"/>
                  </a:cubicBezTo>
                  <a:cubicBezTo>
                    <a:pt x="129" y="561"/>
                    <a:pt x="129" y="561"/>
                    <a:pt x="129" y="561"/>
                  </a:cubicBezTo>
                  <a:cubicBezTo>
                    <a:pt x="123" y="552"/>
                    <a:pt x="123" y="552"/>
                    <a:pt x="123" y="552"/>
                  </a:cubicBezTo>
                  <a:cubicBezTo>
                    <a:pt x="114" y="557"/>
                    <a:pt x="114" y="557"/>
                    <a:pt x="114" y="557"/>
                  </a:cubicBezTo>
                  <a:cubicBezTo>
                    <a:pt x="116" y="558"/>
                    <a:pt x="116" y="558"/>
                    <a:pt x="116" y="558"/>
                  </a:cubicBezTo>
                  <a:cubicBezTo>
                    <a:pt x="118" y="558"/>
                    <a:pt x="118" y="558"/>
                    <a:pt x="118" y="558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32" y="577"/>
                    <a:pt x="132" y="577"/>
                    <a:pt x="132" y="577"/>
                  </a:cubicBezTo>
                  <a:cubicBezTo>
                    <a:pt x="133" y="579"/>
                    <a:pt x="133" y="579"/>
                    <a:pt x="133" y="579"/>
                  </a:cubicBezTo>
                  <a:cubicBezTo>
                    <a:pt x="122" y="571"/>
                    <a:pt x="122" y="571"/>
                    <a:pt x="122" y="571"/>
                  </a:cubicBezTo>
                  <a:cubicBezTo>
                    <a:pt x="122" y="562"/>
                    <a:pt x="122" y="562"/>
                    <a:pt x="122" y="562"/>
                  </a:cubicBezTo>
                  <a:cubicBezTo>
                    <a:pt x="113" y="562"/>
                    <a:pt x="113" y="562"/>
                    <a:pt x="113" y="562"/>
                  </a:cubicBezTo>
                  <a:cubicBezTo>
                    <a:pt x="111" y="565"/>
                    <a:pt x="111" y="565"/>
                    <a:pt x="111" y="565"/>
                  </a:cubicBezTo>
                  <a:cubicBezTo>
                    <a:pt x="112" y="560"/>
                    <a:pt x="112" y="560"/>
                    <a:pt x="112" y="560"/>
                  </a:cubicBezTo>
                  <a:cubicBezTo>
                    <a:pt x="108" y="560"/>
                    <a:pt x="108" y="560"/>
                    <a:pt x="108" y="560"/>
                  </a:cubicBezTo>
                  <a:cubicBezTo>
                    <a:pt x="107" y="563"/>
                    <a:pt x="107" y="563"/>
                    <a:pt x="107" y="563"/>
                  </a:cubicBezTo>
                  <a:cubicBezTo>
                    <a:pt x="101" y="564"/>
                    <a:pt x="101" y="564"/>
                    <a:pt x="101" y="564"/>
                  </a:cubicBezTo>
                  <a:cubicBezTo>
                    <a:pt x="96" y="557"/>
                    <a:pt x="96" y="557"/>
                    <a:pt x="96" y="557"/>
                  </a:cubicBezTo>
                  <a:cubicBezTo>
                    <a:pt x="96" y="557"/>
                    <a:pt x="92" y="557"/>
                    <a:pt x="85" y="562"/>
                  </a:cubicBezTo>
                  <a:cubicBezTo>
                    <a:pt x="80" y="567"/>
                    <a:pt x="93" y="567"/>
                    <a:pt x="94" y="569"/>
                  </a:cubicBezTo>
                  <a:cubicBezTo>
                    <a:pt x="94" y="571"/>
                    <a:pt x="91" y="570"/>
                    <a:pt x="88" y="570"/>
                  </a:cubicBezTo>
                  <a:cubicBezTo>
                    <a:pt x="83" y="571"/>
                    <a:pt x="87" y="577"/>
                    <a:pt x="87" y="577"/>
                  </a:cubicBezTo>
                  <a:cubicBezTo>
                    <a:pt x="87" y="577"/>
                    <a:pt x="104" y="571"/>
                    <a:pt x="105" y="573"/>
                  </a:cubicBezTo>
                  <a:cubicBezTo>
                    <a:pt x="106" y="575"/>
                    <a:pt x="99" y="575"/>
                    <a:pt x="99" y="575"/>
                  </a:cubicBezTo>
                  <a:cubicBezTo>
                    <a:pt x="99" y="578"/>
                    <a:pt x="99" y="578"/>
                    <a:pt x="99" y="578"/>
                  </a:cubicBezTo>
                  <a:cubicBezTo>
                    <a:pt x="99" y="578"/>
                    <a:pt x="108" y="575"/>
                    <a:pt x="113" y="573"/>
                  </a:cubicBezTo>
                  <a:cubicBezTo>
                    <a:pt x="118" y="573"/>
                    <a:pt x="122" y="579"/>
                    <a:pt x="122" y="579"/>
                  </a:cubicBezTo>
                  <a:cubicBezTo>
                    <a:pt x="122" y="579"/>
                    <a:pt x="117" y="576"/>
                    <a:pt x="114" y="575"/>
                  </a:cubicBezTo>
                  <a:cubicBezTo>
                    <a:pt x="112" y="575"/>
                    <a:pt x="104" y="578"/>
                    <a:pt x="104" y="578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2" y="581"/>
                    <a:pt x="102" y="581"/>
                    <a:pt x="102" y="581"/>
                  </a:cubicBezTo>
                  <a:cubicBezTo>
                    <a:pt x="100" y="582"/>
                    <a:pt x="100" y="582"/>
                    <a:pt x="100" y="582"/>
                  </a:cubicBezTo>
                  <a:cubicBezTo>
                    <a:pt x="102" y="586"/>
                    <a:pt x="102" y="586"/>
                    <a:pt x="102" y="586"/>
                  </a:cubicBezTo>
                  <a:cubicBezTo>
                    <a:pt x="108" y="586"/>
                    <a:pt x="108" y="586"/>
                    <a:pt x="108" y="586"/>
                  </a:cubicBezTo>
                  <a:cubicBezTo>
                    <a:pt x="104" y="591"/>
                    <a:pt x="104" y="591"/>
                    <a:pt x="104" y="591"/>
                  </a:cubicBezTo>
                  <a:cubicBezTo>
                    <a:pt x="96" y="584"/>
                    <a:pt x="96" y="584"/>
                    <a:pt x="96" y="584"/>
                  </a:cubicBezTo>
                  <a:cubicBezTo>
                    <a:pt x="92" y="582"/>
                    <a:pt x="92" y="582"/>
                    <a:pt x="92" y="582"/>
                  </a:cubicBezTo>
                  <a:cubicBezTo>
                    <a:pt x="92" y="585"/>
                    <a:pt x="92" y="585"/>
                    <a:pt x="92" y="585"/>
                  </a:cubicBezTo>
                  <a:cubicBezTo>
                    <a:pt x="92" y="585"/>
                    <a:pt x="90" y="581"/>
                    <a:pt x="87" y="580"/>
                  </a:cubicBezTo>
                  <a:cubicBezTo>
                    <a:pt x="83" y="579"/>
                    <a:pt x="83" y="583"/>
                    <a:pt x="83" y="583"/>
                  </a:cubicBezTo>
                  <a:cubicBezTo>
                    <a:pt x="83" y="583"/>
                    <a:pt x="81" y="581"/>
                    <a:pt x="80" y="580"/>
                  </a:cubicBezTo>
                  <a:cubicBezTo>
                    <a:pt x="78" y="580"/>
                    <a:pt x="74" y="583"/>
                    <a:pt x="74" y="583"/>
                  </a:cubicBezTo>
                  <a:cubicBezTo>
                    <a:pt x="74" y="583"/>
                    <a:pt x="72" y="582"/>
                    <a:pt x="69" y="581"/>
                  </a:cubicBezTo>
                  <a:cubicBezTo>
                    <a:pt x="66" y="581"/>
                    <a:pt x="65" y="584"/>
                    <a:pt x="63" y="587"/>
                  </a:cubicBezTo>
                  <a:cubicBezTo>
                    <a:pt x="62" y="589"/>
                    <a:pt x="74" y="586"/>
                    <a:pt x="74" y="586"/>
                  </a:cubicBezTo>
                  <a:cubicBezTo>
                    <a:pt x="74" y="586"/>
                    <a:pt x="82" y="592"/>
                    <a:pt x="84" y="594"/>
                  </a:cubicBezTo>
                  <a:cubicBezTo>
                    <a:pt x="85" y="595"/>
                    <a:pt x="84" y="600"/>
                    <a:pt x="84" y="600"/>
                  </a:cubicBezTo>
                  <a:cubicBezTo>
                    <a:pt x="87" y="603"/>
                    <a:pt x="87" y="603"/>
                    <a:pt x="87" y="603"/>
                  </a:cubicBezTo>
                  <a:cubicBezTo>
                    <a:pt x="92" y="604"/>
                    <a:pt x="92" y="604"/>
                    <a:pt x="92" y="604"/>
                  </a:cubicBezTo>
                  <a:cubicBezTo>
                    <a:pt x="94" y="603"/>
                    <a:pt x="94" y="603"/>
                    <a:pt x="94" y="603"/>
                  </a:cubicBezTo>
                  <a:cubicBezTo>
                    <a:pt x="93" y="605"/>
                    <a:pt x="93" y="605"/>
                    <a:pt x="93" y="605"/>
                  </a:cubicBezTo>
                  <a:cubicBezTo>
                    <a:pt x="85" y="605"/>
                    <a:pt x="85" y="605"/>
                    <a:pt x="85" y="605"/>
                  </a:cubicBezTo>
                  <a:cubicBezTo>
                    <a:pt x="87" y="608"/>
                    <a:pt x="87" y="608"/>
                    <a:pt x="87" y="608"/>
                  </a:cubicBezTo>
                  <a:cubicBezTo>
                    <a:pt x="83" y="614"/>
                    <a:pt x="83" y="614"/>
                    <a:pt x="83" y="614"/>
                  </a:cubicBezTo>
                  <a:cubicBezTo>
                    <a:pt x="85" y="616"/>
                    <a:pt x="85" y="616"/>
                    <a:pt x="85" y="616"/>
                  </a:cubicBezTo>
                  <a:cubicBezTo>
                    <a:pt x="80" y="615"/>
                    <a:pt x="80" y="615"/>
                    <a:pt x="80" y="615"/>
                  </a:cubicBezTo>
                  <a:cubicBezTo>
                    <a:pt x="84" y="607"/>
                    <a:pt x="84" y="607"/>
                    <a:pt x="84" y="607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82" y="594"/>
                    <a:pt x="82" y="594"/>
                    <a:pt x="82" y="594"/>
                  </a:cubicBezTo>
                  <a:cubicBezTo>
                    <a:pt x="73" y="593"/>
                    <a:pt x="73" y="593"/>
                    <a:pt x="73" y="593"/>
                  </a:cubicBezTo>
                  <a:cubicBezTo>
                    <a:pt x="73" y="597"/>
                    <a:pt x="73" y="597"/>
                    <a:pt x="73" y="597"/>
                  </a:cubicBezTo>
                  <a:cubicBezTo>
                    <a:pt x="69" y="595"/>
                    <a:pt x="69" y="595"/>
                    <a:pt x="69" y="595"/>
                  </a:cubicBezTo>
                  <a:cubicBezTo>
                    <a:pt x="66" y="595"/>
                    <a:pt x="66" y="595"/>
                    <a:pt x="66" y="595"/>
                  </a:cubicBezTo>
                  <a:cubicBezTo>
                    <a:pt x="72" y="611"/>
                    <a:pt x="72" y="611"/>
                    <a:pt x="72" y="611"/>
                  </a:cubicBezTo>
                  <a:cubicBezTo>
                    <a:pt x="71" y="613"/>
                    <a:pt x="71" y="613"/>
                    <a:pt x="71" y="613"/>
                  </a:cubicBezTo>
                  <a:cubicBezTo>
                    <a:pt x="68" y="607"/>
                    <a:pt x="68" y="607"/>
                    <a:pt x="68" y="607"/>
                  </a:cubicBezTo>
                  <a:cubicBezTo>
                    <a:pt x="65" y="602"/>
                    <a:pt x="65" y="602"/>
                    <a:pt x="65" y="602"/>
                  </a:cubicBezTo>
                  <a:cubicBezTo>
                    <a:pt x="65" y="602"/>
                    <a:pt x="66" y="598"/>
                    <a:pt x="63" y="597"/>
                  </a:cubicBezTo>
                  <a:cubicBezTo>
                    <a:pt x="61" y="596"/>
                    <a:pt x="52" y="603"/>
                    <a:pt x="52" y="603"/>
                  </a:cubicBezTo>
                  <a:cubicBezTo>
                    <a:pt x="56" y="607"/>
                    <a:pt x="56" y="607"/>
                    <a:pt x="56" y="607"/>
                  </a:cubicBezTo>
                  <a:cubicBezTo>
                    <a:pt x="50" y="607"/>
                    <a:pt x="50" y="607"/>
                    <a:pt x="50" y="607"/>
                  </a:cubicBezTo>
                  <a:cubicBezTo>
                    <a:pt x="50" y="607"/>
                    <a:pt x="52" y="608"/>
                    <a:pt x="55" y="610"/>
                  </a:cubicBezTo>
                  <a:cubicBezTo>
                    <a:pt x="57" y="613"/>
                    <a:pt x="61" y="616"/>
                    <a:pt x="61" y="616"/>
                  </a:cubicBezTo>
                  <a:cubicBezTo>
                    <a:pt x="55" y="615"/>
                    <a:pt x="55" y="615"/>
                    <a:pt x="55" y="615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8" y="617"/>
                    <a:pt x="48" y="617"/>
                    <a:pt x="48" y="617"/>
                  </a:cubicBezTo>
                  <a:cubicBezTo>
                    <a:pt x="51" y="610"/>
                    <a:pt x="51" y="610"/>
                    <a:pt x="51" y="610"/>
                  </a:cubicBezTo>
                  <a:cubicBezTo>
                    <a:pt x="51" y="610"/>
                    <a:pt x="50" y="608"/>
                    <a:pt x="46" y="608"/>
                  </a:cubicBezTo>
                  <a:cubicBezTo>
                    <a:pt x="42" y="608"/>
                    <a:pt x="43" y="612"/>
                    <a:pt x="43" y="612"/>
                  </a:cubicBezTo>
                  <a:cubicBezTo>
                    <a:pt x="43" y="612"/>
                    <a:pt x="40" y="608"/>
                    <a:pt x="38" y="608"/>
                  </a:cubicBezTo>
                  <a:cubicBezTo>
                    <a:pt x="34" y="608"/>
                    <a:pt x="33" y="612"/>
                    <a:pt x="33" y="612"/>
                  </a:cubicBezTo>
                  <a:cubicBezTo>
                    <a:pt x="39" y="615"/>
                    <a:pt x="39" y="615"/>
                    <a:pt x="39" y="615"/>
                  </a:cubicBezTo>
                  <a:cubicBezTo>
                    <a:pt x="38" y="616"/>
                    <a:pt x="38" y="616"/>
                    <a:pt x="38" y="616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32" y="609"/>
                    <a:pt x="32" y="609"/>
                    <a:pt x="32" y="609"/>
                  </a:cubicBezTo>
                  <a:cubicBezTo>
                    <a:pt x="28" y="605"/>
                    <a:pt x="28" y="605"/>
                    <a:pt x="28" y="605"/>
                  </a:cubicBezTo>
                  <a:cubicBezTo>
                    <a:pt x="25" y="609"/>
                    <a:pt x="25" y="609"/>
                    <a:pt x="25" y="609"/>
                  </a:cubicBezTo>
                  <a:cubicBezTo>
                    <a:pt x="26" y="611"/>
                    <a:pt x="26" y="611"/>
                    <a:pt x="26" y="611"/>
                  </a:cubicBezTo>
                  <a:cubicBezTo>
                    <a:pt x="26" y="611"/>
                    <a:pt x="32" y="616"/>
                    <a:pt x="32" y="618"/>
                  </a:cubicBezTo>
                  <a:cubicBezTo>
                    <a:pt x="31" y="621"/>
                    <a:pt x="25" y="620"/>
                    <a:pt x="25" y="624"/>
                  </a:cubicBezTo>
                  <a:cubicBezTo>
                    <a:pt x="25" y="627"/>
                    <a:pt x="34" y="623"/>
                    <a:pt x="34" y="623"/>
                  </a:cubicBezTo>
                  <a:cubicBezTo>
                    <a:pt x="50" y="627"/>
                    <a:pt x="50" y="627"/>
                    <a:pt x="50" y="627"/>
                  </a:cubicBezTo>
                  <a:cubicBezTo>
                    <a:pt x="49" y="628"/>
                    <a:pt x="49" y="628"/>
                    <a:pt x="49" y="628"/>
                  </a:cubicBezTo>
                  <a:cubicBezTo>
                    <a:pt x="64" y="632"/>
                    <a:pt x="64" y="632"/>
                    <a:pt x="64" y="632"/>
                  </a:cubicBezTo>
                  <a:cubicBezTo>
                    <a:pt x="71" y="629"/>
                    <a:pt x="71" y="629"/>
                    <a:pt x="71" y="629"/>
                  </a:cubicBezTo>
                  <a:cubicBezTo>
                    <a:pt x="78" y="631"/>
                    <a:pt x="78" y="631"/>
                    <a:pt x="78" y="631"/>
                  </a:cubicBezTo>
                  <a:cubicBezTo>
                    <a:pt x="78" y="632"/>
                    <a:pt x="78" y="632"/>
                    <a:pt x="78" y="632"/>
                  </a:cubicBezTo>
                  <a:cubicBezTo>
                    <a:pt x="72" y="631"/>
                    <a:pt x="72" y="631"/>
                    <a:pt x="72" y="631"/>
                  </a:cubicBezTo>
                  <a:cubicBezTo>
                    <a:pt x="65" y="633"/>
                    <a:pt x="65" y="633"/>
                    <a:pt x="65" y="633"/>
                  </a:cubicBezTo>
                  <a:cubicBezTo>
                    <a:pt x="56" y="631"/>
                    <a:pt x="56" y="631"/>
                    <a:pt x="56" y="631"/>
                  </a:cubicBezTo>
                  <a:cubicBezTo>
                    <a:pt x="55" y="633"/>
                    <a:pt x="55" y="633"/>
                    <a:pt x="55" y="633"/>
                  </a:cubicBezTo>
                  <a:cubicBezTo>
                    <a:pt x="55" y="633"/>
                    <a:pt x="42" y="626"/>
                    <a:pt x="35" y="626"/>
                  </a:cubicBezTo>
                  <a:cubicBezTo>
                    <a:pt x="28" y="626"/>
                    <a:pt x="29" y="629"/>
                    <a:pt x="29" y="629"/>
                  </a:cubicBezTo>
                  <a:cubicBezTo>
                    <a:pt x="29" y="629"/>
                    <a:pt x="28" y="629"/>
                    <a:pt x="25" y="631"/>
                  </a:cubicBezTo>
                  <a:cubicBezTo>
                    <a:pt x="23" y="632"/>
                    <a:pt x="25" y="635"/>
                    <a:pt x="25" y="635"/>
                  </a:cubicBezTo>
                  <a:cubicBezTo>
                    <a:pt x="25" y="635"/>
                    <a:pt x="19" y="634"/>
                    <a:pt x="17" y="638"/>
                  </a:cubicBezTo>
                  <a:cubicBezTo>
                    <a:pt x="16" y="641"/>
                    <a:pt x="19" y="642"/>
                    <a:pt x="19" y="642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2" y="646"/>
                    <a:pt x="32" y="646"/>
                    <a:pt x="32" y="646"/>
                  </a:cubicBezTo>
                  <a:cubicBezTo>
                    <a:pt x="26" y="644"/>
                    <a:pt x="26" y="644"/>
                    <a:pt x="26" y="644"/>
                  </a:cubicBezTo>
                  <a:cubicBezTo>
                    <a:pt x="24" y="646"/>
                    <a:pt x="24" y="646"/>
                    <a:pt x="24" y="646"/>
                  </a:cubicBezTo>
                  <a:cubicBezTo>
                    <a:pt x="28" y="648"/>
                    <a:pt x="28" y="648"/>
                    <a:pt x="28" y="648"/>
                  </a:cubicBezTo>
                  <a:cubicBezTo>
                    <a:pt x="23" y="648"/>
                    <a:pt x="23" y="648"/>
                    <a:pt x="23" y="648"/>
                  </a:cubicBezTo>
                  <a:cubicBezTo>
                    <a:pt x="23" y="650"/>
                    <a:pt x="23" y="650"/>
                    <a:pt x="23" y="650"/>
                  </a:cubicBezTo>
                  <a:cubicBezTo>
                    <a:pt x="32" y="652"/>
                    <a:pt x="32" y="652"/>
                    <a:pt x="32" y="652"/>
                  </a:cubicBezTo>
                  <a:cubicBezTo>
                    <a:pt x="17" y="655"/>
                    <a:pt x="17" y="655"/>
                    <a:pt x="17" y="655"/>
                  </a:cubicBezTo>
                  <a:cubicBezTo>
                    <a:pt x="17" y="657"/>
                    <a:pt x="17" y="657"/>
                    <a:pt x="17" y="657"/>
                  </a:cubicBezTo>
                  <a:cubicBezTo>
                    <a:pt x="20" y="657"/>
                    <a:pt x="20" y="657"/>
                    <a:pt x="20" y="657"/>
                  </a:cubicBezTo>
                  <a:cubicBezTo>
                    <a:pt x="20" y="660"/>
                    <a:pt x="20" y="660"/>
                    <a:pt x="20" y="660"/>
                  </a:cubicBezTo>
                  <a:cubicBezTo>
                    <a:pt x="30" y="660"/>
                    <a:pt x="30" y="660"/>
                    <a:pt x="30" y="660"/>
                  </a:cubicBezTo>
                  <a:cubicBezTo>
                    <a:pt x="17" y="663"/>
                    <a:pt x="17" y="663"/>
                    <a:pt x="17" y="663"/>
                  </a:cubicBezTo>
                  <a:cubicBezTo>
                    <a:pt x="15" y="667"/>
                    <a:pt x="15" y="667"/>
                    <a:pt x="15" y="667"/>
                  </a:cubicBezTo>
                  <a:cubicBezTo>
                    <a:pt x="22" y="670"/>
                    <a:pt x="22" y="670"/>
                    <a:pt x="22" y="670"/>
                  </a:cubicBezTo>
                  <a:cubicBezTo>
                    <a:pt x="18" y="670"/>
                    <a:pt x="18" y="670"/>
                    <a:pt x="18" y="670"/>
                  </a:cubicBezTo>
                  <a:cubicBezTo>
                    <a:pt x="23" y="675"/>
                    <a:pt x="23" y="675"/>
                    <a:pt x="23" y="675"/>
                  </a:cubicBezTo>
                  <a:cubicBezTo>
                    <a:pt x="26" y="675"/>
                    <a:pt x="26" y="675"/>
                    <a:pt x="26" y="675"/>
                  </a:cubicBezTo>
                  <a:cubicBezTo>
                    <a:pt x="28" y="677"/>
                    <a:pt x="28" y="677"/>
                    <a:pt x="28" y="677"/>
                  </a:cubicBezTo>
                  <a:cubicBezTo>
                    <a:pt x="48" y="672"/>
                    <a:pt x="48" y="672"/>
                    <a:pt x="48" y="672"/>
                  </a:cubicBezTo>
                  <a:cubicBezTo>
                    <a:pt x="46" y="675"/>
                    <a:pt x="46" y="675"/>
                    <a:pt x="46" y="675"/>
                  </a:cubicBezTo>
                  <a:cubicBezTo>
                    <a:pt x="55" y="674"/>
                    <a:pt x="55" y="674"/>
                    <a:pt x="55" y="674"/>
                  </a:cubicBezTo>
                  <a:cubicBezTo>
                    <a:pt x="55" y="674"/>
                    <a:pt x="56" y="677"/>
                    <a:pt x="61" y="677"/>
                  </a:cubicBezTo>
                  <a:cubicBezTo>
                    <a:pt x="65" y="677"/>
                    <a:pt x="63" y="668"/>
                    <a:pt x="63" y="668"/>
                  </a:cubicBezTo>
                  <a:cubicBezTo>
                    <a:pt x="66" y="667"/>
                    <a:pt x="66" y="667"/>
                    <a:pt x="66" y="667"/>
                  </a:cubicBezTo>
                  <a:cubicBezTo>
                    <a:pt x="71" y="661"/>
                    <a:pt x="71" y="661"/>
                    <a:pt x="71" y="661"/>
                  </a:cubicBezTo>
                  <a:cubicBezTo>
                    <a:pt x="72" y="662"/>
                    <a:pt x="72" y="662"/>
                    <a:pt x="72" y="662"/>
                  </a:cubicBezTo>
                  <a:cubicBezTo>
                    <a:pt x="67" y="670"/>
                    <a:pt x="67" y="670"/>
                    <a:pt x="67" y="670"/>
                  </a:cubicBezTo>
                  <a:cubicBezTo>
                    <a:pt x="69" y="674"/>
                    <a:pt x="69" y="674"/>
                    <a:pt x="69" y="674"/>
                  </a:cubicBezTo>
                  <a:cubicBezTo>
                    <a:pt x="79" y="675"/>
                    <a:pt x="79" y="675"/>
                    <a:pt x="79" y="675"/>
                  </a:cubicBezTo>
                  <a:cubicBezTo>
                    <a:pt x="83" y="671"/>
                    <a:pt x="83" y="671"/>
                    <a:pt x="83" y="671"/>
                  </a:cubicBezTo>
                  <a:cubicBezTo>
                    <a:pt x="83" y="675"/>
                    <a:pt x="83" y="675"/>
                    <a:pt x="83" y="675"/>
                  </a:cubicBezTo>
                  <a:cubicBezTo>
                    <a:pt x="76" y="677"/>
                    <a:pt x="76" y="677"/>
                    <a:pt x="76" y="677"/>
                  </a:cubicBezTo>
                  <a:cubicBezTo>
                    <a:pt x="78" y="679"/>
                    <a:pt x="78" y="679"/>
                    <a:pt x="78" y="679"/>
                  </a:cubicBezTo>
                  <a:cubicBezTo>
                    <a:pt x="90" y="675"/>
                    <a:pt x="90" y="675"/>
                    <a:pt x="90" y="675"/>
                  </a:cubicBezTo>
                  <a:cubicBezTo>
                    <a:pt x="89" y="668"/>
                    <a:pt x="89" y="668"/>
                    <a:pt x="89" y="668"/>
                  </a:cubicBezTo>
                  <a:cubicBezTo>
                    <a:pt x="89" y="668"/>
                    <a:pt x="91" y="664"/>
                    <a:pt x="93" y="661"/>
                  </a:cubicBezTo>
                  <a:cubicBezTo>
                    <a:pt x="94" y="659"/>
                    <a:pt x="98" y="656"/>
                    <a:pt x="98" y="656"/>
                  </a:cubicBezTo>
                  <a:cubicBezTo>
                    <a:pt x="99" y="658"/>
                    <a:pt x="99" y="658"/>
                    <a:pt x="99" y="658"/>
                  </a:cubicBezTo>
                  <a:cubicBezTo>
                    <a:pt x="99" y="658"/>
                    <a:pt x="97" y="660"/>
                    <a:pt x="95" y="662"/>
                  </a:cubicBezTo>
                  <a:cubicBezTo>
                    <a:pt x="93" y="663"/>
                    <a:pt x="90" y="668"/>
                    <a:pt x="90" y="668"/>
                  </a:cubicBezTo>
                  <a:cubicBezTo>
                    <a:pt x="92" y="671"/>
                    <a:pt x="92" y="671"/>
                    <a:pt x="92" y="671"/>
                  </a:cubicBezTo>
                  <a:cubicBezTo>
                    <a:pt x="93" y="675"/>
                    <a:pt x="93" y="675"/>
                    <a:pt x="93" y="675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98" y="676"/>
                    <a:pt x="98" y="676"/>
                    <a:pt x="98" y="676"/>
                  </a:cubicBezTo>
                  <a:cubicBezTo>
                    <a:pt x="96" y="676"/>
                    <a:pt x="96" y="676"/>
                    <a:pt x="96" y="676"/>
                  </a:cubicBezTo>
                  <a:cubicBezTo>
                    <a:pt x="92" y="677"/>
                    <a:pt x="92" y="677"/>
                    <a:pt x="92" y="677"/>
                  </a:cubicBezTo>
                  <a:cubicBezTo>
                    <a:pt x="92" y="680"/>
                    <a:pt x="92" y="680"/>
                    <a:pt x="92" y="680"/>
                  </a:cubicBezTo>
                  <a:cubicBezTo>
                    <a:pt x="88" y="678"/>
                    <a:pt x="88" y="678"/>
                    <a:pt x="88" y="678"/>
                  </a:cubicBezTo>
                  <a:cubicBezTo>
                    <a:pt x="80" y="680"/>
                    <a:pt x="80" y="680"/>
                    <a:pt x="80" y="680"/>
                  </a:cubicBezTo>
                  <a:cubicBezTo>
                    <a:pt x="80" y="686"/>
                    <a:pt x="80" y="686"/>
                    <a:pt x="80" y="686"/>
                  </a:cubicBezTo>
                  <a:cubicBezTo>
                    <a:pt x="82" y="691"/>
                    <a:pt x="82" y="691"/>
                    <a:pt x="82" y="691"/>
                  </a:cubicBezTo>
                  <a:cubicBezTo>
                    <a:pt x="79" y="688"/>
                    <a:pt x="79" y="688"/>
                    <a:pt x="79" y="688"/>
                  </a:cubicBezTo>
                  <a:cubicBezTo>
                    <a:pt x="76" y="690"/>
                    <a:pt x="76" y="690"/>
                    <a:pt x="76" y="690"/>
                  </a:cubicBezTo>
                  <a:cubicBezTo>
                    <a:pt x="78" y="686"/>
                    <a:pt x="78" y="686"/>
                    <a:pt x="78" y="686"/>
                  </a:cubicBezTo>
                  <a:cubicBezTo>
                    <a:pt x="77" y="681"/>
                    <a:pt x="77" y="681"/>
                    <a:pt x="77" y="68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4" y="678"/>
                    <a:pt x="74" y="678"/>
                    <a:pt x="74" y="678"/>
                  </a:cubicBezTo>
                  <a:cubicBezTo>
                    <a:pt x="74" y="678"/>
                    <a:pt x="67" y="676"/>
                    <a:pt x="66" y="675"/>
                  </a:cubicBezTo>
                  <a:cubicBezTo>
                    <a:pt x="65" y="675"/>
                    <a:pt x="64" y="679"/>
                    <a:pt x="64" y="679"/>
                  </a:cubicBezTo>
                  <a:cubicBezTo>
                    <a:pt x="56" y="680"/>
                    <a:pt x="56" y="680"/>
                    <a:pt x="56" y="680"/>
                  </a:cubicBezTo>
                  <a:cubicBezTo>
                    <a:pt x="56" y="678"/>
                    <a:pt x="56" y="678"/>
                    <a:pt x="56" y="678"/>
                  </a:cubicBezTo>
                  <a:cubicBezTo>
                    <a:pt x="42" y="676"/>
                    <a:pt x="42" y="676"/>
                    <a:pt x="42" y="676"/>
                  </a:cubicBezTo>
                  <a:cubicBezTo>
                    <a:pt x="41" y="678"/>
                    <a:pt x="41" y="678"/>
                    <a:pt x="41" y="678"/>
                  </a:cubicBezTo>
                  <a:cubicBezTo>
                    <a:pt x="39" y="676"/>
                    <a:pt x="39" y="676"/>
                    <a:pt x="39" y="676"/>
                  </a:cubicBezTo>
                  <a:cubicBezTo>
                    <a:pt x="33" y="678"/>
                    <a:pt x="33" y="678"/>
                    <a:pt x="33" y="678"/>
                  </a:cubicBezTo>
                  <a:cubicBezTo>
                    <a:pt x="31" y="681"/>
                    <a:pt x="31" y="681"/>
                    <a:pt x="31" y="681"/>
                  </a:cubicBezTo>
                  <a:cubicBezTo>
                    <a:pt x="24" y="680"/>
                    <a:pt x="24" y="680"/>
                    <a:pt x="24" y="680"/>
                  </a:cubicBezTo>
                  <a:cubicBezTo>
                    <a:pt x="24" y="680"/>
                    <a:pt x="23" y="678"/>
                    <a:pt x="19" y="678"/>
                  </a:cubicBezTo>
                  <a:cubicBezTo>
                    <a:pt x="16" y="678"/>
                    <a:pt x="15" y="682"/>
                    <a:pt x="15" y="682"/>
                  </a:cubicBezTo>
                  <a:cubicBezTo>
                    <a:pt x="18" y="686"/>
                    <a:pt x="18" y="686"/>
                    <a:pt x="18" y="686"/>
                  </a:cubicBezTo>
                  <a:cubicBezTo>
                    <a:pt x="14" y="687"/>
                    <a:pt x="14" y="687"/>
                    <a:pt x="14" y="687"/>
                  </a:cubicBezTo>
                  <a:cubicBezTo>
                    <a:pt x="14" y="687"/>
                    <a:pt x="14" y="692"/>
                    <a:pt x="18" y="693"/>
                  </a:cubicBezTo>
                  <a:cubicBezTo>
                    <a:pt x="22" y="695"/>
                    <a:pt x="24" y="691"/>
                    <a:pt x="24" y="691"/>
                  </a:cubicBezTo>
                  <a:cubicBezTo>
                    <a:pt x="28" y="691"/>
                    <a:pt x="28" y="691"/>
                    <a:pt x="28" y="691"/>
                  </a:cubicBezTo>
                  <a:cubicBezTo>
                    <a:pt x="27" y="692"/>
                    <a:pt x="27" y="692"/>
                    <a:pt x="27" y="692"/>
                  </a:cubicBezTo>
                  <a:cubicBezTo>
                    <a:pt x="27" y="692"/>
                    <a:pt x="23" y="692"/>
                    <a:pt x="22" y="697"/>
                  </a:cubicBezTo>
                  <a:cubicBezTo>
                    <a:pt x="20" y="703"/>
                    <a:pt x="27" y="704"/>
                    <a:pt x="27" y="704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7" y="707"/>
                    <a:pt x="27" y="707"/>
                    <a:pt x="27" y="707"/>
                  </a:cubicBezTo>
                  <a:cubicBezTo>
                    <a:pt x="30" y="707"/>
                    <a:pt x="30" y="707"/>
                    <a:pt x="30" y="707"/>
                  </a:cubicBezTo>
                  <a:cubicBezTo>
                    <a:pt x="30" y="707"/>
                    <a:pt x="29" y="705"/>
                    <a:pt x="29" y="703"/>
                  </a:cubicBezTo>
                  <a:cubicBezTo>
                    <a:pt x="29" y="702"/>
                    <a:pt x="32" y="701"/>
                    <a:pt x="32" y="701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8" y="704"/>
                    <a:pt x="36" y="708"/>
                    <a:pt x="35" y="711"/>
                  </a:cubicBezTo>
                  <a:cubicBezTo>
                    <a:pt x="34" y="714"/>
                    <a:pt x="34" y="719"/>
                    <a:pt x="34" y="719"/>
                  </a:cubicBezTo>
                  <a:cubicBezTo>
                    <a:pt x="25" y="720"/>
                    <a:pt x="25" y="720"/>
                    <a:pt x="25" y="720"/>
                  </a:cubicBezTo>
                  <a:cubicBezTo>
                    <a:pt x="25" y="720"/>
                    <a:pt x="24" y="713"/>
                    <a:pt x="19" y="714"/>
                  </a:cubicBezTo>
                  <a:cubicBezTo>
                    <a:pt x="15" y="715"/>
                    <a:pt x="19" y="723"/>
                    <a:pt x="19" y="723"/>
                  </a:cubicBezTo>
                  <a:cubicBezTo>
                    <a:pt x="19" y="723"/>
                    <a:pt x="15" y="723"/>
                    <a:pt x="15" y="727"/>
                  </a:cubicBezTo>
                  <a:cubicBezTo>
                    <a:pt x="15" y="731"/>
                    <a:pt x="18" y="730"/>
                    <a:pt x="18" y="730"/>
                  </a:cubicBezTo>
                  <a:cubicBezTo>
                    <a:pt x="17" y="733"/>
                    <a:pt x="17" y="733"/>
                    <a:pt x="17" y="733"/>
                  </a:cubicBezTo>
                  <a:cubicBezTo>
                    <a:pt x="22" y="738"/>
                    <a:pt x="22" y="738"/>
                    <a:pt x="22" y="738"/>
                  </a:cubicBezTo>
                  <a:cubicBezTo>
                    <a:pt x="26" y="735"/>
                    <a:pt x="26" y="735"/>
                    <a:pt x="26" y="735"/>
                  </a:cubicBezTo>
                  <a:cubicBezTo>
                    <a:pt x="29" y="727"/>
                    <a:pt x="29" y="727"/>
                    <a:pt x="29" y="727"/>
                  </a:cubicBezTo>
                  <a:cubicBezTo>
                    <a:pt x="27" y="734"/>
                    <a:pt x="27" y="734"/>
                    <a:pt x="27" y="734"/>
                  </a:cubicBezTo>
                  <a:cubicBezTo>
                    <a:pt x="27" y="738"/>
                    <a:pt x="27" y="738"/>
                    <a:pt x="27" y="738"/>
                  </a:cubicBezTo>
                  <a:cubicBezTo>
                    <a:pt x="32" y="738"/>
                    <a:pt x="32" y="738"/>
                    <a:pt x="32" y="738"/>
                  </a:cubicBezTo>
                  <a:cubicBezTo>
                    <a:pt x="33" y="739"/>
                    <a:pt x="31" y="743"/>
                    <a:pt x="31" y="743"/>
                  </a:cubicBezTo>
                  <a:cubicBezTo>
                    <a:pt x="32" y="744"/>
                    <a:pt x="32" y="744"/>
                    <a:pt x="32" y="744"/>
                  </a:cubicBezTo>
                  <a:cubicBezTo>
                    <a:pt x="30" y="744"/>
                    <a:pt x="30" y="744"/>
                    <a:pt x="30" y="744"/>
                  </a:cubicBezTo>
                  <a:cubicBezTo>
                    <a:pt x="30" y="746"/>
                    <a:pt x="30" y="746"/>
                    <a:pt x="30" y="746"/>
                  </a:cubicBezTo>
                  <a:cubicBezTo>
                    <a:pt x="34" y="750"/>
                    <a:pt x="34" y="750"/>
                    <a:pt x="34" y="750"/>
                  </a:cubicBezTo>
                  <a:cubicBezTo>
                    <a:pt x="38" y="745"/>
                    <a:pt x="38" y="745"/>
                    <a:pt x="38" y="745"/>
                  </a:cubicBezTo>
                  <a:cubicBezTo>
                    <a:pt x="38" y="738"/>
                    <a:pt x="38" y="738"/>
                    <a:pt x="38" y="738"/>
                  </a:cubicBezTo>
                  <a:cubicBezTo>
                    <a:pt x="40" y="737"/>
                    <a:pt x="40" y="737"/>
                    <a:pt x="40" y="737"/>
                  </a:cubicBezTo>
                  <a:cubicBezTo>
                    <a:pt x="42" y="731"/>
                    <a:pt x="42" y="731"/>
                    <a:pt x="42" y="731"/>
                  </a:cubicBezTo>
                  <a:cubicBezTo>
                    <a:pt x="42" y="731"/>
                    <a:pt x="45" y="734"/>
                    <a:pt x="47" y="731"/>
                  </a:cubicBezTo>
                  <a:cubicBezTo>
                    <a:pt x="48" y="730"/>
                    <a:pt x="47" y="726"/>
                    <a:pt x="47" y="726"/>
                  </a:cubicBezTo>
                  <a:cubicBezTo>
                    <a:pt x="47" y="726"/>
                    <a:pt x="49" y="725"/>
                    <a:pt x="55" y="723"/>
                  </a:cubicBezTo>
                  <a:cubicBezTo>
                    <a:pt x="59" y="720"/>
                    <a:pt x="64" y="720"/>
                    <a:pt x="64" y="720"/>
                  </a:cubicBezTo>
                  <a:cubicBezTo>
                    <a:pt x="64" y="722"/>
                    <a:pt x="64" y="722"/>
                    <a:pt x="64" y="722"/>
                  </a:cubicBezTo>
                  <a:cubicBezTo>
                    <a:pt x="71" y="719"/>
                    <a:pt x="71" y="719"/>
                    <a:pt x="71" y="719"/>
                  </a:cubicBezTo>
                  <a:cubicBezTo>
                    <a:pt x="72" y="715"/>
                    <a:pt x="72" y="715"/>
                    <a:pt x="72" y="715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3" y="719"/>
                    <a:pt x="73" y="719"/>
                    <a:pt x="73" y="719"/>
                  </a:cubicBezTo>
                  <a:cubicBezTo>
                    <a:pt x="77" y="720"/>
                    <a:pt x="77" y="720"/>
                    <a:pt x="77" y="720"/>
                  </a:cubicBezTo>
                  <a:cubicBezTo>
                    <a:pt x="77" y="720"/>
                    <a:pt x="68" y="721"/>
                    <a:pt x="65" y="726"/>
                  </a:cubicBezTo>
                  <a:cubicBezTo>
                    <a:pt x="62" y="731"/>
                    <a:pt x="63" y="735"/>
                    <a:pt x="62" y="738"/>
                  </a:cubicBezTo>
                  <a:cubicBezTo>
                    <a:pt x="62" y="740"/>
                    <a:pt x="58" y="743"/>
                    <a:pt x="58" y="743"/>
                  </a:cubicBezTo>
                  <a:cubicBezTo>
                    <a:pt x="62" y="726"/>
                    <a:pt x="62" y="726"/>
                    <a:pt x="62" y="726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62" y="723"/>
                    <a:pt x="58" y="724"/>
                    <a:pt x="56" y="726"/>
                  </a:cubicBezTo>
                  <a:cubicBezTo>
                    <a:pt x="52" y="727"/>
                    <a:pt x="47" y="735"/>
                    <a:pt x="47" y="735"/>
                  </a:cubicBezTo>
                  <a:cubicBezTo>
                    <a:pt x="47" y="735"/>
                    <a:pt x="44" y="736"/>
                    <a:pt x="44" y="739"/>
                  </a:cubicBezTo>
                  <a:cubicBezTo>
                    <a:pt x="45" y="742"/>
                    <a:pt x="50" y="740"/>
                    <a:pt x="48" y="742"/>
                  </a:cubicBezTo>
                  <a:cubicBezTo>
                    <a:pt x="47" y="743"/>
                    <a:pt x="43" y="743"/>
                    <a:pt x="41" y="745"/>
                  </a:cubicBezTo>
                  <a:cubicBezTo>
                    <a:pt x="39" y="747"/>
                    <a:pt x="39" y="752"/>
                    <a:pt x="39" y="752"/>
                  </a:cubicBezTo>
                  <a:cubicBezTo>
                    <a:pt x="32" y="752"/>
                    <a:pt x="32" y="752"/>
                    <a:pt x="32" y="752"/>
                  </a:cubicBezTo>
                  <a:cubicBezTo>
                    <a:pt x="28" y="757"/>
                    <a:pt x="28" y="757"/>
                    <a:pt x="28" y="757"/>
                  </a:cubicBezTo>
                  <a:cubicBezTo>
                    <a:pt x="33" y="762"/>
                    <a:pt x="33" y="762"/>
                    <a:pt x="33" y="762"/>
                  </a:cubicBezTo>
                  <a:cubicBezTo>
                    <a:pt x="39" y="759"/>
                    <a:pt x="39" y="759"/>
                    <a:pt x="39" y="759"/>
                  </a:cubicBezTo>
                  <a:cubicBezTo>
                    <a:pt x="38" y="764"/>
                    <a:pt x="38" y="764"/>
                    <a:pt x="38" y="764"/>
                  </a:cubicBezTo>
                  <a:cubicBezTo>
                    <a:pt x="40" y="765"/>
                    <a:pt x="40" y="765"/>
                    <a:pt x="40" y="765"/>
                  </a:cubicBezTo>
                  <a:cubicBezTo>
                    <a:pt x="46" y="760"/>
                    <a:pt x="46" y="760"/>
                    <a:pt x="46" y="760"/>
                  </a:cubicBezTo>
                  <a:cubicBezTo>
                    <a:pt x="42" y="766"/>
                    <a:pt x="42" y="766"/>
                    <a:pt x="42" y="766"/>
                  </a:cubicBezTo>
                  <a:cubicBezTo>
                    <a:pt x="44" y="768"/>
                    <a:pt x="44" y="768"/>
                    <a:pt x="44" y="768"/>
                  </a:cubicBezTo>
                  <a:cubicBezTo>
                    <a:pt x="34" y="765"/>
                    <a:pt x="34" y="765"/>
                    <a:pt x="34" y="765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72"/>
                    <a:pt x="34" y="772"/>
                    <a:pt x="34" y="772"/>
                  </a:cubicBezTo>
                  <a:cubicBezTo>
                    <a:pt x="26" y="768"/>
                    <a:pt x="26" y="768"/>
                    <a:pt x="26" y="768"/>
                  </a:cubicBezTo>
                  <a:cubicBezTo>
                    <a:pt x="23" y="770"/>
                    <a:pt x="23" y="770"/>
                    <a:pt x="23" y="770"/>
                  </a:cubicBezTo>
                  <a:cubicBezTo>
                    <a:pt x="20" y="778"/>
                    <a:pt x="20" y="778"/>
                    <a:pt x="20" y="778"/>
                  </a:cubicBezTo>
                  <a:cubicBezTo>
                    <a:pt x="18" y="780"/>
                    <a:pt x="18" y="780"/>
                    <a:pt x="18" y="780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9" y="767"/>
                    <a:pt x="19" y="767"/>
                    <a:pt x="19" y="767"/>
                  </a:cubicBezTo>
                  <a:cubicBezTo>
                    <a:pt x="18" y="771"/>
                    <a:pt x="18" y="771"/>
                    <a:pt x="18" y="771"/>
                  </a:cubicBezTo>
                  <a:cubicBezTo>
                    <a:pt x="15" y="771"/>
                    <a:pt x="15" y="771"/>
                    <a:pt x="15" y="771"/>
                  </a:cubicBezTo>
                  <a:cubicBezTo>
                    <a:pt x="10" y="780"/>
                    <a:pt x="10" y="780"/>
                    <a:pt x="10" y="780"/>
                  </a:cubicBezTo>
                  <a:cubicBezTo>
                    <a:pt x="13" y="793"/>
                    <a:pt x="13" y="793"/>
                    <a:pt x="13" y="793"/>
                  </a:cubicBezTo>
                  <a:cubicBezTo>
                    <a:pt x="14" y="792"/>
                    <a:pt x="14" y="792"/>
                    <a:pt x="14" y="792"/>
                  </a:cubicBezTo>
                  <a:cubicBezTo>
                    <a:pt x="14" y="800"/>
                    <a:pt x="14" y="800"/>
                    <a:pt x="14" y="800"/>
                  </a:cubicBezTo>
                  <a:cubicBezTo>
                    <a:pt x="17" y="800"/>
                    <a:pt x="17" y="800"/>
                    <a:pt x="17" y="800"/>
                  </a:cubicBezTo>
                  <a:cubicBezTo>
                    <a:pt x="17" y="793"/>
                    <a:pt x="17" y="793"/>
                    <a:pt x="17" y="793"/>
                  </a:cubicBezTo>
                  <a:cubicBezTo>
                    <a:pt x="22" y="792"/>
                    <a:pt x="22" y="792"/>
                    <a:pt x="22" y="792"/>
                  </a:cubicBezTo>
                  <a:cubicBezTo>
                    <a:pt x="22" y="789"/>
                    <a:pt x="22" y="789"/>
                    <a:pt x="22" y="789"/>
                  </a:cubicBezTo>
                  <a:cubicBezTo>
                    <a:pt x="25" y="791"/>
                    <a:pt x="25" y="791"/>
                    <a:pt x="25" y="791"/>
                  </a:cubicBezTo>
                  <a:cubicBezTo>
                    <a:pt x="23" y="794"/>
                    <a:pt x="23" y="794"/>
                    <a:pt x="23" y="794"/>
                  </a:cubicBezTo>
                  <a:cubicBezTo>
                    <a:pt x="24" y="796"/>
                    <a:pt x="24" y="796"/>
                    <a:pt x="24" y="796"/>
                  </a:cubicBezTo>
                  <a:cubicBezTo>
                    <a:pt x="32" y="788"/>
                    <a:pt x="32" y="788"/>
                    <a:pt x="32" y="788"/>
                  </a:cubicBezTo>
                  <a:cubicBezTo>
                    <a:pt x="30" y="784"/>
                    <a:pt x="30" y="784"/>
                    <a:pt x="30" y="784"/>
                  </a:cubicBezTo>
                  <a:cubicBezTo>
                    <a:pt x="26" y="785"/>
                    <a:pt x="26" y="785"/>
                    <a:pt x="26" y="785"/>
                  </a:cubicBezTo>
                  <a:cubicBezTo>
                    <a:pt x="31" y="782"/>
                    <a:pt x="31" y="782"/>
                    <a:pt x="31" y="782"/>
                  </a:cubicBezTo>
                  <a:cubicBezTo>
                    <a:pt x="32" y="778"/>
                    <a:pt x="32" y="778"/>
                    <a:pt x="32" y="778"/>
                  </a:cubicBezTo>
                  <a:cubicBezTo>
                    <a:pt x="34" y="783"/>
                    <a:pt x="34" y="783"/>
                    <a:pt x="34" y="783"/>
                  </a:cubicBezTo>
                  <a:cubicBezTo>
                    <a:pt x="39" y="784"/>
                    <a:pt x="39" y="784"/>
                    <a:pt x="39" y="784"/>
                  </a:cubicBezTo>
                  <a:cubicBezTo>
                    <a:pt x="35" y="785"/>
                    <a:pt x="35" y="785"/>
                    <a:pt x="35" y="785"/>
                  </a:cubicBezTo>
                  <a:cubicBezTo>
                    <a:pt x="36" y="788"/>
                    <a:pt x="36" y="788"/>
                    <a:pt x="36" y="788"/>
                  </a:cubicBezTo>
                  <a:cubicBezTo>
                    <a:pt x="41" y="786"/>
                    <a:pt x="41" y="786"/>
                    <a:pt x="41" y="786"/>
                  </a:cubicBezTo>
                  <a:cubicBezTo>
                    <a:pt x="43" y="780"/>
                    <a:pt x="43" y="780"/>
                    <a:pt x="43" y="780"/>
                  </a:cubicBezTo>
                  <a:cubicBezTo>
                    <a:pt x="45" y="778"/>
                    <a:pt x="45" y="778"/>
                    <a:pt x="45" y="778"/>
                  </a:cubicBezTo>
                  <a:cubicBezTo>
                    <a:pt x="47" y="773"/>
                    <a:pt x="47" y="773"/>
                    <a:pt x="47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7" y="780"/>
                    <a:pt x="47" y="780"/>
                    <a:pt x="47" y="780"/>
                  </a:cubicBezTo>
                  <a:cubicBezTo>
                    <a:pt x="52" y="777"/>
                    <a:pt x="52" y="777"/>
                    <a:pt x="52" y="777"/>
                  </a:cubicBezTo>
                  <a:cubicBezTo>
                    <a:pt x="52" y="778"/>
                    <a:pt x="52" y="778"/>
                    <a:pt x="52" y="778"/>
                  </a:cubicBezTo>
                  <a:cubicBezTo>
                    <a:pt x="45" y="782"/>
                    <a:pt x="45" y="782"/>
                    <a:pt x="45" y="782"/>
                  </a:cubicBezTo>
                  <a:cubicBezTo>
                    <a:pt x="44" y="788"/>
                    <a:pt x="44" y="788"/>
                    <a:pt x="44" y="788"/>
                  </a:cubicBezTo>
                  <a:cubicBezTo>
                    <a:pt x="38" y="790"/>
                    <a:pt x="38" y="790"/>
                    <a:pt x="38" y="790"/>
                  </a:cubicBezTo>
                  <a:cubicBezTo>
                    <a:pt x="40" y="792"/>
                    <a:pt x="40" y="792"/>
                    <a:pt x="40" y="792"/>
                  </a:cubicBezTo>
                  <a:cubicBezTo>
                    <a:pt x="40" y="792"/>
                    <a:pt x="41" y="790"/>
                    <a:pt x="44" y="791"/>
                  </a:cubicBezTo>
                  <a:cubicBezTo>
                    <a:pt x="46" y="792"/>
                    <a:pt x="41" y="796"/>
                    <a:pt x="41" y="796"/>
                  </a:cubicBezTo>
                  <a:cubicBezTo>
                    <a:pt x="49" y="793"/>
                    <a:pt x="49" y="793"/>
                    <a:pt x="49" y="793"/>
                  </a:cubicBezTo>
                  <a:cubicBezTo>
                    <a:pt x="49" y="793"/>
                    <a:pt x="42" y="797"/>
                    <a:pt x="41" y="798"/>
                  </a:cubicBezTo>
                  <a:cubicBezTo>
                    <a:pt x="39" y="799"/>
                    <a:pt x="36" y="803"/>
                    <a:pt x="36" y="803"/>
                  </a:cubicBezTo>
                  <a:cubicBezTo>
                    <a:pt x="38" y="805"/>
                    <a:pt x="38" y="805"/>
                    <a:pt x="38" y="805"/>
                  </a:cubicBezTo>
                  <a:cubicBezTo>
                    <a:pt x="31" y="807"/>
                    <a:pt x="31" y="807"/>
                    <a:pt x="31" y="807"/>
                  </a:cubicBezTo>
                  <a:cubicBezTo>
                    <a:pt x="34" y="813"/>
                    <a:pt x="34" y="813"/>
                    <a:pt x="34" y="813"/>
                  </a:cubicBezTo>
                  <a:cubicBezTo>
                    <a:pt x="35" y="817"/>
                    <a:pt x="35" y="817"/>
                    <a:pt x="35" y="817"/>
                  </a:cubicBezTo>
                  <a:cubicBezTo>
                    <a:pt x="43" y="813"/>
                    <a:pt x="43" y="813"/>
                    <a:pt x="43" y="813"/>
                  </a:cubicBezTo>
                  <a:cubicBezTo>
                    <a:pt x="50" y="814"/>
                    <a:pt x="50" y="814"/>
                    <a:pt x="50" y="814"/>
                  </a:cubicBezTo>
                  <a:cubicBezTo>
                    <a:pt x="44" y="815"/>
                    <a:pt x="44" y="815"/>
                    <a:pt x="44" y="815"/>
                  </a:cubicBezTo>
                  <a:cubicBezTo>
                    <a:pt x="38" y="819"/>
                    <a:pt x="38" y="819"/>
                    <a:pt x="38" y="819"/>
                  </a:cubicBezTo>
                  <a:cubicBezTo>
                    <a:pt x="38" y="822"/>
                    <a:pt x="38" y="822"/>
                    <a:pt x="38" y="822"/>
                  </a:cubicBezTo>
                  <a:cubicBezTo>
                    <a:pt x="30" y="816"/>
                    <a:pt x="30" y="816"/>
                    <a:pt x="30" y="816"/>
                  </a:cubicBezTo>
                  <a:cubicBezTo>
                    <a:pt x="25" y="820"/>
                    <a:pt x="25" y="820"/>
                    <a:pt x="25" y="820"/>
                  </a:cubicBezTo>
                  <a:cubicBezTo>
                    <a:pt x="25" y="814"/>
                    <a:pt x="25" y="814"/>
                    <a:pt x="25" y="814"/>
                  </a:cubicBezTo>
                  <a:cubicBezTo>
                    <a:pt x="19" y="812"/>
                    <a:pt x="19" y="812"/>
                    <a:pt x="19" y="812"/>
                  </a:cubicBezTo>
                  <a:cubicBezTo>
                    <a:pt x="20" y="820"/>
                    <a:pt x="20" y="820"/>
                    <a:pt x="20" y="820"/>
                  </a:cubicBezTo>
                  <a:cubicBezTo>
                    <a:pt x="18" y="821"/>
                    <a:pt x="18" y="821"/>
                    <a:pt x="18" y="821"/>
                  </a:cubicBezTo>
                  <a:cubicBezTo>
                    <a:pt x="17" y="824"/>
                    <a:pt x="17" y="824"/>
                    <a:pt x="17" y="824"/>
                  </a:cubicBezTo>
                  <a:cubicBezTo>
                    <a:pt x="14" y="829"/>
                    <a:pt x="14" y="829"/>
                    <a:pt x="14" y="829"/>
                  </a:cubicBezTo>
                  <a:cubicBezTo>
                    <a:pt x="14" y="829"/>
                    <a:pt x="18" y="841"/>
                    <a:pt x="23" y="844"/>
                  </a:cubicBezTo>
                  <a:cubicBezTo>
                    <a:pt x="26" y="847"/>
                    <a:pt x="29" y="849"/>
                    <a:pt x="31" y="853"/>
                  </a:cubicBezTo>
                  <a:cubicBezTo>
                    <a:pt x="33" y="857"/>
                    <a:pt x="49" y="863"/>
                    <a:pt x="49" y="863"/>
                  </a:cubicBezTo>
                  <a:cubicBezTo>
                    <a:pt x="50" y="866"/>
                    <a:pt x="50" y="866"/>
                    <a:pt x="50" y="866"/>
                  </a:cubicBezTo>
                  <a:cubicBezTo>
                    <a:pt x="53" y="862"/>
                    <a:pt x="53" y="862"/>
                    <a:pt x="53" y="862"/>
                  </a:cubicBezTo>
                  <a:cubicBezTo>
                    <a:pt x="58" y="865"/>
                    <a:pt x="58" y="865"/>
                    <a:pt x="58" y="865"/>
                  </a:cubicBezTo>
                  <a:cubicBezTo>
                    <a:pt x="48" y="872"/>
                    <a:pt x="48" y="872"/>
                    <a:pt x="48" y="872"/>
                  </a:cubicBezTo>
                  <a:cubicBezTo>
                    <a:pt x="50" y="876"/>
                    <a:pt x="50" y="876"/>
                    <a:pt x="50" y="876"/>
                  </a:cubicBezTo>
                  <a:cubicBezTo>
                    <a:pt x="58" y="876"/>
                    <a:pt x="58" y="876"/>
                    <a:pt x="58" y="876"/>
                  </a:cubicBezTo>
                  <a:cubicBezTo>
                    <a:pt x="56" y="873"/>
                    <a:pt x="56" y="873"/>
                    <a:pt x="56" y="873"/>
                  </a:cubicBezTo>
                  <a:cubicBezTo>
                    <a:pt x="60" y="871"/>
                    <a:pt x="60" y="871"/>
                    <a:pt x="60" y="871"/>
                  </a:cubicBezTo>
                  <a:cubicBezTo>
                    <a:pt x="65" y="873"/>
                    <a:pt x="65" y="873"/>
                    <a:pt x="65" y="873"/>
                  </a:cubicBezTo>
                  <a:cubicBezTo>
                    <a:pt x="60" y="875"/>
                    <a:pt x="60" y="875"/>
                    <a:pt x="60" y="875"/>
                  </a:cubicBezTo>
                  <a:cubicBezTo>
                    <a:pt x="64" y="879"/>
                    <a:pt x="64" y="879"/>
                    <a:pt x="64" y="879"/>
                  </a:cubicBezTo>
                  <a:cubicBezTo>
                    <a:pt x="68" y="877"/>
                    <a:pt x="68" y="877"/>
                    <a:pt x="68" y="877"/>
                  </a:cubicBezTo>
                  <a:cubicBezTo>
                    <a:pt x="68" y="877"/>
                    <a:pt x="74" y="880"/>
                    <a:pt x="80" y="880"/>
                  </a:cubicBezTo>
                  <a:cubicBezTo>
                    <a:pt x="85" y="880"/>
                    <a:pt x="88" y="878"/>
                    <a:pt x="92" y="877"/>
                  </a:cubicBezTo>
                  <a:cubicBezTo>
                    <a:pt x="96" y="876"/>
                    <a:pt x="101" y="870"/>
                    <a:pt x="101" y="870"/>
                  </a:cubicBezTo>
                  <a:cubicBezTo>
                    <a:pt x="101" y="877"/>
                    <a:pt x="101" y="877"/>
                    <a:pt x="101" y="877"/>
                  </a:cubicBezTo>
                  <a:cubicBezTo>
                    <a:pt x="124" y="857"/>
                    <a:pt x="124" y="857"/>
                    <a:pt x="124" y="857"/>
                  </a:cubicBezTo>
                  <a:cubicBezTo>
                    <a:pt x="124" y="853"/>
                    <a:pt x="124" y="853"/>
                    <a:pt x="124" y="853"/>
                  </a:cubicBezTo>
                  <a:cubicBezTo>
                    <a:pt x="142" y="839"/>
                    <a:pt x="142" y="839"/>
                    <a:pt x="142" y="839"/>
                  </a:cubicBezTo>
                  <a:cubicBezTo>
                    <a:pt x="141" y="835"/>
                    <a:pt x="141" y="835"/>
                    <a:pt x="141" y="835"/>
                  </a:cubicBezTo>
                  <a:cubicBezTo>
                    <a:pt x="145" y="836"/>
                    <a:pt x="145" y="836"/>
                    <a:pt x="145" y="836"/>
                  </a:cubicBezTo>
                  <a:cubicBezTo>
                    <a:pt x="150" y="830"/>
                    <a:pt x="150" y="830"/>
                    <a:pt x="150" y="830"/>
                  </a:cubicBezTo>
                  <a:cubicBezTo>
                    <a:pt x="146" y="828"/>
                    <a:pt x="146" y="828"/>
                    <a:pt x="146" y="828"/>
                  </a:cubicBezTo>
                  <a:cubicBezTo>
                    <a:pt x="161" y="817"/>
                    <a:pt x="161" y="817"/>
                    <a:pt x="161" y="817"/>
                  </a:cubicBezTo>
                  <a:cubicBezTo>
                    <a:pt x="156" y="810"/>
                    <a:pt x="156" y="810"/>
                    <a:pt x="156" y="810"/>
                  </a:cubicBezTo>
                  <a:cubicBezTo>
                    <a:pt x="159" y="812"/>
                    <a:pt x="159" y="812"/>
                    <a:pt x="159" y="812"/>
                  </a:cubicBezTo>
                  <a:cubicBezTo>
                    <a:pt x="167" y="821"/>
                    <a:pt x="167" y="821"/>
                    <a:pt x="167" y="821"/>
                  </a:cubicBezTo>
                  <a:cubicBezTo>
                    <a:pt x="180" y="817"/>
                    <a:pt x="180" y="817"/>
                    <a:pt x="180" y="817"/>
                  </a:cubicBezTo>
                  <a:cubicBezTo>
                    <a:pt x="181" y="805"/>
                    <a:pt x="181" y="805"/>
                    <a:pt x="181" y="805"/>
                  </a:cubicBezTo>
                  <a:cubicBezTo>
                    <a:pt x="184" y="808"/>
                    <a:pt x="184" y="808"/>
                    <a:pt x="184" y="808"/>
                  </a:cubicBezTo>
                  <a:cubicBezTo>
                    <a:pt x="188" y="806"/>
                    <a:pt x="188" y="806"/>
                    <a:pt x="188" y="806"/>
                  </a:cubicBezTo>
                  <a:cubicBezTo>
                    <a:pt x="186" y="803"/>
                    <a:pt x="186" y="803"/>
                    <a:pt x="186" y="803"/>
                  </a:cubicBezTo>
                  <a:cubicBezTo>
                    <a:pt x="189" y="803"/>
                    <a:pt x="189" y="803"/>
                    <a:pt x="189" y="803"/>
                  </a:cubicBezTo>
                  <a:cubicBezTo>
                    <a:pt x="188" y="791"/>
                    <a:pt x="188" y="791"/>
                    <a:pt x="188" y="791"/>
                  </a:cubicBezTo>
                  <a:cubicBezTo>
                    <a:pt x="182" y="789"/>
                    <a:pt x="182" y="789"/>
                    <a:pt x="182" y="789"/>
                  </a:cubicBezTo>
                  <a:cubicBezTo>
                    <a:pt x="179" y="782"/>
                    <a:pt x="179" y="782"/>
                    <a:pt x="179" y="782"/>
                  </a:cubicBezTo>
                  <a:cubicBezTo>
                    <a:pt x="183" y="785"/>
                    <a:pt x="183" y="785"/>
                    <a:pt x="183" y="785"/>
                  </a:cubicBezTo>
                  <a:cubicBezTo>
                    <a:pt x="183" y="776"/>
                    <a:pt x="183" y="776"/>
                    <a:pt x="183" y="776"/>
                  </a:cubicBezTo>
                  <a:cubicBezTo>
                    <a:pt x="178" y="771"/>
                    <a:pt x="178" y="771"/>
                    <a:pt x="178" y="771"/>
                  </a:cubicBezTo>
                  <a:cubicBezTo>
                    <a:pt x="181" y="770"/>
                    <a:pt x="181" y="770"/>
                    <a:pt x="181" y="770"/>
                  </a:cubicBezTo>
                  <a:cubicBezTo>
                    <a:pt x="186" y="773"/>
                    <a:pt x="186" y="773"/>
                    <a:pt x="186" y="773"/>
                  </a:cubicBezTo>
                  <a:cubicBezTo>
                    <a:pt x="186" y="785"/>
                    <a:pt x="186" y="785"/>
                    <a:pt x="186" y="785"/>
                  </a:cubicBezTo>
                  <a:cubicBezTo>
                    <a:pt x="186" y="785"/>
                    <a:pt x="191" y="784"/>
                    <a:pt x="192" y="781"/>
                  </a:cubicBezTo>
                  <a:cubicBezTo>
                    <a:pt x="192" y="776"/>
                    <a:pt x="189" y="773"/>
                    <a:pt x="189" y="773"/>
                  </a:cubicBezTo>
                  <a:cubicBezTo>
                    <a:pt x="189" y="773"/>
                    <a:pt x="189" y="767"/>
                    <a:pt x="190" y="762"/>
                  </a:cubicBezTo>
                  <a:cubicBezTo>
                    <a:pt x="190" y="758"/>
                    <a:pt x="197" y="759"/>
                    <a:pt x="199" y="762"/>
                  </a:cubicBezTo>
                  <a:cubicBezTo>
                    <a:pt x="200" y="765"/>
                    <a:pt x="197" y="769"/>
                    <a:pt x="197" y="769"/>
                  </a:cubicBezTo>
                  <a:cubicBezTo>
                    <a:pt x="195" y="764"/>
                    <a:pt x="195" y="764"/>
                    <a:pt x="195" y="764"/>
                  </a:cubicBezTo>
                  <a:cubicBezTo>
                    <a:pt x="193" y="769"/>
                    <a:pt x="193" y="769"/>
                    <a:pt x="193" y="769"/>
                  </a:cubicBezTo>
                  <a:cubicBezTo>
                    <a:pt x="194" y="776"/>
                    <a:pt x="194" y="776"/>
                    <a:pt x="194" y="776"/>
                  </a:cubicBezTo>
                  <a:cubicBezTo>
                    <a:pt x="194" y="788"/>
                    <a:pt x="194" y="788"/>
                    <a:pt x="194" y="788"/>
                  </a:cubicBezTo>
                  <a:cubicBezTo>
                    <a:pt x="192" y="789"/>
                    <a:pt x="192" y="789"/>
                    <a:pt x="192" y="789"/>
                  </a:cubicBezTo>
                  <a:cubicBezTo>
                    <a:pt x="195" y="800"/>
                    <a:pt x="195" y="800"/>
                    <a:pt x="195" y="800"/>
                  </a:cubicBezTo>
                  <a:cubicBezTo>
                    <a:pt x="198" y="798"/>
                    <a:pt x="198" y="798"/>
                    <a:pt x="198" y="798"/>
                  </a:cubicBezTo>
                  <a:cubicBezTo>
                    <a:pt x="199" y="809"/>
                    <a:pt x="199" y="809"/>
                    <a:pt x="199" y="809"/>
                  </a:cubicBezTo>
                  <a:cubicBezTo>
                    <a:pt x="208" y="810"/>
                    <a:pt x="208" y="810"/>
                    <a:pt x="208" y="810"/>
                  </a:cubicBezTo>
                  <a:cubicBezTo>
                    <a:pt x="211" y="808"/>
                    <a:pt x="211" y="808"/>
                    <a:pt x="211" y="808"/>
                  </a:cubicBezTo>
                  <a:cubicBezTo>
                    <a:pt x="212" y="814"/>
                    <a:pt x="212" y="814"/>
                    <a:pt x="212" y="814"/>
                  </a:cubicBezTo>
                  <a:cubicBezTo>
                    <a:pt x="212" y="814"/>
                    <a:pt x="220" y="809"/>
                    <a:pt x="221" y="814"/>
                  </a:cubicBezTo>
                  <a:cubicBezTo>
                    <a:pt x="222" y="819"/>
                    <a:pt x="219" y="828"/>
                    <a:pt x="223" y="828"/>
                  </a:cubicBezTo>
                  <a:cubicBezTo>
                    <a:pt x="227" y="828"/>
                    <a:pt x="228" y="822"/>
                    <a:pt x="230" y="815"/>
                  </a:cubicBezTo>
                  <a:cubicBezTo>
                    <a:pt x="232" y="808"/>
                    <a:pt x="236" y="800"/>
                    <a:pt x="236" y="800"/>
                  </a:cubicBezTo>
                  <a:cubicBezTo>
                    <a:pt x="236" y="800"/>
                    <a:pt x="227" y="782"/>
                    <a:pt x="230" y="780"/>
                  </a:cubicBezTo>
                  <a:cubicBezTo>
                    <a:pt x="232" y="776"/>
                    <a:pt x="238" y="777"/>
                    <a:pt x="238" y="773"/>
                  </a:cubicBezTo>
                  <a:cubicBezTo>
                    <a:pt x="239" y="768"/>
                    <a:pt x="232" y="767"/>
                    <a:pt x="237" y="764"/>
                  </a:cubicBezTo>
                  <a:cubicBezTo>
                    <a:pt x="241" y="760"/>
                    <a:pt x="252" y="766"/>
                    <a:pt x="256" y="754"/>
                  </a:cubicBezTo>
                  <a:cubicBezTo>
                    <a:pt x="259" y="741"/>
                    <a:pt x="255" y="738"/>
                    <a:pt x="256" y="734"/>
                  </a:cubicBezTo>
                  <a:cubicBezTo>
                    <a:pt x="257" y="729"/>
                    <a:pt x="265" y="733"/>
                    <a:pt x="262" y="725"/>
                  </a:cubicBezTo>
                  <a:cubicBezTo>
                    <a:pt x="260" y="718"/>
                    <a:pt x="254" y="704"/>
                    <a:pt x="254" y="704"/>
                  </a:cubicBezTo>
                  <a:cubicBezTo>
                    <a:pt x="252" y="695"/>
                    <a:pt x="252" y="695"/>
                    <a:pt x="252" y="695"/>
                  </a:cubicBezTo>
                  <a:cubicBezTo>
                    <a:pt x="247" y="689"/>
                    <a:pt x="247" y="689"/>
                    <a:pt x="247" y="689"/>
                  </a:cubicBezTo>
                  <a:cubicBezTo>
                    <a:pt x="256" y="686"/>
                    <a:pt x="256" y="686"/>
                    <a:pt x="256" y="686"/>
                  </a:cubicBezTo>
                  <a:cubicBezTo>
                    <a:pt x="256" y="686"/>
                    <a:pt x="264" y="692"/>
                    <a:pt x="266" y="680"/>
                  </a:cubicBezTo>
                  <a:cubicBezTo>
                    <a:pt x="270" y="668"/>
                    <a:pt x="269" y="664"/>
                    <a:pt x="265" y="660"/>
                  </a:cubicBezTo>
                  <a:cubicBezTo>
                    <a:pt x="261" y="657"/>
                    <a:pt x="256" y="654"/>
                    <a:pt x="256" y="654"/>
                  </a:cubicBezTo>
                  <a:cubicBezTo>
                    <a:pt x="246" y="644"/>
                    <a:pt x="246" y="644"/>
                    <a:pt x="246" y="644"/>
                  </a:cubicBezTo>
                  <a:cubicBezTo>
                    <a:pt x="252" y="609"/>
                    <a:pt x="252" y="609"/>
                    <a:pt x="252" y="609"/>
                  </a:cubicBezTo>
                  <a:cubicBezTo>
                    <a:pt x="244" y="586"/>
                    <a:pt x="244" y="586"/>
                    <a:pt x="244" y="586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4" y="567"/>
                    <a:pt x="244" y="567"/>
                    <a:pt x="244" y="567"/>
                  </a:cubicBezTo>
                  <a:cubicBezTo>
                    <a:pt x="248" y="561"/>
                    <a:pt x="248" y="561"/>
                    <a:pt x="248" y="561"/>
                  </a:cubicBezTo>
                  <a:cubicBezTo>
                    <a:pt x="241" y="542"/>
                    <a:pt x="241" y="542"/>
                    <a:pt x="241" y="542"/>
                  </a:cubicBezTo>
                  <a:cubicBezTo>
                    <a:pt x="249" y="531"/>
                    <a:pt x="249" y="531"/>
                    <a:pt x="249" y="531"/>
                  </a:cubicBezTo>
                  <a:cubicBezTo>
                    <a:pt x="246" y="522"/>
                    <a:pt x="246" y="522"/>
                    <a:pt x="246" y="522"/>
                  </a:cubicBezTo>
                  <a:cubicBezTo>
                    <a:pt x="246" y="522"/>
                    <a:pt x="258" y="494"/>
                    <a:pt x="270" y="491"/>
                  </a:cubicBezTo>
                  <a:cubicBezTo>
                    <a:pt x="280" y="488"/>
                    <a:pt x="300" y="494"/>
                    <a:pt x="300" y="494"/>
                  </a:cubicBezTo>
                  <a:cubicBezTo>
                    <a:pt x="305" y="482"/>
                    <a:pt x="305" y="482"/>
                    <a:pt x="305" y="48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309" y="425"/>
                    <a:pt x="309" y="425"/>
                    <a:pt x="309" y="425"/>
                  </a:cubicBezTo>
                  <a:cubicBezTo>
                    <a:pt x="310" y="415"/>
                    <a:pt x="310" y="415"/>
                    <a:pt x="310" y="415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3" y="390"/>
                    <a:pt x="313" y="390"/>
                    <a:pt x="313" y="390"/>
                  </a:cubicBezTo>
                  <a:cubicBezTo>
                    <a:pt x="315" y="378"/>
                    <a:pt x="315" y="378"/>
                    <a:pt x="315" y="378"/>
                  </a:cubicBezTo>
                  <a:cubicBezTo>
                    <a:pt x="311" y="358"/>
                    <a:pt x="311" y="358"/>
                    <a:pt x="311" y="358"/>
                  </a:cubicBezTo>
                  <a:cubicBezTo>
                    <a:pt x="324" y="356"/>
                    <a:pt x="324" y="356"/>
                    <a:pt x="324" y="356"/>
                  </a:cubicBezTo>
                  <a:cubicBezTo>
                    <a:pt x="337" y="346"/>
                    <a:pt x="337" y="346"/>
                    <a:pt x="337" y="346"/>
                  </a:cubicBezTo>
                  <a:cubicBezTo>
                    <a:pt x="334" y="333"/>
                    <a:pt x="334" y="333"/>
                    <a:pt x="334" y="333"/>
                  </a:cubicBezTo>
                  <a:cubicBezTo>
                    <a:pt x="334" y="333"/>
                    <a:pt x="339" y="332"/>
                    <a:pt x="341" y="326"/>
                  </a:cubicBezTo>
                  <a:cubicBezTo>
                    <a:pt x="343" y="319"/>
                    <a:pt x="341" y="314"/>
                    <a:pt x="347" y="308"/>
                  </a:cubicBezTo>
                  <a:cubicBezTo>
                    <a:pt x="355" y="300"/>
                    <a:pt x="361" y="298"/>
                    <a:pt x="359" y="292"/>
                  </a:cubicBezTo>
                  <a:cubicBezTo>
                    <a:pt x="358" y="284"/>
                    <a:pt x="351" y="273"/>
                    <a:pt x="351" y="273"/>
                  </a:cubicBezTo>
                  <a:cubicBezTo>
                    <a:pt x="351" y="266"/>
                    <a:pt x="351" y="266"/>
                    <a:pt x="351" y="266"/>
                  </a:cubicBezTo>
                  <a:cubicBezTo>
                    <a:pt x="351" y="266"/>
                    <a:pt x="359" y="268"/>
                    <a:pt x="360" y="263"/>
                  </a:cubicBezTo>
                  <a:cubicBezTo>
                    <a:pt x="360" y="258"/>
                    <a:pt x="364" y="241"/>
                    <a:pt x="364" y="241"/>
                  </a:cubicBezTo>
                  <a:cubicBezTo>
                    <a:pt x="378" y="226"/>
                    <a:pt x="378" y="226"/>
                    <a:pt x="378" y="226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4" y="234"/>
                    <a:pt x="397" y="223"/>
                    <a:pt x="399" y="218"/>
                  </a:cubicBezTo>
                  <a:cubicBezTo>
                    <a:pt x="400" y="213"/>
                    <a:pt x="397" y="198"/>
                    <a:pt x="397" y="198"/>
                  </a:cubicBezTo>
                  <a:cubicBezTo>
                    <a:pt x="405" y="193"/>
                    <a:pt x="405" y="193"/>
                    <a:pt x="405" y="193"/>
                  </a:cubicBezTo>
                  <a:cubicBezTo>
                    <a:pt x="409" y="198"/>
                    <a:pt x="409" y="198"/>
                    <a:pt x="409" y="198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43" y="205"/>
                    <a:pt x="443" y="205"/>
                    <a:pt x="443" y="205"/>
                  </a:cubicBezTo>
                  <a:cubicBezTo>
                    <a:pt x="450" y="195"/>
                    <a:pt x="450" y="195"/>
                    <a:pt x="450" y="195"/>
                  </a:cubicBezTo>
                  <a:cubicBezTo>
                    <a:pt x="442" y="191"/>
                    <a:pt x="442" y="191"/>
                    <a:pt x="442" y="191"/>
                  </a:cubicBezTo>
                  <a:cubicBezTo>
                    <a:pt x="442" y="191"/>
                    <a:pt x="450" y="182"/>
                    <a:pt x="449" y="174"/>
                  </a:cubicBezTo>
                  <a:cubicBezTo>
                    <a:pt x="448" y="168"/>
                    <a:pt x="441" y="159"/>
                    <a:pt x="441" y="159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5" y="154"/>
                    <a:pt x="455" y="154"/>
                    <a:pt x="455" y="154"/>
                  </a:cubicBezTo>
                  <a:cubicBezTo>
                    <a:pt x="455" y="154"/>
                    <a:pt x="464" y="159"/>
                    <a:pt x="466" y="157"/>
                  </a:cubicBezTo>
                  <a:cubicBezTo>
                    <a:pt x="467" y="155"/>
                    <a:pt x="459" y="148"/>
                    <a:pt x="465" y="144"/>
                  </a:cubicBezTo>
                  <a:cubicBezTo>
                    <a:pt x="469" y="139"/>
                    <a:pt x="478" y="142"/>
                    <a:pt x="478" y="142"/>
                  </a:cubicBezTo>
                  <a:cubicBezTo>
                    <a:pt x="478" y="142"/>
                    <a:pt x="485" y="152"/>
                    <a:pt x="490" y="157"/>
                  </a:cubicBezTo>
                  <a:cubicBezTo>
                    <a:pt x="497" y="163"/>
                    <a:pt x="499" y="172"/>
                    <a:pt x="499" y="172"/>
                  </a:cubicBezTo>
                  <a:cubicBezTo>
                    <a:pt x="504" y="171"/>
                    <a:pt x="504" y="171"/>
                    <a:pt x="504" y="171"/>
                  </a:cubicBezTo>
                  <a:cubicBezTo>
                    <a:pt x="515" y="171"/>
                    <a:pt x="515" y="171"/>
                    <a:pt x="515" y="171"/>
                  </a:cubicBezTo>
                  <a:cubicBezTo>
                    <a:pt x="522" y="175"/>
                    <a:pt x="522" y="175"/>
                    <a:pt x="522" y="175"/>
                  </a:cubicBezTo>
                  <a:cubicBezTo>
                    <a:pt x="531" y="169"/>
                    <a:pt x="531" y="169"/>
                    <a:pt x="531" y="169"/>
                  </a:cubicBezTo>
                  <a:cubicBezTo>
                    <a:pt x="531" y="169"/>
                    <a:pt x="533" y="161"/>
                    <a:pt x="539" y="161"/>
                  </a:cubicBezTo>
                  <a:cubicBezTo>
                    <a:pt x="544" y="161"/>
                    <a:pt x="546" y="166"/>
                    <a:pt x="546" y="166"/>
                  </a:cubicBezTo>
                  <a:cubicBezTo>
                    <a:pt x="558" y="167"/>
                    <a:pt x="558" y="167"/>
                    <a:pt x="558" y="167"/>
                  </a:cubicBezTo>
                  <a:cubicBezTo>
                    <a:pt x="565" y="174"/>
                    <a:pt x="565" y="174"/>
                    <a:pt x="565" y="174"/>
                  </a:cubicBezTo>
                  <a:cubicBezTo>
                    <a:pt x="565" y="174"/>
                    <a:pt x="567" y="161"/>
                    <a:pt x="570" y="157"/>
                  </a:cubicBezTo>
                  <a:cubicBezTo>
                    <a:pt x="572" y="154"/>
                    <a:pt x="575" y="150"/>
                    <a:pt x="575" y="144"/>
                  </a:cubicBezTo>
                  <a:cubicBezTo>
                    <a:pt x="574" y="139"/>
                    <a:pt x="572" y="130"/>
                    <a:pt x="572" y="130"/>
                  </a:cubicBezTo>
                  <a:cubicBezTo>
                    <a:pt x="574" y="97"/>
                    <a:pt x="574" y="97"/>
                    <a:pt x="574" y="97"/>
                  </a:cubicBezTo>
                  <a:cubicBezTo>
                    <a:pt x="577" y="93"/>
                    <a:pt x="577" y="93"/>
                    <a:pt x="577" y="93"/>
                  </a:cubicBezTo>
                  <a:cubicBezTo>
                    <a:pt x="577" y="93"/>
                    <a:pt x="576" y="81"/>
                    <a:pt x="582" y="79"/>
                  </a:cubicBezTo>
                  <a:cubicBezTo>
                    <a:pt x="588" y="76"/>
                    <a:pt x="595" y="78"/>
                    <a:pt x="595" y="78"/>
                  </a:cubicBezTo>
                  <a:cubicBezTo>
                    <a:pt x="595" y="78"/>
                    <a:pt x="604" y="66"/>
                    <a:pt x="610" y="65"/>
                  </a:cubicBezTo>
                  <a:cubicBezTo>
                    <a:pt x="616" y="64"/>
                    <a:pt x="625" y="77"/>
                    <a:pt x="625" y="77"/>
                  </a:cubicBezTo>
                  <a:cubicBezTo>
                    <a:pt x="648" y="80"/>
                    <a:pt x="648" y="80"/>
                    <a:pt x="648" y="80"/>
                  </a:cubicBezTo>
                  <a:cubicBezTo>
                    <a:pt x="655" y="91"/>
                    <a:pt x="655" y="91"/>
                    <a:pt x="655" y="91"/>
                  </a:cubicBezTo>
                  <a:cubicBezTo>
                    <a:pt x="655" y="91"/>
                    <a:pt x="647" y="105"/>
                    <a:pt x="647" y="110"/>
                  </a:cubicBezTo>
                  <a:cubicBezTo>
                    <a:pt x="647" y="116"/>
                    <a:pt x="650" y="121"/>
                    <a:pt x="650" y="121"/>
                  </a:cubicBezTo>
                  <a:cubicBezTo>
                    <a:pt x="650" y="121"/>
                    <a:pt x="654" y="125"/>
                    <a:pt x="656" y="123"/>
                  </a:cubicBezTo>
                  <a:cubicBezTo>
                    <a:pt x="659" y="121"/>
                    <a:pt x="658" y="107"/>
                    <a:pt x="658" y="107"/>
                  </a:cubicBezTo>
                  <a:cubicBezTo>
                    <a:pt x="658" y="107"/>
                    <a:pt x="655" y="108"/>
                    <a:pt x="656" y="105"/>
                  </a:cubicBezTo>
                  <a:cubicBezTo>
                    <a:pt x="657" y="102"/>
                    <a:pt x="661" y="102"/>
                    <a:pt x="663" y="100"/>
                  </a:cubicBezTo>
                  <a:cubicBezTo>
                    <a:pt x="666" y="98"/>
                    <a:pt x="665" y="93"/>
                    <a:pt x="666" y="93"/>
                  </a:cubicBezTo>
                  <a:cubicBezTo>
                    <a:pt x="668" y="92"/>
                    <a:pt x="674" y="94"/>
                    <a:pt x="674" y="90"/>
                  </a:cubicBezTo>
                  <a:cubicBezTo>
                    <a:pt x="674" y="85"/>
                    <a:pt x="669" y="78"/>
                    <a:pt x="669" y="78"/>
                  </a:cubicBezTo>
                  <a:cubicBezTo>
                    <a:pt x="669" y="78"/>
                    <a:pt x="673" y="78"/>
                    <a:pt x="675" y="79"/>
                  </a:cubicBezTo>
                  <a:cubicBezTo>
                    <a:pt x="678" y="79"/>
                    <a:pt x="685" y="87"/>
                    <a:pt x="687" y="80"/>
                  </a:cubicBezTo>
                  <a:cubicBezTo>
                    <a:pt x="690" y="74"/>
                    <a:pt x="685" y="71"/>
                    <a:pt x="685" y="71"/>
                  </a:cubicBezTo>
                  <a:close/>
                  <a:moveTo>
                    <a:pt x="8" y="787"/>
                  </a:moveTo>
                  <a:cubicBezTo>
                    <a:pt x="8" y="787"/>
                    <a:pt x="7" y="793"/>
                    <a:pt x="8" y="794"/>
                  </a:cubicBezTo>
                  <a:cubicBezTo>
                    <a:pt x="9" y="796"/>
                    <a:pt x="6" y="800"/>
                    <a:pt x="6" y="800"/>
                  </a:cubicBezTo>
                  <a:cubicBezTo>
                    <a:pt x="9" y="800"/>
                    <a:pt x="9" y="800"/>
                    <a:pt x="9" y="800"/>
                  </a:cubicBezTo>
                  <a:cubicBezTo>
                    <a:pt x="11" y="798"/>
                    <a:pt x="11" y="798"/>
                    <a:pt x="11" y="798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0" y="785"/>
                    <a:pt x="10" y="785"/>
                    <a:pt x="10" y="785"/>
                  </a:cubicBezTo>
                  <a:lnTo>
                    <a:pt x="8" y="787"/>
                  </a:lnTo>
                  <a:close/>
                  <a:moveTo>
                    <a:pt x="27" y="805"/>
                  </a:moveTo>
                  <a:cubicBezTo>
                    <a:pt x="18" y="803"/>
                    <a:pt x="18" y="803"/>
                    <a:pt x="18" y="803"/>
                  </a:cubicBezTo>
                  <a:cubicBezTo>
                    <a:pt x="26" y="808"/>
                    <a:pt x="26" y="808"/>
                    <a:pt x="26" y="808"/>
                  </a:cubicBezTo>
                  <a:lnTo>
                    <a:pt x="27" y="805"/>
                  </a:lnTo>
                  <a:close/>
                  <a:moveTo>
                    <a:pt x="36" y="794"/>
                  </a:moveTo>
                  <a:cubicBezTo>
                    <a:pt x="32" y="794"/>
                    <a:pt x="32" y="794"/>
                    <a:pt x="32" y="794"/>
                  </a:cubicBezTo>
                  <a:cubicBezTo>
                    <a:pt x="30" y="799"/>
                    <a:pt x="30" y="799"/>
                    <a:pt x="30" y="799"/>
                  </a:cubicBezTo>
                  <a:cubicBezTo>
                    <a:pt x="38" y="798"/>
                    <a:pt x="38" y="798"/>
                    <a:pt x="38" y="798"/>
                  </a:cubicBezTo>
                  <a:lnTo>
                    <a:pt x="36" y="794"/>
                  </a:lnTo>
                  <a:close/>
                  <a:moveTo>
                    <a:pt x="16" y="750"/>
                  </a:moveTo>
                  <a:cubicBezTo>
                    <a:pt x="16" y="753"/>
                    <a:pt x="16" y="753"/>
                    <a:pt x="16" y="753"/>
                  </a:cubicBezTo>
                  <a:cubicBezTo>
                    <a:pt x="14" y="754"/>
                    <a:pt x="14" y="754"/>
                    <a:pt x="14" y="754"/>
                  </a:cubicBezTo>
                  <a:cubicBezTo>
                    <a:pt x="14" y="754"/>
                    <a:pt x="16" y="762"/>
                    <a:pt x="20" y="762"/>
                  </a:cubicBezTo>
                  <a:cubicBezTo>
                    <a:pt x="26" y="762"/>
                    <a:pt x="22" y="753"/>
                    <a:pt x="22" y="753"/>
                  </a:cubicBezTo>
                  <a:cubicBezTo>
                    <a:pt x="17" y="750"/>
                    <a:pt x="17" y="750"/>
                    <a:pt x="17" y="750"/>
                  </a:cubicBezTo>
                  <a:lnTo>
                    <a:pt x="16" y="750"/>
                  </a:lnTo>
                  <a:close/>
                  <a:moveTo>
                    <a:pt x="15" y="768"/>
                  </a:moveTo>
                  <a:cubicBezTo>
                    <a:pt x="17" y="766"/>
                    <a:pt x="17" y="766"/>
                    <a:pt x="17" y="766"/>
                  </a:cubicBezTo>
                  <a:cubicBezTo>
                    <a:pt x="15" y="762"/>
                    <a:pt x="15" y="762"/>
                    <a:pt x="15" y="762"/>
                  </a:cubicBezTo>
                  <a:cubicBezTo>
                    <a:pt x="15" y="758"/>
                    <a:pt x="15" y="758"/>
                    <a:pt x="15" y="758"/>
                  </a:cubicBezTo>
                  <a:cubicBezTo>
                    <a:pt x="11" y="756"/>
                    <a:pt x="11" y="756"/>
                    <a:pt x="11" y="756"/>
                  </a:cubicBezTo>
                  <a:cubicBezTo>
                    <a:pt x="11" y="757"/>
                    <a:pt x="11" y="757"/>
                    <a:pt x="11" y="757"/>
                  </a:cubicBezTo>
                  <a:cubicBezTo>
                    <a:pt x="11" y="757"/>
                    <a:pt x="10" y="758"/>
                    <a:pt x="9" y="760"/>
                  </a:cubicBezTo>
                  <a:cubicBezTo>
                    <a:pt x="8" y="762"/>
                    <a:pt x="12" y="764"/>
                    <a:pt x="12" y="764"/>
                  </a:cubicBezTo>
                  <a:cubicBezTo>
                    <a:pt x="9" y="767"/>
                    <a:pt x="9" y="767"/>
                    <a:pt x="9" y="767"/>
                  </a:cubicBezTo>
                  <a:cubicBezTo>
                    <a:pt x="9" y="773"/>
                    <a:pt x="9" y="773"/>
                    <a:pt x="9" y="773"/>
                  </a:cubicBezTo>
                  <a:cubicBezTo>
                    <a:pt x="13" y="772"/>
                    <a:pt x="13" y="772"/>
                    <a:pt x="13" y="772"/>
                  </a:cubicBezTo>
                  <a:cubicBezTo>
                    <a:pt x="10" y="767"/>
                    <a:pt x="10" y="767"/>
                    <a:pt x="10" y="767"/>
                  </a:cubicBezTo>
                  <a:cubicBezTo>
                    <a:pt x="14" y="764"/>
                    <a:pt x="14" y="764"/>
                    <a:pt x="14" y="764"/>
                  </a:cubicBezTo>
                  <a:cubicBezTo>
                    <a:pt x="15" y="764"/>
                    <a:pt x="15" y="764"/>
                    <a:pt x="15" y="764"/>
                  </a:cubicBezTo>
                  <a:cubicBezTo>
                    <a:pt x="14" y="766"/>
                    <a:pt x="14" y="766"/>
                    <a:pt x="14" y="766"/>
                  </a:cubicBezTo>
                  <a:lnTo>
                    <a:pt x="15" y="768"/>
                  </a:lnTo>
                  <a:close/>
                  <a:moveTo>
                    <a:pt x="29" y="766"/>
                  </a:moveTo>
                  <a:cubicBezTo>
                    <a:pt x="33" y="764"/>
                    <a:pt x="33" y="764"/>
                    <a:pt x="33" y="764"/>
                  </a:cubicBezTo>
                  <a:cubicBezTo>
                    <a:pt x="27" y="759"/>
                    <a:pt x="27" y="759"/>
                    <a:pt x="27" y="759"/>
                  </a:cubicBezTo>
                  <a:cubicBezTo>
                    <a:pt x="25" y="761"/>
                    <a:pt x="25" y="761"/>
                    <a:pt x="25" y="761"/>
                  </a:cubicBezTo>
                  <a:lnTo>
                    <a:pt x="29" y="766"/>
                  </a:lnTo>
                  <a:close/>
                  <a:moveTo>
                    <a:pt x="28" y="743"/>
                  </a:moveTo>
                  <a:cubicBezTo>
                    <a:pt x="23" y="744"/>
                    <a:pt x="23" y="744"/>
                    <a:pt x="23" y="744"/>
                  </a:cubicBezTo>
                  <a:cubicBezTo>
                    <a:pt x="23" y="747"/>
                    <a:pt x="23" y="747"/>
                    <a:pt x="23" y="747"/>
                  </a:cubicBezTo>
                  <a:cubicBezTo>
                    <a:pt x="20" y="749"/>
                    <a:pt x="20" y="749"/>
                    <a:pt x="20" y="749"/>
                  </a:cubicBezTo>
                  <a:cubicBezTo>
                    <a:pt x="23" y="751"/>
                    <a:pt x="23" y="751"/>
                    <a:pt x="23" y="751"/>
                  </a:cubicBezTo>
                  <a:cubicBezTo>
                    <a:pt x="25" y="754"/>
                    <a:pt x="25" y="754"/>
                    <a:pt x="25" y="754"/>
                  </a:cubicBezTo>
                  <a:cubicBezTo>
                    <a:pt x="27" y="754"/>
                    <a:pt x="27" y="754"/>
                    <a:pt x="27" y="754"/>
                  </a:cubicBezTo>
                  <a:cubicBezTo>
                    <a:pt x="27" y="751"/>
                    <a:pt x="27" y="751"/>
                    <a:pt x="27" y="751"/>
                  </a:cubicBezTo>
                  <a:cubicBezTo>
                    <a:pt x="29" y="749"/>
                    <a:pt x="29" y="749"/>
                    <a:pt x="29" y="749"/>
                  </a:cubicBezTo>
                  <a:lnTo>
                    <a:pt x="28" y="743"/>
                  </a:lnTo>
                  <a:close/>
                  <a:moveTo>
                    <a:pt x="19" y="743"/>
                  </a:moveTo>
                  <a:cubicBezTo>
                    <a:pt x="16" y="746"/>
                    <a:pt x="19" y="747"/>
                    <a:pt x="20" y="746"/>
                  </a:cubicBezTo>
                  <a:cubicBezTo>
                    <a:pt x="23" y="744"/>
                    <a:pt x="22" y="740"/>
                    <a:pt x="19" y="743"/>
                  </a:cubicBezTo>
                  <a:close/>
                  <a:moveTo>
                    <a:pt x="10" y="738"/>
                  </a:moveTo>
                  <a:cubicBezTo>
                    <a:pt x="11" y="740"/>
                    <a:pt x="11" y="740"/>
                    <a:pt x="11" y="740"/>
                  </a:cubicBezTo>
                  <a:cubicBezTo>
                    <a:pt x="12" y="740"/>
                    <a:pt x="12" y="740"/>
                    <a:pt x="12" y="740"/>
                  </a:cubicBezTo>
                  <a:cubicBezTo>
                    <a:pt x="14" y="743"/>
                    <a:pt x="14" y="743"/>
                    <a:pt x="14" y="743"/>
                  </a:cubicBezTo>
                  <a:cubicBezTo>
                    <a:pt x="12" y="745"/>
                    <a:pt x="12" y="745"/>
                    <a:pt x="12" y="745"/>
                  </a:cubicBezTo>
                  <a:cubicBezTo>
                    <a:pt x="15" y="746"/>
                    <a:pt x="15" y="746"/>
                    <a:pt x="15" y="746"/>
                  </a:cubicBezTo>
                  <a:cubicBezTo>
                    <a:pt x="16" y="742"/>
                    <a:pt x="16" y="742"/>
                    <a:pt x="16" y="742"/>
                  </a:cubicBezTo>
                  <a:cubicBezTo>
                    <a:pt x="12" y="737"/>
                    <a:pt x="12" y="737"/>
                    <a:pt x="12" y="737"/>
                  </a:cubicBezTo>
                  <a:lnTo>
                    <a:pt x="10" y="738"/>
                  </a:lnTo>
                  <a:close/>
                  <a:moveTo>
                    <a:pt x="13" y="749"/>
                  </a:moveTo>
                  <a:cubicBezTo>
                    <a:pt x="11" y="746"/>
                    <a:pt x="11" y="746"/>
                    <a:pt x="11" y="746"/>
                  </a:cubicBezTo>
                  <a:cubicBezTo>
                    <a:pt x="8" y="749"/>
                    <a:pt x="8" y="749"/>
                    <a:pt x="8" y="749"/>
                  </a:cubicBezTo>
                  <a:cubicBezTo>
                    <a:pt x="9" y="751"/>
                    <a:pt x="9" y="751"/>
                    <a:pt x="9" y="751"/>
                  </a:cubicBezTo>
                  <a:lnTo>
                    <a:pt x="13" y="749"/>
                  </a:lnTo>
                  <a:close/>
                  <a:moveTo>
                    <a:pt x="41" y="738"/>
                  </a:moveTo>
                  <a:cubicBezTo>
                    <a:pt x="39" y="740"/>
                    <a:pt x="39" y="740"/>
                    <a:pt x="39" y="740"/>
                  </a:cubicBezTo>
                  <a:cubicBezTo>
                    <a:pt x="40" y="744"/>
                    <a:pt x="40" y="744"/>
                    <a:pt x="40" y="744"/>
                  </a:cubicBezTo>
                  <a:cubicBezTo>
                    <a:pt x="43" y="741"/>
                    <a:pt x="43" y="741"/>
                    <a:pt x="43" y="741"/>
                  </a:cubicBezTo>
                  <a:lnTo>
                    <a:pt x="41" y="738"/>
                  </a:lnTo>
                  <a:close/>
                  <a:moveTo>
                    <a:pt x="9" y="733"/>
                  </a:moveTo>
                  <a:cubicBezTo>
                    <a:pt x="11" y="734"/>
                    <a:pt x="13" y="734"/>
                    <a:pt x="13" y="734"/>
                  </a:cubicBezTo>
                  <a:cubicBezTo>
                    <a:pt x="11" y="729"/>
                    <a:pt x="11" y="729"/>
                    <a:pt x="11" y="729"/>
                  </a:cubicBezTo>
                  <a:cubicBezTo>
                    <a:pt x="13" y="727"/>
                    <a:pt x="13" y="727"/>
                    <a:pt x="13" y="727"/>
                  </a:cubicBezTo>
                  <a:cubicBezTo>
                    <a:pt x="10" y="719"/>
                    <a:pt x="10" y="719"/>
                    <a:pt x="10" y="719"/>
                  </a:cubicBezTo>
                  <a:cubicBezTo>
                    <a:pt x="9" y="722"/>
                    <a:pt x="9" y="722"/>
                    <a:pt x="9" y="722"/>
                  </a:cubicBezTo>
                  <a:cubicBezTo>
                    <a:pt x="11" y="726"/>
                    <a:pt x="11" y="726"/>
                    <a:pt x="11" y="726"/>
                  </a:cubicBezTo>
                  <a:cubicBezTo>
                    <a:pt x="7" y="727"/>
                    <a:pt x="7" y="727"/>
                    <a:pt x="7" y="727"/>
                  </a:cubicBezTo>
                  <a:cubicBezTo>
                    <a:pt x="7" y="727"/>
                    <a:pt x="7" y="731"/>
                    <a:pt x="9" y="733"/>
                  </a:cubicBezTo>
                  <a:close/>
                  <a:moveTo>
                    <a:pt x="16" y="715"/>
                  </a:moveTo>
                  <a:cubicBezTo>
                    <a:pt x="10" y="711"/>
                    <a:pt x="10" y="711"/>
                    <a:pt x="10" y="711"/>
                  </a:cubicBezTo>
                  <a:cubicBezTo>
                    <a:pt x="9" y="712"/>
                    <a:pt x="9" y="712"/>
                    <a:pt x="9" y="712"/>
                  </a:cubicBezTo>
                  <a:cubicBezTo>
                    <a:pt x="12" y="714"/>
                    <a:pt x="12" y="714"/>
                    <a:pt x="12" y="714"/>
                  </a:cubicBezTo>
                  <a:cubicBezTo>
                    <a:pt x="12" y="718"/>
                    <a:pt x="12" y="718"/>
                    <a:pt x="12" y="718"/>
                  </a:cubicBezTo>
                  <a:cubicBezTo>
                    <a:pt x="14" y="721"/>
                    <a:pt x="14" y="721"/>
                    <a:pt x="14" y="721"/>
                  </a:cubicBezTo>
                  <a:cubicBezTo>
                    <a:pt x="17" y="721"/>
                    <a:pt x="17" y="721"/>
                    <a:pt x="17" y="721"/>
                  </a:cubicBezTo>
                  <a:lnTo>
                    <a:pt x="16" y="715"/>
                  </a:lnTo>
                  <a:close/>
                  <a:moveTo>
                    <a:pt x="24" y="713"/>
                  </a:moveTo>
                  <a:cubicBezTo>
                    <a:pt x="28" y="719"/>
                    <a:pt x="28" y="719"/>
                    <a:pt x="28" y="719"/>
                  </a:cubicBezTo>
                  <a:cubicBezTo>
                    <a:pt x="32" y="717"/>
                    <a:pt x="32" y="717"/>
                    <a:pt x="32" y="717"/>
                  </a:cubicBezTo>
                  <a:cubicBezTo>
                    <a:pt x="34" y="706"/>
                    <a:pt x="34" y="706"/>
                    <a:pt x="34" y="706"/>
                  </a:cubicBezTo>
                  <a:cubicBezTo>
                    <a:pt x="33" y="705"/>
                    <a:pt x="33" y="705"/>
                    <a:pt x="33" y="705"/>
                  </a:cubicBezTo>
                  <a:cubicBezTo>
                    <a:pt x="29" y="710"/>
                    <a:pt x="29" y="710"/>
                    <a:pt x="29" y="710"/>
                  </a:cubicBezTo>
                  <a:cubicBezTo>
                    <a:pt x="29" y="710"/>
                    <a:pt x="28" y="710"/>
                    <a:pt x="26" y="711"/>
                  </a:cubicBezTo>
                  <a:cubicBezTo>
                    <a:pt x="24" y="711"/>
                    <a:pt x="24" y="713"/>
                    <a:pt x="24" y="713"/>
                  </a:cubicBezTo>
                  <a:close/>
                  <a:moveTo>
                    <a:pt x="22" y="703"/>
                  </a:moveTo>
                  <a:cubicBezTo>
                    <a:pt x="13" y="694"/>
                    <a:pt x="13" y="694"/>
                    <a:pt x="13" y="694"/>
                  </a:cubicBezTo>
                  <a:cubicBezTo>
                    <a:pt x="12" y="695"/>
                    <a:pt x="12" y="695"/>
                    <a:pt x="12" y="695"/>
                  </a:cubicBezTo>
                  <a:cubicBezTo>
                    <a:pt x="18" y="703"/>
                    <a:pt x="18" y="703"/>
                    <a:pt x="18" y="703"/>
                  </a:cubicBezTo>
                  <a:cubicBezTo>
                    <a:pt x="17" y="705"/>
                    <a:pt x="17" y="705"/>
                    <a:pt x="17" y="705"/>
                  </a:cubicBezTo>
                  <a:cubicBezTo>
                    <a:pt x="15" y="704"/>
                    <a:pt x="15" y="704"/>
                    <a:pt x="15" y="704"/>
                  </a:cubicBezTo>
                  <a:cubicBezTo>
                    <a:pt x="20" y="711"/>
                    <a:pt x="20" y="711"/>
                    <a:pt x="20" y="711"/>
                  </a:cubicBezTo>
                  <a:cubicBezTo>
                    <a:pt x="23" y="711"/>
                    <a:pt x="25" y="708"/>
                    <a:pt x="25" y="708"/>
                  </a:cubicBezTo>
                  <a:cubicBezTo>
                    <a:pt x="23" y="705"/>
                    <a:pt x="23" y="705"/>
                    <a:pt x="23" y="705"/>
                  </a:cubicBezTo>
                  <a:lnTo>
                    <a:pt x="22" y="703"/>
                  </a:lnTo>
                  <a:close/>
                  <a:moveTo>
                    <a:pt x="9" y="699"/>
                  </a:moveTo>
                  <a:cubicBezTo>
                    <a:pt x="8" y="699"/>
                    <a:pt x="8" y="699"/>
                    <a:pt x="8" y="699"/>
                  </a:cubicBezTo>
                  <a:cubicBezTo>
                    <a:pt x="8" y="699"/>
                    <a:pt x="10" y="703"/>
                    <a:pt x="11" y="704"/>
                  </a:cubicBezTo>
                  <a:cubicBezTo>
                    <a:pt x="12" y="705"/>
                    <a:pt x="14" y="707"/>
                    <a:pt x="14" y="707"/>
                  </a:cubicBezTo>
                  <a:cubicBezTo>
                    <a:pt x="14" y="707"/>
                    <a:pt x="15" y="705"/>
                    <a:pt x="13" y="703"/>
                  </a:cubicBezTo>
                  <a:cubicBezTo>
                    <a:pt x="12" y="701"/>
                    <a:pt x="9" y="699"/>
                    <a:pt x="9" y="699"/>
                  </a:cubicBezTo>
                  <a:close/>
                  <a:moveTo>
                    <a:pt x="10" y="707"/>
                  </a:moveTo>
                  <a:cubicBezTo>
                    <a:pt x="9" y="707"/>
                    <a:pt x="10" y="709"/>
                    <a:pt x="11" y="710"/>
                  </a:cubicBezTo>
                  <a:cubicBezTo>
                    <a:pt x="12" y="710"/>
                    <a:pt x="16" y="712"/>
                    <a:pt x="16" y="712"/>
                  </a:cubicBezTo>
                  <a:cubicBezTo>
                    <a:pt x="16" y="710"/>
                    <a:pt x="16" y="710"/>
                    <a:pt x="16" y="710"/>
                  </a:cubicBezTo>
                  <a:cubicBezTo>
                    <a:pt x="16" y="710"/>
                    <a:pt x="11" y="707"/>
                    <a:pt x="10" y="707"/>
                  </a:cubicBezTo>
                  <a:close/>
                  <a:moveTo>
                    <a:pt x="9" y="693"/>
                  </a:moveTo>
                  <a:cubicBezTo>
                    <a:pt x="7" y="695"/>
                    <a:pt x="7" y="695"/>
                    <a:pt x="7" y="695"/>
                  </a:cubicBezTo>
                  <a:cubicBezTo>
                    <a:pt x="11" y="698"/>
                    <a:pt x="11" y="698"/>
                    <a:pt x="11" y="698"/>
                  </a:cubicBezTo>
                  <a:lnTo>
                    <a:pt x="9" y="693"/>
                  </a:lnTo>
                  <a:close/>
                  <a:moveTo>
                    <a:pt x="10" y="692"/>
                  </a:moveTo>
                  <a:cubicBezTo>
                    <a:pt x="9" y="687"/>
                    <a:pt x="9" y="687"/>
                    <a:pt x="9" y="687"/>
                  </a:cubicBezTo>
                  <a:cubicBezTo>
                    <a:pt x="7" y="689"/>
                    <a:pt x="7" y="689"/>
                    <a:pt x="7" y="689"/>
                  </a:cubicBezTo>
                  <a:lnTo>
                    <a:pt x="10" y="692"/>
                  </a:lnTo>
                  <a:close/>
                  <a:moveTo>
                    <a:pt x="9" y="678"/>
                  </a:moveTo>
                  <a:cubicBezTo>
                    <a:pt x="11" y="676"/>
                    <a:pt x="11" y="676"/>
                    <a:pt x="11" y="676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15" y="676"/>
                    <a:pt x="15" y="674"/>
                  </a:cubicBezTo>
                  <a:cubicBezTo>
                    <a:pt x="15" y="671"/>
                    <a:pt x="12" y="670"/>
                    <a:pt x="12" y="670"/>
                  </a:cubicBezTo>
                  <a:cubicBezTo>
                    <a:pt x="10" y="671"/>
                    <a:pt x="10" y="671"/>
                    <a:pt x="10" y="671"/>
                  </a:cubicBezTo>
                  <a:cubicBezTo>
                    <a:pt x="10" y="671"/>
                    <a:pt x="8" y="675"/>
                    <a:pt x="9" y="678"/>
                  </a:cubicBezTo>
                  <a:close/>
                  <a:moveTo>
                    <a:pt x="6" y="680"/>
                  </a:moveTo>
                  <a:cubicBezTo>
                    <a:pt x="7" y="680"/>
                    <a:pt x="7" y="680"/>
                    <a:pt x="7" y="680"/>
                  </a:cubicBezTo>
                  <a:cubicBezTo>
                    <a:pt x="8" y="676"/>
                    <a:pt x="8" y="676"/>
                    <a:pt x="8" y="676"/>
                  </a:cubicBezTo>
                  <a:cubicBezTo>
                    <a:pt x="7" y="676"/>
                    <a:pt x="7" y="676"/>
                    <a:pt x="7" y="676"/>
                  </a:cubicBezTo>
                  <a:lnTo>
                    <a:pt x="6" y="680"/>
                  </a:lnTo>
                  <a:close/>
                  <a:moveTo>
                    <a:pt x="3" y="678"/>
                  </a:moveTo>
                  <a:cubicBezTo>
                    <a:pt x="0" y="678"/>
                    <a:pt x="1" y="681"/>
                    <a:pt x="2" y="681"/>
                  </a:cubicBezTo>
                  <a:cubicBezTo>
                    <a:pt x="4" y="682"/>
                    <a:pt x="7" y="677"/>
                    <a:pt x="3" y="678"/>
                  </a:cubicBezTo>
                  <a:close/>
                  <a:moveTo>
                    <a:pt x="7" y="661"/>
                  </a:moveTo>
                  <a:cubicBezTo>
                    <a:pt x="3" y="661"/>
                    <a:pt x="4" y="663"/>
                    <a:pt x="6" y="663"/>
                  </a:cubicBezTo>
                  <a:cubicBezTo>
                    <a:pt x="9" y="663"/>
                    <a:pt x="10" y="662"/>
                    <a:pt x="7" y="661"/>
                  </a:cubicBezTo>
                  <a:close/>
                  <a:moveTo>
                    <a:pt x="17" y="658"/>
                  </a:moveTo>
                  <a:cubicBezTo>
                    <a:pt x="14" y="657"/>
                    <a:pt x="14" y="657"/>
                    <a:pt x="14" y="657"/>
                  </a:cubicBezTo>
                  <a:cubicBezTo>
                    <a:pt x="11" y="660"/>
                    <a:pt x="11" y="660"/>
                    <a:pt x="11" y="660"/>
                  </a:cubicBezTo>
                  <a:cubicBezTo>
                    <a:pt x="13" y="662"/>
                    <a:pt x="13" y="662"/>
                    <a:pt x="13" y="662"/>
                  </a:cubicBezTo>
                  <a:lnTo>
                    <a:pt x="17" y="658"/>
                  </a:lnTo>
                  <a:close/>
                  <a:moveTo>
                    <a:pt x="18" y="649"/>
                  </a:moveTo>
                  <a:cubicBezTo>
                    <a:pt x="14" y="646"/>
                    <a:pt x="14" y="646"/>
                    <a:pt x="14" y="646"/>
                  </a:cubicBezTo>
                  <a:cubicBezTo>
                    <a:pt x="15" y="650"/>
                    <a:pt x="15" y="650"/>
                    <a:pt x="15" y="650"/>
                  </a:cubicBezTo>
                  <a:lnTo>
                    <a:pt x="18" y="649"/>
                  </a:lnTo>
                  <a:close/>
                  <a:moveTo>
                    <a:pt x="22" y="643"/>
                  </a:moveTo>
                  <a:cubicBezTo>
                    <a:pt x="17" y="645"/>
                    <a:pt x="17" y="645"/>
                    <a:pt x="17" y="645"/>
                  </a:cubicBezTo>
                  <a:cubicBezTo>
                    <a:pt x="22" y="647"/>
                    <a:pt x="22" y="647"/>
                    <a:pt x="22" y="647"/>
                  </a:cubicBezTo>
                  <a:lnTo>
                    <a:pt x="22" y="643"/>
                  </a:lnTo>
                  <a:close/>
                  <a:moveTo>
                    <a:pt x="14" y="639"/>
                  </a:moveTo>
                  <a:cubicBezTo>
                    <a:pt x="14" y="635"/>
                    <a:pt x="11" y="635"/>
                    <a:pt x="12" y="638"/>
                  </a:cubicBezTo>
                  <a:cubicBezTo>
                    <a:pt x="12" y="641"/>
                    <a:pt x="14" y="641"/>
                    <a:pt x="14" y="639"/>
                  </a:cubicBezTo>
                  <a:close/>
                  <a:moveTo>
                    <a:pt x="15" y="632"/>
                  </a:moveTo>
                  <a:cubicBezTo>
                    <a:pt x="24" y="629"/>
                    <a:pt x="24" y="629"/>
                    <a:pt x="24" y="629"/>
                  </a:cubicBezTo>
                  <a:cubicBezTo>
                    <a:pt x="25" y="626"/>
                    <a:pt x="25" y="626"/>
                    <a:pt x="25" y="626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15" y="623"/>
                    <a:pt x="15" y="623"/>
                    <a:pt x="15" y="623"/>
                  </a:cubicBezTo>
                  <a:cubicBezTo>
                    <a:pt x="15" y="626"/>
                    <a:pt x="15" y="626"/>
                    <a:pt x="15" y="626"/>
                  </a:cubicBezTo>
                  <a:cubicBezTo>
                    <a:pt x="12" y="627"/>
                    <a:pt x="12" y="627"/>
                    <a:pt x="12" y="627"/>
                  </a:cubicBezTo>
                  <a:cubicBezTo>
                    <a:pt x="16" y="628"/>
                    <a:pt x="16" y="628"/>
                    <a:pt x="16" y="628"/>
                  </a:cubicBezTo>
                  <a:lnTo>
                    <a:pt x="15" y="632"/>
                  </a:lnTo>
                  <a:close/>
                  <a:moveTo>
                    <a:pt x="12" y="630"/>
                  </a:moveTo>
                  <a:cubicBezTo>
                    <a:pt x="13" y="632"/>
                    <a:pt x="13" y="632"/>
                    <a:pt x="13" y="632"/>
                  </a:cubicBezTo>
                  <a:cubicBezTo>
                    <a:pt x="14" y="633"/>
                    <a:pt x="14" y="633"/>
                    <a:pt x="14" y="633"/>
                  </a:cubicBezTo>
                  <a:cubicBezTo>
                    <a:pt x="14" y="629"/>
                    <a:pt x="14" y="629"/>
                    <a:pt x="14" y="629"/>
                  </a:cubicBezTo>
                  <a:lnTo>
                    <a:pt x="12" y="630"/>
                  </a:lnTo>
                  <a:close/>
                  <a:moveTo>
                    <a:pt x="20" y="618"/>
                  </a:moveTo>
                  <a:cubicBezTo>
                    <a:pt x="22" y="619"/>
                    <a:pt x="22" y="623"/>
                    <a:pt x="22" y="623"/>
                  </a:cubicBezTo>
                  <a:cubicBezTo>
                    <a:pt x="25" y="623"/>
                    <a:pt x="25" y="623"/>
                    <a:pt x="25" y="623"/>
                  </a:cubicBezTo>
                  <a:cubicBezTo>
                    <a:pt x="25" y="616"/>
                    <a:pt x="25" y="616"/>
                    <a:pt x="25" y="616"/>
                  </a:cubicBezTo>
                  <a:cubicBezTo>
                    <a:pt x="20" y="615"/>
                    <a:pt x="20" y="615"/>
                    <a:pt x="20" y="615"/>
                  </a:cubicBezTo>
                  <a:cubicBezTo>
                    <a:pt x="20" y="615"/>
                    <a:pt x="18" y="617"/>
                    <a:pt x="20" y="618"/>
                  </a:cubicBezTo>
                  <a:close/>
                  <a:moveTo>
                    <a:pt x="36" y="604"/>
                  </a:moveTo>
                  <a:cubicBezTo>
                    <a:pt x="36" y="601"/>
                    <a:pt x="36" y="601"/>
                    <a:pt x="36" y="601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4"/>
                    <a:pt x="34" y="604"/>
                    <a:pt x="34" y="604"/>
                  </a:cubicBezTo>
                  <a:lnTo>
                    <a:pt x="36" y="604"/>
                  </a:lnTo>
                  <a:close/>
                  <a:moveTo>
                    <a:pt x="45" y="607"/>
                  </a:moveTo>
                  <a:cubicBezTo>
                    <a:pt x="48" y="605"/>
                    <a:pt x="48" y="601"/>
                    <a:pt x="44" y="600"/>
                  </a:cubicBezTo>
                  <a:cubicBezTo>
                    <a:pt x="40" y="598"/>
                    <a:pt x="40" y="603"/>
                    <a:pt x="40" y="603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7"/>
                    <a:pt x="42" y="608"/>
                    <a:pt x="45" y="607"/>
                  </a:cubicBezTo>
                  <a:close/>
                  <a:moveTo>
                    <a:pt x="42" y="598"/>
                  </a:moveTo>
                  <a:cubicBezTo>
                    <a:pt x="45" y="598"/>
                    <a:pt x="45" y="598"/>
                    <a:pt x="45" y="598"/>
                  </a:cubicBezTo>
                  <a:cubicBezTo>
                    <a:pt x="46" y="596"/>
                    <a:pt x="46" y="596"/>
                    <a:pt x="46" y="596"/>
                  </a:cubicBezTo>
                  <a:cubicBezTo>
                    <a:pt x="43" y="593"/>
                    <a:pt x="43" y="593"/>
                    <a:pt x="43" y="593"/>
                  </a:cubicBezTo>
                  <a:cubicBezTo>
                    <a:pt x="41" y="593"/>
                    <a:pt x="41" y="593"/>
                    <a:pt x="41" y="593"/>
                  </a:cubicBezTo>
                  <a:cubicBezTo>
                    <a:pt x="42" y="596"/>
                    <a:pt x="42" y="596"/>
                    <a:pt x="42" y="596"/>
                  </a:cubicBezTo>
                  <a:lnTo>
                    <a:pt x="42" y="598"/>
                  </a:lnTo>
                  <a:close/>
                  <a:moveTo>
                    <a:pt x="53" y="593"/>
                  </a:moveTo>
                  <a:cubicBezTo>
                    <a:pt x="49" y="594"/>
                    <a:pt x="49" y="594"/>
                    <a:pt x="49" y="594"/>
                  </a:cubicBezTo>
                  <a:cubicBezTo>
                    <a:pt x="49" y="603"/>
                    <a:pt x="49" y="603"/>
                    <a:pt x="49" y="603"/>
                  </a:cubicBezTo>
                  <a:cubicBezTo>
                    <a:pt x="57" y="598"/>
                    <a:pt x="57" y="598"/>
                    <a:pt x="57" y="598"/>
                  </a:cubicBezTo>
                  <a:lnTo>
                    <a:pt x="53" y="593"/>
                  </a:lnTo>
                  <a:close/>
                  <a:moveTo>
                    <a:pt x="57" y="593"/>
                  </a:moveTo>
                  <a:cubicBezTo>
                    <a:pt x="60" y="596"/>
                    <a:pt x="60" y="596"/>
                    <a:pt x="60" y="596"/>
                  </a:cubicBezTo>
                  <a:cubicBezTo>
                    <a:pt x="65" y="594"/>
                    <a:pt x="65" y="594"/>
                    <a:pt x="65" y="594"/>
                  </a:cubicBezTo>
                  <a:cubicBezTo>
                    <a:pt x="61" y="592"/>
                    <a:pt x="61" y="592"/>
                    <a:pt x="61" y="592"/>
                  </a:cubicBezTo>
                  <a:lnTo>
                    <a:pt x="57" y="593"/>
                  </a:lnTo>
                  <a:close/>
                  <a:moveTo>
                    <a:pt x="55" y="587"/>
                  </a:moveTo>
                  <a:cubicBezTo>
                    <a:pt x="51" y="591"/>
                    <a:pt x="51" y="591"/>
                    <a:pt x="51" y="591"/>
                  </a:cubicBezTo>
                  <a:cubicBezTo>
                    <a:pt x="58" y="591"/>
                    <a:pt x="58" y="591"/>
                    <a:pt x="58" y="591"/>
                  </a:cubicBezTo>
                  <a:lnTo>
                    <a:pt x="55" y="587"/>
                  </a:lnTo>
                  <a:close/>
                  <a:moveTo>
                    <a:pt x="57" y="586"/>
                  </a:moveTo>
                  <a:cubicBezTo>
                    <a:pt x="59" y="586"/>
                    <a:pt x="61" y="581"/>
                    <a:pt x="58" y="582"/>
                  </a:cubicBezTo>
                  <a:cubicBezTo>
                    <a:pt x="55" y="583"/>
                    <a:pt x="56" y="586"/>
                    <a:pt x="57" y="586"/>
                  </a:cubicBezTo>
                  <a:close/>
                  <a:moveTo>
                    <a:pt x="63" y="580"/>
                  </a:moveTo>
                  <a:cubicBezTo>
                    <a:pt x="59" y="579"/>
                    <a:pt x="59" y="579"/>
                    <a:pt x="59" y="579"/>
                  </a:cubicBezTo>
                  <a:cubicBezTo>
                    <a:pt x="62" y="582"/>
                    <a:pt x="62" y="582"/>
                    <a:pt x="62" y="582"/>
                  </a:cubicBezTo>
                  <a:lnTo>
                    <a:pt x="63" y="580"/>
                  </a:lnTo>
                  <a:close/>
                  <a:moveTo>
                    <a:pt x="63" y="577"/>
                  </a:moveTo>
                  <a:cubicBezTo>
                    <a:pt x="62" y="578"/>
                    <a:pt x="62" y="578"/>
                    <a:pt x="62" y="578"/>
                  </a:cubicBezTo>
                  <a:cubicBezTo>
                    <a:pt x="65" y="580"/>
                    <a:pt x="65" y="580"/>
                    <a:pt x="65" y="580"/>
                  </a:cubicBezTo>
                  <a:lnTo>
                    <a:pt x="63" y="577"/>
                  </a:lnTo>
                  <a:close/>
                  <a:moveTo>
                    <a:pt x="71" y="575"/>
                  </a:moveTo>
                  <a:cubicBezTo>
                    <a:pt x="71" y="571"/>
                    <a:pt x="71" y="571"/>
                    <a:pt x="71" y="571"/>
                  </a:cubicBezTo>
                  <a:cubicBezTo>
                    <a:pt x="69" y="571"/>
                    <a:pt x="69" y="571"/>
                    <a:pt x="69" y="571"/>
                  </a:cubicBezTo>
                  <a:cubicBezTo>
                    <a:pt x="69" y="575"/>
                    <a:pt x="69" y="575"/>
                    <a:pt x="69" y="575"/>
                  </a:cubicBezTo>
                  <a:lnTo>
                    <a:pt x="71" y="575"/>
                  </a:lnTo>
                  <a:close/>
                  <a:moveTo>
                    <a:pt x="80" y="578"/>
                  </a:moveTo>
                  <a:cubicBezTo>
                    <a:pt x="85" y="576"/>
                    <a:pt x="85" y="575"/>
                    <a:pt x="82" y="575"/>
                  </a:cubicBezTo>
                  <a:cubicBezTo>
                    <a:pt x="78" y="573"/>
                    <a:pt x="77" y="576"/>
                    <a:pt x="77" y="577"/>
                  </a:cubicBezTo>
                  <a:cubicBezTo>
                    <a:pt x="77" y="578"/>
                    <a:pt x="80" y="578"/>
                    <a:pt x="80" y="578"/>
                  </a:cubicBezTo>
                  <a:close/>
                  <a:moveTo>
                    <a:pt x="87" y="568"/>
                  </a:moveTo>
                  <a:cubicBezTo>
                    <a:pt x="82" y="567"/>
                    <a:pt x="82" y="567"/>
                    <a:pt x="82" y="567"/>
                  </a:cubicBezTo>
                  <a:cubicBezTo>
                    <a:pt x="80" y="568"/>
                    <a:pt x="80" y="568"/>
                    <a:pt x="80" y="568"/>
                  </a:cubicBezTo>
                  <a:cubicBezTo>
                    <a:pt x="83" y="571"/>
                    <a:pt x="83" y="571"/>
                    <a:pt x="83" y="571"/>
                  </a:cubicBezTo>
                  <a:lnTo>
                    <a:pt x="87" y="568"/>
                  </a:lnTo>
                  <a:close/>
                  <a:moveTo>
                    <a:pt x="110" y="557"/>
                  </a:moveTo>
                  <a:cubicBezTo>
                    <a:pt x="109" y="551"/>
                    <a:pt x="109" y="551"/>
                    <a:pt x="109" y="551"/>
                  </a:cubicBezTo>
                  <a:cubicBezTo>
                    <a:pt x="106" y="551"/>
                    <a:pt x="106" y="551"/>
                    <a:pt x="106" y="551"/>
                  </a:cubicBezTo>
                  <a:cubicBezTo>
                    <a:pt x="107" y="554"/>
                    <a:pt x="107" y="554"/>
                    <a:pt x="107" y="554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0" y="558"/>
                    <a:pt x="100" y="558"/>
                    <a:pt x="100" y="558"/>
                  </a:cubicBezTo>
                  <a:cubicBezTo>
                    <a:pt x="105" y="562"/>
                    <a:pt x="105" y="562"/>
                    <a:pt x="105" y="562"/>
                  </a:cubicBezTo>
                  <a:lnTo>
                    <a:pt x="110" y="557"/>
                  </a:lnTo>
                  <a:close/>
                  <a:moveTo>
                    <a:pt x="116" y="555"/>
                  </a:moveTo>
                  <a:cubicBezTo>
                    <a:pt x="116" y="552"/>
                    <a:pt x="116" y="552"/>
                    <a:pt x="116" y="552"/>
                  </a:cubicBezTo>
                  <a:cubicBezTo>
                    <a:pt x="111" y="553"/>
                    <a:pt x="111" y="553"/>
                    <a:pt x="111" y="553"/>
                  </a:cubicBezTo>
                  <a:cubicBezTo>
                    <a:pt x="112" y="557"/>
                    <a:pt x="112" y="557"/>
                    <a:pt x="112" y="557"/>
                  </a:cubicBezTo>
                  <a:lnTo>
                    <a:pt x="116" y="555"/>
                  </a:lnTo>
                  <a:close/>
                  <a:moveTo>
                    <a:pt x="113" y="548"/>
                  </a:moveTo>
                  <a:cubicBezTo>
                    <a:pt x="111" y="552"/>
                    <a:pt x="111" y="552"/>
                    <a:pt x="111" y="552"/>
                  </a:cubicBezTo>
                  <a:cubicBezTo>
                    <a:pt x="115" y="551"/>
                    <a:pt x="115" y="551"/>
                    <a:pt x="115" y="551"/>
                  </a:cubicBezTo>
                  <a:lnTo>
                    <a:pt x="113" y="548"/>
                  </a:lnTo>
                  <a:close/>
                  <a:moveTo>
                    <a:pt x="124" y="545"/>
                  </a:moveTo>
                  <a:cubicBezTo>
                    <a:pt x="117" y="545"/>
                    <a:pt x="121" y="549"/>
                    <a:pt x="123" y="549"/>
                  </a:cubicBezTo>
                  <a:cubicBezTo>
                    <a:pt x="126" y="550"/>
                    <a:pt x="130" y="545"/>
                    <a:pt x="124" y="545"/>
                  </a:cubicBezTo>
                  <a:close/>
                  <a:moveTo>
                    <a:pt x="135" y="547"/>
                  </a:moveTo>
                  <a:cubicBezTo>
                    <a:pt x="133" y="542"/>
                    <a:pt x="133" y="542"/>
                    <a:pt x="133" y="542"/>
                  </a:cubicBezTo>
                  <a:cubicBezTo>
                    <a:pt x="132" y="544"/>
                    <a:pt x="132" y="544"/>
                    <a:pt x="132" y="544"/>
                  </a:cubicBezTo>
                  <a:cubicBezTo>
                    <a:pt x="129" y="541"/>
                    <a:pt x="129" y="541"/>
                    <a:pt x="129" y="541"/>
                  </a:cubicBezTo>
                  <a:cubicBezTo>
                    <a:pt x="127" y="542"/>
                    <a:pt x="127" y="542"/>
                    <a:pt x="127" y="542"/>
                  </a:cubicBezTo>
                  <a:cubicBezTo>
                    <a:pt x="132" y="549"/>
                    <a:pt x="132" y="549"/>
                    <a:pt x="132" y="549"/>
                  </a:cubicBezTo>
                  <a:lnTo>
                    <a:pt x="135" y="547"/>
                  </a:lnTo>
                  <a:close/>
                  <a:moveTo>
                    <a:pt x="118" y="535"/>
                  </a:moveTo>
                  <a:cubicBezTo>
                    <a:pt x="123" y="537"/>
                    <a:pt x="123" y="537"/>
                    <a:pt x="123" y="537"/>
                  </a:cubicBezTo>
                  <a:cubicBezTo>
                    <a:pt x="127" y="536"/>
                    <a:pt x="127" y="536"/>
                    <a:pt x="127" y="536"/>
                  </a:cubicBezTo>
                  <a:cubicBezTo>
                    <a:pt x="127" y="536"/>
                    <a:pt x="127" y="529"/>
                    <a:pt x="123" y="530"/>
                  </a:cubicBezTo>
                  <a:cubicBezTo>
                    <a:pt x="117" y="530"/>
                    <a:pt x="115" y="531"/>
                    <a:pt x="115" y="531"/>
                  </a:cubicBezTo>
                  <a:cubicBezTo>
                    <a:pt x="116" y="535"/>
                    <a:pt x="116" y="535"/>
                    <a:pt x="116" y="535"/>
                  </a:cubicBezTo>
                  <a:lnTo>
                    <a:pt x="118" y="535"/>
                  </a:lnTo>
                  <a:close/>
                  <a:moveTo>
                    <a:pt x="138" y="522"/>
                  </a:moveTo>
                  <a:cubicBezTo>
                    <a:pt x="138" y="522"/>
                    <a:pt x="131" y="524"/>
                    <a:pt x="131" y="528"/>
                  </a:cubicBezTo>
                  <a:cubicBezTo>
                    <a:pt x="131" y="533"/>
                    <a:pt x="138" y="530"/>
                    <a:pt x="145" y="529"/>
                  </a:cubicBezTo>
                  <a:cubicBezTo>
                    <a:pt x="154" y="526"/>
                    <a:pt x="158" y="523"/>
                    <a:pt x="156" y="522"/>
                  </a:cubicBezTo>
                  <a:cubicBezTo>
                    <a:pt x="154" y="521"/>
                    <a:pt x="150" y="521"/>
                    <a:pt x="150" y="521"/>
                  </a:cubicBezTo>
                  <a:cubicBezTo>
                    <a:pt x="150" y="518"/>
                    <a:pt x="150" y="518"/>
                    <a:pt x="150" y="518"/>
                  </a:cubicBezTo>
                  <a:cubicBezTo>
                    <a:pt x="150" y="518"/>
                    <a:pt x="147" y="518"/>
                    <a:pt x="143" y="519"/>
                  </a:cubicBezTo>
                  <a:cubicBezTo>
                    <a:pt x="139" y="519"/>
                    <a:pt x="138" y="522"/>
                    <a:pt x="138" y="522"/>
                  </a:cubicBezTo>
                  <a:close/>
                  <a:moveTo>
                    <a:pt x="139" y="516"/>
                  </a:moveTo>
                  <a:cubicBezTo>
                    <a:pt x="147" y="514"/>
                    <a:pt x="147" y="514"/>
                    <a:pt x="147" y="514"/>
                  </a:cubicBezTo>
                  <a:cubicBezTo>
                    <a:pt x="146" y="508"/>
                    <a:pt x="146" y="508"/>
                    <a:pt x="146" y="508"/>
                  </a:cubicBezTo>
                  <a:cubicBezTo>
                    <a:pt x="146" y="508"/>
                    <a:pt x="142" y="513"/>
                    <a:pt x="139" y="513"/>
                  </a:cubicBezTo>
                  <a:cubicBezTo>
                    <a:pt x="137" y="514"/>
                    <a:pt x="131" y="515"/>
                    <a:pt x="131" y="515"/>
                  </a:cubicBezTo>
                  <a:cubicBezTo>
                    <a:pt x="132" y="516"/>
                    <a:pt x="132" y="516"/>
                    <a:pt x="132" y="516"/>
                  </a:cubicBezTo>
                  <a:lnTo>
                    <a:pt x="139" y="516"/>
                  </a:lnTo>
                  <a:close/>
                  <a:moveTo>
                    <a:pt x="159" y="517"/>
                  </a:moveTo>
                  <a:cubicBezTo>
                    <a:pt x="154" y="518"/>
                    <a:pt x="154" y="518"/>
                    <a:pt x="154" y="518"/>
                  </a:cubicBezTo>
                  <a:cubicBezTo>
                    <a:pt x="153" y="519"/>
                    <a:pt x="153" y="519"/>
                    <a:pt x="153" y="519"/>
                  </a:cubicBezTo>
                  <a:cubicBezTo>
                    <a:pt x="159" y="519"/>
                    <a:pt x="159" y="519"/>
                    <a:pt x="159" y="519"/>
                  </a:cubicBezTo>
                  <a:lnTo>
                    <a:pt x="159" y="517"/>
                  </a:lnTo>
                  <a:close/>
                  <a:moveTo>
                    <a:pt x="162" y="515"/>
                  </a:moveTo>
                  <a:cubicBezTo>
                    <a:pt x="162" y="521"/>
                    <a:pt x="162" y="521"/>
                    <a:pt x="162" y="521"/>
                  </a:cubicBezTo>
                  <a:cubicBezTo>
                    <a:pt x="166" y="519"/>
                    <a:pt x="166" y="519"/>
                    <a:pt x="166" y="519"/>
                  </a:cubicBezTo>
                  <a:lnTo>
                    <a:pt x="162" y="515"/>
                  </a:lnTo>
                  <a:close/>
                  <a:moveTo>
                    <a:pt x="235" y="425"/>
                  </a:moveTo>
                  <a:cubicBezTo>
                    <a:pt x="235" y="425"/>
                    <a:pt x="232" y="424"/>
                    <a:pt x="230" y="425"/>
                  </a:cubicBezTo>
                  <a:cubicBezTo>
                    <a:pt x="227" y="427"/>
                    <a:pt x="229" y="430"/>
                    <a:pt x="229" y="430"/>
                  </a:cubicBezTo>
                  <a:lnTo>
                    <a:pt x="235" y="425"/>
                  </a:lnTo>
                  <a:close/>
                  <a:moveTo>
                    <a:pt x="215" y="439"/>
                  </a:moveTo>
                  <a:cubicBezTo>
                    <a:pt x="216" y="439"/>
                    <a:pt x="214" y="441"/>
                    <a:pt x="214" y="441"/>
                  </a:cubicBezTo>
                  <a:cubicBezTo>
                    <a:pt x="216" y="443"/>
                    <a:pt x="216" y="443"/>
                    <a:pt x="216" y="443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9"/>
                    <a:pt x="220" y="434"/>
                    <a:pt x="214" y="435"/>
                  </a:cubicBezTo>
                  <a:cubicBezTo>
                    <a:pt x="210" y="436"/>
                    <a:pt x="207" y="440"/>
                    <a:pt x="207" y="440"/>
                  </a:cubicBezTo>
                  <a:cubicBezTo>
                    <a:pt x="210" y="442"/>
                    <a:pt x="210" y="442"/>
                    <a:pt x="210" y="442"/>
                  </a:cubicBezTo>
                  <a:cubicBezTo>
                    <a:pt x="210" y="442"/>
                    <a:pt x="214" y="438"/>
                    <a:pt x="215" y="439"/>
                  </a:cubicBezTo>
                  <a:close/>
                  <a:moveTo>
                    <a:pt x="239" y="396"/>
                  </a:moveTo>
                  <a:cubicBezTo>
                    <a:pt x="244" y="390"/>
                    <a:pt x="244" y="390"/>
                    <a:pt x="244" y="390"/>
                  </a:cubicBezTo>
                  <a:cubicBezTo>
                    <a:pt x="242" y="387"/>
                    <a:pt x="242" y="387"/>
                    <a:pt x="242" y="387"/>
                  </a:cubicBezTo>
                  <a:cubicBezTo>
                    <a:pt x="242" y="387"/>
                    <a:pt x="236" y="386"/>
                    <a:pt x="237" y="391"/>
                  </a:cubicBezTo>
                  <a:cubicBezTo>
                    <a:pt x="237" y="396"/>
                    <a:pt x="239" y="396"/>
                    <a:pt x="239" y="396"/>
                  </a:cubicBezTo>
                  <a:close/>
                  <a:moveTo>
                    <a:pt x="242" y="408"/>
                  </a:moveTo>
                  <a:cubicBezTo>
                    <a:pt x="244" y="408"/>
                    <a:pt x="244" y="408"/>
                    <a:pt x="244" y="408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4" y="402"/>
                    <a:pt x="244" y="402"/>
                    <a:pt x="244" y="402"/>
                  </a:cubicBezTo>
                  <a:lnTo>
                    <a:pt x="242" y="408"/>
                  </a:lnTo>
                  <a:close/>
                  <a:moveTo>
                    <a:pt x="259" y="367"/>
                  </a:moveTo>
                  <a:cubicBezTo>
                    <a:pt x="259" y="367"/>
                    <a:pt x="254" y="371"/>
                    <a:pt x="253" y="373"/>
                  </a:cubicBezTo>
                  <a:cubicBezTo>
                    <a:pt x="252" y="374"/>
                    <a:pt x="255" y="378"/>
                    <a:pt x="255" y="378"/>
                  </a:cubicBezTo>
                  <a:cubicBezTo>
                    <a:pt x="260" y="373"/>
                    <a:pt x="260" y="373"/>
                    <a:pt x="260" y="373"/>
                  </a:cubicBezTo>
                  <a:cubicBezTo>
                    <a:pt x="265" y="370"/>
                    <a:pt x="265" y="370"/>
                    <a:pt x="265" y="370"/>
                  </a:cubicBezTo>
                  <a:cubicBezTo>
                    <a:pt x="266" y="367"/>
                    <a:pt x="266" y="367"/>
                    <a:pt x="266" y="367"/>
                  </a:cubicBezTo>
                  <a:cubicBezTo>
                    <a:pt x="260" y="370"/>
                    <a:pt x="260" y="370"/>
                    <a:pt x="260" y="370"/>
                  </a:cubicBezTo>
                  <a:lnTo>
                    <a:pt x="259" y="367"/>
                  </a:lnTo>
                  <a:close/>
                  <a:moveTo>
                    <a:pt x="253" y="366"/>
                  </a:moveTo>
                  <a:cubicBezTo>
                    <a:pt x="259" y="363"/>
                    <a:pt x="259" y="363"/>
                    <a:pt x="259" y="363"/>
                  </a:cubicBezTo>
                  <a:cubicBezTo>
                    <a:pt x="260" y="360"/>
                    <a:pt x="260" y="360"/>
                    <a:pt x="260" y="360"/>
                  </a:cubicBezTo>
                  <a:cubicBezTo>
                    <a:pt x="258" y="359"/>
                    <a:pt x="258" y="359"/>
                    <a:pt x="258" y="359"/>
                  </a:cubicBezTo>
                  <a:cubicBezTo>
                    <a:pt x="260" y="357"/>
                    <a:pt x="260" y="357"/>
                    <a:pt x="260" y="357"/>
                  </a:cubicBezTo>
                  <a:cubicBezTo>
                    <a:pt x="259" y="353"/>
                    <a:pt x="259" y="353"/>
                    <a:pt x="259" y="353"/>
                  </a:cubicBezTo>
                  <a:cubicBezTo>
                    <a:pt x="255" y="356"/>
                    <a:pt x="255" y="356"/>
                    <a:pt x="255" y="356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2" y="363"/>
                    <a:pt x="252" y="363"/>
                    <a:pt x="252" y="363"/>
                  </a:cubicBezTo>
                  <a:lnTo>
                    <a:pt x="253" y="366"/>
                  </a:lnTo>
                  <a:close/>
                  <a:moveTo>
                    <a:pt x="263" y="349"/>
                  </a:moveTo>
                  <a:cubicBezTo>
                    <a:pt x="262" y="352"/>
                    <a:pt x="262" y="352"/>
                    <a:pt x="262" y="352"/>
                  </a:cubicBezTo>
                  <a:cubicBezTo>
                    <a:pt x="264" y="355"/>
                    <a:pt x="264" y="355"/>
                    <a:pt x="264" y="355"/>
                  </a:cubicBezTo>
                  <a:cubicBezTo>
                    <a:pt x="268" y="350"/>
                    <a:pt x="268" y="350"/>
                    <a:pt x="268" y="350"/>
                  </a:cubicBezTo>
                  <a:lnTo>
                    <a:pt x="263" y="349"/>
                  </a:lnTo>
                  <a:close/>
                  <a:moveTo>
                    <a:pt x="264" y="359"/>
                  </a:moveTo>
                  <a:cubicBezTo>
                    <a:pt x="265" y="357"/>
                    <a:pt x="265" y="357"/>
                    <a:pt x="265" y="357"/>
                  </a:cubicBezTo>
                  <a:cubicBezTo>
                    <a:pt x="262" y="357"/>
                    <a:pt x="262" y="357"/>
                    <a:pt x="262" y="357"/>
                  </a:cubicBezTo>
                  <a:lnTo>
                    <a:pt x="264" y="359"/>
                  </a:lnTo>
                  <a:close/>
                  <a:moveTo>
                    <a:pt x="266" y="343"/>
                  </a:moveTo>
                  <a:cubicBezTo>
                    <a:pt x="269" y="340"/>
                    <a:pt x="269" y="340"/>
                    <a:pt x="269" y="340"/>
                  </a:cubicBezTo>
                  <a:cubicBezTo>
                    <a:pt x="265" y="339"/>
                    <a:pt x="265" y="339"/>
                    <a:pt x="265" y="339"/>
                  </a:cubicBezTo>
                  <a:lnTo>
                    <a:pt x="266" y="343"/>
                  </a:lnTo>
                  <a:close/>
                  <a:moveTo>
                    <a:pt x="261" y="330"/>
                  </a:moveTo>
                  <a:cubicBezTo>
                    <a:pt x="258" y="329"/>
                    <a:pt x="258" y="329"/>
                    <a:pt x="258" y="329"/>
                  </a:cubicBezTo>
                  <a:cubicBezTo>
                    <a:pt x="257" y="333"/>
                    <a:pt x="257" y="333"/>
                    <a:pt x="257" y="333"/>
                  </a:cubicBezTo>
                  <a:cubicBezTo>
                    <a:pt x="260" y="332"/>
                    <a:pt x="260" y="332"/>
                    <a:pt x="260" y="332"/>
                  </a:cubicBezTo>
                  <a:lnTo>
                    <a:pt x="261" y="330"/>
                  </a:lnTo>
                  <a:close/>
                  <a:moveTo>
                    <a:pt x="272" y="351"/>
                  </a:moveTo>
                  <a:cubicBezTo>
                    <a:pt x="269" y="350"/>
                    <a:pt x="269" y="350"/>
                    <a:pt x="269" y="350"/>
                  </a:cubicBezTo>
                  <a:cubicBezTo>
                    <a:pt x="268" y="356"/>
                    <a:pt x="268" y="356"/>
                    <a:pt x="268" y="356"/>
                  </a:cubicBezTo>
                  <a:lnTo>
                    <a:pt x="272" y="351"/>
                  </a:lnTo>
                  <a:close/>
                  <a:moveTo>
                    <a:pt x="280" y="319"/>
                  </a:moveTo>
                  <a:cubicBezTo>
                    <a:pt x="278" y="317"/>
                    <a:pt x="278" y="317"/>
                    <a:pt x="278" y="317"/>
                  </a:cubicBezTo>
                  <a:cubicBezTo>
                    <a:pt x="276" y="320"/>
                    <a:pt x="276" y="320"/>
                    <a:pt x="276" y="320"/>
                  </a:cubicBezTo>
                  <a:lnTo>
                    <a:pt x="280" y="319"/>
                  </a:lnTo>
                  <a:close/>
                  <a:moveTo>
                    <a:pt x="284" y="313"/>
                  </a:moveTo>
                  <a:cubicBezTo>
                    <a:pt x="279" y="312"/>
                    <a:pt x="279" y="312"/>
                    <a:pt x="279" y="312"/>
                  </a:cubicBezTo>
                  <a:cubicBezTo>
                    <a:pt x="276" y="315"/>
                    <a:pt x="276" y="315"/>
                    <a:pt x="276" y="315"/>
                  </a:cubicBezTo>
                  <a:cubicBezTo>
                    <a:pt x="284" y="315"/>
                    <a:pt x="284" y="315"/>
                    <a:pt x="284" y="315"/>
                  </a:cubicBezTo>
                  <a:lnTo>
                    <a:pt x="284" y="313"/>
                  </a:lnTo>
                  <a:close/>
                  <a:moveTo>
                    <a:pt x="301" y="300"/>
                  </a:moveTo>
                  <a:cubicBezTo>
                    <a:pt x="304" y="290"/>
                    <a:pt x="304" y="290"/>
                    <a:pt x="304" y="290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1" y="294"/>
                    <a:pt x="301" y="294"/>
                    <a:pt x="301" y="294"/>
                  </a:cubicBezTo>
                  <a:cubicBezTo>
                    <a:pt x="297" y="292"/>
                    <a:pt x="297" y="292"/>
                    <a:pt x="297" y="292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300" y="298"/>
                    <a:pt x="300" y="298"/>
                    <a:pt x="300" y="298"/>
                  </a:cubicBezTo>
                  <a:cubicBezTo>
                    <a:pt x="300" y="300"/>
                    <a:pt x="300" y="300"/>
                    <a:pt x="300" y="300"/>
                  </a:cubicBezTo>
                  <a:lnTo>
                    <a:pt x="301" y="300"/>
                  </a:lnTo>
                  <a:close/>
                  <a:moveTo>
                    <a:pt x="305" y="276"/>
                  </a:moveTo>
                  <a:cubicBezTo>
                    <a:pt x="298" y="279"/>
                    <a:pt x="304" y="279"/>
                    <a:pt x="306" y="278"/>
                  </a:cubicBezTo>
                  <a:cubicBezTo>
                    <a:pt x="311" y="276"/>
                    <a:pt x="310" y="273"/>
                    <a:pt x="305" y="276"/>
                  </a:cubicBezTo>
                  <a:close/>
                  <a:moveTo>
                    <a:pt x="262" y="260"/>
                  </a:moveTo>
                  <a:cubicBezTo>
                    <a:pt x="260" y="266"/>
                    <a:pt x="260" y="266"/>
                    <a:pt x="260" y="266"/>
                  </a:cubicBezTo>
                  <a:cubicBezTo>
                    <a:pt x="265" y="263"/>
                    <a:pt x="265" y="263"/>
                    <a:pt x="265" y="263"/>
                  </a:cubicBezTo>
                  <a:lnTo>
                    <a:pt x="262" y="260"/>
                  </a:lnTo>
                  <a:close/>
                  <a:moveTo>
                    <a:pt x="320" y="244"/>
                  </a:moveTo>
                  <a:cubicBezTo>
                    <a:pt x="327" y="242"/>
                    <a:pt x="327" y="242"/>
                    <a:pt x="327" y="242"/>
                  </a:cubicBezTo>
                  <a:cubicBezTo>
                    <a:pt x="327" y="241"/>
                    <a:pt x="327" y="241"/>
                    <a:pt x="327" y="241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44"/>
                  </a:lnTo>
                  <a:close/>
                  <a:moveTo>
                    <a:pt x="323" y="236"/>
                  </a:moveTo>
                  <a:cubicBezTo>
                    <a:pt x="327" y="239"/>
                    <a:pt x="327" y="239"/>
                    <a:pt x="327" y="239"/>
                  </a:cubicBezTo>
                  <a:cubicBezTo>
                    <a:pt x="327" y="238"/>
                    <a:pt x="324" y="234"/>
                    <a:pt x="324" y="234"/>
                  </a:cubicBezTo>
                  <a:lnTo>
                    <a:pt x="323" y="236"/>
                  </a:lnTo>
                  <a:close/>
                  <a:moveTo>
                    <a:pt x="353" y="201"/>
                  </a:moveTo>
                  <a:cubicBezTo>
                    <a:pt x="346" y="195"/>
                    <a:pt x="347" y="207"/>
                    <a:pt x="347" y="207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45" y="210"/>
                    <a:pt x="345" y="210"/>
                    <a:pt x="345" y="210"/>
                  </a:cubicBezTo>
                  <a:cubicBezTo>
                    <a:pt x="351" y="208"/>
                    <a:pt x="351" y="208"/>
                    <a:pt x="351" y="208"/>
                  </a:cubicBezTo>
                  <a:cubicBezTo>
                    <a:pt x="351" y="208"/>
                    <a:pt x="358" y="206"/>
                    <a:pt x="353" y="201"/>
                  </a:cubicBezTo>
                  <a:close/>
                  <a:moveTo>
                    <a:pt x="343" y="217"/>
                  </a:moveTo>
                  <a:cubicBezTo>
                    <a:pt x="348" y="213"/>
                    <a:pt x="348" y="213"/>
                    <a:pt x="348" y="213"/>
                  </a:cubicBezTo>
                  <a:cubicBezTo>
                    <a:pt x="343" y="214"/>
                    <a:pt x="343" y="214"/>
                    <a:pt x="343" y="214"/>
                  </a:cubicBezTo>
                  <a:lnTo>
                    <a:pt x="343" y="217"/>
                  </a:lnTo>
                  <a:close/>
                  <a:moveTo>
                    <a:pt x="350" y="229"/>
                  </a:moveTo>
                  <a:cubicBezTo>
                    <a:pt x="348" y="232"/>
                    <a:pt x="348" y="232"/>
                    <a:pt x="348" y="232"/>
                  </a:cubicBezTo>
                  <a:cubicBezTo>
                    <a:pt x="354" y="232"/>
                    <a:pt x="354" y="232"/>
                    <a:pt x="354" y="232"/>
                  </a:cubicBezTo>
                  <a:lnTo>
                    <a:pt x="350" y="229"/>
                  </a:lnTo>
                  <a:close/>
                  <a:moveTo>
                    <a:pt x="265" y="251"/>
                  </a:moveTo>
                  <a:cubicBezTo>
                    <a:pt x="265" y="251"/>
                    <a:pt x="270" y="250"/>
                    <a:pt x="271" y="247"/>
                  </a:cubicBezTo>
                  <a:cubicBezTo>
                    <a:pt x="271" y="245"/>
                    <a:pt x="270" y="242"/>
                    <a:pt x="271" y="242"/>
                  </a:cubicBezTo>
                  <a:cubicBezTo>
                    <a:pt x="272" y="242"/>
                    <a:pt x="275" y="238"/>
                    <a:pt x="275" y="238"/>
                  </a:cubicBezTo>
                  <a:cubicBezTo>
                    <a:pt x="275" y="238"/>
                    <a:pt x="281" y="237"/>
                    <a:pt x="281" y="232"/>
                  </a:cubicBezTo>
                  <a:cubicBezTo>
                    <a:pt x="281" y="226"/>
                    <a:pt x="278" y="227"/>
                    <a:pt x="278" y="227"/>
                  </a:cubicBezTo>
                  <a:cubicBezTo>
                    <a:pt x="274" y="235"/>
                    <a:pt x="274" y="235"/>
                    <a:pt x="274" y="235"/>
                  </a:cubicBezTo>
                  <a:cubicBezTo>
                    <a:pt x="272" y="232"/>
                    <a:pt x="272" y="232"/>
                    <a:pt x="272" y="232"/>
                  </a:cubicBezTo>
                  <a:cubicBezTo>
                    <a:pt x="272" y="232"/>
                    <a:pt x="266" y="239"/>
                    <a:pt x="266" y="242"/>
                  </a:cubicBezTo>
                  <a:cubicBezTo>
                    <a:pt x="265" y="245"/>
                    <a:pt x="266" y="247"/>
                    <a:pt x="266" y="248"/>
                  </a:cubicBezTo>
                  <a:cubicBezTo>
                    <a:pt x="266" y="249"/>
                    <a:pt x="264" y="250"/>
                    <a:pt x="265" y="251"/>
                  </a:cubicBezTo>
                  <a:close/>
                  <a:moveTo>
                    <a:pt x="282" y="233"/>
                  </a:moveTo>
                  <a:cubicBezTo>
                    <a:pt x="282" y="233"/>
                    <a:pt x="287" y="233"/>
                    <a:pt x="289" y="232"/>
                  </a:cubicBezTo>
                  <a:cubicBezTo>
                    <a:pt x="292" y="231"/>
                    <a:pt x="290" y="226"/>
                    <a:pt x="290" y="226"/>
                  </a:cubicBezTo>
                  <a:cubicBezTo>
                    <a:pt x="290" y="226"/>
                    <a:pt x="297" y="222"/>
                    <a:pt x="301" y="221"/>
                  </a:cubicBezTo>
                  <a:cubicBezTo>
                    <a:pt x="303" y="220"/>
                    <a:pt x="298" y="215"/>
                    <a:pt x="296" y="215"/>
                  </a:cubicBezTo>
                  <a:cubicBezTo>
                    <a:pt x="293" y="215"/>
                    <a:pt x="298" y="219"/>
                    <a:pt x="296" y="220"/>
                  </a:cubicBezTo>
                  <a:cubicBezTo>
                    <a:pt x="294" y="221"/>
                    <a:pt x="292" y="215"/>
                    <a:pt x="292" y="215"/>
                  </a:cubicBezTo>
                  <a:cubicBezTo>
                    <a:pt x="288" y="219"/>
                    <a:pt x="288" y="219"/>
                    <a:pt x="288" y="219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85" y="223"/>
                    <a:pt x="285" y="223"/>
                    <a:pt x="285" y="223"/>
                  </a:cubicBezTo>
                  <a:cubicBezTo>
                    <a:pt x="282" y="224"/>
                    <a:pt x="282" y="224"/>
                    <a:pt x="282" y="224"/>
                  </a:cubicBezTo>
                  <a:cubicBezTo>
                    <a:pt x="282" y="227"/>
                    <a:pt x="282" y="227"/>
                    <a:pt x="282" y="227"/>
                  </a:cubicBezTo>
                  <a:cubicBezTo>
                    <a:pt x="284" y="229"/>
                    <a:pt x="284" y="229"/>
                    <a:pt x="284" y="229"/>
                  </a:cubicBezTo>
                  <a:lnTo>
                    <a:pt x="282" y="233"/>
                  </a:lnTo>
                  <a:close/>
                  <a:moveTo>
                    <a:pt x="303" y="221"/>
                  </a:moveTo>
                  <a:cubicBezTo>
                    <a:pt x="303" y="223"/>
                    <a:pt x="301" y="226"/>
                    <a:pt x="301" y="226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11" y="216"/>
                    <a:pt x="311" y="216"/>
                    <a:pt x="311" y="216"/>
                  </a:cubicBezTo>
                  <a:cubicBezTo>
                    <a:pt x="313" y="220"/>
                    <a:pt x="313" y="220"/>
                    <a:pt x="313" y="220"/>
                  </a:cubicBezTo>
                  <a:cubicBezTo>
                    <a:pt x="322" y="207"/>
                    <a:pt x="322" y="207"/>
                    <a:pt x="322" y="207"/>
                  </a:cubicBezTo>
                  <a:cubicBezTo>
                    <a:pt x="322" y="207"/>
                    <a:pt x="317" y="208"/>
                    <a:pt x="317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05" y="213"/>
                    <a:pt x="305" y="213"/>
                    <a:pt x="305" y="213"/>
                  </a:cubicBezTo>
                  <a:cubicBezTo>
                    <a:pt x="306" y="217"/>
                    <a:pt x="306" y="217"/>
                    <a:pt x="306" y="217"/>
                  </a:cubicBezTo>
                  <a:cubicBezTo>
                    <a:pt x="303" y="216"/>
                    <a:pt x="303" y="216"/>
                    <a:pt x="303" y="216"/>
                  </a:cubicBezTo>
                  <a:cubicBezTo>
                    <a:pt x="303" y="216"/>
                    <a:pt x="304" y="219"/>
                    <a:pt x="303" y="221"/>
                  </a:cubicBezTo>
                  <a:close/>
                  <a:moveTo>
                    <a:pt x="362" y="187"/>
                  </a:moveTo>
                  <a:cubicBezTo>
                    <a:pt x="362" y="187"/>
                    <a:pt x="366" y="187"/>
                    <a:pt x="367" y="186"/>
                  </a:cubicBezTo>
                  <a:cubicBezTo>
                    <a:pt x="369" y="186"/>
                    <a:pt x="372" y="184"/>
                    <a:pt x="372" y="184"/>
                  </a:cubicBezTo>
                  <a:cubicBezTo>
                    <a:pt x="367" y="178"/>
                    <a:pt x="367" y="178"/>
                    <a:pt x="367" y="178"/>
                  </a:cubicBezTo>
                  <a:lnTo>
                    <a:pt x="362" y="187"/>
                  </a:lnTo>
                  <a:close/>
                  <a:moveTo>
                    <a:pt x="378" y="177"/>
                  </a:moveTo>
                  <a:cubicBezTo>
                    <a:pt x="377" y="175"/>
                    <a:pt x="376" y="174"/>
                    <a:pt x="374" y="174"/>
                  </a:cubicBezTo>
                  <a:cubicBezTo>
                    <a:pt x="371" y="173"/>
                    <a:pt x="369" y="175"/>
                    <a:pt x="369" y="175"/>
                  </a:cubicBezTo>
                  <a:cubicBezTo>
                    <a:pt x="369" y="175"/>
                    <a:pt x="370" y="182"/>
                    <a:pt x="373" y="182"/>
                  </a:cubicBezTo>
                  <a:cubicBezTo>
                    <a:pt x="375" y="183"/>
                    <a:pt x="379" y="178"/>
                    <a:pt x="378" y="177"/>
                  </a:cubicBezTo>
                  <a:close/>
                  <a:moveTo>
                    <a:pt x="352" y="177"/>
                  </a:moveTo>
                  <a:cubicBezTo>
                    <a:pt x="355" y="179"/>
                    <a:pt x="357" y="179"/>
                    <a:pt x="357" y="179"/>
                  </a:cubicBezTo>
                  <a:cubicBezTo>
                    <a:pt x="357" y="174"/>
                    <a:pt x="357" y="174"/>
                    <a:pt x="357" y="174"/>
                  </a:cubicBezTo>
                  <a:cubicBezTo>
                    <a:pt x="350" y="171"/>
                    <a:pt x="350" y="171"/>
                    <a:pt x="350" y="171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50" y="177"/>
                    <a:pt x="352" y="177"/>
                  </a:cubicBezTo>
                  <a:close/>
                  <a:moveTo>
                    <a:pt x="348" y="178"/>
                  </a:moveTo>
                  <a:cubicBezTo>
                    <a:pt x="344" y="183"/>
                    <a:pt x="344" y="183"/>
                    <a:pt x="344" y="183"/>
                  </a:cubicBezTo>
                  <a:cubicBezTo>
                    <a:pt x="348" y="188"/>
                    <a:pt x="348" y="188"/>
                    <a:pt x="348" y="188"/>
                  </a:cubicBezTo>
                  <a:cubicBezTo>
                    <a:pt x="344" y="189"/>
                    <a:pt x="344" y="189"/>
                    <a:pt x="344" y="189"/>
                  </a:cubicBezTo>
                  <a:cubicBezTo>
                    <a:pt x="337" y="201"/>
                    <a:pt x="337" y="201"/>
                    <a:pt x="337" y="201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2" y="177"/>
                    <a:pt x="338" y="175"/>
                  </a:cubicBezTo>
                  <a:cubicBezTo>
                    <a:pt x="333" y="173"/>
                    <a:pt x="333" y="185"/>
                    <a:pt x="333" y="185"/>
                  </a:cubicBezTo>
                  <a:cubicBezTo>
                    <a:pt x="330" y="186"/>
                    <a:pt x="330" y="186"/>
                    <a:pt x="330" y="186"/>
                  </a:cubicBezTo>
                  <a:cubicBezTo>
                    <a:pt x="331" y="197"/>
                    <a:pt x="331" y="197"/>
                    <a:pt x="331" y="197"/>
                  </a:cubicBezTo>
                  <a:cubicBezTo>
                    <a:pt x="324" y="202"/>
                    <a:pt x="324" y="202"/>
                    <a:pt x="324" y="202"/>
                  </a:cubicBezTo>
                  <a:cubicBezTo>
                    <a:pt x="325" y="206"/>
                    <a:pt x="325" y="206"/>
                    <a:pt x="325" y="206"/>
                  </a:cubicBezTo>
                  <a:cubicBezTo>
                    <a:pt x="319" y="218"/>
                    <a:pt x="319" y="218"/>
                    <a:pt x="319" y="218"/>
                  </a:cubicBezTo>
                  <a:cubicBezTo>
                    <a:pt x="322" y="218"/>
                    <a:pt x="322" y="218"/>
                    <a:pt x="322" y="218"/>
                  </a:cubicBezTo>
                  <a:cubicBezTo>
                    <a:pt x="331" y="208"/>
                    <a:pt x="331" y="208"/>
                    <a:pt x="331" y="208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35" y="215"/>
                    <a:pt x="335" y="215"/>
                    <a:pt x="335" y="215"/>
                  </a:cubicBezTo>
                  <a:cubicBezTo>
                    <a:pt x="336" y="215"/>
                    <a:pt x="337" y="209"/>
                    <a:pt x="337" y="209"/>
                  </a:cubicBezTo>
                  <a:cubicBezTo>
                    <a:pt x="340" y="211"/>
                    <a:pt x="340" y="211"/>
                    <a:pt x="340" y="211"/>
                  </a:cubicBezTo>
                  <a:cubicBezTo>
                    <a:pt x="340" y="211"/>
                    <a:pt x="345" y="202"/>
                    <a:pt x="346" y="200"/>
                  </a:cubicBezTo>
                  <a:cubicBezTo>
                    <a:pt x="347" y="198"/>
                    <a:pt x="354" y="198"/>
                    <a:pt x="354" y="198"/>
                  </a:cubicBezTo>
                  <a:cubicBezTo>
                    <a:pt x="354" y="198"/>
                    <a:pt x="357" y="193"/>
                    <a:pt x="358" y="188"/>
                  </a:cubicBezTo>
                  <a:cubicBezTo>
                    <a:pt x="359" y="184"/>
                    <a:pt x="348" y="178"/>
                    <a:pt x="348" y="178"/>
                  </a:cubicBezTo>
                  <a:close/>
                  <a:moveTo>
                    <a:pt x="330" y="179"/>
                  </a:moveTo>
                  <a:cubicBezTo>
                    <a:pt x="330" y="174"/>
                    <a:pt x="330" y="174"/>
                    <a:pt x="330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43" y="162"/>
                    <a:pt x="343" y="162"/>
                    <a:pt x="343" y="162"/>
                  </a:cubicBezTo>
                  <a:cubicBezTo>
                    <a:pt x="343" y="162"/>
                    <a:pt x="351" y="146"/>
                    <a:pt x="341" y="155"/>
                  </a:cubicBezTo>
                  <a:cubicBezTo>
                    <a:pt x="331" y="162"/>
                    <a:pt x="326" y="174"/>
                    <a:pt x="327" y="177"/>
                  </a:cubicBezTo>
                  <a:cubicBezTo>
                    <a:pt x="328" y="181"/>
                    <a:pt x="330" y="179"/>
                    <a:pt x="330" y="179"/>
                  </a:cubicBezTo>
                  <a:close/>
                  <a:moveTo>
                    <a:pt x="312" y="197"/>
                  </a:moveTo>
                  <a:cubicBezTo>
                    <a:pt x="315" y="194"/>
                    <a:pt x="319" y="192"/>
                    <a:pt x="319" y="192"/>
                  </a:cubicBezTo>
                  <a:cubicBezTo>
                    <a:pt x="313" y="199"/>
                    <a:pt x="313" y="199"/>
                    <a:pt x="313" y="199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27" y="191"/>
                    <a:pt x="327" y="191"/>
                    <a:pt x="327" y="191"/>
                  </a:cubicBezTo>
                  <a:cubicBezTo>
                    <a:pt x="325" y="187"/>
                    <a:pt x="325" y="187"/>
                    <a:pt x="325" y="187"/>
                  </a:cubicBezTo>
                  <a:cubicBezTo>
                    <a:pt x="327" y="185"/>
                    <a:pt x="327" y="185"/>
                    <a:pt x="327" y="185"/>
                  </a:cubicBezTo>
                  <a:cubicBezTo>
                    <a:pt x="322" y="171"/>
                    <a:pt x="322" y="171"/>
                    <a:pt x="322" y="171"/>
                  </a:cubicBezTo>
                  <a:cubicBezTo>
                    <a:pt x="315" y="172"/>
                    <a:pt x="315" y="172"/>
                    <a:pt x="315" y="172"/>
                  </a:cubicBezTo>
                  <a:cubicBezTo>
                    <a:pt x="320" y="183"/>
                    <a:pt x="320" y="183"/>
                    <a:pt x="320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7" y="188"/>
                    <a:pt x="317" y="188"/>
                    <a:pt x="317" y="188"/>
                  </a:cubicBezTo>
                  <a:cubicBezTo>
                    <a:pt x="309" y="186"/>
                    <a:pt x="309" y="186"/>
                    <a:pt x="309" y="186"/>
                  </a:cubicBezTo>
                  <a:cubicBezTo>
                    <a:pt x="309" y="186"/>
                    <a:pt x="306" y="191"/>
                    <a:pt x="305" y="194"/>
                  </a:cubicBezTo>
                  <a:cubicBezTo>
                    <a:pt x="303" y="199"/>
                    <a:pt x="308" y="198"/>
                    <a:pt x="312" y="197"/>
                  </a:cubicBezTo>
                  <a:close/>
                  <a:moveTo>
                    <a:pt x="309" y="186"/>
                  </a:moveTo>
                  <a:cubicBezTo>
                    <a:pt x="309" y="186"/>
                    <a:pt x="309" y="186"/>
                    <a:pt x="309" y="186"/>
                  </a:cubicBezTo>
                  <a:moveTo>
                    <a:pt x="313" y="206"/>
                  </a:moveTo>
                  <a:cubicBezTo>
                    <a:pt x="322" y="206"/>
                    <a:pt x="319" y="202"/>
                    <a:pt x="313" y="202"/>
                  </a:cubicBezTo>
                  <a:cubicBezTo>
                    <a:pt x="307" y="202"/>
                    <a:pt x="306" y="206"/>
                    <a:pt x="313" y="206"/>
                  </a:cubicBezTo>
                  <a:close/>
                  <a:moveTo>
                    <a:pt x="361" y="157"/>
                  </a:moveTo>
                  <a:cubicBezTo>
                    <a:pt x="367" y="159"/>
                    <a:pt x="367" y="159"/>
                    <a:pt x="367" y="159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62" y="168"/>
                    <a:pt x="368" y="170"/>
                    <a:pt x="371" y="168"/>
                  </a:cubicBezTo>
                  <a:cubicBezTo>
                    <a:pt x="376" y="157"/>
                    <a:pt x="376" y="157"/>
                    <a:pt x="376" y="157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9" y="144"/>
                    <a:pt x="389" y="144"/>
                    <a:pt x="389" y="144"/>
                  </a:cubicBezTo>
                  <a:cubicBezTo>
                    <a:pt x="389" y="144"/>
                    <a:pt x="391" y="135"/>
                    <a:pt x="384" y="132"/>
                  </a:cubicBezTo>
                  <a:cubicBezTo>
                    <a:pt x="376" y="129"/>
                    <a:pt x="370" y="139"/>
                    <a:pt x="370" y="139"/>
                  </a:cubicBezTo>
                  <a:cubicBezTo>
                    <a:pt x="375" y="145"/>
                    <a:pt x="375" y="145"/>
                    <a:pt x="375" y="145"/>
                  </a:cubicBezTo>
                  <a:cubicBezTo>
                    <a:pt x="371" y="143"/>
                    <a:pt x="371" y="143"/>
                    <a:pt x="371" y="143"/>
                  </a:cubicBezTo>
                  <a:cubicBezTo>
                    <a:pt x="371" y="143"/>
                    <a:pt x="362" y="144"/>
                    <a:pt x="362" y="145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7" y="152"/>
                    <a:pt x="367" y="152"/>
                    <a:pt x="367" y="152"/>
                  </a:cubicBezTo>
                  <a:cubicBezTo>
                    <a:pt x="360" y="155"/>
                    <a:pt x="360" y="155"/>
                    <a:pt x="360" y="155"/>
                  </a:cubicBezTo>
                  <a:lnTo>
                    <a:pt x="361" y="157"/>
                  </a:lnTo>
                  <a:close/>
                  <a:moveTo>
                    <a:pt x="401" y="132"/>
                  </a:moveTo>
                  <a:cubicBezTo>
                    <a:pt x="406" y="130"/>
                    <a:pt x="406" y="127"/>
                    <a:pt x="406" y="127"/>
                  </a:cubicBezTo>
                  <a:cubicBezTo>
                    <a:pt x="404" y="127"/>
                    <a:pt x="404" y="127"/>
                    <a:pt x="404" y="127"/>
                  </a:cubicBezTo>
                  <a:cubicBezTo>
                    <a:pt x="404" y="127"/>
                    <a:pt x="405" y="121"/>
                    <a:pt x="407" y="120"/>
                  </a:cubicBezTo>
                  <a:cubicBezTo>
                    <a:pt x="408" y="119"/>
                    <a:pt x="410" y="118"/>
                    <a:pt x="410" y="118"/>
                  </a:cubicBezTo>
                  <a:cubicBezTo>
                    <a:pt x="410" y="118"/>
                    <a:pt x="408" y="111"/>
                    <a:pt x="403" y="112"/>
                  </a:cubicBezTo>
                  <a:cubicBezTo>
                    <a:pt x="399" y="112"/>
                    <a:pt x="401" y="119"/>
                    <a:pt x="401" y="119"/>
                  </a:cubicBezTo>
                  <a:cubicBezTo>
                    <a:pt x="397" y="118"/>
                    <a:pt x="397" y="118"/>
                    <a:pt x="397" y="118"/>
                  </a:cubicBezTo>
                  <a:cubicBezTo>
                    <a:pt x="393" y="121"/>
                    <a:pt x="393" y="121"/>
                    <a:pt x="393" y="121"/>
                  </a:cubicBezTo>
                  <a:cubicBezTo>
                    <a:pt x="394" y="124"/>
                    <a:pt x="394" y="124"/>
                    <a:pt x="394" y="124"/>
                  </a:cubicBezTo>
                  <a:cubicBezTo>
                    <a:pt x="390" y="123"/>
                    <a:pt x="390" y="123"/>
                    <a:pt x="390" y="123"/>
                  </a:cubicBezTo>
                  <a:cubicBezTo>
                    <a:pt x="389" y="126"/>
                    <a:pt x="389" y="126"/>
                    <a:pt x="389" y="126"/>
                  </a:cubicBezTo>
                  <a:cubicBezTo>
                    <a:pt x="390" y="129"/>
                    <a:pt x="390" y="129"/>
                    <a:pt x="390" y="129"/>
                  </a:cubicBezTo>
                  <a:cubicBezTo>
                    <a:pt x="388" y="128"/>
                    <a:pt x="388" y="128"/>
                    <a:pt x="388" y="128"/>
                  </a:cubicBezTo>
                  <a:cubicBezTo>
                    <a:pt x="388" y="132"/>
                    <a:pt x="388" y="132"/>
                    <a:pt x="388" y="132"/>
                  </a:cubicBezTo>
                  <a:cubicBezTo>
                    <a:pt x="388" y="132"/>
                    <a:pt x="395" y="134"/>
                    <a:pt x="401" y="132"/>
                  </a:cubicBezTo>
                  <a:close/>
                  <a:moveTo>
                    <a:pt x="408" y="111"/>
                  </a:moveTo>
                  <a:cubicBezTo>
                    <a:pt x="410" y="112"/>
                    <a:pt x="411" y="112"/>
                    <a:pt x="411" y="112"/>
                  </a:cubicBezTo>
                  <a:cubicBezTo>
                    <a:pt x="412" y="115"/>
                    <a:pt x="412" y="115"/>
                    <a:pt x="412" y="115"/>
                  </a:cubicBezTo>
                  <a:cubicBezTo>
                    <a:pt x="412" y="115"/>
                    <a:pt x="420" y="113"/>
                    <a:pt x="420" y="109"/>
                  </a:cubicBezTo>
                  <a:cubicBezTo>
                    <a:pt x="420" y="106"/>
                    <a:pt x="420" y="106"/>
                    <a:pt x="420" y="106"/>
                  </a:cubicBezTo>
                  <a:cubicBezTo>
                    <a:pt x="420" y="106"/>
                    <a:pt x="426" y="104"/>
                    <a:pt x="424" y="102"/>
                  </a:cubicBezTo>
                  <a:cubicBezTo>
                    <a:pt x="423" y="99"/>
                    <a:pt x="418" y="100"/>
                    <a:pt x="418" y="100"/>
                  </a:cubicBezTo>
                  <a:cubicBezTo>
                    <a:pt x="418" y="100"/>
                    <a:pt x="416" y="96"/>
                    <a:pt x="411" y="97"/>
                  </a:cubicBezTo>
                  <a:cubicBezTo>
                    <a:pt x="408" y="98"/>
                    <a:pt x="403" y="106"/>
                    <a:pt x="403" y="106"/>
                  </a:cubicBezTo>
                  <a:cubicBezTo>
                    <a:pt x="403" y="106"/>
                    <a:pt x="406" y="110"/>
                    <a:pt x="408" y="111"/>
                  </a:cubicBezTo>
                  <a:close/>
                  <a:moveTo>
                    <a:pt x="424" y="106"/>
                  </a:moveTo>
                  <a:cubicBezTo>
                    <a:pt x="421" y="111"/>
                    <a:pt x="421" y="111"/>
                    <a:pt x="421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33" y="100"/>
                    <a:pt x="433" y="100"/>
                    <a:pt x="433" y="100"/>
                  </a:cubicBezTo>
                  <a:cubicBezTo>
                    <a:pt x="429" y="100"/>
                    <a:pt x="429" y="100"/>
                    <a:pt x="429" y="100"/>
                  </a:cubicBezTo>
                  <a:lnTo>
                    <a:pt x="424" y="106"/>
                  </a:lnTo>
                  <a:close/>
                  <a:moveTo>
                    <a:pt x="426" y="97"/>
                  </a:moveTo>
                  <a:cubicBezTo>
                    <a:pt x="433" y="98"/>
                    <a:pt x="434" y="97"/>
                    <a:pt x="433" y="93"/>
                  </a:cubicBezTo>
                  <a:cubicBezTo>
                    <a:pt x="431" y="90"/>
                    <a:pt x="427" y="87"/>
                    <a:pt x="427" y="87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2" y="83"/>
                    <a:pt x="422" y="83"/>
                    <a:pt x="422" y="83"/>
                  </a:cubicBezTo>
                  <a:cubicBezTo>
                    <a:pt x="420" y="87"/>
                    <a:pt x="420" y="87"/>
                    <a:pt x="420" y="87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4" y="94"/>
                    <a:pt x="422" y="96"/>
                    <a:pt x="426" y="97"/>
                  </a:cubicBezTo>
                  <a:close/>
                  <a:moveTo>
                    <a:pt x="421" y="95"/>
                  </a:moveTo>
                  <a:cubicBezTo>
                    <a:pt x="417" y="91"/>
                    <a:pt x="417" y="91"/>
                    <a:pt x="417" y="91"/>
                  </a:cubicBezTo>
                  <a:cubicBezTo>
                    <a:pt x="417" y="94"/>
                    <a:pt x="417" y="94"/>
                    <a:pt x="417" y="94"/>
                  </a:cubicBezTo>
                  <a:lnTo>
                    <a:pt x="421" y="95"/>
                  </a:lnTo>
                  <a:close/>
                  <a:moveTo>
                    <a:pt x="413" y="95"/>
                  </a:moveTo>
                  <a:cubicBezTo>
                    <a:pt x="415" y="87"/>
                    <a:pt x="415" y="87"/>
                    <a:pt x="415" y="87"/>
                  </a:cubicBezTo>
                  <a:cubicBezTo>
                    <a:pt x="409" y="84"/>
                    <a:pt x="409" y="84"/>
                    <a:pt x="409" y="84"/>
                  </a:cubicBezTo>
                  <a:cubicBezTo>
                    <a:pt x="409" y="95"/>
                    <a:pt x="409" y="95"/>
                    <a:pt x="409" y="95"/>
                  </a:cubicBezTo>
                  <a:lnTo>
                    <a:pt x="413" y="95"/>
                  </a:lnTo>
                  <a:close/>
                  <a:moveTo>
                    <a:pt x="407" y="97"/>
                  </a:moveTo>
                  <a:cubicBezTo>
                    <a:pt x="403" y="94"/>
                    <a:pt x="403" y="94"/>
                    <a:pt x="403" y="94"/>
                  </a:cubicBezTo>
                  <a:cubicBezTo>
                    <a:pt x="403" y="98"/>
                    <a:pt x="403" y="98"/>
                    <a:pt x="403" y="98"/>
                  </a:cubicBezTo>
                  <a:cubicBezTo>
                    <a:pt x="397" y="96"/>
                    <a:pt x="397" y="96"/>
                    <a:pt x="397" y="96"/>
                  </a:cubicBezTo>
                  <a:cubicBezTo>
                    <a:pt x="400" y="103"/>
                    <a:pt x="400" y="103"/>
                    <a:pt x="400" y="103"/>
                  </a:cubicBezTo>
                  <a:lnTo>
                    <a:pt x="407" y="97"/>
                  </a:lnTo>
                  <a:close/>
                  <a:moveTo>
                    <a:pt x="443" y="96"/>
                  </a:moveTo>
                  <a:cubicBezTo>
                    <a:pt x="449" y="97"/>
                    <a:pt x="452" y="90"/>
                    <a:pt x="449" y="84"/>
                  </a:cubicBezTo>
                  <a:cubicBezTo>
                    <a:pt x="446" y="79"/>
                    <a:pt x="441" y="83"/>
                    <a:pt x="440" y="90"/>
                  </a:cubicBezTo>
                  <a:cubicBezTo>
                    <a:pt x="439" y="95"/>
                    <a:pt x="443" y="96"/>
                    <a:pt x="443" y="96"/>
                  </a:cubicBezTo>
                  <a:close/>
                  <a:moveTo>
                    <a:pt x="455" y="99"/>
                  </a:moveTo>
                  <a:cubicBezTo>
                    <a:pt x="451" y="96"/>
                    <a:pt x="451" y="96"/>
                    <a:pt x="451" y="96"/>
                  </a:cubicBezTo>
                  <a:cubicBezTo>
                    <a:pt x="451" y="96"/>
                    <a:pt x="449" y="99"/>
                    <a:pt x="448" y="100"/>
                  </a:cubicBezTo>
                  <a:lnTo>
                    <a:pt x="455" y="99"/>
                  </a:lnTo>
                  <a:close/>
                  <a:moveTo>
                    <a:pt x="445" y="105"/>
                  </a:moveTo>
                  <a:cubicBezTo>
                    <a:pt x="444" y="111"/>
                    <a:pt x="444" y="111"/>
                    <a:pt x="444" y="111"/>
                  </a:cubicBezTo>
                  <a:cubicBezTo>
                    <a:pt x="449" y="109"/>
                    <a:pt x="449" y="109"/>
                    <a:pt x="449" y="109"/>
                  </a:cubicBezTo>
                  <a:cubicBezTo>
                    <a:pt x="448" y="104"/>
                    <a:pt x="448" y="104"/>
                    <a:pt x="448" y="104"/>
                  </a:cubicBezTo>
                  <a:lnTo>
                    <a:pt x="445" y="105"/>
                  </a:lnTo>
                  <a:close/>
                  <a:moveTo>
                    <a:pt x="474" y="58"/>
                  </a:moveTo>
                  <a:cubicBezTo>
                    <a:pt x="479" y="58"/>
                    <a:pt x="479" y="58"/>
                    <a:pt x="479" y="58"/>
                  </a:cubicBezTo>
                  <a:cubicBezTo>
                    <a:pt x="476" y="63"/>
                    <a:pt x="476" y="63"/>
                    <a:pt x="476" y="63"/>
                  </a:cubicBezTo>
                  <a:cubicBezTo>
                    <a:pt x="478" y="65"/>
                    <a:pt x="484" y="64"/>
                    <a:pt x="492" y="60"/>
                  </a:cubicBezTo>
                  <a:cubicBezTo>
                    <a:pt x="500" y="56"/>
                    <a:pt x="497" y="50"/>
                    <a:pt x="497" y="50"/>
                  </a:cubicBezTo>
                  <a:cubicBezTo>
                    <a:pt x="504" y="41"/>
                    <a:pt x="504" y="41"/>
                    <a:pt x="504" y="41"/>
                  </a:cubicBezTo>
                  <a:cubicBezTo>
                    <a:pt x="500" y="36"/>
                    <a:pt x="500" y="36"/>
                    <a:pt x="500" y="36"/>
                  </a:cubicBezTo>
                  <a:cubicBezTo>
                    <a:pt x="492" y="40"/>
                    <a:pt x="492" y="40"/>
                    <a:pt x="492" y="40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88" y="44"/>
                    <a:pt x="488" y="44"/>
                    <a:pt x="488" y="44"/>
                  </a:cubicBezTo>
                  <a:cubicBezTo>
                    <a:pt x="486" y="46"/>
                    <a:pt x="486" y="46"/>
                    <a:pt x="486" y="46"/>
                  </a:cubicBezTo>
                  <a:cubicBezTo>
                    <a:pt x="490" y="52"/>
                    <a:pt x="490" y="52"/>
                    <a:pt x="490" y="52"/>
                  </a:cubicBezTo>
                  <a:cubicBezTo>
                    <a:pt x="483" y="48"/>
                    <a:pt x="483" y="48"/>
                    <a:pt x="483" y="48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79" y="53"/>
                    <a:pt x="479" y="53"/>
                    <a:pt x="479" y="53"/>
                  </a:cubicBezTo>
                  <a:cubicBezTo>
                    <a:pt x="472" y="55"/>
                    <a:pt x="472" y="55"/>
                    <a:pt x="472" y="55"/>
                  </a:cubicBezTo>
                  <a:lnTo>
                    <a:pt x="474" y="58"/>
                  </a:lnTo>
                  <a:close/>
                  <a:moveTo>
                    <a:pt x="484" y="73"/>
                  </a:moveTo>
                  <a:cubicBezTo>
                    <a:pt x="484" y="76"/>
                    <a:pt x="489" y="76"/>
                    <a:pt x="489" y="76"/>
                  </a:cubicBezTo>
                  <a:cubicBezTo>
                    <a:pt x="489" y="76"/>
                    <a:pt x="498" y="77"/>
                    <a:pt x="497" y="73"/>
                  </a:cubicBezTo>
                  <a:cubicBezTo>
                    <a:pt x="497" y="68"/>
                    <a:pt x="482" y="66"/>
                    <a:pt x="484" y="73"/>
                  </a:cubicBezTo>
                  <a:close/>
                  <a:moveTo>
                    <a:pt x="503" y="55"/>
                  </a:moveTo>
                  <a:cubicBezTo>
                    <a:pt x="501" y="59"/>
                    <a:pt x="501" y="59"/>
                    <a:pt x="501" y="59"/>
                  </a:cubicBezTo>
                  <a:cubicBezTo>
                    <a:pt x="499" y="57"/>
                    <a:pt x="499" y="57"/>
                    <a:pt x="499" y="57"/>
                  </a:cubicBezTo>
                  <a:cubicBezTo>
                    <a:pt x="493" y="66"/>
                    <a:pt x="493" y="66"/>
                    <a:pt x="493" y="66"/>
                  </a:cubicBezTo>
                  <a:cubicBezTo>
                    <a:pt x="499" y="68"/>
                    <a:pt x="499" y="68"/>
                    <a:pt x="499" y="68"/>
                  </a:cubicBezTo>
                  <a:cubicBezTo>
                    <a:pt x="500" y="66"/>
                    <a:pt x="500" y="66"/>
                    <a:pt x="500" y="66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4" y="72"/>
                    <a:pt x="504" y="72"/>
                    <a:pt x="504" y="72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05" y="48"/>
                    <a:pt x="505" y="48"/>
                    <a:pt x="505" y="48"/>
                  </a:cubicBezTo>
                  <a:cubicBezTo>
                    <a:pt x="501" y="50"/>
                    <a:pt x="501" y="50"/>
                    <a:pt x="501" y="50"/>
                  </a:cubicBezTo>
                  <a:lnTo>
                    <a:pt x="503" y="55"/>
                  </a:lnTo>
                  <a:close/>
                  <a:moveTo>
                    <a:pt x="514" y="56"/>
                  </a:moveTo>
                  <a:cubicBezTo>
                    <a:pt x="517" y="56"/>
                    <a:pt x="521" y="48"/>
                    <a:pt x="516" y="43"/>
                  </a:cubicBezTo>
                  <a:cubicBezTo>
                    <a:pt x="509" y="37"/>
                    <a:pt x="505" y="43"/>
                    <a:pt x="508" y="50"/>
                  </a:cubicBezTo>
                  <a:cubicBezTo>
                    <a:pt x="508" y="50"/>
                    <a:pt x="510" y="56"/>
                    <a:pt x="514" y="56"/>
                  </a:cubicBezTo>
                  <a:close/>
                  <a:moveTo>
                    <a:pt x="513" y="22"/>
                  </a:moveTo>
                  <a:cubicBezTo>
                    <a:pt x="506" y="22"/>
                    <a:pt x="511" y="30"/>
                    <a:pt x="511" y="30"/>
                  </a:cubicBezTo>
                  <a:cubicBezTo>
                    <a:pt x="517" y="29"/>
                    <a:pt x="518" y="22"/>
                    <a:pt x="513" y="22"/>
                  </a:cubicBezTo>
                  <a:close/>
                  <a:moveTo>
                    <a:pt x="528" y="14"/>
                  </a:moveTo>
                  <a:cubicBezTo>
                    <a:pt x="523" y="17"/>
                    <a:pt x="523" y="17"/>
                    <a:pt x="523" y="17"/>
                  </a:cubicBezTo>
                  <a:cubicBezTo>
                    <a:pt x="531" y="19"/>
                    <a:pt x="531" y="19"/>
                    <a:pt x="531" y="19"/>
                  </a:cubicBezTo>
                  <a:lnTo>
                    <a:pt x="528" y="14"/>
                  </a:lnTo>
                  <a:close/>
                  <a:moveTo>
                    <a:pt x="538" y="19"/>
                  </a:moveTo>
                  <a:cubicBezTo>
                    <a:pt x="539" y="19"/>
                    <a:pt x="541" y="17"/>
                    <a:pt x="541" y="17"/>
                  </a:cubicBezTo>
                  <a:cubicBezTo>
                    <a:pt x="541" y="20"/>
                    <a:pt x="541" y="20"/>
                    <a:pt x="541" y="20"/>
                  </a:cubicBezTo>
                  <a:cubicBezTo>
                    <a:pt x="548" y="22"/>
                    <a:pt x="548" y="22"/>
                    <a:pt x="548" y="22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559" y="12"/>
                    <a:pt x="559" y="12"/>
                    <a:pt x="559" y="12"/>
                  </a:cubicBezTo>
                  <a:cubicBezTo>
                    <a:pt x="553" y="16"/>
                    <a:pt x="553" y="16"/>
                    <a:pt x="553" y="16"/>
                  </a:cubicBezTo>
                  <a:cubicBezTo>
                    <a:pt x="550" y="14"/>
                    <a:pt x="550" y="14"/>
                    <a:pt x="550" y="14"/>
                  </a:cubicBezTo>
                  <a:cubicBezTo>
                    <a:pt x="555" y="10"/>
                    <a:pt x="555" y="10"/>
                    <a:pt x="555" y="10"/>
                  </a:cubicBezTo>
                  <a:cubicBezTo>
                    <a:pt x="552" y="6"/>
                    <a:pt x="552" y="6"/>
                    <a:pt x="552" y="6"/>
                  </a:cubicBezTo>
                  <a:cubicBezTo>
                    <a:pt x="550" y="10"/>
                    <a:pt x="550" y="10"/>
                    <a:pt x="550" y="10"/>
                  </a:cubicBezTo>
                  <a:cubicBezTo>
                    <a:pt x="548" y="5"/>
                    <a:pt x="548" y="5"/>
                    <a:pt x="548" y="5"/>
                  </a:cubicBezTo>
                  <a:cubicBezTo>
                    <a:pt x="544" y="8"/>
                    <a:pt x="544" y="8"/>
                    <a:pt x="544" y="8"/>
                  </a:cubicBezTo>
                  <a:cubicBezTo>
                    <a:pt x="546" y="12"/>
                    <a:pt x="546" y="12"/>
                    <a:pt x="546" y="12"/>
                  </a:cubicBezTo>
                  <a:cubicBezTo>
                    <a:pt x="537" y="14"/>
                    <a:pt x="537" y="14"/>
                    <a:pt x="537" y="14"/>
                  </a:cubicBezTo>
                  <a:lnTo>
                    <a:pt x="538" y="19"/>
                  </a:lnTo>
                  <a:close/>
                  <a:moveTo>
                    <a:pt x="658" y="62"/>
                  </a:moveTo>
                  <a:cubicBezTo>
                    <a:pt x="659" y="72"/>
                    <a:pt x="659" y="72"/>
                    <a:pt x="659" y="72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2" y="60"/>
                    <a:pt x="662" y="60"/>
                    <a:pt x="662" y="60"/>
                  </a:cubicBezTo>
                  <a:lnTo>
                    <a:pt x="658" y="6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Es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671E315-3C47-824F-A5A3-69AB71AF8C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9465" y="2996422"/>
              <a:ext cx="513227" cy="326749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Weiß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8C100FD-BEE3-1C42-8D88-5EE56446FF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3604" y="3489846"/>
              <a:ext cx="871330" cy="788819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Let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165B0C-0C09-8A4A-9C6B-43FD4A0558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8112" y="3255510"/>
              <a:ext cx="636995" cy="359755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Moldawien" descr="© INSCALE GmbH, 05.05.2010&#10;http://www.presentationload.com/">
              <a:extLst>
                <a:ext uri="{FF2B5EF4-FFF2-40B4-BE49-F238E27FC236}">
                  <a16:creationId xmlns:a16="http://schemas.microsoft.com/office/drawing/2014/main" id="{49A541BA-EE10-0C4F-96B4-A95A88D331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3924" y="4656571"/>
              <a:ext cx="429064" cy="448867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7" name="Fin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D681938-DCF9-3D4F-9FBD-19B7F7E68B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65919" y="1417135"/>
              <a:ext cx="912587" cy="1608991"/>
            </a:xfrm>
            <a:custGeom>
              <a:avLst/>
              <a:gdLst/>
              <a:ahLst/>
              <a:cxnLst>
                <a:cxn ang="0">
                  <a:pos x="318" y="380"/>
                </a:cxn>
                <a:cxn ang="0">
                  <a:pos x="302" y="312"/>
                </a:cxn>
                <a:cxn ang="0">
                  <a:pos x="283" y="281"/>
                </a:cxn>
                <a:cxn ang="0">
                  <a:pos x="264" y="225"/>
                </a:cxn>
                <a:cxn ang="0">
                  <a:pos x="205" y="113"/>
                </a:cxn>
                <a:cxn ang="0">
                  <a:pos x="202" y="27"/>
                </a:cxn>
                <a:cxn ang="0">
                  <a:pos x="124" y="29"/>
                </a:cxn>
                <a:cxn ang="0">
                  <a:pos x="105" y="103"/>
                </a:cxn>
                <a:cxn ang="0">
                  <a:pos x="51" y="107"/>
                </a:cxn>
                <a:cxn ang="0">
                  <a:pos x="2" y="90"/>
                </a:cxn>
                <a:cxn ang="0">
                  <a:pos x="23" y="108"/>
                </a:cxn>
                <a:cxn ang="0">
                  <a:pos x="63" y="131"/>
                </a:cxn>
                <a:cxn ang="0">
                  <a:pos x="86" y="186"/>
                </a:cxn>
                <a:cxn ang="0">
                  <a:pos x="106" y="229"/>
                </a:cxn>
                <a:cxn ang="0">
                  <a:pos x="116" y="275"/>
                </a:cxn>
                <a:cxn ang="0">
                  <a:pos x="147" y="294"/>
                </a:cxn>
                <a:cxn ang="0">
                  <a:pos x="163" y="331"/>
                </a:cxn>
                <a:cxn ang="0">
                  <a:pos x="147" y="355"/>
                </a:cxn>
                <a:cxn ang="0">
                  <a:pos x="131" y="401"/>
                </a:cxn>
                <a:cxn ang="0">
                  <a:pos x="108" y="414"/>
                </a:cxn>
                <a:cxn ang="0">
                  <a:pos x="111" y="430"/>
                </a:cxn>
                <a:cxn ang="0">
                  <a:pos x="96" y="438"/>
                </a:cxn>
                <a:cxn ang="0">
                  <a:pos x="80" y="462"/>
                </a:cxn>
                <a:cxn ang="0">
                  <a:pos x="77" y="486"/>
                </a:cxn>
                <a:cxn ang="0">
                  <a:pos x="80" y="523"/>
                </a:cxn>
                <a:cxn ang="0">
                  <a:pos x="91" y="559"/>
                </a:cxn>
                <a:cxn ang="0">
                  <a:pos x="93" y="572"/>
                </a:cxn>
                <a:cxn ang="0">
                  <a:pos x="95" y="598"/>
                </a:cxn>
                <a:cxn ang="0">
                  <a:pos x="95" y="613"/>
                </a:cxn>
                <a:cxn ang="0">
                  <a:pos x="104" y="635"/>
                </a:cxn>
                <a:cxn ang="0">
                  <a:pos x="118" y="635"/>
                </a:cxn>
                <a:cxn ang="0">
                  <a:pos x="144" y="645"/>
                </a:cxn>
                <a:cxn ang="0">
                  <a:pos x="157" y="656"/>
                </a:cxn>
                <a:cxn ang="0">
                  <a:pos x="161" y="666"/>
                </a:cxn>
                <a:cxn ang="0">
                  <a:pos x="189" y="654"/>
                </a:cxn>
                <a:cxn ang="0">
                  <a:pos x="206" y="645"/>
                </a:cxn>
                <a:cxn ang="0">
                  <a:pos x="248" y="626"/>
                </a:cxn>
                <a:cxn ang="0">
                  <a:pos x="260" y="617"/>
                </a:cxn>
                <a:cxn ang="0">
                  <a:pos x="293" y="603"/>
                </a:cxn>
                <a:cxn ang="0">
                  <a:pos x="328" y="554"/>
                </a:cxn>
                <a:cxn ang="0">
                  <a:pos x="382" y="418"/>
                </a:cxn>
                <a:cxn ang="0">
                  <a:pos x="60" y="653"/>
                </a:cxn>
                <a:cxn ang="0">
                  <a:pos x="45" y="651"/>
                </a:cxn>
                <a:cxn ang="0">
                  <a:pos x="50" y="670"/>
                </a:cxn>
                <a:cxn ang="0">
                  <a:pos x="39" y="658"/>
                </a:cxn>
                <a:cxn ang="0">
                  <a:pos x="55" y="670"/>
                </a:cxn>
                <a:cxn ang="0">
                  <a:pos x="107" y="657"/>
                </a:cxn>
                <a:cxn ang="0">
                  <a:pos x="113" y="654"/>
                </a:cxn>
                <a:cxn ang="0">
                  <a:pos x="148" y="643"/>
                </a:cxn>
                <a:cxn ang="0">
                  <a:pos x="136" y="655"/>
                </a:cxn>
                <a:cxn ang="0">
                  <a:pos x="147" y="649"/>
                </a:cxn>
                <a:cxn ang="0">
                  <a:pos x="112" y="643"/>
                </a:cxn>
                <a:cxn ang="0">
                  <a:pos x="99" y="634"/>
                </a:cxn>
                <a:cxn ang="0">
                  <a:pos x="94" y="628"/>
                </a:cxn>
                <a:cxn ang="0">
                  <a:pos x="175" y="667"/>
                </a:cxn>
                <a:cxn ang="0">
                  <a:pos x="62" y="461"/>
                </a:cxn>
                <a:cxn ang="0">
                  <a:pos x="72" y="456"/>
                </a:cxn>
                <a:cxn ang="0">
                  <a:pos x="157" y="329"/>
                </a:cxn>
                <a:cxn ang="0">
                  <a:pos x="153" y="336"/>
                </a:cxn>
                <a:cxn ang="0">
                  <a:pos x="243" y="631"/>
                </a:cxn>
                <a:cxn ang="0">
                  <a:pos x="265" y="614"/>
                </a:cxn>
              </a:cxnLst>
              <a:rect l="0" t="0" r="r" b="b"/>
              <a:pathLst>
                <a:path w="382" h="674">
                  <a:moveTo>
                    <a:pt x="382" y="418"/>
                  </a:moveTo>
                  <a:cubicBezTo>
                    <a:pt x="381" y="412"/>
                    <a:pt x="369" y="412"/>
                    <a:pt x="369" y="412"/>
                  </a:cubicBezTo>
                  <a:cubicBezTo>
                    <a:pt x="366" y="404"/>
                    <a:pt x="366" y="404"/>
                    <a:pt x="366" y="404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39" y="394"/>
                    <a:pt x="339" y="394"/>
                    <a:pt x="339" y="394"/>
                  </a:cubicBezTo>
                  <a:cubicBezTo>
                    <a:pt x="318" y="380"/>
                    <a:pt x="318" y="380"/>
                    <a:pt x="318" y="380"/>
                  </a:cubicBezTo>
                  <a:cubicBezTo>
                    <a:pt x="327" y="374"/>
                    <a:pt x="327" y="374"/>
                    <a:pt x="327" y="374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26" y="370"/>
                    <a:pt x="331" y="355"/>
                    <a:pt x="327" y="346"/>
                  </a:cubicBezTo>
                  <a:cubicBezTo>
                    <a:pt x="323" y="338"/>
                    <a:pt x="313" y="344"/>
                    <a:pt x="308" y="335"/>
                  </a:cubicBezTo>
                  <a:cubicBezTo>
                    <a:pt x="301" y="326"/>
                    <a:pt x="307" y="320"/>
                    <a:pt x="307" y="320"/>
                  </a:cubicBezTo>
                  <a:cubicBezTo>
                    <a:pt x="302" y="312"/>
                    <a:pt x="302" y="312"/>
                    <a:pt x="302" y="312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285" y="301"/>
                    <a:pt x="285" y="301"/>
                    <a:pt x="285" y="301"/>
                  </a:cubicBezTo>
                  <a:cubicBezTo>
                    <a:pt x="292" y="296"/>
                    <a:pt x="292" y="296"/>
                    <a:pt x="292" y="296"/>
                  </a:cubicBezTo>
                  <a:cubicBezTo>
                    <a:pt x="291" y="291"/>
                    <a:pt x="291" y="291"/>
                    <a:pt x="291" y="291"/>
                  </a:cubicBezTo>
                  <a:cubicBezTo>
                    <a:pt x="280" y="293"/>
                    <a:pt x="280" y="293"/>
                    <a:pt x="280" y="293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0" y="272"/>
                    <a:pt x="280" y="272"/>
                    <a:pt x="280" y="272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8" y="259"/>
                    <a:pt x="288" y="259"/>
                    <a:pt x="288" y="259"/>
                  </a:cubicBezTo>
                  <a:cubicBezTo>
                    <a:pt x="288" y="259"/>
                    <a:pt x="286" y="249"/>
                    <a:pt x="281" y="240"/>
                  </a:cubicBezTo>
                  <a:cubicBezTo>
                    <a:pt x="277" y="232"/>
                    <a:pt x="264" y="225"/>
                    <a:pt x="264" y="225"/>
                  </a:cubicBezTo>
                  <a:cubicBezTo>
                    <a:pt x="261" y="223"/>
                    <a:pt x="262" y="214"/>
                    <a:pt x="254" y="208"/>
                  </a:cubicBezTo>
                  <a:cubicBezTo>
                    <a:pt x="248" y="204"/>
                    <a:pt x="237" y="187"/>
                    <a:pt x="237" y="187"/>
                  </a:cubicBezTo>
                  <a:cubicBezTo>
                    <a:pt x="237" y="187"/>
                    <a:pt x="252" y="152"/>
                    <a:pt x="251" y="142"/>
                  </a:cubicBezTo>
                  <a:cubicBezTo>
                    <a:pt x="250" y="133"/>
                    <a:pt x="238" y="133"/>
                    <a:pt x="238" y="133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05" y="113"/>
                    <a:pt x="205" y="113"/>
                    <a:pt x="205" y="113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9" y="70"/>
                    <a:pt x="199" y="70"/>
                    <a:pt x="199" y="70"/>
                  </a:cubicBezTo>
                  <a:cubicBezTo>
                    <a:pt x="188" y="68"/>
                    <a:pt x="188" y="68"/>
                    <a:pt x="188" y="68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197" y="57"/>
                    <a:pt x="194" y="52"/>
                    <a:pt x="194" y="46"/>
                  </a:cubicBezTo>
                  <a:cubicBezTo>
                    <a:pt x="194" y="41"/>
                    <a:pt x="202" y="27"/>
                    <a:pt x="202" y="27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13"/>
                    <a:pt x="163" y="0"/>
                    <a:pt x="157" y="1"/>
                  </a:cubicBezTo>
                  <a:cubicBezTo>
                    <a:pt x="151" y="2"/>
                    <a:pt x="142" y="14"/>
                    <a:pt x="142" y="14"/>
                  </a:cubicBezTo>
                  <a:cubicBezTo>
                    <a:pt x="142" y="14"/>
                    <a:pt x="135" y="12"/>
                    <a:pt x="129" y="15"/>
                  </a:cubicBezTo>
                  <a:cubicBezTo>
                    <a:pt x="123" y="17"/>
                    <a:pt x="124" y="29"/>
                    <a:pt x="124" y="29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1" y="75"/>
                    <a:pt x="122" y="80"/>
                  </a:cubicBezTo>
                  <a:cubicBezTo>
                    <a:pt x="122" y="86"/>
                    <a:pt x="119" y="90"/>
                    <a:pt x="117" y="93"/>
                  </a:cubicBezTo>
                  <a:cubicBezTo>
                    <a:pt x="114" y="97"/>
                    <a:pt x="112" y="110"/>
                    <a:pt x="112" y="110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1" y="97"/>
                    <a:pt x="86" y="97"/>
                  </a:cubicBezTo>
                  <a:cubicBezTo>
                    <a:pt x="80" y="97"/>
                    <a:pt x="78" y="105"/>
                    <a:pt x="78" y="105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4" y="99"/>
                    <a:pt x="37" y="93"/>
                  </a:cubicBezTo>
                  <a:cubicBezTo>
                    <a:pt x="32" y="88"/>
                    <a:pt x="25" y="78"/>
                    <a:pt x="25" y="78"/>
                  </a:cubicBezTo>
                  <a:cubicBezTo>
                    <a:pt x="25" y="78"/>
                    <a:pt x="16" y="75"/>
                    <a:pt x="12" y="80"/>
                  </a:cubicBezTo>
                  <a:cubicBezTo>
                    <a:pt x="6" y="84"/>
                    <a:pt x="14" y="91"/>
                    <a:pt x="13" y="93"/>
                  </a:cubicBezTo>
                  <a:cubicBezTo>
                    <a:pt x="11" y="95"/>
                    <a:pt x="2" y="90"/>
                    <a:pt x="2" y="9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53" y="126"/>
                    <a:pt x="63" y="131"/>
                  </a:cubicBezTo>
                  <a:cubicBezTo>
                    <a:pt x="72" y="136"/>
                    <a:pt x="73" y="146"/>
                    <a:pt x="73" y="146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86" y="152"/>
                    <a:pt x="88" y="155"/>
                  </a:cubicBezTo>
                  <a:cubicBezTo>
                    <a:pt x="90" y="158"/>
                    <a:pt x="85" y="158"/>
                    <a:pt x="84" y="162"/>
                  </a:cubicBezTo>
                  <a:cubicBezTo>
                    <a:pt x="83" y="167"/>
                    <a:pt x="85" y="170"/>
                    <a:pt x="86" y="174"/>
                  </a:cubicBezTo>
                  <a:cubicBezTo>
                    <a:pt x="88" y="180"/>
                    <a:pt x="86" y="186"/>
                    <a:pt x="86" y="186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95" y="197"/>
                    <a:pt x="94" y="199"/>
                    <a:pt x="94" y="204"/>
                  </a:cubicBezTo>
                  <a:cubicBezTo>
                    <a:pt x="94" y="210"/>
                    <a:pt x="103" y="215"/>
                    <a:pt x="105" y="218"/>
                  </a:cubicBezTo>
                  <a:cubicBezTo>
                    <a:pt x="107" y="222"/>
                    <a:pt x="106" y="229"/>
                    <a:pt x="106" y="229"/>
                  </a:cubicBezTo>
                  <a:cubicBezTo>
                    <a:pt x="106" y="229"/>
                    <a:pt x="108" y="233"/>
                    <a:pt x="110" y="237"/>
                  </a:cubicBezTo>
                  <a:cubicBezTo>
                    <a:pt x="111" y="240"/>
                    <a:pt x="106" y="243"/>
                    <a:pt x="103" y="248"/>
                  </a:cubicBezTo>
                  <a:cubicBezTo>
                    <a:pt x="101" y="252"/>
                    <a:pt x="106" y="253"/>
                    <a:pt x="106" y="253"/>
                  </a:cubicBezTo>
                  <a:cubicBezTo>
                    <a:pt x="106" y="253"/>
                    <a:pt x="106" y="254"/>
                    <a:pt x="105" y="260"/>
                  </a:cubicBezTo>
                  <a:cubicBezTo>
                    <a:pt x="105" y="264"/>
                    <a:pt x="112" y="265"/>
                    <a:pt x="114" y="266"/>
                  </a:cubicBezTo>
                  <a:cubicBezTo>
                    <a:pt x="116" y="268"/>
                    <a:pt x="115" y="271"/>
                    <a:pt x="116" y="275"/>
                  </a:cubicBezTo>
                  <a:cubicBezTo>
                    <a:pt x="117" y="279"/>
                    <a:pt x="122" y="281"/>
                    <a:pt x="122" y="281"/>
                  </a:cubicBezTo>
                  <a:cubicBezTo>
                    <a:pt x="123" y="288"/>
                    <a:pt x="123" y="288"/>
                    <a:pt x="123" y="288"/>
                  </a:cubicBezTo>
                  <a:cubicBezTo>
                    <a:pt x="128" y="286"/>
                    <a:pt x="128" y="286"/>
                    <a:pt x="128" y="286"/>
                  </a:cubicBezTo>
                  <a:cubicBezTo>
                    <a:pt x="139" y="293"/>
                    <a:pt x="139" y="293"/>
                    <a:pt x="139" y="293"/>
                  </a:cubicBezTo>
                  <a:cubicBezTo>
                    <a:pt x="139" y="295"/>
                    <a:pt x="139" y="295"/>
                    <a:pt x="139" y="295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54" y="297"/>
                    <a:pt x="154" y="297"/>
                    <a:pt x="154" y="297"/>
                  </a:cubicBezTo>
                  <a:cubicBezTo>
                    <a:pt x="154" y="297"/>
                    <a:pt x="159" y="301"/>
                    <a:pt x="162" y="308"/>
                  </a:cubicBezTo>
                  <a:cubicBezTo>
                    <a:pt x="166" y="314"/>
                    <a:pt x="162" y="324"/>
                    <a:pt x="162" y="324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2" y="334"/>
                    <a:pt x="162" y="334"/>
                    <a:pt x="162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7" y="342"/>
                    <a:pt x="160" y="340"/>
                    <a:pt x="154" y="341"/>
                  </a:cubicBezTo>
                  <a:cubicBezTo>
                    <a:pt x="150" y="342"/>
                    <a:pt x="147" y="346"/>
                    <a:pt x="147" y="346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66"/>
                    <a:pt x="145" y="366"/>
                    <a:pt x="145" y="366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37" y="376"/>
                    <a:pt x="137" y="376"/>
                    <a:pt x="137" y="376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1" y="401"/>
                    <a:pt x="131" y="401"/>
                    <a:pt x="131" y="401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409"/>
                    <a:pt x="124" y="409"/>
                    <a:pt x="124" y="409"/>
                  </a:cubicBezTo>
                  <a:cubicBezTo>
                    <a:pt x="117" y="413"/>
                    <a:pt x="117" y="413"/>
                    <a:pt x="117" y="413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2" y="413"/>
                    <a:pt x="112" y="413"/>
                    <a:pt x="112" y="413"/>
                  </a:cubicBezTo>
                  <a:cubicBezTo>
                    <a:pt x="108" y="414"/>
                    <a:pt x="108" y="414"/>
                    <a:pt x="108" y="414"/>
                  </a:cubicBezTo>
                  <a:cubicBezTo>
                    <a:pt x="108" y="417"/>
                    <a:pt x="108" y="417"/>
                    <a:pt x="108" y="417"/>
                  </a:cubicBezTo>
                  <a:cubicBezTo>
                    <a:pt x="106" y="418"/>
                    <a:pt x="106" y="418"/>
                    <a:pt x="106" y="418"/>
                  </a:cubicBezTo>
                  <a:cubicBezTo>
                    <a:pt x="105" y="421"/>
                    <a:pt x="105" y="421"/>
                    <a:pt x="105" y="421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3" y="422"/>
                    <a:pt x="113" y="422"/>
                    <a:pt x="113" y="422"/>
                  </a:cubicBezTo>
                  <a:cubicBezTo>
                    <a:pt x="111" y="430"/>
                    <a:pt x="111" y="430"/>
                    <a:pt x="111" y="430"/>
                  </a:cubicBezTo>
                  <a:cubicBezTo>
                    <a:pt x="111" y="430"/>
                    <a:pt x="107" y="426"/>
                    <a:pt x="104" y="428"/>
                  </a:cubicBezTo>
                  <a:cubicBezTo>
                    <a:pt x="100" y="430"/>
                    <a:pt x="102" y="436"/>
                    <a:pt x="102" y="436"/>
                  </a:cubicBezTo>
                  <a:cubicBezTo>
                    <a:pt x="102" y="439"/>
                    <a:pt x="102" y="439"/>
                    <a:pt x="102" y="439"/>
                  </a:cubicBezTo>
                  <a:cubicBezTo>
                    <a:pt x="101" y="441"/>
                    <a:pt x="100" y="442"/>
                    <a:pt x="100" y="442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6" y="438"/>
                    <a:pt x="96" y="438"/>
                    <a:pt x="96" y="438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444"/>
                    <a:pt x="99" y="455"/>
                    <a:pt x="98" y="457"/>
                  </a:cubicBezTo>
                  <a:cubicBezTo>
                    <a:pt x="97" y="460"/>
                    <a:pt x="91" y="458"/>
                    <a:pt x="89" y="458"/>
                  </a:cubicBezTo>
                  <a:cubicBezTo>
                    <a:pt x="82" y="458"/>
                    <a:pt x="82" y="458"/>
                    <a:pt x="82" y="458"/>
                  </a:cubicBezTo>
                  <a:cubicBezTo>
                    <a:pt x="82" y="458"/>
                    <a:pt x="82" y="462"/>
                    <a:pt x="80" y="462"/>
                  </a:cubicBezTo>
                  <a:cubicBezTo>
                    <a:pt x="79" y="462"/>
                    <a:pt x="77" y="459"/>
                    <a:pt x="77" y="459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83" y="475"/>
                    <a:pt x="83" y="475"/>
                    <a:pt x="83" y="475"/>
                  </a:cubicBezTo>
                  <a:cubicBezTo>
                    <a:pt x="77" y="474"/>
                    <a:pt x="77" y="474"/>
                    <a:pt x="77" y="474"/>
                  </a:cubicBezTo>
                  <a:cubicBezTo>
                    <a:pt x="75" y="482"/>
                    <a:pt x="75" y="482"/>
                    <a:pt x="75" y="482"/>
                  </a:cubicBezTo>
                  <a:cubicBezTo>
                    <a:pt x="75" y="482"/>
                    <a:pt x="77" y="484"/>
                    <a:pt x="77" y="486"/>
                  </a:cubicBezTo>
                  <a:cubicBezTo>
                    <a:pt x="77" y="487"/>
                    <a:pt x="72" y="487"/>
                    <a:pt x="72" y="487"/>
                  </a:cubicBezTo>
                  <a:cubicBezTo>
                    <a:pt x="69" y="492"/>
                    <a:pt x="69" y="492"/>
                    <a:pt x="69" y="492"/>
                  </a:cubicBezTo>
                  <a:cubicBezTo>
                    <a:pt x="68" y="504"/>
                    <a:pt x="68" y="504"/>
                    <a:pt x="68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72" y="504"/>
                    <a:pt x="69" y="508"/>
                    <a:pt x="70" y="513"/>
                  </a:cubicBezTo>
                  <a:cubicBezTo>
                    <a:pt x="70" y="517"/>
                    <a:pt x="78" y="519"/>
                    <a:pt x="80" y="523"/>
                  </a:cubicBezTo>
                  <a:cubicBezTo>
                    <a:pt x="83" y="528"/>
                    <a:pt x="80" y="534"/>
                    <a:pt x="80" y="534"/>
                  </a:cubicBezTo>
                  <a:cubicBezTo>
                    <a:pt x="80" y="543"/>
                    <a:pt x="80" y="543"/>
                    <a:pt x="80" y="543"/>
                  </a:cubicBezTo>
                  <a:cubicBezTo>
                    <a:pt x="83" y="546"/>
                    <a:pt x="83" y="546"/>
                    <a:pt x="83" y="546"/>
                  </a:cubicBezTo>
                  <a:cubicBezTo>
                    <a:pt x="86" y="544"/>
                    <a:pt x="86" y="544"/>
                    <a:pt x="86" y="544"/>
                  </a:cubicBezTo>
                  <a:cubicBezTo>
                    <a:pt x="86" y="544"/>
                    <a:pt x="86" y="550"/>
                    <a:pt x="87" y="552"/>
                  </a:cubicBezTo>
                  <a:cubicBezTo>
                    <a:pt x="88" y="555"/>
                    <a:pt x="91" y="559"/>
                    <a:pt x="91" y="559"/>
                  </a:cubicBezTo>
                  <a:cubicBezTo>
                    <a:pt x="90" y="561"/>
                    <a:pt x="90" y="561"/>
                    <a:pt x="90" y="561"/>
                  </a:cubicBezTo>
                  <a:cubicBezTo>
                    <a:pt x="94" y="562"/>
                    <a:pt x="94" y="562"/>
                    <a:pt x="94" y="562"/>
                  </a:cubicBezTo>
                  <a:cubicBezTo>
                    <a:pt x="95" y="567"/>
                    <a:pt x="95" y="567"/>
                    <a:pt x="95" y="567"/>
                  </a:cubicBezTo>
                  <a:cubicBezTo>
                    <a:pt x="90" y="566"/>
                    <a:pt x="90" y="566"/>
                    <a:pt x="90" y="566"/>
                  </a:cubicBezTo>
                  <a:cubicBezTo>
                    <a:pt x="90" y="569"/>
                    <a:pt x="90" y="569"/>
                    <a:pt x="90" y="569"/>
                  </a:cubicBezTo>
                  <a:cubicBezTo>
                    <a:pt x="93" y="572"/>
                    <a:pt x="93" y="572"/>
                    <a:pt x="93" y="572"/>
                  </a:cubicBezTo>
                  <a:cubicBezTo>
                    <a:pt x="89" y="572"/>
                    <a:pt x="89" y="572"/>
                    <a:pt x="89" y="572"/>
                  </a:cubicBezTo>
                  <a:cubicBezTo>
                    <a:pt x="93" y="577"/>
                    <a:pt x="93" y="577"/>
                    <a:pt x="93" y="577"/>
                  </a:cubicBezTo>
                  <a:cubicBezTo>
                    <a:pt x="90" y="578"/>
                    <a:pt x="90" y="578"/>
                    <a:pt x="90" y="578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5" y="584"/>
                    <a:pt x="96" y="588"/>
                    <a:pt x="94" y="591"/>
                  </a:cubicBezTo>
                  <a:cubicBezTo>
                    <a:pt x="91" y="593"/>
                    <a:pt x="95" y="598"/>
                    <a:pt x="95" y="598"/>
                  </a:cubicBezTo>
                  <a:cubicBezTo>
                    <a:pt x="95" y="598"/>
                    <a:pt x="90" y="599"/>
                    <a:pt x="90" y="603"/>
                  </a:cubicBezTo>
                  <a:cubicBezTo>
                    <a:pt x="91" y="607"/>
                    <a:pt x="94" y="610"/>
                    <a:pt x="94" y="610"/>
                  </a:cubicBezTo>
                  <a:cubicBezTo>
                    <a:pt x="91" y="610"/>
                    <a:pt x="91" y="610"/>
                    <a:pt x="91" y="610"/>
                  </a:cubicBezTo>
                  <a:cubicBezTo>
                    <a:pt x="88" y="607"/>
                    <a:pt x="88" y="607"/>
                    <a:pt x="88" y="607"/>
                  </a:cubicBezTo>
                  <a:cubicBezTo>
                    <a:pt x="87" y="613"/>
                    <a:pt x="87" y="613"/>
                    <a:pt x="87" y="613"/>
                  </a:cubicBezTo>
                  <a:cubicBezTo>
                    <a:pt x="95" y="613"/>
                    <a:pt x="95" y="613"/>
                    <a:pt x="95" y="613"/>
                  </a:cubicBezTo>
                  <a:cubicBezTo>
                    <a:pt x="93" y="614"/>
                    <a:pt x="93" y="614"/>
                    <a:pt x="93" y="614"/>
                  </a:cubicBezTo>
                  <a:cubicBezTo>
                    <a:pt x="94" y="619"/>
                    <a:pt x="94" y="619"/>
                    <a:pt x="94" y="619"/>
                  </a:cubicBezTo>
                  <a:cubicBezTo>
                    <a:pt x="97" y="622"/>
                    <a:pt x="97" y="622"/>
                    <a:pt x="97" y="622"/>
                  </a:cubicBezTo>
                  <a:cubicBezTo>
                    <a:pt x="97" y="622"/>
                    <a:pt x="95" y="624"/>
                    <a:pt x="97" y="628"/>
                  </a:cubicBezTo>
                  <a:cubicBezTo>
                    <a:pt x="99" y="632"/>
                    <a:pt x="101" y="632"/>
                    <a:pt x="101" y="632"/>
                  </a:cubicBezTo>
                  <a:cubicBezTo>
                    <a:pt x="104" y="635"/>
                    <a:pt x="104" y="635"/>
                    <a:pt x="104" y="635"/>
                  </a:cubicBezTo>
                  <a:cubicBezTo>
                    <a:pt x="104" y="630"/>
                    <a:pt x="104" y="630"/>
                    <a:pt x="104" y="630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35"/>
                    <a:pt x="110" y="635"/>
                    <a:pt x="110" y="635"/>
                  </a:cubicBezTo>
                  <a:cubicBezTo>
                    <a:pt x="112" y="635"/>
                    <a:pt x="112" y="635"/>
                    <a:pt x="112" y="635"/>
                  </a:cubicBezTo>
                  <a:cubicBezTo>
                    <a:pt x="113" y="631"/>
                    <a:pt x="113" y="631"/>
                    <a:pt x="113" y="631"/>
                  </a:cubicBezTo>
                  <a:cubicBezTo>
                    <a:pt x="118" y="635"/>
                    <a:pt x="118" y="635"/>
                    <a:pt x="118" y="635"/>
                  </a:cubicBezTo>
                  <a:cubicBezTo>
                    <a:pt x="124" y="635"/>
                    <a:pt x="124" y="635"/>
                    <a:pt x="124" y="635"/>
                  </a:cubicBezTo>
                  <a:cubicBezTo>
                    <a:pt x="131" y="638"/>
                    <a:pt x="131" y="638"/>
                    <a:pt x="131" y="638"/>
                  </a:cubicBezTo>
                  <a:cubicBezTo>
                    <a:pt x="137" y="638"/>
                    <a:pt x="137" y="638"/>
                    <a:pt x="137" y="638"/>
                  </a:cubicBezTo>
                  <a:cubicBezTo>
                    <a:pt x="135" y="646"/>
                    <a:pt x="135" y="646"/>
                    <a:pt x="135" y="646"/>
                  </a:cubicBezTo>
                  <a:cubicBezTo>
                    <a:pt x="137" y="648"/>
                    <a:pt x="137" y="648"/>
                    <a:pt x="137" y="648"/>
                  </a:cubicBezTo>
                  <a:cubicBezTo>
                    <a:pt x="144" y="645"/>
                    <a:pt x="144" y="645"/>
                    <a:pt x="144" y="645"/>
                  </a:cubicBezTo>
                  <a:cubicBezTo>
                    <a:pt x="151" y="639"/>
                    <a:pt x="151" y="639"/>
                    <a:pt x="151" y="639"/>
                  </a:cubicBezTo>
                  <a:cubicBezTo>
                    <a:pt x="152" y="640"/>
                    <a:pt x="152" y="640"/>
                    <a:pt x="152" y="640"/>
                  </a:cubicBezTo>
                  <a:cubicBezTo>
                    <a:pt x="149" y="649"/>
                    <a:pt x="149" y="649"/>
                    <a:pt x="149" y="649"/>
                  </a:cubicBezTo>
                  <a:cubicBezTo>
                    <a:pt x="154" y="653"/>
                    <a:pt x="154" y="653"/>
                    <a:pt x="154" y="653"/>
                  </a:cubicBezTo>
                  <a:cubicBezTo>
                    <a:pt x="153" y="657"/>
                    <a:pt x="153" y="657"/>
                    <a:pt x="153" y="657"/>
                  </a:cubicBezTo>
                  <a:cubicBezTo>
                    <a:pt x="157" y="656"/>
                    <a:pt x="157" y="656"/>
                    <a:pt x="157" y="656"/>
                  </a:cubicBezTo>
                  <a:cubicBezTo>
                    <a:pt x="157" y="658"/>
                    <a:pt x="157" y="658"/>
                    <a:pt x="157" y="658"/>
                  </a:cubicBezTo>
                  <a:cubicBezTo>
                    <a:pt x="150" y="664"/>
                    <a:pt x="150" y="664"/>
                    <a:pt x="150" y="664"/>
                  </a:cubicBezTo>
                  <a:cubicBezTo>
                    <a:pt x="151" y="666"/>
                    <a:pt x="151" y="666"/>
                    <a:pt x="151" y="666"/>
                  </a:cubicBezTo>
                  <a:cubicBezTo>
                    <a:pt x="156" y="666"/>
                    <a:pt x="156" y="666"/>
                    <a:pt x="156" y="666"/>
                  </a:cubicBezTo>
                  <a:cubicBezTo>
                    <a:pt x="159" y="662"/>
                    <a:pt x="159" y="662"/>
                    <a:pt x="159" y="662"/>
                  </a:cubicBezTo>
                  <a:cubicBezTo>
                    <a:pt x="159" y="662"/>
                    <a:pt x="161" y="664"/>
                    <a:pt x="161" y="666"/>
                  </a:cubicBezTo>
                  <a:cubicBezTo>
                    <a:pt x="162" y="669"/>
                    <a:pt x="152" y="674"/>
                    <a:pt x="152" y="674"/>
                  </a:cubicBezTo>
                  <a:cubicBezTo>
                    <a:pt x="163" y="671"/>
                    <a:pt x="163" y="671"/>
                    <a:pt x="163" y="671"/>
                  </a:cubicBezTo>
                  <a:cubicBezTo>
                    <a:pt x="171" y="655"/>
                    <a:pt x="171" y="655"/>
                    <a:pt x="171" y="655"/>
                  </a:cubicBezTo>
                  <a:cubicBezTo>
                    <a:pt x="169" y="663"/>
                    <a:pt x="169" y="663"/>
                    <a:pt x="169" y="663"/>
                  </a:cubicBezTo>
                  <a:cubicBezTo>
                    <a:pt x="181" y="660"/>
                    <a:pt x="181" y="660"/>
                    <a:pt x="181" y="660"/>
                  </a:cubicBezTo>
                  <a:cubicBezTo>
                    <a:pt x="189" y="654"/>
                    <a:pt x="189" y="654"/>
                    <a:pt x="189" y="654"/>
                  </a:cubicBezTo>
                  <a:cubicBezTo>
                    <a:pt x="192" y="654"/>
                    <a:pt x="192" y="654"/>
                    <a:pt x="192" y="654"/>
                  </a:cubicBezTo>
                  <a:cubicBezTo>
                    <a:pt x="198" y="649"/>
                    <a:pt x="198" y="649"/>
                    <a:pt x="198" y="649"/>
                  </a:cubicBezTo>
                  <a:cubicBezTo>
                    <a:pt x="201" y="650"/>
                    <a:pt x="201" y="650"/>
                    <a:pt x="201" y="650"/>
                  </a:cubicBezTo>
                  <a:cubicBezTo>
                    <a:pt x="203" y="655"/>
                    <a:pt x="203" y="655"/>
                    <a:pt x="203" y="655"/>
                  </a:cubicBezTo>
                  <a:cubicBezTo>
                    <a:pt x="206" y="653"/>
                    <a:pt x="206" y="653"/>
                    <a:pt x="206" y="653"/>
                  </a:cubicBezTo>
                  <a:cubicBezTo>
                    <a:pt x="206" y="645"/>
                    <a:pt x="206" y="645"/>
                    <a:pt x="206" y="645"/>
                  </a:cubicBezTo>
                  <a:cubicBezTo>
                    <a:pt x="221" y="638"/>
                    <a:pt x="221" y="638"/>
                    <a:pt x="221" y="638"/>
                  </a:cubicBezTo>
                  <a:cubicBezTo>
                    <a:pt x="222" y="635"/>
                    <a:pt x="222" y="635"/>
                    <a:pt x="222" y="635"/>
                  </a:cubicBezTo>
                  <a:cubicBezTo>
                    <a:pt x="235" y="629"/>
                    <a:pt x="235" y="629"/>
                    <a:pt x="235" y="629"/>
                  </a:cubicBezTo>
                  <a:cubicBezTo>
                    <a:pt x="235" y="622"/>
                    <a:pt x="235" y="622"/>
                    <a:pt x="235" y="622"/>
                  </a:cubicBezTo>
                  <a:cubicBezTo>
                    <a:pt x="235" y="622"/>
                    <a:pt x="237" y="628"/>
                    <a:pt x="241" y="628"/>
                  </a:cubicBezTo>
                  <a:cubicBezTo>
                    <a:pt x="244" y="628"/>
                    <a:pt x="248" y="626"/>
                    <a:pt x="248" y="626"/>
                  </a:cubicBezTo>
                  <a:cubicBezTo>
                    <a:pt x="245" y="624"/>
                    <a:pt x="245" y="624"/>
                    <a:pt x="245" y="624"/>
                  </a:cubicBezTo>
                  <a:cubicBezTo>
                    <a:pt x="246" y="620"/>
                    <a:pt x="246" y="620"/>
                    <a:pt x="246" y="620"/>
                  </a:cubicBezTo>
                  <a:cubicBezTo>
                    <a:pt x="251" y="624"/>
                    <a:pt x="251" y="624"/>
                    <a:pt x="251" y="624"/>
                  </a:cubicBezTo>
                  <a:cubicBezTo>
                    <a:pt x="251" y="622"/>
                    <a:pt x="251" y="622"/>
                    <a:pt x="251" y="622"/>
                  </a:cubicBezTo>
                  <a:cubicBezTo>
                    <a:pt x="245" y="613"/>
                    <a:pt x="245" y="613"/>
                    <a:pt x="245" y="613"/>
                  </a:cubicBezTo>
                  <a:cubicBezTo>
                    <a:pt x="245" y="613"/>
                    <a:pt x="254" y="619"/>
                    <a:pt x="260" y="617"/>
                  </a:cubicBezTo>
                  <a:cubicBezTo>
                    <a:pt x="264" y="614"/>
                    <a:pt x="262" y="611"/>
                    <a:pt x="262" y="611"/>
                  </a:cubicBezTo>
                  <a:cubicBezTo>
                    <a:pt x="268" y="610"/>
                    <a:pt x="268" y="610"/>
                    <a:pt x="268" y="610"/>
                  </a:cubicBezTo>
                  <a:cubicBezTo>
                    <a:pt x="273" y="608"/>
                    <a:pt x="273" y="608"/>
                    <a:pt x="273" y="608"/>
                  </a:cubicBezTo>
                  <a:cubicBezTo>
                    <a:pt x="279" y="608"/>
                    <a:pt x="279" y="608"/>
                    <a:pt x="279" y="608"/>
                  </a:cubicBezTo>
                  <a:cubicBezTo>
                    <a:pt x="283" y="602"/>
                    <a:pt x="283" y="602"/>
                    <a:pt x="283" y="602"/>
                  </a:cubicBezTo>
                  <a:cubicBezTo>
                    <a:pt x="293" y="603"/>
                    <a:pt x="293" y="603"/>
                    <a:pt x="293" y="603"/>
                  </a:cubicBezTo>
                  <a:cubicBezTo>
                    <a:pt x="304" y="598"/>
                    <a:pt x="304" y="598"/>
                    <a:pt x="304" y="598"/>
                  </a:cubicBezTo>
                  <a:cubicBezTo>
                    <a:pt x="304" y="597"/>
                    <a:pt x="304" y="597"/>
                    <a:pt x="304" y="597"/>
                  </a:cubicBezTo>
                  <a:cubicBezTo>
                    <a:pt x="312" y="581"/>
                    <a:pt x="312" y="581"/>
                    <a:pt x="312" y="581"/>
                  </a:cubicBezTo>
                  <a:cubicBezTo>
                    <a:pt x="323" y="566"/>
                    <a:pt x="323" y="566"/>
                    <a:pt x="323" y="566"/>
                  </a:cubicBezTo>
                  <a:cubicBezTo>
                    <a:pt x="327" y="563"/>
                    <a:pt x="327" y="563"/>
                    <a:pt x="327" y="563"/>
                  </a:cubicBezTo>
                  <a:cubicBezTo>
                    <a:pt x="328" y="554"/>
                    <a:pt x="328" y="554"/>
                    <a:pt x="328" y="554"/>
                  </a:cubicBezTo>
                  <a:cubicBezTo>
                    <a:pt x="341" y="540"/>
                    <a:pt x="341" y="540"/>
                    <a:pt x="341" y="540"/>
                  </a:cubicBezTo>
                  <a:cubicBezTo>
                    <a:pt x="341" y="540"/>
                    <a:pt x="346" y="527"/>
                    <a:pt x="349" y="521"/>
                  </a:cubicBezTo>
                  <a:cubicBezTo>
                    <a:pt x="352" y="516"/>
                    <a:pt x="360" y="496"/>
                    <a:pt x="363" y="485"/>
                  </a:cubicBezTo>
                  <a:cubicBezTo>
                    <a:pt x="366" y="473"/>
                    <a:pt x="375" y="460"/>
                    <a:pt x="375" y="460"/>
                  </a:cubicBezTo>
                  <a:cubicBezTo>
                    <a:pt x="375" y="460"/>
                    <a:pt x="377" y="456"/>
                    <a:pt x="378" y="452"/>
                  </a:cubicBezTo>
                  <a:cubicBezTo>
                    <a:pt x="380" y="448"/>
                    <a:pt x="382" y="424"/>
                    <a:pt x="382" y="418"/>
                  </a:cubicBezTo>
                  <a:close/>
                  <a:moveTo>
                    <a:pt x="52" y="662"/>
                  </a:moveTo>
                  <a:cubicBezTo>
                    <a:pt x="52" y="658"/>
                    <a:pt x="52" y="658"/>
                    <a:pt x="52" y="658"/>
                  </a:cubicBezTo>
                  <a:cubicBezTo>
                    <a:pt x="54" y="657"/>
                    <a:pt x="54" y="657"/>
                    <a:pt x="54" y="657"/>
                  </a:cubicBezTo>
                  <a:cubicBezTo>
                    <a:pt x="54" y="657"/>
                    <a:pt x="54" y="659"/>
                    <a:pt x="55" y="661"/>
                  </a:cubicBezTo>
                  <a:cubicBezTo>
                    <a:pt x="56" y="662"/>
                    <a:pt x="61" y="660"/>
                    <a:pt x="61" y="660"/>
                  </a:cubicBezTo>
                  <a:cubicBezTo>
                    <a:pt x="60" y="653"/>
                    <a:pt x="60" y="653"/>
                    <a:pt x="60" y="653"/>
                  </a:cubicBezTo>
                  <a:cubicBezTo>
                    <a:pt x="55" y="653"/>
                    <a:pt x="55" y="653"/>
                    <a:pt x="55" y="653"/>
                  </a:cubicBezTo>
                  <a:cubicBezTo>
                    <a:pt x="55" y="650"/>
                    <a:pt x="55" y="650"/>
                    <a:pt x="55" y="650"/>
                  </a:cubicBezTo>
                  <a:cubicBezTo>
                    <a:pt x="51" y="651"/>
                    <a:pt x="51" y="651"/>
                    <a:pt x="51" y="651"/>
                  </a:cubicBezTo>
                  <a:cubicBezTo>
                    <a:pt x="51" y="651"/>
                    <a:pt x="50" y="649"/>
                    <a:pt x="50" y="647"/>
                  </a:cubicBezTo>
                  <a:cubicBezTo>
                    <a:pt x="50" y="646"/>
                    <a:pt x="47" y="644"/>
                    <a:pt x="45" y="648"/>
                  </a:cubicBezTo>
                  <a:cubicBezTo>
                    <a:pt x="45" y="651"/>
                    <a:pt x="45" y="651"/>
                    <a:pt x="45" y="651"/>
                  </a:cubicBezTo>
                  <a:cubicBezTo>
                    <a:pt x="48" y="657"/>
                    <a:pt x="48" y="657"/>
                    <a:pt x="48" y="657"/>
                  </a:cubicBezTo>
                  <a:cubicBezTo>
                    <a:pt x="45" y="659"/>
                    <a:pt x="45" y="659"/>
                    <a:pt x="45" y="659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1" y="658"/>
                    <a:pt x="41" y="658"/>
                    <a:pt x="41" y="658"/>
                  </a:cubicBezTo>
                  <a:cubicBezTo>
                    <a:pt x="46" y="669"/>
                    <a:pt x="46" y="669"/>
                    <a:pt x="46" y="669"/>
                  </a:cubicBezTo>
                  <a:cubicBezTo>
                    <a:pt x="50" y="670"/>
                    <a:pt x="50" y="670"/>
                    <a:pt x="50" y="670"/>
                  </a:cubicBezTo>
                  <a:cubicBezTo>
                    <a:pt x="54" y="666"/>
                    <a:pt x="54" y="666"/>
                    <a:pt x="54" y="666"/>
                  </a:cubicBezTo>
                  <a:cubicBezTo>
                    <a:pt x="54" y="662"/>
                    <a:pt x="54" y="662"/>
                    <a:pt x="54" y="662"/>
                  </a:cubicBezTo>
                  <a:lnTo>
                    <a:pt x="52" y="662"/>
                  </a:lnTo>
                  <a:close/>
                  <a:moveTo>
                    <a:pt x="37" y="666"/>
                  </a:moveTo>
                  <a:cubicBezTo>
                    <a:pt x="41" y="664"/>
                    <a:pt x="41" y="664"/>
                    <a:pt x="41" y="664"/>
                  </a:cubicBezTo>
                  <a:cubicBezTo>
                    <a:pt x="39" y="658"/>
                    <a:pt x="39" y="658"/>
                    <a:pt x="39" y="658"/>
                  </a:cubicBezTo>
                  <a:lnTo>
                    <a:pt x="37" y="666"/>
                  </a:lnTo>
                  <a:close/>
                  <a:moveTo>
                    <a:pt x="55" y="670"/>
                  </a:moveTo>
                  <a:cubicBezTo>
                    <a:pt x="61" y="674"/>
                    <a:pt x="61" y="674"/>
                    <a:pt x="61" y="674"/>
                  </a:cubicBezTo>
                  <a:cubicBezTo>
                    <a:pt x="63" y="671"/>
                    <a:pt x="63" y="671"/>
                    <a:pt x="63" y="671"/>
                  </a:cubicBezTo>
                  <a:cubicBezTo>
                    <a:pt x="56" y="667"/>
                    <a:pt x="56" y="667"/>
                    <a:pt x="56" y="667"/>
                  </a:cubicBezTo>
                  <a:lnTo>
                    <a:pt x="55" y="670"/>
                  </a:lnTo>
                  <a:close/>
                  <a:moveTo>
                    <a:pt x="63" y="663"/>
                  </a:moveTo>
                  <a:cubicBezTo>
                    <a:pt x="61" y="664"/>
                    <a:pt x="61" y="667"/>
                    <a:pt x="64" y="667"/>
                  </a:cubicBezTo>
                  <a:cubicBezTo>
                    <a:pt x="66" y="666"/>
                    <a:pt x="66" y="662"/>
                    <a:pt x="63" y="663"/>
                  </a:cubicBezTo>
                  <a:close/>
                  <a:moveTo>
                    <a:pt x="107" y="657"/>
                  </a:moveTo>
                  <a:cubicBezTo>
                    <a:pt x="104" y="657"/>
                    <a:pt x="100" y="662"/>
                    <a:pt x="106" y="661"/>
                  </a:cubicBezTo>
                  <a:cubicBezTo>
                    <a:pt x="106" y="661"/>
                    <a:pt x="111" y="657"/>
                    <a:pt x="107" y="657"/>
                  </a:cubicBezTo>
                  <a:close/>
                  <a:moveTo>
                    <a:pt x="113" y="654"/>
                  </a:moveTo>
                  <a:cubicBezTo>
                    <a:pt x="111" y="655"/>
                    <a:pt x="112" y="657"/>
                    <a:pt x="112" y="657"/>
                  </a:cubicBezTo>
                  <a:cubicBezTo>
                    <a:pt x="110" y="659"/>
                    <a:pt x="110" y="659"/>
                    <a:pt x="110" y="659"/>
                  </a:cubicBezTo>
                  <a:cubicBezTo>
                    <a:pt x="111" y="660"/>
                    <a:pt x="111" y="660"/>
                    <a:pt x="111" y="660"/>
                  </a:cubicBezTo>
                  <a:cubicBezTo>
                    <a:pt x="117" y="655"/>
                    <a:pt x="117" y="655"/>
                    <a:pt x="117" y="655"/>
                  </a:cubicBezTo>
                  <a:cubicBezTo>
                    <a:pt x="117" y="655"/>
                    <a:pt x="115" y="653"/>
                    <a:pt x="113" y="654"/>
                  </a:cubicBezTo>
                  <a:close/>
                  <a:moveTo>
                    <a:pt x="119" y="654"/>
                  </a:moveTo>
                  <a:cubicBezTo>
                    <a:pt x="120" y="657"/>
                    <a:pt x="120" y="657"/>
                    <a:pt x="120" y="657"/>
                  </a:cubicBezTo>
                  <a:cubicBezTo>
                    <a:pt x="122" y="656"/>
                    <a:pt x="122" y="656"/>
                    <a:pt x="122" y="656"/>
                  </a:cubicBezTo>
                  <a:cubicBezTo>
                    <a:pt x="122" y="654"/>
                    <a:pt x="122" y="654"/>
                    <a:pt x="122" y="654"/>
                  </a:cubicBezTo>
                  <a:lnTo>
                    <a:pt x="119" y="654"/>
                  </a:lnTo>
                  <a:close/>
                  <a:moveTo>
                    <a:pt x="148" y="643"/>
                  </a:moveTo>
                  <a:cubicBezTo>
                    <a:pt x="146" y="647"/>
                    <a:pt x="146" y="647"/>
                    <a:pt x="146" y="647"/>
                  </a:cubicBezTo>
                  <a:cubicBezTo>
                    <a:pt x="142" y="648"/>
                    <a:pt x="142" y="648"/>
                    <a:pt x="142" y="648"/>
                  </a:cubicBezTo>
                  <a:cubicBezTo>
                    <a:pt x="139" y="650"/>
                    <a:pt x="139" y="650"/>
                    <a:pt x="139" y="650"/>
                  </a:cubicBezTo>
                  <a:cubicBezTo>
                    <a:pt x="134" y="651"/>
                    <a:pt x="134" y="651"/>
                    <a:pt x="134" y="651"/>
                  </a:cubicBezTo>
                  <a:cubicBezTo>
                    <a:pt x="133" y="655"/>
                    <a:pt x="133" y="655"/>
                    <a:pt x="133" y="655"/>
                  </a:cubicBezTo>
                  <a:cubicBezTo>
                    <a:pt x="136" y="655"/>
                    <a:pt x="136" y="655"/>
                    <a:pt x="136" y="655"/>
                  </a:cubicBezTo>
                  <a:cubicBezTo>
                    <a:pt x="133" y="659"/>
                    <a:pt x="133" y="659"/>
                    <a:pt x="133" y="659"/>
                  </a:cubicBezTo>
                  <a:cubicBezTo>
                    <a:pt x="133" y="664"/>
                    <a:pt x="133" y="664"/>
                    <a:pt x="133" y="664"/>
                  </a:cubicBezTo>
                  <a:cubicBezTo>
                    <a:pt x="139" y="661"/>
                    <a:pt x="139" y="661"/>
                    <a:pt x="139" y="661"/>
                  </a:cubicBezTo>
                  <a:cubicBezTo>
                    <a:pt x="145" y="661"/>
                    <a:pt x="145" y="661"/>
                    <a:pt x="145" y="661"/>
                  </a:cubicBezTo>
                  <a:cubicBezTo>
                    <a:pt x="149" y="654"/>
                    <a:pt x="149" y="654"/>
                    <a:pt x="149" y="654"/>
                  </a:cubicBezTo>
                  <a:cubicBezTo>
                    <a:pt x="147" y="649"/>
                    <a:pt x="147" y="649"/>
                    <a:pt x="147" y="649"/>
                  </a:cubicBezTo>
                  <a:cubicBezTo>
                    <a:pt x="149" y="644"/>
                    <a:pt x="149" y="644"/>
                    <a:pt x="149" y="644"/>
                  </a:cubicBezTo>
                  <a:lnTo>
                    <a:pt x="148" y="643"/>
                  </a:lnTo>
                  <a:close/>
                  <a:moveTo>
                    <a:pt x="111" y="639"/>
                  </a:moveTo>
                  <a:cubicBezTo>
                    <a:pt x="112" y="640"/>
                    <a:pt x="112" y="640"/>
                    <a:pt x="112" y="640"/>
                  </a:cubicBezTo>
                  <a:cubicBezTo>
                    <a:pt x="110" y="643"/>
                    <a:pt x="110" y="643"/>
                    <a:pt x="110" y="643"/>
                  </a:cubicBezTo>
                  <a:cubicBezTo>
                    <a:pt x="112" y="643"/>
                    <a:pt x="112" y="643"/>
                    <a:pt x="112" y="643"/>
                  </a:cubicBezTo>
                  <a:cubicBezTo>
                    <a:pt x="114" y="642"/>
                    <a:pt x="114" y="642"/>
                    <a:pt x="114" y="642"/>
                  </a:cubicBezTo>
                  <a:cubicBezTo>
                    <a:pt x="117" y="644"/>
                    <a:pt x="117" y="644"/>
                    <a:pt x="117" y="644"/>
                  </a:cubicBezTo>
                  <a:cubicBezTo>
                    <a:pt x="118" y="641"/>
                    <a:pt x="118" y="641"/>
                    <a:pt x="118" y="641"/>
                  </a:cubicBezTo>
                  <a:cubicBezTo>
                    <a:pt x="113" y="638"/>
                    <a:pt x="113" y="638"/>
                    <a:pt x="113" y="638"/>
                  </a:cubicBezTo>
                  <a:lnTo>
                    <a:pt x="111" y="639"/>
                  </a:lnTo>
                  <a:close/>
                  <a:moveTo>
                    <a:pt x="99" y="634"/>
                  </a:moveTo>
                  <a:cubicBezTo>
                    <a:pt x="95" y="631"/>
                    <a:pt x="94" y="630"/>
                    <a:pt x="95" y="632"/>
                  </a:cubicBezTo>
                  <a:cubicBezTo>
                    <a:pt x="97" y="637"/>
                    <a:pt x="97" y="637"/>
                    <a:pt x="97" y="637"/>
                  </a:cubicBezTo>
                  <a:cubicBezTo>
                    <a:pt x="102" y="637"/>
                    <a:pt x="102" y="637"/>
                    <a:pt x="99" y="634"/>
                  </a:cubicBezTo>
                  <a:close/>
                  <a:moveTo>
                    <a:pt x="90" y="628"/>
                  </a:moveTo>
                  <a:cubicBezTo>
                    <a:pt x="93" y="631"/>
                    <a:pt x="93" y="631"/>
                    <a:pt x="93" y="631"/>
                  </a:cubicBezTo>
                  <a:cubicBezTo>
                    <a:pt x="94" y="628"/>
                    <a:pt x="94" y="628"/>
                    <a:pt x="94" y="628"/>
                  </a:cubicBezTo>
                  <a:cubicBezTo>
                    <a:pt x="91" y="627"/>
                    <a:pt x="91" y="627"/>
                    <a:pt x="91" y="627"/>
                  </a:cubicBezTo>
                  <a:lnTo>
                    <a:pt x="90" y="628"/>
                  </a:lnTo>
                  <a:close/>
                  <a:moveTo>
                    <a:pt x="175" y="667"/>
                  </a:moveTo>
                  <a:cubicBezTo>
                    <a:pt x="175" y="664"/>
                    <a:pt x="175" y="664"/>
                    <a:pt x="175" y="664"/>
                  </a:cubicBezTo>
                  <a:cubicBezTo>
                    <a:pt x="170" y="666"/>
                    <a:pt x="170" y="666"/>
                    <a:pt x="170" y="666"/>
                  </a:cubicBezTo>
                  <a:lnTo>
                    <a:pt x="175" y="667"/>
                  </a:lnTo>
                  <a:close/>
                  <a:moveTo>
                    <a:pt x="74" y="466"/>
                  </a:moveTo>
                  <a:cubicBezTo>
                    <a:pt x="72" y="462"/>
                    <a:pt x="72" y="462"/>
                    <a:pt x="72" y="462"/>
                  </a:cubicBezTo>
                  <a:cubicBezTo>
                    <a:pt x="72" y="462"/>
                    <a:pt x="69" y="464"/>
                    <a:pt x="68" y="464"/>
                  </a:cubicBezTo>
                  <a:cubicBezTo>
                    <a:pt x="66" y="464"/>
                    <a:pt x="67" y="461"/>
                    <a:pt x="67" y="461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6" y="468"/>
                    <a:pt x="66" y="468"/>
                    <a:pt x="66" y="468"/>
                  </a:cubicBezTo>
                  <a:cubicBezTo>
                    <a:pt x="71" y="469"/>
                    <a:pt x="74" y="466"/>
                    <a:pt x="74" y="466"/>
                  </a:cubicBezTo>
                  <a:close/>
                  <a:moveTo>
                    <a:pt x="72" y="456"/>
                  </a:moveTo>
                  <a:cubicBezTo>
                    <a:pt x="67" y="457"/>
                    <a:pt x="67" y="457"/>
                    <a:pt x="67" y="457"/>
                  </a:cubicBezTo>
                  <a:cubicBezTo>
                    <a:pt x="70" y="460"/>
                    <a:pt x="70" y="460"/>
                    <a:pt x="70" y="460"/>
                  </a:cubicBezTo>
                  <a:lnTo>
                    <a:pt x="72" y="456"/>
                  </a:lnTo>
                  <a:close/>
                  <a:moveTo>
                    <a:pt x="93" y="452"/>
                  </a:moveTo>
                  <a:cubicBezTo>
                    <a:pt x="90" y="456"/>
                    <a:pt x="90" y="456"/>
                    <a:pt x="90" y="456"/>
                  </a:cubicBezTo>
                  <a:cubicBezTo>
                    <a:pt x="94" y="456"/>
                    <a:pt x="94" y="456"/>
                    <a:pt x="94" y="456"/>
                  </a:cubicBezTo>
                  <a:cubicBezTo>
                    <a:pt x="97" y="454"/>
                    <a:pt x="97" y="454"/>
                    <a:pt x="97" y="454"/>
                  </a:cubicBezTo>
                  <a:lnTo>
                    <a:pt x="93" y="452"/>
                  </a:lnTo>
                  <a:close/>
                  <a:moveTo>
                    <a:pt x="157" y="329"/>
                  </a:moveTo>
                  <a:cubicBezTo>
                    <a:pt x="153" y="331"/>
                    <a:pt x="153" y="331"/>
                    <a:pt x="153" y="331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45" y="331"/>
                    <a:pt x="145" y="331"/>
                    <a:pt x="145" y="331"/>
                  </a:cubicBezTo>
                  <a:cubicBezTo>
                    <a:pt x="145" y="335"/>
                    <a:pt x="145" y="335"/>
                    <a:pt x="145" y="335"/>
                  </a:cubicBezTo>
                  <a:cubicBezTo>
                    <a:pt x="145" y="336"/>
                    <a:pt x="147" y="338"/>
                    <a:pt x="147" y="338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52" y="332"/>
                    <a:pt x="152" y="332"/>
                    <a:pt x="152" y="332"/>
                  </a:cubicBezTo>
                  <a:cubicBezTo>
                    <a:pt x="157" y="331"/>
                    <a:pt x="157" y="331"/>
                    <a:pt x="157" y="331"/>
                  </a:cubicBezTo>
                  <a:lnTo>
                    <a:pt x="157" y="329"/>
                  </a:lnTo>
                  <a:close/>
                  <a:moveTo>
                    <a:pt x="244" y="634"/>
                  </a:moveTo>
                  <a:cubicBezTo>
                    <a:pt x="247" y="630"/>
                    <a:pt x="247" y="630"/>
                    <a:pt x="247" y="630"/>
                  </a:cubicBezTo>
                  <a:cubicBezTo>
                    <a:pt x="243" y="631"/>
                    <a:pt x="243" y="631"/>
                    <a:pt x="243" y="631"/>
                  </a:cubicBezTo>
                  <a:lnTo>
                    <a:pt x="244" y="634"/>
                  </a:lnTo>
                  <a:close/>
                  <a:moveTo>
                    <a:pt x="260" y="618"/>
                  </a:moveTo>
                  <a:cubicBezTo>
                    <a:pt x="265" y="619"/>
                    <a:pt x="265" y="619"/>
                    <a:pt x="265" y="619"/>
                  </a:cubicBezTo>
                  <a:cubicBezTo>
                    <a:pt x="263" y="616"/>
                    <a:pt x="263" y="616"/>
                    <a:pt x="263" y="616"/>
                  </a:cubicBezTo>
                  <a:lnTo>
                    <a:pt x="260" y="618"/>
                  </a:lnTo>
                  <a:close/>
                  <a:moveTo>
                    <a:pt x="265" y="614"/>
                  </a:moveTo>
                  <a:cubicBezTo>
                    <a:pt x="267" y="617"/>
                    <a:pt x="267" y="617"/>
                    <a:pt x="267" y="617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0" y="613"/>
                    <a:pt x="270" y="613"/>
                    <a:pt x="270" y="613"/>
                  </a:cubicBezTo>
                  <a:lnTo>
                    <a:pt x="265" y="6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Bulgarien" descr="© INSCALE GmbH, 05.05.2010&#10;http://www.presentationload.com/">
              <a:extLst>
                <a:ext uri="{FF2B5EF4-FFF2-40B4-BE49-F238E27FC236}">
                  <a16:creationId xmlns:a16="http://schemas.microsoft.com/office/drawing/2014/main" id="{FFD8B23C-3580-D242-BC2F-EAD95064FB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9023" y="5331521"/>
              <a:ext cx="717858" cy="521478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9" name="Griech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E9E8D4A-2346-0D4F-BF18-89022210D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16437" y="5724279"/>
              <a:ext cx="1150222" cy="1079262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56AD95A7-9F61-E443-A7E4-A416134BA3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30303" y="3909008"/>
              <a:ext cx="1807022" cy="1227784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I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9B613DB-BDAB-E74A-9F2D-354F7F8AC6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4193" y="1559056"/>
              <a:ext cx="679902" cy="561084"/>
            </a:xfrm>
            <a:custGeom>
              <a:avLst/>
              <a:gdLst/>
              <a:ahLst/>
              <a:cxnLst>
                <a:cxn ang="0">
                  <a:pos x="273" y="136"/>
                </a:cxn>
                <a:cxn ang="0">
                  <a:pos x="262" y="113"/>
                </a:cxn>
                <a:cxn ang="0">
                  <a:pos x="268" y="98"/>
                </a:cxn>
                <a:cxn ang="0">
                  <a:pos x="252" y="81"/>
                </a:cxn>
                <a:cxn ang="0">
                  <a:pos x="229" y="89"/>
                </a:cxn>
                <a:cxn ang="0">
                  <a:pos x="206" y="89"/>
                </a:cxn>
                <a:cxn ang="0">
                  <a:pos x="189" y="71"/>
                </a:cxn>
                <a:cxn ang="0">
                  <a:pos x="178" y="102"/>
                </a:cxn>
                <a:cxn ang="0">
                  <a:pos x="177" y="75"/>
                </a:cxn>
                <a:cxn ang="0">
                  <a:pos x="170" y="63"/>
                </a:cxn>
                <a:cxn ang="0">
                  <a:pos x="144" y="81"/>
                </a:cxn>
                <a:cxn ang="0">
                  <a:pos x="141" y="52"/>
                </a:cxn>
                <a:cxn ang="0">
                  <a:pos x="133" y="54"/>
                </a:cxn>
                <a:cxn ang="0">
                  <a:pos x="115" y="81"/>
                </a:cxn>
                <a:cxn ang="0">
                  <a:pos x="110" y="75"/>
                </a:cxn>
                <a:cxn ang="0">
                  <a:pos x="95" y="81"/>
                </a:cxn>
                <a:cxn ang="0">
                  <a:pos x="90" y="75"/>
                </a:cxn>
                <a:cxn ang="0">
                  <a:pos x="92" y="54"/>
                </a:cxn>
                <a:cxn ang="0">
                  <a:pos x="109" y="44"/>
                </a:cxn>
                <a:cxn ang="0">
                  <a:pos x="104" y="23"/>
                </a:cxn>
                <a:cxn ang="0">
                  <a:pos x="97" y="10"/>
                </a:cxn>
                <a:cxn ang="0">
                  <a:pos x="81" y="5"/>
                </a:cxn>
                <a:cxn ang="0">
                  <a:pos x="88" y="13"/>
                </a:cxn>
                <a:cxn ang="0">
                  <a:pos x="87" y="29"/>
                </a:cxn>
                <a:cxn ang="0">
                  <a:pos x="79" y="32"/>
                </a:cxn>
                <a:cxn ang="0">
                  <a:pos x="73" y="27"/>
                </a:cxn>
                <a:cxn ang="0">
                  <a:pos x="71" y="13"/>
                </a:cxn>
                <a:cxn ang="0">
                  <a:pos x="53" y="22"/>
                </a:cxn>
                <a:cxn ang="0">
                  <a:pos x="57" y="38"/>
                </a:cxn>
                <a:cxn ang="0">
                  <a:pos x="38" y="23"/>
                </a:cxn>
                <a:cxn ang="0">
                  <a:pos x="30" y="36"/>
                </a:cxn>
                <a:cxn ang="0">
                  <a:pos x="30" y="49"/>
                </a:cxn>
                <a:cxn ang="0">
                  <a:pos x="60" y="50"/>
                </a:cxn>
                <a:cxn ang="0">
                  <a:pos x="72" y="64"/>
                </a:cxn>
                <a:cxn ang="0">
                  <a:pos x="72" y="75"/>
                </a:cxn>
                <a:cxn ang="0">
                  <a:pos x="69" y="87"/>
                </a:cxn>
                <a:cxn ang="0">
                  <a:pos x="45" y="87"/>
                </a:cxn>
                <a:cxn ang="0">
                  <a:pos x="31" y="83"/>
                </a:cxn>
                <a:cxn ang="0">
                  <a:pos x="4" y="84"/>
                </a:cxn>
                <a:cxn ang="0">
                  <a:pos x="34" y="97"/>
                </a:cxn>
                <a:cxn ang="0">
                  <a:pos x="36" y="117"/>
                </a:cxn>
                <a:cxn ang="0">
                  <a:pos x="48" y="121"/>
                </a:cxn>
                <a:cxn ang="0">
                  <a:pos x="36" y="132"/>
                </a:cxn>
                <a:cxn ang="0">
                  <a:pos x="36" y="141"/>
                </a:cxn>
                <a:cxn ang="0">
                  <a:pos x="14" y="149"/>
                </a:cxn>
                <a:cxn ang="0">
                  <a:pos x="0" y="154"/>
                </a:cxn>
                <a:cxn ang="0">
                  <a:pos x="28" y="168"/>
                </a:cxn>
                <a:cxn ang="0">
                  <a:pos x="45" y="177"/>
                </a:cxn>
                <a:cxn ang="0">
                  <a:pos x="55" y="194"/>
                </a:cxn>
                <a:cxn ang="0">
                  <a:pos x="79" y="224"/>
                </a:cxn>
                <a:cxn ang="0">
                  <a:pos x="123" y="221"/>
                </a:cxn>
                <a:cxn ang="0">
                  <a:pos x="155" y="227"/>
                </a:cxn>
                <a:cxn ang="0">
                  <a:pos x="195" y="217"/>
                </a:cxn>
                <a:cxn ang="0">
                  <a:pos x="212" y="218"/>
                </a:cxn>
                <a:cxn ang="0">
                  <a:pos x="240" y="207"/>
                </a:cxn>
                <a:cxn ang="0">
                  <a:pos x="243" y="194"/>
                </a:cxn>
                <a:cxn ang="0">
                  <a:pos x="258" y="190"/>
                </a:cxn>
                <a:cxn ang="0">
                  <a:pos x="263" y="183"/>
                </a:cxn>
                <a:cxn ang="0">
                  <a:pos x="272" y="183"/>
                </a:cxn>
                <a:cxn ang="0">
                  <a:pos x="278" y="173"/>
                </a:cxn>
                <a:cxn ang="0">
                  <a:pos x="284" y="155"/>
                </a:cxn>
                <a:cxn ang="0">
                  <a:pos x="50" y="205"/>
                </a:cxn>
              </a:cxnLst>
              <a:rect l="0" t="0" r="r" b="b"/>
              <a:pathLst>
                <a:path w="285" h="235">
                  <a:moveTo>
                    <a:pt x="284" y="155"/>
                  </a:moveTo>
                  <a:cubicBezTo>
                    <a:pt x="280" y="156"/>
                    <a:pt x="280" y="156"/>
                    <a:pt x="280" y="156"/>
                  </a:cubicBezTo>
                  <a:cubicBezTo>
                    <a:pt x="280" y="153"/>
                    <a:pt x="280" y="153"/>
                    <a:pt x="280" y="153"/>
                  </a:cubicBezTo>
                  <a:cubicBezTo>
                    <a:pt x="279" y="153"/>
                    <a:pt x="279" y="153"/>
                    <a:pt x="279" y="153"/>
                  </a:cubicBezTo>
                  <a:cubicBezTo>
                    <a:pt x="281" y="150"/>
                    <a:pt x="281" y="150"/>
                    <a:pt x="281" y="150"/>
                  </a:cubicBezTo>
                  <a:cubicBezTo>
                    <a:pt x="280" y="149"/>
                    <a:pt x="280" y="149"/>
                    <a:pt x="280" y="149"/>
                  </a:cubicBezTo>
                  <a:cubicBezTo>
                    <a:pt x="280" y="149"/>
                    <a:pt x="275" y="147"/>
                    <a:pt x="272" y="143"/>
                  </a:cubicBezTo>
                  <a:cubicBezTo>
                    <a:pt x="270" y="139"/>
                    <a:pt x="273" y="136"/>
                    <a:pt x="273" y="136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59" y="130"/>
                    <a:pt x="259" y="130"/>
                    <a:pt x="259" y="130"/>
                  </a:cubicBezTo>
                  <a:cubicBezTo>
                    <a:pt x="259" y="130"/>
                    <a:pt x="260" y="128"/>
                    <a:pt x="262" y="128"/>
                  </a:cubicBezTo>
                  <a:cubicBezTo>
                    <a:pt x="264" y="127"/>
                    <a:pt x="265" y="127"/>
                    <a:pt x="269" y="124"/>
                  </a:cubicBezTo>
                  <a:cubicBezTo>
                    <a:pt x="273" y="122"/>
                    <a:pt x="272" y="116"/>
                    <a:pt x="271" y="115"/>
                  </a:cubicBezTo>
                  <a:cubicBezTo>
                    <a:pt x="270" y="113"/>
                    <a:pt x="268" y="115"/>
                    <a:pt x="265" y="115"/>
                  </a:cubicBezTo>
                  <a:cubicBezTo>
                    <a:pt x="264" y="115"/>
                    <a:pt x="262" y="113"/>
                    <a:pt x="262" y="113"/>
                  </a:cubicBezTo>
                  <a:cubicBezTo>
                    <a:pt x="262" y="113"/>
                    <a:pt x="263" y="112"/>
                    <a:pt x="263" y="110"/>
                  </a:cubicBezTo>
                  <a:cubicBezTo>
                    <a:pt x="263" y="108"/>
                    <a:pt x="260" y="107"/>
                    <a:pt x="260" y="107"/>
                  </a:cubicBezTo>
                  <a:cubicBezTo>
                    <a:pt x="260" y="107"/>
                    <a:pt x="269" y="106"/>
                    <a:pt x="270" y="105"/>
                  </a:cubicBezTo>
                  <a:cubicBezTo>
                    <a:pt x="271" y="102"/>
                    <a:pt x="271" y="99"/>
                    <a:pt x="271" y="99"/>
                  </a:cubicBezTo>
                  <a:cubicBezTo>
                    <a:pt x="284" y="97"/>
                    <a:pt x="284" y="97"/>
                    <a:pt x="284" y="97"/>
                  </a:cubicBezTo>
                  <a:cubicBezTo>
                    <a:pt x="284" y="97"/>
                    <a:pt x="280" y="96"/>
                    <a:pt x="278" y="96"/>
                  </a:cubicBezTo>
                  <a:cubicBezTo>
                    <a:pt x="277" y="95"/>
                    <a:pt x="279" y="94"/>
                    <a:pt x="276" y="93"/>
                  </a:cubicBezTo>
                  <a:cubicBezTo>
                    <a:pt x="274" y="92"/>
                    <a:pt x="270" y="97"/>
                    <a:pt x="268" y="98"/>
                  </a:cubicBezTo>
                  <a:cubicBezTo>
                    <a:pt x="264" y="99"/>
                    <a:pt x="265" y="96"/>
                    <a:pt x="262" y="97"/>
                  </a:cubicBezTo>
                  <a:cubicBezTo>
                    <a:pt x="258" y="97"/>
                    <a:pt x="259" y="101"/>
                    <a:pt x="258" y="102"/>
                  </a:cubicBezTo>
                  <a:cubicBezTo>
                    <a:pt x="257" y="102"/>
                    <a:pt x="256" y="99"/>
                    <a:pt x="256" y="97"/>
                  </a:cubicBezTo>
                  <a:cubicBezTo>
                    <a:pt x="255" y="96"/>
                    <a:pt x="253" y="95"/>
                    <a:pt x="253" y="95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92"/>
                    <a:pt x="255" y="90"/>
                    <a:pt x="256" y="86"/>
                  </a:cubicBezTo>
                  <a:cubicBezTo>
                    <a:pt x="258" y="84"/>
                    <a:pt x="252" y="81"/>
                    <a:pt x="252" y="81"/>
                  </a:cubicBezTo>
                  <a:cubicBezTo>
                    <a:pt x="252" y="81"/>
                    <a:pt x="255" y="79"/>
                    <a:pt x="253" y="74"/>
                  </a:cubicBezTo>
                  <a:cubicBezTo>
                    <a:pt x="251" y="69"/>
                    <a:pt x="245" y="74"/>
                    <a:pt x="245" y="74"/>
                  </a:cubicBezTo>
                  <a:cubicBezTo>
                    <a:pt x="245" y="74"/>
                    <a:pt x="242" y="69"/>
                    <a:pt x="240" y="69"/>
                  </a:cubicBezTo>
                  <a:cubicBezTo>
                    <a:pt x="238" y="69"/>
                    <a:pt x="238" y="75"/>
                    <a:pt x="238" y="77"/>
                  </a:cubicBezTo>
                  <a:cubicBezTo>
                    <a:pt x="238" y="79"/>
                    <a:pt x="236" y="80"/>
                    <a:pt x="236" y="80"/>
                  </a:cubicBezTo>
                  <a:cubicBezTo>
                    <a:pt x="236" y="80"/>
                    <a:pt x="236" y="86"/>
                    <a:pt x="235" y="89"/>
                  </a:cubicBezTo>
                  <a:cubicBezTo>
                    <a:pt x="232" y="90"/>
                    <a:pt x="230" y="90"/>
                    <a:pt x="230" y="90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6" y="89"/>
                    <a:pt x="226" y="89"/>
                    <a:pt x="226" y="89"/>
                  </a:cubicBezTo>
                  <a:cubicBezTo>
                    <a:pt x="226" y="89"/>
                    <a:pt x="224" y="90"/>
                    <a:pt x="223" y="91"/>
                  </a:cubicBezTo>
                  <a:cubicBezTo>
                    <a:pt x="222" y="91"/>
                    <a:pt x="219" y="89"/>
                    <a:pt x="219" y="89"/>
                  </a:cubicBezTo>
                  <a:cubicBezTo>
                    <a:pt x="220" y="84"/>
                    <a:pt x="220" y="84"/>
                    <a:pt x="220" y="84"/>
                  </a:cubicBezTo>
                  <a:cubicBezTo>
                    <a:pt x="220" y="84"/>
                    <a:pt x="217" y="81"/>
                    <a:pt x="214" y="82"/>
                  </a:cubicBezTo>
                  <a:cubicBezTo>
                    <a:pt x="210" y="82"/>
                    <a:pt x="210" y="84"/>
                    <a:pt x="210" y="86"/>
                  </a:cubicBezTo>
                  <a:cubicBezTo>
                    <a:pt x="209" y="87"/>
                    <a:pt x="206" y="87"/>
                    <a:pt x="206" y="87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3"/>
                    <a:pt x="202" y="91"/>
                    <a:pt x="199" y="90"/>
                  </a:cubicBezTo>
                  <a:cubicBezTo>
                    <a:pt x="198" y="89"/>
                    <a:pt x="197" y="90"/>
                    <a:pt x="197" y="90"/>
                  </a:cubicBezTo>
                  <a:cubicBezTo>
                    <a:pt x="196" y="80"/>
                    <a:pt x="196" y="80"/>
                    <a:pt x="196" y="80"/>
                  </a:cubicBezTo>
                  <a:cubicBezTo>
                    <a:pt x="195" y="79"/>
                    <a:pt x="195" y="79"/>
                    <a:pt x="195" y="79"/>
                  </a:cubicBezTo>
                  <a:cubicBezTo>
                    <a:pt x="195" y="76"/>
                    <a:pt x="195" y="76"/>
                    <a:pt x="195" y="76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4" y="71"/>
                    <a:pt x="183" y="78"/>
                  </a:cubicBezTo>
                  <a:cubicBezTo>
                    <a:pt x="181" y="84"/>
                    <a:pt x="183" y="85"/>
                    <a:pt x="183" y="8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1" y="87"/>
                    <a:pt x="181" y="87"/>
                    <a:pt x="181" y="87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93"/>
                    <a:pt x="182" y="93"/>
                    <a:pt x="182" y="93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7" y="98"/>
                    <a:pt x="177" y="98"/>
                    <a:pt x="177" y="98"/>
                  </a:cubicBezTo>
                  <a:cubicBezTo>
                    <a:pt x="177" y="98"/>
                    <a:pt x="177" y="96"/>
                    <a:pt x="178" y="95"/>
                  </a:cubicBezTo>
                  <a:cubicBezTo>
                    <a:pt x="179" y="94"/>
                    <a:pt x="179" y="92"/>
                    <a:pt x="179" y="92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83"/>
                    <a:pt x="175" y="81"/>
                    <a:pt x="175" y="80"/>
                  </a:cubicBezTo>
                  <a:cubicBezTo>
                    <a:pt x="175" y="78"/>
                    <a:pt x="177" y="77"/>
                    <a:pt x="177" y="75"/>
                  </a:cubicBezTo>
                  <a:cubicBezTo>
                    <a:pt x="178" y="74"/>
                    <a:pt x="177" y="71"/>
                    <a:pt x="177" y="71"/>
                  </a:cubicBezTo>
                  <a:cubicBezTo>
                    <a:pt x="178" y="69"/>
                    <a:pt x="178" y="69"/>
                    <a:pt x="178" y="69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5" y="67"/>
                    <a:pt x="175" y="67"/>
                    <a:pt x="175" y="67"/>
                  </a:cubicBezTo>
                  <a:cubicBezTo>
                    <a:pt x="176" y="65"/>
                    <a:pt x="176" y="65"/>
                    <a:pt x="176" y="65"/>
                  </a:cubicBezTo>
                  <a:cubicBezTo>
                    <a:pt x="175" y="64"/>
                    <a:pt x="175" y="64"/>
                    <a:pt x="175" y="64"/>
                  </a:cubicBezTo>
                  <a:cubicBezTo>
                    <a:pt x="172" y="66"/>
                    <a:pt x="172" y="66"/>
                    <a:pt x="172" y="66"/>
                  </a:cubicBezTo>
                  <a:cubicBezTo>
                    <a:pt x="172" y="66"/>
                    <a:pt x="173" y="63"/>
                    <a:pt x="170" y="63"/>
                  </a:cubicBezTo>
                  <a:cubicBezTo>
                    <a:pt x="167" y="62"/>
                    <a:pt x="166" y="66"/>
                    <a:pt x="164" y="66"/>
                  </a:cubicBezTo>
                  <a:cubicBezTo>
                    <a:pt x="162" y="67"/>
                    <a:pt x="161" y="65"/>
                    <a:pt x="159" y="64"/>
                  </a:cubicBezTo>
                  <a:cubicBezTo>
                    <a:pt x="156" y="64"/>
                    <a:pt x="155" y="67"/>
                    <a:pt x="155" y="68"/>
                  </a:cubicBezTo>
                  <a:cubicBezTo>
                    <a:pt x="154" y="69"/>
                    <a:pt x="153" y="68"/>
                    <a:pt x="150" y="70"/>
                  </a:cubicBezTo>
                  <a:cubicBezTo>
                    <a:pt x="149" y="73"/>
                    <a:pt x="151" y="76"/>
                    <a:pt x="150" y="79"/>
                  </a:cubicBezTo>
                  <a:cubicBezTo>
                    <a:pt x="149" y="82"/>
                    <a:pt x="145" y="83"/>
                    <a:pt x="145" y="83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3" y="75"/>
                    <a:pt x="143" y="73"/>
                  </a:cubicBezTo>
                  <a:cubicBezTo>
                    <a:pt x="144" y="71"/>
                    <a:pt x="141" y="69"/>
                    <a:pt x="141" y="69"/>
                  </a:cubicBezTo>
                  <a:cubicBezTo>
                    <a:pt x="141" y="69"/>
                    <a:pt x="141" y="66"/>
                    <a:pt x="142" y="64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2" y="59"/>
                    <a:pt x="143" y="57"/>
                    <a:pt x="143" y="54"/>
                  </a:cubicBezTo>
                  <a:cubicBezTo>
                    <a:pt x="143" y="53"/>
                    <a:pt x="141" y="52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8" y="52"/>
                    <a:pt x="138" y="52"/>
                    <a:pt x="138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0" y="63"/>
                    <a:pt x="128" y="66"/>
                  </a:cubicBezTo>
                  <a:cubicBezTo>
                    <a:pt x="126" y="70"/>
                    <a:pt x="126" y="76"/>
                    <a:pt x="126" y="76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4" y="85"/>
                    <a:pt x="112" y="85"/>
                  </a:cubicBezTo>
                  <a:cubicBezTo>
                    <a:pt x="110" y="84"/>
                    <a:pt x="113" y="79"/>
                    <a:pt x="11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4" y="75"/>
                    <a:pt x="102" y="77"/>
                    <a:pt x="102" y="77"/>
                  </a:cubicBezTo>
                  <a:cubicBezTo>
                    <a:pt x="102" y="77"/>
                    <a:pt x="101" y="78"/>
                    <a:pt x="100" y="80"/>
                  </a:cubicBezTo>
                  <a:cubicBezTo>
                    <a:pt x="99" y="82"/>
                    <a:pt x="98" y="89"/>
                    <a:pt x="98" y="89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6"/>
                    <a:pt x="92" y="89"/>
                    <a:pt x="91" y="90"/>
                  </a:cubicBezTo>
                  <a:cubicBezTo>
                    <a:pt x="90" y="91"/>
                    <a:pt x="90" y="95"/>
                    <a:pt x="90" y="95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97"/>
                    <a:pt x="88" y="92"/>
                    <a:pt x="89" y="89"/>
                  </a:cubicBezTo>
                  <a:cubicBezTo>
                    <a:pt x="89" y="85"/>
                    <a:pt x="93" y="82"/>
                    <a:pt x="93" y="82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2" y="64"/>
                    <a:pt x="91" y="62"/>
                  </a:cubicBezTo>
                  <a:cubicBezTo>
                    <a:pt x="90" y="60"/>
                    <a:pt x="91" y="60"/>
                    <a:pt x="92" y="59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9"/>
                    <a:pt x="94" y="60"/>
                  </a:cubicBezTo>
                  <a:cubicBezTo>
                    <a:pt x="94" y="62"/>
                    <a:pt x="97" y="62"/>
                    <a:pt x="98" y="62"/>
                  </a:cubicBezTo>
                  <a:cubicBezTo>
                    <a:pt x="100" y="62"/>
                    <a:pt x="99" y="59"/>
                    <a:pt x="99" y="59"/>
                  </a:cubicBezTo>
                  <a:cubicBezTo>
                    <a:pt x="99" y="59"/>
                    <a:pt x="101" y="60"/>
                    <a:pt x="107" y="54"/>
                  </a:cubicBezTo>
                  <a:cubicBezTo>
                    <a:pt x="112" y="49"/>
                    <a:pt x="101" y="47"/>
                    <a:pt x="102" y="46"/>
                  </a:cubicBezTo>
                  <a:cubicBezTo>
                    <a:pt x="102" y="44"/>
                    <a:pt x="109" y="46"/>
                    <a:pt x="109" y="46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37"/>
                    <a:pt x="105" y="35"/>
                    <a:pt x="106" y="33"/>
                  </a:cubicBezTo>
                  <a:cubicBezTo>
                    <a:pt x="107" y="30"/>
                    <a:pt x="104" y="30"/>
                    <a:pt x="102" y="28"/>
                  </a:cubicBezTo>
                  <a:cubicBezTo>
                    <a:pt x="101" y="26"/>
                    <a:pt x="104" y="23"/>
                    <a:pt x="104" y="23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9" y="17"/>
                    <a:pt x="100" y="16"/>
                  </a:cubicBezTo>
                  <a:cubicBezTo>
                    <a:pt x="102" y="14"/>
                    <a:pt x="98" y="12"/>
                    <a:pt x="98" y="12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3" y="5"/>
                    <a:pt x="81" y="5"/>
                  </a:cubicBezTo>
                  <a:cubicBezTo>
                    <a:pt x="80" y="6"/>
                    <a:pt x="79" y="3"/>
                    <a:pt x="79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7" y="6"/>
                    <a:pt x="80" y="8"/>
                  </a:cubicBezTo>
                  <a:cubicBezTo>
                    <a:pt x="83" y="11"/>
                    <a:pt x="87" y="8"/>
                    <a:pt x="87" y="8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2" y="19"/>
                    <a:pt x="91" y="18"/>
                  </a:cubicBezTo>
                  <a:cubicBezTo>
                    <a:pt x="89" y="17"/>
                    <a:pt x="87" y="17"/>
                    <a:pt x="85" y="15"/>
                  </a:cubicBezTo>
                  <a:cubicBezTo>
                    <a:pt x="84" y="13"/>
                    <a:pt x="81" y="13"/>
                    <a:pt x="79" y="14"/>
                  </a:cubicBezTo>
                  <a:cubicBezTo>
                    <a:pt x="76" y="16"/>
                    <a:pt x="81" y="22"/>
                    <a:pt x="82" y="23"/>
                  </a:cubicBezTo>
                  <a:cubicBezTo>
                    <a:pt x="83" y="24"/>
                    <a:pt x="87" y="29"/>
                    <a:pt x="87" y="29"/>
                  </a:cubicBezTo>
                  <a:cubicBezTo>
                    <a:pt x="87" y="29"/>
                    <a:pt x="84" y="30"/>
                    <a:pt x="83" y="31"/>
                  </a:cubicBezTo>
                  <a:cubicBezTo>
                    <a:pt x="82" y="32"/>
                    <a:pt x="83" y="34"/>
                    <a:pt x="82" y="37"/>
                  </a:cubicBezTo>
                  <a:cubicBezTo>
                    <a:pt x="82" y="41"/>
                    <a:pt x="78" y="43"/>
                    <a:pt x="78" y="43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80" y="38"/>
                    <a:pt x="80" y="34"/>
                  </a:cubicBezTo>
                  <a:cubicBezTo>
                    <a:pt x="80" y="31"/>
                    <a:pt x="75" y="38"/>
                    <a:pt x="75" y="38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69" y="22"/>
                    <a:pt x="68" y="21"/>
                  </a:cubicBezTo>
                  <a:cubicBezTo>
                    <a:pt x="68" y="20"/>
                    <a:pt x="72" y="19"/>
                    <a:pt x="72" y="19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68" y="10"/>
                    <a:pt x="64" y="10"/>
                  </a:cubicBezTo>
                  <a:cubicBezTo>
                    <a:pt x="60" y="11"/>
                    <a:pt x="65" y="14"/>
                    <a:pt x="65" y="14"/>
                  </a:cubicBezTo>
                  <a:cubicBezTo>
                    <a:pt x="65" y="14"/>
                    <a:pt x="63" y="13"/>
                    <a:pt x="61" y="13"/>
                  </a:cubicBezTo>
                  <a:cubicBezTo>
                    <a:pt x="60" y="13"/>
                    <a:pt x="59" y="13"/>
                    <a:pt x="61" y="16"/>
                  </a:cubicBezTo>
                  <a:cubicBezTo>
                    <a:pt x="62" y="20"/>
                    <a:pt x="63" y="21"/>
                    <a:pt x="62" y="21"/>
                  </a:cubicBezTo>
                  <a:cubicBezTo>
                    <a:pt x="61" y="22"/>
                    <a:pt x="60" y="20"/>
                    <a:pt x="59" y="18"/>
                  </a:cubicBezTo>
                  <a:cubicBezTo>
                    <a:pt x="58" y="15"/>
                    <a:pt x="56" y="13"/>
                    <a:pt x="53" y="14"/>
                  </a:cubicBezTo>
                  <a:cubicBezTo>
                    <a:pt x="50" y="16"/>
                    <a:pt x="53" y="21"/>
                    <a:pt x="53" y="22"/>
                  </a:cubicBezTo>
                  <a:cubicBezTo>
                    <a:pt x="55" y="24"/>
                    <a:pt x="52" y="24"/>
                    <a:pt x="52" y="24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0" y="23"/>
                    <a:pt x="47" y="21"/>
                  </a:cubicBezTo>
                  <a:cubicBezTo>
                    <a:pt x="45" y="20"/>
                    <a:pt x="45" y="29"/>
                    <a:pt x="48" y="32"/>
                  </a:cubicBezTo>
                  <a:cubicBezTo>
                    <a:pt x="51" y="36"/>
                    <a:pt x="58" y="36"/>
                    <a:pt x="58" y="36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5" y="41"/>
                    <a:pt x="46" y="37"/>
                  </a:cubicBezTo>
                  <a:cubicBezTo>
                    <a:pt x="46" y="34"/>
                    <a:pt x="38" y="23"/>
                    <a:pt x="38" y="23"/>
                  </a:cubicBezTo>
                  <a:cubicBezTo>
                    <a:pt x="38" y="23"/>
                    <a:pt x="35" y="26"/>
                    <a:pt x="35" y="29"/>
                  </a:cubicBezTo>
                  <a:cubicBezTo>
                    <a:pt x="35" y="32"/>
                    <a:pt x="38" y="37"/>
                    <a:pt x="38" y="3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41"/>
                    <a:pt x="36" y="43"/>
                    <a:pt x="36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3"/>
                    <a:pt x="32" y="39"/>
                    <a:pt x="32" y="38"/>
                  </a:cubicBezTo>
                  <a:cubicBezTo>
                    <a:pt x="32" y="37"/>
                    <a:pt x="30" y="38"/>
                    <a:pt x="30" y="36"/>
                  </a:cubicBezTo>
                  <a:cubicBezTo>
                    <a:pt x="30" y="34"/>
                    <a:pt x="30" y="31"/>
                    <a:pt x="27" y="30"/>
                  </a:cubicBezTo>
                  <a:cubicBezTo>
                    <a:pt x="24" y="29"/>
                    <a:pt x="23" y="33"/>
                    <a:pt x="22" y="34"/>
                  </a:cubicBezTo>
                  <a:cubicBezTo>
                    <a:pt x="20" y="35"/>
                    <a:pt x="18" y="35"/>
                    <a:pt x="17" y="36"/>
                  </a:cubicBezTo>
                  <a:cubicBezTo>
                    <a:pt x="16" y="37"/>
                    <a:pt x="19" y="37"/>
                    <a:pt x="23" y="38"/>
                  </a:cubicBezTo>
                  <a:cubicBezTo>
                    <a:pt x="25" y="38"/>
                    <a:pt x="25" y="41"/>
                    <a:pt x="26" y="42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6" y="48"/>
                    <a:pt x="30" y="49"/>
                  </a:cubicBezTo>
                  <a:cubicBezTo>
                    <a:pt x="33" y="51"/>
                    <a:pt x="36" y="48"/>
                    <a:pt x="41" y="49"/>
                  </a:cubicBezTo>
                  <a:cubicBezTo>
                    <a:pt x="45" y="50"/>
                    <a:pt x="46" y="52"/>
                    <a:pt x="48" y="52"/>
                  </a:cubicBezTo>
                  <a:cubicBezTo>
                    <a:pt x="49" y="52"/>
                    <a:pt x="51" y="48"/>
                    <a:pt x="51" y="48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6" y="66"/>
                    <a:pt x="77" y="68"/>
                  </a:cubicBezTo>
                  <a:cubicBezTo>
                    <a:pt x="78" y="70"/>
                    <a:pt x="77" y="71"/>
                    <a:pt x="77" y="7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64" y="75"/>
                    <a:pt x="58" y="76"/>
                  </a:cubicBezTo>
                  <a:cubicBezTo>
                    <a:pt x="50" y="76"/>
                    <a:pt x="56" y="79"/>
                    <a:pt x="56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8" y="86"/>
                    <a:pt x="60" y="85"/>
                    <a:pt x="60" y="85"/>
                  </a:cubicBezTo>
                  <a:cubicBezTo>
                    <a:pt x="60" y="85"/>
                    <a:pt x="61" y="90"/>
                    <a:pt x="62" y="90"/>
                  </a:cubicBezTo>
                  <a:cubicBezTo>
                    <a:pt x="64" y="90"/>
                    <a:pt x="69" y="87"/>
                    <a:pt x="69" y="87"/>
                  </a:cubicBezTo>
                  <a:cubicBezTo>
                    <a:pt x="69" y="87"/>
                    <a:pt x="72" y="86"/>
                    <a:pt x="73" y="89"/>
                  </a:cubicBezTo>
                  <a:cubicBezTo>
                    <a:pt x="74" y="92"/>
                    <a:pt x="66" y="93"/>
                    <a:pt x="66" y="93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0" y="96"/>
                    <a:pt x="59" y="92"/>
                    <a:pt x="59" y="92"/>
                  </a:cubicBezTo>
                  <a:cubicBezTo>
                    <a:pt x="59" y="92"/>
                    <a:pt x="58" y="91"/>
                    <a:pt x="57" y="92"/>
                  </a:cubicBezTo>
                  <a:cubicBezTo>
                    <a:pt x="55" y="92"/>
                    <a:pt x="55" y="89"/>
                    <a:pt x="51" y="86"/>
                  </a:cubicBezTo>
                  <a:cubicBezTo>
                    <a:pt x="48" y="84"/>
                    <a:pt x="45" y="87"/>
                    <a:pt x="45" y="87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0" y="85"/>
                    <a:pt x="38" y="85"/>
                  </a:cubicBezTo>
                  <a:cubicBezTo>
                    <a:pt x="36" y="85"/>
                    <a:pt x="36" y="84"/>
                    <a:pt x="35" y="82"/>
                  </a:cubicBezTo>
                  <a:cubicBezTo>
                    <a:pt x="34" y="81"/>
                    <a:pt x="33" y="83"/>
                    <a:pt x="31" y="85"/>
                  </a:cubicBezTo>
                  <a:cubicBezTo>
                    <a:pt x="29" y="87"/>
                    <a:pt x="30" y="83"/>
                    <a:pt x="31" y="83"/>
                  </a:cubicBezTo>
                  <a:cubicBezTo>
                    <a:pt x="32" y="82"/>
                    <a:pt x="32" y="80"/>
                    <a:pt x="30" y="80"/>
                  </a:cubicBezTo>
                  <a:cubicBezTo>
                    <a:pt x="28" y="79"/>
                    <a:pt x="28" y="83"/>
                    <a:pt x="26" y="83"/>
                  </a:cubicBezTo>
                  <a:cubicBezTo>
                    <a:pt x="24" y="83"/>
                    <a:pt x="25" y="81"/>
                    <a:pt x="25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16" y="81"/>
                    <a:pt x="14" y="81"/>
                  </a:cubicBezTo>
                  <a:cubicBezTo>
                    <a:pt x="12" y="80"/>
                    <a:pt x="13" y="76"/>
                    <a:pt x="9" y="76"/>
                  </a:cubicBezTo>
                  <a:cubicBezTo>
                    <a:pt x="4" y="76"/>
                    <a:pt x="3" y="81"/>
                    <a:pt x="4" y="84"/>
                  </a:cubicBezTo>
                  <a:cubicBezTo>
                    <a:pt x="4" y="89"/>
                    <a:pt x="8" y="90"/>
                    <a:pt x="10" y="90"/>
                  </a:cubicBezTo>
                  <a:cubicBezTo>
                    <a:pt x="12" y="90"/>
                    <a:pt x="11" y="87"/>
                    <a:pt x="13" y="86"/>
                  </a:cubicBezTo>
                  <a:cubicBezTo>
                    <a:pt x="15" y="86"/>
                    <a:pt x="16" y="89"/>
                    <a:pt x="17" y="90"/>
                  </a:cubicBezTo>
                  <a:cubicBezTo>
                    <a:pt x="18" y="90"/>
                    <a:pt x="19" y="89"/>
                    <a:pt x="19" y="89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3" y="98"/>
                    <a:pt x="33" y="97"/>
                    <a:pt x="34" y="97"/>
                  </a:cubicBezTo>
                  <a:cubicBezTo>
                    <a:pt x="36" y="98"/>
                    <a:pt x="35" y="99"/>
                    <a:pt x="36" y="100"/>
                  </a:cubicBezTo>
                  <a:cubicBezTo>
                    <a:pt x="38" y="101"/>
                    <a:pt x="40" y="99"/>
                    <a:pt x="41" y="100"/>
                  </a:cubicBezTo>
                  <a:cubicBezTo>
                    <a:pt x="43" y="102"/>
                    <a:pt x="41" y="103"/>
                    <a:pt x="41" y="103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36" y="122"/>
                    <a:pt x="36" y="124"/>
                    <a:pt x="39" y="124"/>
                  </a:cubicBezTo>
                  <a:cubicBezTo>
                    <a:pt x="40" y="124"/>
                    <a:pt x="42" y="122"/>
                    <a:pt x="42" y="122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8" y="125"/>
                    <a:pt x="48" y="125"/>
                    <a:pt x="48" y="125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2" y="125"/>
                    <a:pt x="38" y="128"/>
                    <a:pt x="38" y="128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3" y="134"/>
                    <a:pt x="33" y="134"/>
                    <a:pt x="33" y="134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3" y="136"/>
                    <a:pt x="45" y="133"/>
                    <a:pt x="49" y="136"/>
                  </a:cubicBezTo>
                  <a:cubicBezTo>
                    <a:pt x="52" y="137"/>
                    <a:pt x="50" y="140"/>
                    <a:pt x="50" y="140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7" y="137"/>
                    <a:pt x="44" y="138"/>
                    <a:pt x="41" y="138"/>
                  </a:cubicBezTo>
                  <a:cubicBezTo>
                    <a:pt x="38" y="138"/>
                    <a:pt x="36" y="138"/>
                    <a:pt x="36" y="141"/>
                  </a:cubicBezTo>
                  <a:cubicBezTo>
                    <a:pt x="35" y="143"/>
                    <a:pt x="38" y="147"/>
                    <a:pt x="38" y="147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27" y="146"/>
                    <a:pt x="27" y="146"/>
                    <a:pt x="27" y="146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0"/>
                    <a:pt x="22" y="149"/>
                    <a:pt x="19" y="149"/>
                  </a:cubicBezTo>
                  <a:cubicBezTo>
                    <a:pt x="17" y="148"/>
                    <a:pt x="15" y="149"/>
                    <a:pt x="14" y="149"/>
                  </a:cubicBezTo>
                  <a:cubicBezTo>
                    <a:pt x="12" y="149"/>
                    <a:pt x="10" y="147"/>
                    <a:pt x="10" y="147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9" y="140"/>
                    <a:pt x="9" y="140"/>
                    <a:pt x="9" y="140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2" y="159"/>
                    <a:pt x="13" y="160"/>
                  </a:cubicBezTo>
                  <a:cubicBezTo>
                    <a:pt x="14" y="161"/>
                    <a:pt x="19" y="163"/>
                    <a:pt x="19" y="163"/>
                  </a:cubicBezTo>
                  <a:cubicBezTo>
                    <a:pt x="19" y="163"/>
                    <a:pt x="24" y="163"/>
                    <a:pt x="26" y="164"/>
                  </a:cubicBezTo>
                  <a:cubicBezTo>
                    <a:pt x="28" y="165"/>
                    <a:pt x="28" y="168"/>
                    <a:pt x="28" y="168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42" y="165"/>
                    <a:pt x="44" y="166"/>
                  </a:cubicBezTo>
                  <a:cubicBezTo>
                    <a:pt x="46" y="168"/>
                    <a:pt x="41" y="169"/>
                    <a:pt x="41" y="169"/>
                  </a:cubicBezTo>
                  <a:cubicBezTo>
                    <a:pt x="41" y="169"/>
                    <a:pt x="42" y="170"/>
                    <a:pt x="43" y="172"/>
                  </a:cubicBezTo>
                  <a:cubicBezTo>
                    <a:pt x="43" y="174"/>
                    <a:pt x="43" y="175"/>
                    <a:pt x="45" y="177"/>
                  </a:cubicBezTo>
                  <a:cubicBezTo>
                    <a:pt x="47" y="178"/>
                    <a:pt x="47" y="181"/>
                    <a:pt x="47" y="181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1" y="183"/>
                    <a:pt x="50" y="183"/>
                  </a:cubicBezTo>
                  <a:cubicBezTo>
                    <a:pt x="49" y="184"/>
                    <a:pt x="49" y="184"/>
                    <a:pt x="49" y="184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1" y="189"/>
                    <a:pt x="51" y="189"/>
                    <a:pt x="51" y="189"/>
                  </a:cubicBezTo>
                  <a:cubicBezTo>
                    <a:pt x="51" y="194"/>
                    <a:pt x="51" y="194"/>
                    <a:pt x="51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53" y="196"/>
                    <a:pt x="53" y="196"/>
                    <a:pt x="53" y="196"/>
                  </a:cubicBezTo>
                  <a:cubicBezTo>
                    <a:pt x="53" y="196"/>
                    <a:pt x="55" y="202"/>
                    <a:pt x="56" y="204"/>
                  </a:cubicBezTo>
                  <a:cubicBezTo>
                    <a:pt x="58" y="206"/>
                    <a:pt x="60" y="205"/>
                    <a:pt x="61" y="205"/>
                  </a:cubicBezTo>
                  <a:cubicBezTo>
                    <a:pt x="62" y="205"/>
                    <a:pt x="64" y="208"/>
                    <a:pt x="65" y="208"/>
                  </a:cubicBezTo>
                  <a:cubicBezTo>
                    <a:pt x="66" y="209"/>
                    <a:pt x="67" y="208"/>
                    <a:pt x="67" y="208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7" y="211"/>
                    <a:pt x="72" y="216"/>
                    <a:pt x="74" y="218"/>
                  </a:cubicBezTo>
                  <a:cubicBezTo>
                    <a:pt x="76" y="220"/>
                    <a:pt x="79" y="224"/>
                    <a:pt x="79" y="224"/>
                  </a:cubicBezTo>
                  <a:cubicBezTo>
                    <a:pt x="79" y="224"/>
                    <a:pt x="83" y="224"/>
                    <a:pt x="85" y="226"/>
                  </a:cubicBezTo>
                  <a:cubicBezTo>
                    <a:pt x="89" y="229"/>
                    <a:pt x="91" y="229"/>
                    <a:pt x="91" y="229"/>
                  </a:cubicBezTo>
                  <a:cubicBezTo>
                    <a:pt x="91" y="229"/>
                    <a:pt x="99" y="232"/>
                    <a:pt x="106" y="233"/>
                  </a:cubicBezTo>
                  <a:cubicBezTo>
                    <a:pt x="112" y="235"/>
                    <a:pt x="118" y="227"/>
                    <a:pt x="118" y="227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0" y="224"/>
                    <a:pt x="120" y="224"/>
                    <a:pt x="120" y="224"/>
                  </a:cubicBezTo>
                  <a:cubicBezTo>
                    <a:pt x="120" y="224"/>
                    <a:pt x="120" y="221"/>
                    <a:pt x="123" y="221"/>
                  </a:cubicBezTo>
                  <a:cubicBezTo>
                    <a:pt x="127" y="221"/>
                    <a:pt x="126" y="224"/>
                    <a:pt x="126" y="224"/>
                  </a:cubicBezTo>
                  <a:cubicBezTo>
                    <a:pt x="133" y="223"/>
                    <a:pt x="133" y="223"/>
                    <a:pt x="133" y="223"/>
                  </a:cubicBezTo>
                  <a:cubicBezTo>
                    <a:pt x="133" y="225"/>
                    <a:pt x="133" y="225"/>
                    <a:pt x="133" y="225"/>
                  </a:cubicBezTo>
                  <a:cubicBezTo>
                    <a:pt x="142" y="225"/>
                    <a:pt x="142" y="225"/>
                    <a:pt x="142" y="225"/>
                  </a:cubicBezTo>
                  <a:cubicBezTo>
                    <a:pt x="144" y="225"/>
                    <a:pt x="148" y="228"/>
                    <a:pt x="148" y="228"/>
                  </a:cubicBezTo>
                  <a:cubicBezTo>
                    <a:pt x="153" y="224"/>
                    <a:pt x="153" y="224"/>
                    <a:pt x="153" y="224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61" y="226"/>
                    <a:pt x="161" y="226"/>
                    <a:pt x="161" y="22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9"/>
                    <a:pt x="172" y="222"/>
                    <a:pt x="177" y="220"/>
                  </a:cubicBezTo>
                  <a:cubicBezTo>
                    <a:pt x="181" y="219"/>
                    <a:pt x="193" y="218"/>
                    <a:pt x="193" y="218"/>
                  </a:cubicBezTo>
                  <a:cubicBezTo>
                    <a:pt x="192" y="216"/>
                    <a:pt x="192" y="216"/>
                    <a:pt x="192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195" y="217"/>
                    <a:pt x="195" y="217"/>
                    <a:pt x="195" y="217"/>
                  </a:cubicBezTo>
                  <a:cubicBezTo>
                    <a:pt x="200" y="217"/>
                    <a:pt x="200" y="217"/>
                    <a:pt x="200" y="217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7" y="219"/>
                    <a:pt x="207" y="219"/>
                    <a:pt x="207" y="219"/>
                  </a:cubicBezTo>
                  <a:cubicBezTo>
                    <a:pt x="203" y="216"/>
                    <a:pt x="203" y="216"/>
                    <a:pt x="203" y="216"/>
                  </a:cubicBezTo>
                  <a:cubicBezTo>
                    <a:pt x="206" y="211"/>
                    <a:pt x="206" y="211"/>
                    <a:pt x="206" y="211"/>
                  </a:cubicBezTo>
                  <a:cubicBezTo>
                    <a:pt x="206" y="211"/>
                    <a:pt x="207" y="215"/>
                    <a:pt x="209" y="216"/>
                  </a:cubicBezTo>
                  <a:cubicBezTo>
                    <a:pt x="210" y="217"/>
                    <a:pt x="208" y="218"/>
                    <a:pt x="208" y="218"/>
                  </a:cubicBezTo>
                  <a:cubicBezTo>
                    <a:pt x="208" y="218"/>
                    <a:pt x="210" y="217"/>
                    <a:pt x="212" y="218"/>
                  </a:cubicBezTo>
                  <a:cubicBezTo>
                    <a:pt x="213" y="219"/>
                    <a:pt x="212" y="222"/>
                    <a:pt x="212" y="222"/>
                  </a:cubicBezTo>
                  <a:cubicBezTo>
                    <a:pt x="214" y="222"/>
                    <a:pt x="214" y="222"/>
                    <a:pt x="214" y="222"/>
                  </a:cubicBezTo>
                  <a:cubicBezTo>
                    <a:pt x="216" y="221"/>
                    <a:pt x="216" y="219"/>
                    <a:pt x="216" y="219"/>
                  </a:cubicBezTo>
                  <a:cubicBezTo>
                    <a:pt x="216" y="219"/>
                    <a:pt x="221" y="218"/>
                    <a:pt x="223" y="217"/>
                  </a:cubicBezTo>
                  <a:cubicBezTo>
                    <a:pt x="225" y="216"/>
                    <a:pt x="226" y="212"/>
                    <a:pt x="228" y="213"/>
                  </a:cubicBezTo>
                  <a:cubicBezTo>
                    <a:pt x="229" y="213"/>
                    <a:pt x="227" y="216"/>
                    <a:pt x="227" y="216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40" y="207"/>
                    <a:pt x="240" y="207"/>
                    <a:pt x="240" y="207"/>
                  </a:cubicBezTo>
                  <a:cubicBezTo>
                    <a:pt x="236" y="208"/>
                    <a:pt x="236" y="208"/>
                    <a:pt x="236" y="208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3" y="206"/>
                    <a:pt x="243" y="206"/>
                    <a:pt x="243" y="206"/>
                  </a:cubicBezTo>
                  <a:cubicBezTo>
                    <a:pt x="245" y="204"/>
                    <a:pt x="245" y="204"/>
                    <a:pt x="245" y="204"/>
                  </a:cubicBezTo>
                  <a:cubicBezTo>
                    <a:pt x="243" y="201"/>
                    <a:pt x="243" y="201"/>
                    <a:pt x="243" y="201"/>
                  </a:cubicBezTo>
                  <a:cubicBezTo>
                    <a:pt x="243" y="201"/>
                    <a:pt x="242" y="193"/>
                    <a:pt x="243" y="194"/>
                  </a:cubicBezTo>
                  <a:cubicBezTo>
                    <a:pt x="244" y="194"/>
                    <a:pt x="244" y="199"/>
                    <a:pt x="245" y="201"/>
                  </a:cubicBezTo>
                  <a:cubicBezTo>
                    <a:pt x="245" y="204"/>
                    <a:pt x="254" y="202"/>
                    <a:pt x="254" y="202"/>
                  </a:cubicBezTo>
                  <a:cubicBezTo>
                    <a:pt x="254" y="200"/>
                    <a:pt x="254" y="200"/>
                    <a:pt x="254" y="200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258" y="195"/>
                    <a:pt x="258" y="195"/>
                    <a:pt x="258" y="195"/>
                  </a:cubicBezTo>
                  <a:cubicBezTo>
                    <a:pt x="262" y="197"/>
                    <a:pt x="262" y="197"/>
                    <a:pt x="262" y="197"/>
                  </a:cubicBezTo>
                  <a:cubicBezTo>
                    <a:pt x="264" y="195"/>
                    <a:pt x="264" y="195"/>
                    <a:pt x="264" y="195"/>
                  </a:cubicBezTo>
                  <a:cubicBezTo>
                    <a:pt x="258" y="190"/>
                    <a:pt x="258" y="190"/>
                    <a:pt x="258" y="190"/>
                  </a:cubicBezTo>
                  <a:cubicBezTo>
                    <a:pt x="259" y="189"/>
                    <a:pt x="261" y="191"/>
                    <a:pt x="262" y="192"/>
                  </a:cubicBezTo>
                  <a:cubicBezTo>
                    <a:pt x="263" y="193"/>
                    <a:pt x="268" y="193"/>
                    <a:pt x="268" y="193"/>
                  </a:cubicBezTo>
                  <a:cubicBezTo>
                    <a:pt x="268" y="191"/>
                    <a:pt x="268" y="191"/>
                    <a:pt x="268" y="191"/>
                  </a:cubicBezTo>
                  <a:cubicBezTo>
                    <a:pt x="268" y="191"/>
                    <a:pt x="265" y="191"/>
                    <a:pt x="264" y="190"/>
                  </a:cubicBezTo>
                  <a:cubicBezTo>
                    <a:pt x="263" y="190"/>
                    <a:pt x="264" y="189"/>
                    <a:pt x="263" y="187"/>
                  </a:cubicBezTo>
                  <a:cubicBezTo>
                    <a:pt x="263" y="186"/>
                    <a:pt x="257" y="181"/>
                    <a:pt x="257" y="181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63" y="183"/>
                    <a:pt x="263" y="183"/>
                    <a:pt x="263" y="183"/>
                  </a:cubicBezTo>
                  <a:cubicBezTo>
                    <a:pt x="263" y="183"/>
                    <a:pt x="265" y="189"/>
                    <a:pt x="269" y="190"/>
                  </a:cubicBezTo>
                  <a:cubicBezTo>
                    <a:pt x="273" y="191"/>
                    <a:pt x="273" y="187"/>
                    <a:pt x="273" y="187"/>
                  </a:cubicBezTo>
                  <a:cubicBezTo>
                    <a:pt x="276" y="187"/>
                    <a:pt x="276" y="187"/>
                    <a:pt x="276" y="187"/>
                  </a:cubicBezTo>
                  <a:cubicBezTo>
                    <a:pt x="276" y="184"/>
                    <a:pt x="276" y="184"/>
                    <a:pt x="276" y="184"/>
                  </a:cubicBezTo>
                  <a:cubicBezTo>
                    <a:pt x="278" y="181"/>
                    <a:pt x="278" y="181"/>
                    <a:pt x="278" y="181"/>
                  </a:cubicBezTo>
                  <a:cubicBezTo>
                    <a:pt x="277" y="180"/>
                    <a:pt x="277" y="180"/>
                    <a:pt x="277" y="180"/>
                  </a:cubicBezTo>
                  <a:cubicBezTo>
                    <a:pt x="273" y="184"/>
                    <a:pt x="273" y="184"/>
                    <a:pt x="273" y="184"/>
                  </a:cubicBezTo>
                  <a:cubicBezTo>
                    <a:pt x="272" y="183"/>
                    <a:pt x="272" y="183"/>
                    <a:pt x="272" y="183"/>
                  </a:cubicBezTo>
                  <a:cubicBezTo>
                    <a:pt x="273" y="181"/>
                    <a:pt x="273" y="181"/>
                    <a:pt x="273" y="181"/>
                  </a:cubicBezTo>
                  <a:cubicBezTo>
                    <a:pt x="272" y="180"/>
                    <a:pt x="272" y="180"/>
                    <a:pt x="272" y="180"/>
                  </a:cubicBezTo>
                  <a:cubicBezTo>
                    <a:pt x="276" y="178"/>
                    <a:pt x="276" y="178"/>
                    <a:pt x="276" y="178"/>
                  </a:cubicBezTo>
                  <a:cubicBezTo>
                    <a:pt x="276" y="177"/>
                    <a:pt x="276" y="177"/>
                    <a:pt x="276" y="177"/>
                  </a:cubicBezTo>
                  <a:cubicBezTo>
                    <a:pt x="271" y="177"/>
                    <a:pt x="271" y="177"/>
                    <a:pt x="271" y="177"/>
                  </a:cubicBezTo>
                  <a:cubicBezTo>
                    <a:pt x="269" y="174"/>
                    <a:pt x="269" y="174"/>
                    <a:pt x="269" y="174"/>
                  </a:cubicBezTo>
                  <a:cubicBezTo>
                    <a:pt x="274" y="175"/>
                    <a:pt x="274" y="175"/>
                    <a:pt x="274" y="175"/>
                  </a:cubicBezTo>
                  <a:cubicBezTo>
                    <a:pt x="274" y="175"/>
                    <a:pt x="278" y="176"/>
                    <a:pt x="278" y="173"/>
                  </a:cubicBezTo>
                  <a:cubicBezTo>
                    <a:pt x="279" y="170"/>
                    <a:pt x="269" y="170"/>
                    <a:pt x="269" y="170"/>
                  </a:cubicBezTo>
                  <a:cubicBezTo>
                    <a:pt x="268" y="169"/>
                    <a:pt x="268" y="169"/>
                    <a:pt x="268" y="169"/>
                  </a:cubicBezTo>
                  <a:cubicBezTo>
                    <a:pt x="274" y="169"/>
                    <a:pt x="274" y="169"/>
                    <a:pt x="274" y="169"/>
                  </a:cubicBezTo>
                  <a:cubicBezTo>
                    <a:pt x="276" y="169"/>
                    <a:pt x="275" y="165"/>
                    <a:pt x="275" y="165"/>
                  </a:cubicBezTo>
                  <a:cubicBezTo>
                    <a:pt x="275" y="165"/>
                    <a:pt x="277" y="166"/>
                    <a:pt x="279" y="166"/>
                  </a:cubicBezTo>
                  <a:cubicBezTo>
                    <a:pt x="281" y="166"/>
                    <a:pt x="281" y="162"/>
                    <a:pt x="281" y="162"/>
                  </a:cubicBezTo>
                  <a:cubicBezTo>
                    <a:pt x="284" y="160"/>
                    <a:pt x="284" y="160"/>
                    <a:pt x="284" y="160"/>
                  </a:cubicBezTo>
                  <a:cubicBezTo>
                    <a:pt x="285" y="160"/>
                    <a:pt x="284" y="155"/>
                    <a:pt x="284" y="155"/>
                  </a:cubicBezTo>
                  <a:close/>
                  <a:moveTo>
                    <a:pt x="61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1" y="51"/>
                  </a:lnTo>
                  <a:close/>
                  <a:moveTo>
                    <a:pt x="48" y="210"/>
                  </a:moveTo>
                  <a:cubicBezTo>
                    <a:pt x="52" y="208"/>
                    <a:pt x="52" y="208"/>
                    <a:pt x="52" y="208"/>
                  </a:cubicBezTo>
                  <a:cubicBezTo>
                    <a:pt x="50" y="205"/>
                    <a:pt x="50" y="205"/>
                    <a:pt x="50" y="205"/>
                  </a:cubicBezTo>
                  <a:lnTo>
                    <a:pt x="48" y="210"/>
                  </a:lnTo>
                  <a:close/>
                  <a:moveTo>
                    <a:pt x="122" y="222"/>
                  </a:moveTo>
                  <a:cubicBezTo>
                    <a:pt x="122" y="222"/>
                    <a:pt x="121" y="225"/>
                    <a:pt x="124" y="224"/>
                  </a:cubicBezTo>
                  <a:cubicBezTo>
                    <a:pt x="126" y="224"/>
                    <a:pt x="125" y="221"/>
                    <a:pt x="122" y="2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Färöer" descr="© INSCALE GmbH, 05.05.2010&#10;http://www.presentationload.com/">
              <a:extLst>
                <a:ext uri="{FF2B5EF4-FFF2-40B4-BE49-F238E27FC236}">
                  <a16:creationId xmlns:a16="http://schemas.microsoft.com/office/drawing/2014/main" id="{C77D21BE-99F6-E342-B64C-CD873B8C1C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13677" y="2531052"/>
              <a:ext cx="123768" cy="146871"/>
            </a:xfrm>
            <a:custGeom>
              <a:avLst/>
              <a:gdLst/>
              <a:ahLst/>
              <a:cxnLst>
                <a:cxn ang="0">
                  <a:pos x="7" y="13"/>
                </a:cxn>
                <a:cxn ang="0">
                  <a:pos x="0" y="11"/>
                </a:cxn>
                <a:cxn ang="0">
                  <a:pos x="32" y="30"/>
                </a:cxn>
                <a:cxn ang="0">
                  <a:pos x="29" y="30"/>
                </a:cxn>
                <a:cxn ang="0">
                  <a:pos x="21" y="22"/>
                </a:cxn>
                <a:cxn ang="0">
                  <a:pos x="21" y="26"/>
                </a:cxn>
                <a:cxn ang="0">
                  <a:pos x="19" y="40"/>
                </a:cxn>
                <a:cxn ang="0">
                  <a:pos x="21" y="37"/>
                </a:cxn>
                <a:cxn ang="0">
                  <a:pos x="20" y="30"/>
                </a:cxn>
                <a:cxn ang="0">
                  <a:pos x="23" y="34"/>
                </a:cxn>
                <a:cxn ang="0">
                  <a:pos x="28" y="36"/>
                </a:cxn>
                <a:cxn ang="0">
                  <a:pos x="20" y="30"/>
                </a:cxn>
                <a:cxn ang="0">
                  <a:pos x="19" y="16"/>
                </a:cxn>
                <a:cxn ang="0">
                  <a:pos x="14" y="13"/>
                </a:cxn>
                <a:cxn ang="0">
                  <a:pos x="10" y="11"/>
                </a:cxn>
                <a:cxn ang="0">
                  <a:pos x="11" y="17"/>
                </a:cxn>
                <a:cxn ang="0">
                  <a:pos x="27" y="21"/>
                </a:cxn>
                <a:cxn ang="0">
                  <a:pos x="23" y="11"/>
                </a:cxn>
                <a:cxn ang="0">
                  <a:pos x="19" y="6"/>
                </a:cxn>
                <a:cxn ang="0">
                  <a:pos x="22" y="16"/>
                </a:cxn>
                <a:cxn ang="0">
                  <a:pos x="27" y="30"/>
                </a:cxn>
                <a:cxn ang="0">
                  <a:pos x="27" y="21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4" y="14"/>
                </a:cxn>
                <a:cxn ang="0">
                  <a:pos x="32" y="9"/>
                </a:cxn>
                <a:cxn ang="0">
                  <a:pos x="28" y="6"/>
                </a:cxn>
                <a:cxn ang="0">
                  <a:pos x="29" y="2"/>
                </a:cxn>
                <a:cxn ang="0">
                  <a:pos x="24" y="10"/>
                </a:cxn>
                <a:cxn ang="0">
                  <a:pos x="31" y="14"/>
                </a:cxn>
                <a:cxn ang="0">
                  <a:pos x="30" y="20"/>
                </a:cxn>
                <a:cxn ang="0">
                  <a:pos x="35" y="18"/>
                </a:cxn>
                <a:cxn ang="0">
                  <a:pos x="31" y="14"/>
                </a:cxn>
                <a:cxn ang="0">
                  <a:pos x="38" y="10"/>
                </a:cxn>
                <a:cxn ang="0">
                  <a:pos x="37" y="14"/>
                </a:cxn>
                <a:cxn ang="0">
                  <a:pos x="42" y="13"/>
                </a:cxn>
                <a:cxn ang="0">
                  <a:pos x="38" y="5"/>
                </a:cxn>
                <a:cxn ang="0">
                  <a:pos x="44" y="9"/>
                </a:cxn>
                <a:cxn ang="0">
                  <a:pos x="42" y="1"/>
                </a:cxn>
                <a:cxn ang="0">
                  <a:pos x="38" y="1"/>
                </a:cxn>
                <a:cxn ang="0">
                  <a:pos x="36" y="8"/>
                </a:cxn>
                <a:cxn ang="0">
                  <a:pos x="38" y="1"/>
                </a:cxn>
                <a:cxn ang="0">
                  <a:pos x="32" y="2"/>
                </a:cxn>
                <a:cxn ang="0">
                  <a:pos x="34" y="2"/>
                </a:cxn>
                <a:cxn ang="0">
                  <a:pos x="45" y="14"/>
                </a:cxn>
                <a:cxn ang="0">
                  <a:pos x="47" y="11"/>
                </a:cxn>
                <a:cxn ang="0">
                  <a:pos x="48" y="9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16" y="49"/>
                </a:cxn>
                <a:cxn ang="0">
                  <a:pos x="14" y="45"/>
                </a:cxn>
                <a:cxn ang="0">
                  <a:pos x="13" y="55"/>
                </a:cxn>
                <a:cxn ang="0">
                  <a:pos x="18" y="62"/>
                </a:cxn>
                <a:cxn ang="0">
                  <a:pos x="17" y="57"/>
                </a:cxn>
                <a:cxn ang="0">
                  <a:pos x="19" y="53"/>
                </a:cxn>
              </a:cxnLst>
              <a:rect l="0" t="0" r="r" b="b"/>
              <a:pathLst>
                <a:path w="51" h="62">
                  <a:moveTo>
                    <a:pt x="0" y="11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1"/>
                  </a:lnTo>
                  <a:close/>
                  <a:moveTo>
                    <a:pt x="29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30"/>
                  </a:lnTo>
                  <a:close/>
                  <a:moveTo>
                    <a:pt x="22" y="27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2" y="27"/>
                  </a:lnTo>
                  <a:close/>
                  <a:moveTo>
                    <a:pt x="19" y="40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7"/>
                    <a:pt x="21" y="37"/>
                    <a:pt x="21" y="37"/>
                  </a:cubicBezTo>
                  <a:lnTo>
                    <a:pt x="19" y="40"/>
                  </a:lnTo>
                  <a:close/>
                  <a:moveTo>
                    <a:pt x="20" y="30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7" y="34"/>
                    <a:pt x="24" y="32"/>
                  </a:cubicBezTo>
                  <a:cubicBezTo>
                    <a:pt x="23" y="31"/>
                    <a:pt x="20" y="30"/>
                    <a:pt x="20" y="30"/>
                  </a:cubicBezTo>
                  <a:close/>
                  <a:moveTo>
                    <a:pt x="15" y="20"/>
                  </a:moveTo>
                  <a:cubicBezTo>
                    <a:pt x="18" y="19"/>
                    <a:pt x="19" y="16"/>
                    <a:pt x="19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2" y="13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2" y="20"/>
                    <a:pt x="15" y="20"/>
                  </a:cubicBezTo>
                  <a:close/>
                  <a:moveTo>
                    <a:pt x="27" y="21"/>
                  </a:moveTo>
                  <a:cubicBezTo>
                    <a:pt x="27" y="21"/>
                    <a:pt x="28" y="19"/>
                    <a:pt x="27" y="18"/>
                  </a:cubicBezTo>
                  <a:cubicBezTo>
                    <a:pt x="26" y="17"/>
                    <a:pt x="23" y="11"/>
                    <a:pt x="23" y="11"/>
                  </a:cubicBezTo>
                  <a:cubicBezTo>
                    <a:pt x="23" y="11"/>
                    <a:pt x="23" y="3"/>
                    <a:pt x="21" y="3"/>
                  </a:cubicBezTo>
                  <a:cubicBezTo>
                    <a:pt x="20" y="3"/>
                    <a:pt x="19" y="6"/>
                    <a:pt x="19" y="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4"/>
                    <a:pt x="22" y="13"/>
                    <a:pt x="22" y="16"/>
                  </a:cubicBezTo>
                  <a:cubicBezTo>
                    <a:pt x="22" y="19"/>
                    <a:pt x="23" y="25"/>
                    <a:pt x="24" y="26"/>
                  </a:cubicBezTo>
                  <a:cubicBezTo>
                    <a:pt x="26" y="26"/>
                    <a:pt x="27" y="30"/>
                    <a:pt x="27" y="30"/>
                  </a:cubicBezTo>
                  <a:cubicBezTo>
                    <a:pt x="27" y="30"/>
                    <a:pt x="29" y="26"/>
                    <a:pt x="29" y="24"/>
                  </a:cubicBezTo>
                  <a:cubicBezTo>
                    <a:pt x="28" y="22"/>
                    <a:pt x="27" y="21"/>
                    <a:pt x="27" y="21"/>
                  </a:cubicBezTo>
                  <a:close/>
                  <a:moveTo>
                    <a:pt x="28" y="13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28" y="13"/>
                  </a:lnTo>
                  <a:close/>
                  <a:moveTo>
                    <a:pt x="31" y="14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1" y="14"/>
                  </a:lnTo>
                  <a:close/>
                  <a:moveTo>
                    <a:pt x="38" y="5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9" y="5"/>
                    <a:pt x="39" y="5"/>
                    <a:pt x="39" y="5"/>
                  </a:cubicBezTo>
                  <a:lnTo>
                    <a:pt x="38" y="5"/>
                  </a:lnTo>
                  <a:close/>
                  <a:moveTo>
                    <a:pt x="43" y="8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1"/>
                    <a:pt x="42" y="1"/>
                    <a:pt x="42" y="1"/>
                  </a:cubicBezTo>
                  <a:lnTo>
                    <a:pt x="43" y="8"/>
                  </a:lnTo>
                  <a:close/>
                  <a:moveTo>
                    <a:pt x="38" y="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8" y="1"/>
                  </a:lnTo>
                  <a:close/>
                  <a:moveTo>
                    <a:pt x="34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4" y="9"/>
                    <a:pt x="34" y="9"/>
                    <a:pt x="34" y="9"/>
                  </a:cubicBezTo>
                  <a:lnTo>
                    <a:pt x="34" y="2"/>
                  </a:lnTo>
                  <a:close/>
                  <a:moveTo>
                    <a:pt x="45" y="11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45" y="11"/>
                  </a:lnTo>
                  <a:close/>
                  <a:moveTo>
                    <a:pt x="48" y="5"/>
                  </a:moveTo>
                  <a:cubicBezTo>
                    <a:pt x="45" y="6"/>
                    <a:pt x="48" y="7"/>
                    <a:pt x="48" y="7"/>
                  </a:cubicBezTo>
                  <a:cubicBezTo>
                    <a:pt x="50" y="7"/>
                    <a:pt x="51" y="4"/>
                    <a:pt x="48" y="5"/>
                  </a:cubicBezTo>
                  <a:close/>
                  <a:moveTo>
                    <a:pt x="20" y="51"/>
                  </a:moveTo>
                  <a:cubicBezTo>
                    <a:pt x="18" y="50"/>
                    <a:pt x="16" y="50"/>
                    <a:pt x="16" y="49"/>
                  </a:cubicBezTo>
                  <a:cubicBezTo>
                    <a:pt x="16" y="48"/>
                    <a:pt x="17" y="47"/>
                    <a:pt x="17" y="46"/>
                  </a:cubicBezTo>
                  <a:cubicBezTo>
                    <a:pt x="17" y="45"/>
                    <a:pt x="15" y="42"/>
                    <a:pt x="14" y="45"/>
                  </a:cubicBezTo>
                  <a:cubicBezTo>
                    <a:pt x="13" y="47"/>
                    <a:pt x="14" y="53"/>
                    <a:pt x="14" y="53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1" y="53"/>
                    <a:pt x="20" y="5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" name="Georgien" descr="© INSCALE GmbH, 05.05.2010&#10;http://www.presentationload.com/">
              <a:extLst>
                <a:ext uri="{FF2B5EF4-FFF2-40B4-BE49-F238E27FC236}">
                  <a16:creationId xmlns:a16="http://schemas.microsoft.com/office/drawing/2014/main" id="{956358CE-417E-9643-A5AF-F3643670F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1069" y="4836447"/>
              <a:ext cx="872980" cy="364705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" name="Armenien" descr="© INSCALE GmbH, 05.05.2010&#10;http://www.presentationload.com/">
              <a:extLst>
                <a:ext uri="{FF2B5EF4-FFF2-40B4-BE49-F238E27FC236}">
                  <a16:creationId xmlns:a16="http://schemas.microsoft.com/office/drawing/2014/main" id="{57C09820-4D4F-3E41-AF2B-78E21DF7BB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44295" y="5046029"/>
              <a:ext cx="506627" cy="282191"/>
            </a:xfrm>
            <a:custGeom>
              <a:avLst/>
              <a:gdLst/>
              <a:ahLst/>
              <a:cxnLst>
                <a:cxn ang="0">
                  <a:pos x="103" y="103"/>
                </a:cxn>
                <a:cxn ang="0">
                  <a:pos x="0" y="47"/>
                </a:cxn>
                <a:cxn ang="0">
                  <a:pos x="207" y="104"/>
                </a:cxn>
                <a:cxn ang="0">
                  <a:pos x="196" y="91"/>
                </a:cxn>
                <a:cxn ang="0">
                  <a:pos x="198" y="83"/>
                </a:cxn>
                <a:cxn ang="0">
                  <a:pos x="190" y="74"/>
                </a:cxn>
                <a:cxn ang="0">
                  <a:pos x="174" y="74"/>
                </a:cxn>
                <a:cxn ang="0">
                  <a:pos x="149" y="70"/>
                </a:cxn>
                <a:cxn ang="0">
                  <a:pos x="133" y="66"/>
                </a:cxn>
                <a:cxn ang="0">
                  <a:pos x="142" y="41"/>
                </a:cxn>
                <a:cxn ang="0">
                  <a:pos x="104" y="35"/>
                </a:cxn>
                <a:cxn ang="0">
                  <a:pos x="109" y="13"/>
                </a:cxn>
                <a:cxn ang="0">
                  <a:pos x="96" y="9"/>
                </a:cxn>
                <a:cxn ang="0">
                  <a:pos x="88" y="13"/>
                </a:cxn>
                <a:cxn ang="0">
                  <a:pos x="82" y="11"/>
                </a:cxn>
                <a:cxn ang="0">
                  <a:pos x="81" y="5"/>
                </a:cxn>
                <a:cxn ang="0">
                  <a:pos x="66" y="5"/>
                </a:cxn>
                <a:cxn ang="0">
                  <a:pos x="57" y="8"/>
                </a:cxn>
                <a:cxn ang="0">
                  <a:pos x="43" y="24"/>
                </a:cxn>
                <a:cxn ang="0">
                  <a:pos x="28" y="29"/>
                </a:cxn>
                <a:cxn ang="0">
                  <a:pos x="16" y="40"/>
                </a:cxn>
                <a:cxn ang="0">
                  <a:pos x="1" y="49"/>
                </a:cxn>
                <a:cxn ang="0">
                  <a:pos x="22" y="60"/>
                </a:cxn>
                <a:cxn ang="0">
                  <a:pos x="59" y="103"/>
                </a:cxn>
                <a:cxn ang="0">
                  <a:pos x="103" y="103"/>
                </a:cxn>
                <a:cxn ang="0">
                  <a:pos x="125" y="101"/>
                </a:cxn>
                <a:cxn ang="0">
                  <a:pos x="130" y="97"/>
                </a:cxn>
                <a:cxn ang="0">
                  <a:pos x="144" y="97"/>
                </a:cxn>
                <a:cxn ang="0">
                  <a:pos x="161" y="99"/>
                </a:cxn>
                <a:cxn ang="0">
                  <a:pos x="177" y="105"/>
                </a:cxn>
                <a:cxn ang="0">
                  <a:pos x="201" y="112"/>
                </a:cxn>
                <a:cxn ang="0">
                  <a:pos x="212" y="106"/>
                </a:cxn>
              </a:cxnLst>
              <a:rect l="0" t="0" r="r" b="b"/>
              <a:pathLst>
                <a:path w="212" h="119">
                  <a:moveTo>
                    <a:pt x="103" y="103"/>
                  </a:moveTo>
                  <a:cubicBezTo>
                    <a:pt x="103" y="103"/>
                    <a:pt x="103" y="103"/>
                    <a:pt x="103" y="103"/>
                  </a:cubicBezTo>
                  <a:moveTo>
                    <a:pt x="1" y="49"/>
                  </a:moveTo>
                  <a:cubicBezTo>
                    <a:pt x="1" y="48"/>
                    <a:pt x="1" y="48"/>
                    <a:pt x="0" y="47"/>
                  </a:cubicBezTo>
                  <a:cubicBezTo>
                    <a:pt x="1" y="48"/>
                    <a:pt x="1" y="48"/>
                    <a:pt x="1" y="49"/>
                  </a:cubicBezTo>
                  <a:close/>
                  <a:moveTo>
                    <a:pt x="207" y="104"/>
                  </a:moveTo>
                  <a:cubicBezTo>
                    <a:pt x="207" y="104"/>
                    <a:pt x="206" y="99"/>
                    <a:pt x="205" y="96"/>
                  </a:cubicBezTo>
                  <a:cubicBezTo>
                    <a:pt x="205" y="92"/>
                    <a:pt x="196" y="94"/>
                    <a:pt x="196" y="91"/>
                  </a:cubicBezTo>
                  <a:cubicBezTo>
                    <a:pt x="196" y="88"/>
                    <a:pt x="200" y="90"/>
                    <a:pt x="203" y="88"/>
                  </a:cubicBezTo>
                  <a:cubicBezTo>
                    <a:pt x="207" y="86"/>
                    <a:pt x="203" y="85"/>
                    <a:pt x="198" y="83"/>
                  </a:cubicBezTo>
                  <a:cubicBezTo>
                    <a:pt x="193" y="82"/>
                    <a:pt x="189" y="83"/>
                    <a:pt x="186" y="81"/>
                  </a:cubicBezTo>
                  <a:cubicBezTo>
                    <a:pt x="185" y="77"/>
                    <a:pt x="188" y="75"/>
                    <a:pt x="190" y="74"/>
                  </a:cubicBezTo>
                  <a:cubicBezTo>
                    <a:pt x="192" y="73"/>
                    <a:pt x="191" y="69"/>
                    <a:pt x="183" y="69"/>
                  </a:cubicBezTo>
                  <a:cubicBezTo>
                    <a:pt x="176" y="69"/>
                    <a:pt x="176" y="73"/>
                    <a:pt x="174" y="74"/>
                  </a:cubicBezTo>
                  <a:cubicBezTo>
                    <a:pt x="170" y="75"/>
                    <a:pt x="163" y="70"/>
                    <a:pt x="160" y="68"/>
                  </a:cubicBezTo>
                  <a:cubicBezTo>
                    <a:pt x="157" y="67"/>
                    <a:pt x="151" y="70"/>
                    <a:pt x="149" y="70"/>
                  </a:cubicBezTo>
                  <a:cubicBezTo>
                    <a:pt x="147" y="70"/>
                    <a:pt x="148" y="67"/>
                    <a:pt x="146" y="66"/>
                  </a:cubicBezTo>
                  <a:cubicBezTo>
                    <a:pt x="144" y="65"/>
                    <a:pt x="136" y="68"/>
                    <a:pt x="133" y="66"/>
                  </a:cubicBezTo>
                  <a:cubicBezTo>
                    <a:pt x="130" y="64"/>
                    <a:pt x="144" y="59"/>
                    <a:pt x="146" y="56"/>
                  </a:cubicBezTo>
                  <a:cubicBezTo>
                    <a:pt x="148" y="53"/>
                    <a:pt x="146" y="43"/>
                    <a:pt x="142" y="41"/>
                  </a:cubicBezTo>
                  <a:cubicBezTo>
                    <a:pt x="139" y="38"/>
                    <a:pt x="131" y="43"/>
                    <a:pt x="123" y="41"/>
                  </a:cubicBezTo>
                  <a:cubicBezTo>
                    <a:pt x="114" y="39"/>
                    <a:pt x="104" y="35"/>
                    <a:pt x="104" y="35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4" y="23"/>
                    <a:pt x="111" y="20"/>
                    <a:pt x="109" y="13"/>
                  </a:cubicBezTo>
                  <a:cubicBezTo>
                    <a:pt x="107" y="8"/>
                    <a:pt x="96" y="13"/>
                    <a:pt x="96" y="1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12"/>
                    <a:pt x="88" y="13"/>
                  </a:cubicBezTo>
                  <a:cubicBezTo>
                    <a:pt x="84" y="13"/>
                    <a:pt x="87" y="19"/>
                    <a:pt x="84" y="19"/>
                  </a:cubicBezTo>
                  <a:cubicBezTo>
                    <a:pt x="81" y="19"/>
                    <a:pt x="84" y="12"/>
                    <a:pt x="82" y="11"/>
                  </a:cubicBezTo>
                  <a:cubicBezTo>
                    <a:pt x="80" y="10"/>
                    <a:pt x="77" y="17"/>
                    <a:pt x="74" y="17"/>
                  </a:cubicBezTo>
                  <a:cubicBezTo>
                    <a:pt x="70" y="16"/>
                    <a:pt x="82" y="10"/>
                    <a:pt x="81" y="5"/>
                  </a:cubicBezTo>
                  <a:cubicBezTo>
                    <a:pt x="80" y="0"/>
                    <a:pt x="74" y="5"/>
                    <a:pt x="71" y="6"/>
                  </a:cubicBezTo>
                  <a:cubicBezTo>
                    <a:pt x="70" y="6"/>
                    <a:pt x="68" y="5"/>
                    <a:pt x="66" y="5"/>
                  </a:cubicBezTo>
                  <a:cubicBezTo>
                    <a:pt x="66" y="6"/>
                    <a:pt x="66" y="6"/>
                    <a:pt x="65" y="7"/>
                  </a:cubicBezTo>
                  <a:cubicBezTo>
                    <a:pt x="62" y="10"/>
                    <a:pt x="57" y="8"/>
                    <a:pt x="57" y="8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48" y="22"/>
                    <a:pt x="43" y="24"/>
                  </a:cubicBezTo>
                  <a:cubicBezTo>
                    <a:pt x="36" y="27"/>
                    <a:pt x="31" y="22"/>
                    <a:pt x="31" y="22"/>
                  </a:cubicBezTo>
                  <a:cubicBezTo>
                    <a:pt x="31" y="22"/>
                    <a:pt x="30" y="27"/>
                    <a:pt x="28" y="29"/>
                  </a:cubicBezTo>
                  <a:cubicBezTo>
                    <a:pt x="26" y="31"/>
                    <a:pt x="17" y="36"/>
                    <a:pt x="17" y="36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0" y="43"/>
                    <a:pt x="6" y="43"/>
                  </a:cubicBezTo>
                  <a:cubicBezTo>
                    <a:pt x="5" y="43"/>
                    <a:pt x="3" y="45"/>
                    <a:pt x="1" y="49"/>
                  </a:cubicBezTo>
                  <a:cubicBezTo>
                    <a:pt x="1" y="50"/>
                    <a:pt x="1" y="52"/>
                    <a:pt x="4" y="52"/>
                  </a:cubicBezTo>
                  <a:cubicBezTo>
                    <a:pt x="10" y="52"/>
                    <a:pt x="19" y="51"/>
                    <a:pt x="22" y="60"/>
                  </a:cubicBezTo>
                  <a:cubicBezTo>
                    <a:pt x="25" y="71"/>
                    <a:pt x="22" y="84"/>
                    <a:pt x="32" y="94"/>
                  </a:cubicBezTo>
                  <a:cubicBezTo>
                    <a:pt x="43" y="103"/>
                    <a:pt x="51" y="108"/>
                    <a:pt x="59" y="103"/>
                  </a:cubicBezTo>
                  <a:cubicBezTo>
                    <a:pt x="67" y="97"/>
                    <a:pt x="71" y="90"/>
                    <a:pt x="83" y="94"/>
                  </a:cubicBezTo>
                  <a:cubicBezTo>
                    <a:pt x="95" y="96"/>
                    <a:pt x="103" y="103"/>
                    <a:pt x="103" y="103"/>
                  </a:cubicBezTo>
                  <a:cubicBezTo>
                    <a:pt x="103" y="103"/>
                    <a:pt x="110" y="91"/>
                    <a:pt x="115" y="90"/>
                  </a:cubicBezTo>
                  <a:cubicBezTo>
                    <a:pt x="121" y="89"/>
                    <a:pt x="125" y="101"/>
                    <a:pt x="125" y="101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4" y="97"/>
                    <a:pt x="150" y="86"/>
                    <a:pt x="155" y="86"/>
                  </a:cubicBezTo>
                  <a:cubicBezTo>
                    <a:pt x="160" y="86"/>
                    <a:pt x="161" y="99"/>
                    <a:pt x="161" y="99"/>
                  </a:cubicBezTo>
                  <a:cubicBezTo>
                    <a:pt x="161" y="99"/>
                    <a:pt x="169" y="97"/>
                    <a:pt x="173" y="97"/>
                  </a:cubicBezTo>
                  <a:cubicBezTo>
                    <a:pt x="177" y="98"/>
                    <a:pt x="177" y="105"/>
                    <a:pt x="177" y="105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01" y="112"/>
                    <a:pt x="201" y="112"/>
                    <a:pt x="201" y="112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12" y="106"/>
                    <a:pt x="212" y="106"/>
                    <a:pt x="212" y="106"/>
                  </a:cubicBezTo>
                  <a:lnTo>
                    <a:pt x="207" y="1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" name="Türkei" descr="© INSCALE GmbH, 05.05.2010&#10;http://www.presentationload.com/">
              <a:extLst>
                <a:ext uri="{FF2B5EF4-FFF2-40B4-BE49-F238E27FC236}">
                  <a16:creationId xmlns:a16="http://schemas.microsoft.com/office/drawing/2014/main" id="{B45B3F96-2873-B042-BF63-AC5FC2A442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39245" y="5128541"/>
              <a:ext cx="2440715" cy="1366405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" name="Li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051CAE99-3A6A-294A-8FCF-1890FAB22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4370" y="6452040"/>
              <a:ext cx="151823" cy="306945"/>
            </a:xfrm>
            <a:custGeom>
              <a:avLst/>
              <a:gdLst/>
              <a:ahLst/>
              <a:cxnLst>
                <a:cxn ang="0">
                  <a:pos x="26" y="106"/>
                </a:cxn>
                <a:cxn ang="0">
                  <a:pos x="37" y="87"/>
                </a:cxn>
                <a:cxn ang="0">
                  <a:pos x="36" y="83"/>
                </a:cxn>
                <a:cxn ang="0">
                  <a:pos x="43" y="75"/>
                </a:cxn>
                <a:cxn ang="0">
                  <a:pos x="29" y="74"/>
                </a:cxn>
                <a:cxn ang="0">
                  <a:pos x="31" y="67"/>
                </a:cxn>
                <a:cxn ang="0">
                  <a:pos x="35" y="64"/>
                </a:cxn>
                <a:cxn ang="0">
                  <a:pos x="54" y="56"/>
                </a:cxn>
                <a:cxn ang="0">
                  <a:pos x="48" y="51"/>
                </a:cxn>
                <a:cxn ang="0">
                  <a:pos x="46" y="47"/>
                </a:cxn>
                <a:cxn ang="0">
                  <a:pos x="58" y="45"/>
                </a:cxn>
                <a:cxn ang="0">
                  <a:pos x="48" y="42"/>
                </a:cxn>
                <a:cxn ang="0">
                  <a:pos x="61" y="27"/>
                </a:cxn>
                <a:cxn ang="0">
                  <a:pos x="48" y="17"/>
                </a:cxn>
                <a:cxn ang="0">
                  <a:pos x="48" y="11"/>
                </a:cxn>
                <a:cxn ang="0">
                  <a:pos x="35" y="10"/>
                </a:cxn>
                <a:cxn ang="0">
                  <a:pos x="38" y="0"/>
                </a:cxn>
                <a:cxn ang="0">
                  <a:pos x="29" y="1"/>
                </a:cxn>
                <a:cxn ang="0">
                  <a:pos x="28" y="6"/>
                </a:cxn>
                <a:cxn ang="0">
                  <a:pos x="20" y="7"/>
                </a:cxn>
                <a:cxn ang="0">
                  <a:pos x="14" y="12"/>
                </a:cxn>
                <a:cxn ang="0">
                  <a:pos x="15" y="20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1" y="38"/>
                </a:cxn>
                <a:cxn ang="0">
                  <a:pos x="2" y="49"/>
                </a:cxn>
                <a:cxn ang="0">
                  <a:pos x="10" y="56"/>
                </a:cxn>
                <a:cxn ang="0">
                  <a:pos x="6" y="63"/>
                </a:cxn>
                <a:cxn ang="0">
                  <a:pos x="3" y="77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3" y="109"/>
                </a:cxn>
                <a:cxn ang="0">
                  <a:pos x="0" y="112"/>
                </a:cxn>
                <a:cxn ang="0">
                  <a:pos x="0" y="115"/>
                </a:cxn>
                <a:cxn ang="0">
                  <a:pos x="3" y="115"/>
                </a:cxn>
                <a:cxn ang="0">
                  <a:pos x="2" y="126"/>
                </a:cxn>
                <a:cxn ang="0">
                  <a:pos x="8" y="125"/>
                </a:cxn>
                <a:cxn ang="0">
                  <a:pos x="12" y="121"/>
                </a:cxn>
                <a:cxn ang="0">
                  <a:pos x="19" y="122"/>
                </a:cxn>
                <a:cxn ang="0">
                  <a:pos x="19" y="112"/>
                </a:cxn>
                <a:cxn ang="0">
                  <a:pos x="19" y="106"/>
                </a:cxn>
                <a:cxn ang="0">
                  <a:pos x="26" y="106"/>
                </a:cxn>
              </a:cxnLst>
              <a:rect l="0" t="0" r="r" b="b"/>
              <a:pathLst>
                <a:path w="63" h="129">
                  <a:moveTo>
                    <a:pt x="26" y="106"/>
                  </a:moveTo>
                  <a:cubicBezTo>
                    <a:pt x="37" y="87"/>
                    <a:pt x="37" y="87"/>
                    <a:pt x="37" y="87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3"/>
                    <a:pt x="43" y="79"/>
                    <a:pt x="43" y="75"/>
                  </a:cubicBezTo>
                  <a:cubicBezTo>
                    <a:pt x="44" y="72"/>
                    <a:pt x="29" y="74"/>
                    <a:pt x="29" y="74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5" y="66"/>
                    <a:pt x="35" y="64"/>
                  </a:cubicBezTo>
                  <a:cubicBezTo>
                    <a:pt x="35" y="61"/>
                    <a:pt x="54" y="56"/>
                    <a:pt x="54" y="56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58" y="32"/>
                    <a:pt x="61" y="27"/>
                  </a:cubicBezTo>
                  <a:cubicBezTo>
                    <a:pt x="63" y="22"/>
                    <a:pt x="48" y="17"/>
                    <a:pt x="48" y="1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9" y="24"/>
                    <a:pt x="6" y="28"/>
                  </a:cubicBezTo>
                  <a:cubicBezTo>
                    <a:pt x="4" y="31"/>
                    <a:pt x="6" y="33"/>
                    <a:pt x="5" y="36"/>
                  </a:cubicBezTo>
                  <a:cubicBezTo>
                    <a:pt x="3" y="38"/>
                    <a:pt x="1" y="38"/>
                    <a:pt x="1" y="3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0" y="52"/>
                    <a:pt x="10" y="56"/>
                  </a:cubicBezTo>
                  <a:cubicBezTo>
                    <a:pt x="10" y="60"/>
                    <a:pt x="6" y="63"/>
                    <a:pt x="6" y="63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5"/>
                    <a:pt x="3" y="115"/>
                    <a:pt x="3" y="115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2" y="126"/>
                    <a:pt x="5" y="126"/>
                    <a:pt x="8" y="125"/>
                  </a:cubicBezTo>
                  <a:cubicBezTo>
                    <a:pt x="10" y="123"/>
                    <a:pt x="12" y="121"/>
                    <a:pt x="12" y="121"/>
                  </a:cubicBezTo>
                  <a:cubicBezTo>
                    <a:pt x="12" y="121"/>
                    <a:pt x="15" y="129"/>
                    <a:pt x="19" y="122"/>
                  </a:cubicBezTo>
                  <a:cubicBezTo>
                    <a:pt x="25" y="115"/>
                    <a:pt x="19" y="112"/>
                    <a:pt x="19" y="112"/>
                  </a:cubicBezTo>
                  <a:cubicBezTo>
                    <a:pt x="19" y="106"/>
                    <a:pt x="19" y="106"/>
                    <a:pt x="19" y="106"/>
                  </a:cubicBezTo>
                  <a:lnTo>
                    <a:pt x="26" y="10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" name="Syrien" descr="© INSCALE GmbH, 05.05.2010&#10;http://www.presentationload.com/">
              <a:extLst>
                <a:ext uri="{FF2B5EF4-FFF2-40B4-BE49-F238E27FC236}">
                  <a16:creationId xmlns:a16="http://schemas.microsoft.com/office/drawing/2014/main" id="{00529286-D76C-1F42-B6E2-D487CC64237A}"/>
                </a:ext>
              </a:extLst>
            </p:cNvPr>
            <p:cNvSpPr>
              <a:spLocks/>
            </p:cNvSpPr>
            <p:nvPr/>
          </p:nvSpPr>
          <p:spPr bwMode="gray">
            <a:xfrm>
              <a:off x="7879910" y="5773786"/>
              <a:ext cx="736010" cy="1028105"/>
            </a:xfrm>
            <a:custGeom>
              <a:avLst/>
              <a:gdLst/>
              <a:ahLst/>
              <a:cxnLst>
                <a:cxn ang="0">
                  <a:pos x="294" y="149"/>
                </a:cxn>
                <a:cxn ang="0">
                  <a:pos x="274" y="96"/>
                </a:cxn>
                <a:cxn ang="0">
                  <a:pos x="287" y="50"/>
                </a:cxn>
                <a:cxn ang="0">
                  <a:pos x="302" y="18"/>
                </a:cxn>
                <a:cxn ang="0">
                  <a:pos x="297" y="1"/>
                </a:cxn>
                <a:cxn ang="0">
                  <a:pos x="262" y="26"/>
                </a:cxn>
                <a:cxn ang="0">
                  <a:pos x="178" y="89"/>
                </a:cxn>
                <a:cxn ang="0">
                  <a:pos x="129" y="111"/>
                </a:cxn>
                <a:cxn ang="0">
                  <a:pos x="81" y="127"/>
                </a:cxn>
                <a:cxn ang="0">
                  <a:pos x="72" y="136"/>
                </a:cxn>
                <a:cxn ang="0">
                  <a:pos x="42" y="142"/>
                </a:cxn>
                <a:cxn ang="0">
                  <a:pos x="22" y="168"/>
                </a:cxn>
                <a:cxn ang="0">
                  <a:pos x="21" y="188"/>
                </a:cxn>
                <a:cxn ang="0">
                  <a:pos x="20" y="218"/>
                </a:cxn>
                <a:cxn ang="0">
                  <a:pos x="0" y="224"/>
                </a:cxn>
                <a:cxn ang="0">
                  <a:pos x="4" y="236"/>
                </a:cxn>
                <a:cxn ang="0">
                  <a:pos x="3" y="243"/>
                </a:cxn>
                <a:cxn ang="0">
                  <a:pos x="16" y="254"/>
                </a:cxn>
                <a:cxn ang="0">
                  <a:pos x="22" y="280"/>
                </a:cxn>
                <a:cxn ang="0">
                  <a:pos x="34" y="297"/>
                </a:cxn>
                <a:cxn ang="0">
                  <a:pos x="51" y="290"/>
                </a:cxn>
                <a:cxn ang="0">
                  <a:pos x="61" y="284"/>
                </a:cxn>
                <a:cxn ang="0">
                  <a:pos x="71" y="295"/>
                </a:cxn>
                <a:cxn ang="0">
                  <a:pos x="84" y="311"/>
                </a:cxn>
                <a:cxn ang="0">
                  <a:pos x="81" y="329"/>
                </a:cxn>
                <a:cxn ang="0">
                  <a:pos x="71" y="335"/>
                </a:cxn>
                <a:cxn ang="0">
                  <a:pos x="58" y="348"/>
                </a:cxn>
                <a:cxn ang="0">
                  <a:pos x="52" y="358"/>
                </a:cxn>
                <a:cxn ang="0">
                  <a:pos x="59" y="367"/>
                </a:cxn>
                <a:cxn ang="0">
                  <a:pos x="49" y="390"/>
                </a:cxn>
                <a:cxn ang="0">
                  <a:pos x="54" y="409"/>
                </a:cxn>
                <a:cxn ang="0">
                  <a:pos x="77" y="419"/>
                </a:cxn>
                <a:cxn ang="0">
                  <a:pos x="93" y="429"/>
                </a:cxn>
                <a:cxn ang="0">
                  <a:pos x="108" y="430"/>
                </a:cxn>
                <a:cxn ang="0">
                  <a:pos x="304" y="206"/>
                </a:cxn>
                <a:cxn ang="0">
                  <a:pos x="305" y="189"/>
                </a:cxn>
                <a:cxn ang="0">
                  <a:pos x="307" y="175"/>
                </a:cxn>
              </a:cxnLst>
              <a:rect l="0" t="0" r="r" b="b"/>
              <a:pathLst>
                <a:path w="308" h="430">
                  <a:moveTo>
                    <a:pt x="307" y="175"/>
                  </a:moveTo>
                  <a:cubicBezTo>
                    <a:pt x="307" y="175"/>
                    <a:pt x="297" y="164"/>
                    <a:pt x="294" y="149"/>
                  </a:cubicBezTo>
                  <a:cubicBezTo>
                    <a:pt x="290" y="133"/>
                    <a:pt x="295" y="121"/>
                    <a:pt x="289" y="113"/>
                  </a:cubicBezTo>
                  <a:cubicBezTo>
                    <a:pt x="285" y="105"/>
                    <a:pt x="278" y="106"/>
                    <a:pt x="274" y="96"/>
                  </a:cubicBezTo>
                  <a:cubicBezTo>
                    <a:pt x="270" y="88"/>
                    <a:pt x="264" y="74"/>
                    <a:pt x="268" y="66"/>
                  </a:cubicBezTo>
                  <a:cubicBezTo>
                    <a:pt x="273" y="60"/>
                    <a:pt x="282" y="62"/>
                    <a:pt x="287" y="50"/>
                  </a:cubicBezTo>
                  <a:cubicBezTo>
                    <a:pt x="294" y="39"/>
                    <a:pt x="296" y="26"/>
                    <a:pt x="296" y="26"/>
                  </a:cubicBezTo>
                  <a:cubicBezTo>
                    <a:pt x="296" y="26"/>
                    <a:pt x="302" y="21"/>
                    <a:pt x="302" y="18"/>
                  </a:cubicBezTo>
                  <a:cubicBezTo>
                    <a:pt x="302" y="14"/>
                    <a:pt x="301" y="5"/>
                    <a:pt x="301" y="5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2" y="17"/>
                    <a:pt x="262" y="26"/>
                  </a:cubicBezTo>
                  <a:cubicBezTo>
                    <a:pt x="242" y="34"/>
                    <a:pt x="222" y="42"/>
                    <a:pt x="222" y="42"/>
                  </a:cubicBezTo>
                  <a:cubicBezTo>
                    <a:pt x="222" y="42"/>
                    <a:pt x="193" y="77"/>
                    <a:pt x="178" y="89"/>
                  </a:cubicBezTo>
                  <a:cubicBezTo>
                    <a:pt x="163" y="100"/>
                    <a:pt x="148" y="102"/>
                    <a:pt x="148" y="102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11" y="101"/>
                    <a:pt x="104" y="106"/>
                  </a:cubicBezTo>
                  <a:cubicBezTo>
                    <a:pt x="95" y="109"/>
                    <a:pt x="81" y="127"/>
                    <a:pt x="81" y="127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2" y="142"/>
                    <a:pt x="42" y="142"/>
                    <a:pt x="42" y="142"/>
                  </a:cubicBezTo>
                  <a:cubicBezTo>
                    <a:pt x="42" y="142"/>
                    <a:pt x="23" y="139"/>
                    <a:pt x="23" y="145"/>
                  </a:cubicBezTo>
                  <a:cubicBezTo>
                    <a:pt x="22" y="152"/>
                    <a:pt x="22" y="168"/>
                    <a:pt x="22" y="168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" y="225"/>
                    <a:pt x="6" y="225"/>
                    <a:pt x="6" y="225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3" y="243"/>
                    <a:pt x="3" y="243"/>
                    <a:pt x="3" y="243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248"/>
                    <a:pt x="12" y="250"/>
                    <a:pt x="16" y="254"/>
                  </a:cubicBezTo>
                  <a:cubicBezTo>
                    <a:pt x="18" y="258"/>
                    <a:pt x="22" y="259"/>
                    <a:pt x="22" y="264"/>
                  </a:cubicBezTo>
                  <a:cubicBezTo>
                    <a:pt x="22" y="280"/>
                    <a:pt x="22" y="280"/>
                    <a:pt x="22" y="280"/>
                  </a:cubicBezTo>
                  <a:cubicBezTo>
                    <a:pt x="28" y="283"/>
                    <a:pt x="28" y="283"/>
                    <a:pt x="28" y="283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1" y="290"/>
                    <a:pt x="51" y="290"/>
                    <a:pt x="51" y="290"/>
                  </a:cubicBezTo>
                  <a:cubicBezTo>
                    <a:pt x="52" y="285"/>
                    <a:pt x="52" y="285"/>
                    <a:pt x="52" y="285"/>
                  </a:cubicBezTo>
                  <a:cubicBezTo>
                    <a:pt x="61" y="284"/>
                    <a:pt x="61" y="284"/>
                    <a:pt x="61" y="284"/>
                  </a:cubicBezTo>
                  <a:cubicBezTo>
                    <a:pt x="58" y="294"/>
                    <a:pt x="58" y="294"/>
                    <a:pt x="58" y="294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86" y="306"/>
                    <a:pt x="84" y="311"/>
                  </a:cubicBezTo>
                  <a:cubicBezTo>
                    <a:pt x="81" y="316"/>
                    <a:pt x="71" y="326"/>
                    <a:pt x="71" y="326"/>
                  </a:cubicBezTo>
                  <a:cubicBezTo>
                    <a:pt x="81" y="329"/>
                    <a:pt x="81" y="329"/>
                    <a:pt x="81" y="329"/>
                  </a:cubicBezTo>
                  <a:cubicBezTo>
                    <a:pt x="69" y="331"/>
                    <a:pt x="69" y="331"/>
                    <a:pt x="69" y="331"/>
                  </a:cubicBezTo>
                  <a:cubicBezTo>
                    <a:pt x="71" y="335"/>
                    <a:pt x="71" y="335"/>
                    <a:pt x="71" y="335"/>
                  </a:cubicBezTo>
                  <a:cubicBezTo>
                    <a:pt x="77" y="340"/>
                    <a:pt x="77" y="340"/>
                    <a:pt x="77" y="340"/>
                  </a:cubicBezTo>
                  <a:cubicBezTo>
                    <a:pt x="77" y="340"/>
                    <a:pt x="58" y="345"/>
                    <a:pt x="58" y="348"/>
                  </a:cubicBezTo>
                  <a:cubicBezTo>
                    <a:pt x="58" y="350"/>
                    <a:pt x="54" y="351"/>
                    <a:pt x="54" y="351"/>
                  </a:cubicBezTo>
                  <a:cubicBezTo>
                    <a:pt x="52" y="358"/>
                    <a:pt x="52" y="358"/>
                    <a:pt x="52" y="358"/>
                  </a:cubicBezTo>
                  <a:cubicBezTo>
                    <a:pt x="52" y="358"/>
                    <a:pt x="67" y="356"/>
                    <a:pt x="66" y="359"/>
                  </a:cubicBezTo>
                  <a:cubicBezTo>
                    <a:pt x="66" y="363"/>
                    <a:pt x="59" y="367"/>
                    <a:pt x="59" y="367"/>
                  </a:cubicBezTo>
                  <a:cubicBezTo>
                    <a:pt x="60" y="371"/>
                    <a:pt x="60" y="371"/>
                    <a:pt x="60" y="371"/>
                  </a:cubicBezTo>
                  <a:cubicBezTo>
                    <a:pt x="49" y="390"/>
                    <a:pt x="49" y="390"/>
                    <a:pt x="49" y="390"/>
                  </a:cubicBezTo>
                  <a:cubicBezTo>
                    <a:pt x="54" y="392"/>
                    <a:pt x="54" y="392"/>
                    <a:pt x="54" y="392"/>
                  </a:cubicBezTo>
                  <a:cubicBezTo>
                    <a:pt x="54" y="409"/>
                    <a:pt x="54" y="409"/>
                    <a:pt x="54" y="409"/>
                  </a:cubicBezTo>
                  <a:cubicBezTo>
                    <a:pt x="64" y="427"/>
                    <a:pt x="64" y="427"/>
                    <a:pt x="64" y="427"/>
                  </a:cubicBezTo>
                  <a:cubicBezTo>
                    <a:pt x="64" y="427"/>
                    <a:pt x="69" y="419"/>
                    <a:pt x="77" y="419"/>
                  </a:cubicBezTo>
                  <a:cubicBezTo>
                    <a:pt x="85" y="420"/>
                    <a:pt x="89" y="429"/>
                    <a:pt x="89" y="429"/>
                  </a:cubicBezTo>
                  <a:cubicBezTo>
                    <a:pt x="93" y="429"/>
                    <a:pt x="93" y="429"/>
                    <a:pt x="93" y="429"/>
                  </a:cubicBezTo>
                  <a:cubicBezTo>
                    <a:pt x="93" y="429"/>
                    <a:pt x="94" y="425"/>
                    <a:pt x="101" y="425"/>
                  </a:cubicBezTo>
                  <a:cubicBezTo>
                    <a:pt x="107" y="426"/>
                    <a:pt x="108" y="430"/>
                    <a:pt x="108" y="430"/>
                  </a:cubicBezTo>
                  <a:cubicBezTo>
                    <a:pt x="135" y="429"/>
                    <a:pt x="135" y="429"/>
                    <a:pt x="135" y="429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6" y="205"/>
                    <a:pt x="306" y="205"/>
                    <a:pt x="306" y="205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7" y="17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8" name="Kasac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11672C6-B181-004B-91A4-67E75729AB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168705" y="2215855"/>
              <a:ext cx="975295" cy="2222884"/>
            </a:xfrm>
            <a:custGeom>
              <a:avLst/>
              <a:gdLst/>
              <a:ahLst/>
              <a:cxnLst>
                <a:cxn ang="0">
                  <a:pos x="291" y="856"/>
                </a:cxn>
                <a:cxn ang="0">
                  <a:pos x="395" y="19"/>
                </a:cxn>
                <a:cxn ang="0">
                  <a:pos x="377" y="43"/>
                </a:cxn>
                <a:cxn ang="0">
                  <a:pos x="362" y="71"/>
                </a:cxn>
                <a:cxn ang="0">
                  <a:pos x="341" y="94"/>
                </a:cxn>
                <a:cxn ang="0">
                  <a:pos x="322" y="113"/>
                </a:cxn>
                <a:cxn ang="0">
                  <a:pos x="342" y="125"/>
                </a:cxn>
                <a:cxn ang="0">
                  <a:pos x="358" y="139"/>
                </a:cxn>
                <a:cxn ang="0">
                  <a:pos x="393" y="125"/>
                </a:cxn>
                <a:cxn ang="0">
                  <a:pos x="372" y="151"/>
                </a:cxn>
                <a:cxn ang="0">
                  <a:pos x="378" y="186"/>
                </a:cxn>
                <a:cxn ang="0">
                  <a:pos x="385" y="211"/>
                </a:cxn>
                <a:cxn ang="0">
                  <a:pos x="398" y="240"/>
                </a:cxn>
                <a:cxn ang="0">
                  <a:pos x="379" y="327"/>
                </a:cxn>
                <a:cxn ang="0">
                  <a:pos x="336" y="337"/>
                </a:cxn>
                <a:cxn ang="0">
                  <a:pos x="318" y="353"/>
                </a:cxn>
                <a:cxn ang="0">
                  <a:pos x="297" y="382"/>
                </a:cxn>
                <a:cxn ang="0">
                  <a:pos x="258" y="417"/>
                </a:cxn>
                <a:cxn ang="0">
                  <a:pos x="234" y="423"/>
                </a:cxn>
                <a:cxn ang="0">
                  <a:pos x="239" y="433"/>
                </a:cxn>
                <a:cxn ang="0">
                  <a:pos x="194" y="426"/>
                </a:cxn>
                <a:cxn ang="0">
                  <a:pos x="151" y="437"/>
                </a:cxn>
                <a:cxn ang="0">
                  <a:pos x="116" y="441"/>
                </a:cxn>
                <a:cxn ang="0">
                  <a:pos x="102" y="454"/>
                </a:cxn>
                <a:cxn ang="0">
                  <a:pos x="77" y="471"/>
                </a:cxn>
                <a:cxn ang="0">
                  <a:pos x="65" y="507"/>
                </a:cxn>
                <a:cxn ang="0">
                  <a:pos x="59" y="537"/>
                </a:cxn>
                <a:cxn ang="0">
                  <a:pos x="35" y="572"/>
                </a:cxn>
                <a:cxn ang="0">
                  <a:pos x="67" y="596"/>
                </a:cxn>
                <a:cxn ang="0">
                  <a:pos x="1" y="614"/>
                </a:cxn>
                <a:cxn ang="0">
                  <a:pos x="25" y="685"/>
                </a:cxn>
                <a:cxn ang="0">
                  <a:pos x="60" y="742"/>
                </a:cxn>
                <a:cxn ang="0">
                  <a:pos x="82" y="754"/>
                </a:cxn>
                <a:cxn ang="0">
                  <a:pos x="139" y="754"/>
                </a:cxn>
                <a:cxn ang="0">
                  <a:pos x="166" y="801"/>
                </a:cxn>
                <a:cxn ang="0">
                  <a:pos x="202" y="791"/>
                </a:cxn>
                <a:cxn ang="0">
                  <a:pos x="195" y="782"/>
                </a:cxn>
                <a:cxn ang="0">
                  <a:pos x="209" y="778"/>
                </a:cxn>
                <a:cxn ang="0">
                  <a:pos x="224" y="756"/>
                </a:cxn>
                <a:cxn ang="0">
                  <a:pos x="235" y="733"/>
                </a:cxn>
                <a:cxn ang="0">
                  <a:pos x="266" y="705"/>
                </a:cxn>
                <a:cxn ang="0">
                  <a:pos x="281" y="707"/>
                </a:cxn>
                <a:cxn ang="0">
                  <a:pos x="296" y="707"/>
                </a:cxn>
                <a:cxn ang="0">
                  <a:pos x="309" y="688"/>
                </a:cxn>
                <a:cxn ang="0">
                  <a:pos x="332" y="678"/>
                </a:cxn>
                <a:cxn ang="0">
                  <a:pos x="338" y="696"/>
                </a:cxn>
                <a:cxn ang="0">
                  <a:pos x="352" y="706"/>
                </a:cxn>
                <a:cxn ang="0">
                  <a:pos x="359" y="718"/>
                </a:cxn>
                <a:cxn ang="0">
                  <a:pos x="391" y="756"/>
                </a:cxn>
                <a:cxn ang="0">
                  <a:pos x="331" y="789"/>
                </a:cxn>
                <a:cxn ang="0">
                  <a:pos x="326" y="823"/>
                </a:cxn>
                <a:cxn ang="0">
                  <a:pos x="314" y="838"/>
                </a:cxn>
                <a:cxn ang="0">
                  <a:pos x="328" y="842"/>
                </a:cxn>
                <a:cxn ang="0">
                  <a:pos x="345" y="850"/>
                </a:cxn>
                <a:cxn ang="0">
                  <a:pos x="301" y="879"/>
                </a:cxn>
                <a:cxn ang="0">
                  <a:pos x="385" y="913"/>
                </a:cxn>
                <a:cxn ang="0">
                  <a:pos x="402" y="925"/>
                </a:cxn>
                <a:cxn ang="0">
                  <a:pos x="379" y="327"/>
                </a:cxn>
              </a:cxnLst>
              <a:rect l="0" t="0" r="r" b="b"/>
              <a:pathLst>
                <a:path w="408" h="931">
                  <a:moveTo>
                    <a:pt x="290" y="844"/>
                  </a:moveTo>
                  <a:cubicBezTo>
                    <a:pt x="285" y="844"/>
                    <a:pt x="285" y="844"/>
                    <a:pt x="285" y="844"/>
                  </a:cubicBezTo>
                  <a:cubicBezTo>
                    <a:pt x="287" y="851"/>
                    <a:pt x="287" y="851"/>
                    <a:pt x="287" y="851"/>
                  </a:cubicBezTo>
                  <a:cubicBezTo>
                    <a:pt x="291" y="856"/>
                    <a:pt x="291" y="856"/>
                    <a:pt x="291" y="856"/>
                  </a:cubicBezTo>
                  <a:cubicBezTo>
                    <a:pt x="293" y="855"/>
                    <a:pt x="293" y="855"/>
                    <a:pt x="293" y="855"/>
                  </a:cubicBezTo>
                  <a:cubicBezTo>
                    <a:pt x="291" y="851"/>
                    <a:pt x="291" y="851"/>
                    <a:pt x="291" y="851"/>
                  </a:cubicBezTo>
                  <a:lnTo>
                    <a:pt x="290" y="844"/>
                  </a:lnTo>
                  <a:close/>
                  <a:moveTo>
                    <a:pt x="395" y="19"/>
                  </a:moveTo>
                  <a:cubicBezTo>
                    <a:pt x="395" y="19"/>
                    <a:pt x="400" y="22"/>
                    <a:pt x="398" y="25"/>
                  </a:cubicBezTo>
                  <a:cubicBezTo>
                    <a:pt x="397" y="28"/>
                    <a:pt x="391" y="28"/>
                    <a:pt x="391" y="28"/>
                  </a:cubicBezTo>
                  <a:cubicBezTo>
                    <a:pt x="385" y="40"/>
                    <a:pt x="385" y="40"/>
                    <a:pt x="385" y="40"/>
                  </a:cubicBezTo>
                  <a:cubicBezTo>
                    <a:pt x="377" y="43"/>
                    <a:pt x="377" y="43"/>
                    <a:pt x="377" y="43"/>
                  </a:cubicBezTo>
                  <a:cubicBezTo>
                    <a:pt x="381" y="50"/>
                    <a:pt x="381" y="50"/>
                    <a:pt x="381" y="50"/>
                  </a:cubicBezTo>
                  <a:cubicBezTo>
                    <a:pt x="366" y="63"/>
                    <a:pt x="366" y="63"/>
                    <a:pt x="366" y="63"/>
                  </a:cubicBezTo>
                  <a:cubicBezTo>
                    <a:pt x="366" y="63"/>
                    <a:pt x="376" y="75"/>
                    <a:pt x="371" y="77"/>
                  </a:cubicBezTo>
                  <a:cubicBezTo>
                    <a:pt x="365" y="80"/>
                    <a:pt x="362" y="71"/>
                    <a:pt x="362" y="7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2" y="90"/>
                    <a:pt x="352" y="90"/>
                    <a:pt x="352" y="90"/>
                  </a:cubicBezTo>
                  <a:cubicBezTo>
                    <a:pt x="343" y="88"/>
                    <a:pt x="343" y="88"/>
                    <a:pt x="343" y="88"/>
                  </a:cubicBezTo>
                  <a:cubicBezTo>
                    <a:pt x="341" y="94"/>
                    <a:pt x="341" y="94"/>
                    <a:pt x="341" y="94"/>
                  </a:cubicBezTo>
                  <a:cubicBezTo>
                    <a:pt x="328" y="94"/>
                    <a:pt x="328" y="94"/>
                    <a:pt x="328" y="94"/>
                  </a:cubicBezTo>
                  <a:cubicBezTo>
                    <a:pt x="327" y="102"/>
                    <a:pt x="327" y="102"/>
                    <a:pt x="327" y="102"/>
                  </a:cubicBezTo>
                  <a:cubicBezTo>
                    <a:pt x="331" y="104"/>
                    <a:pt x="331" y="104"/>
                    <a:pt x="331" y="104"/>
                  </a:cubicBezTo>
                  <a:cubicBezTo>
                    <a:pt x="322" y="113"/>
                    <a:pt x="322" y="113"/>
                    <a:pt x="322" y="113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6" y="123"/>
                    <a:pt x="336" y="123"/>
                    <a:pt x="336" y="123"/>
                  </a:cubicBezTo>
                  <a:cubicBezTo>
                    <a:pt x="333" y="129"/>
                    <a:pt x="333" y="129"/>
                    <a:pt x="333" y="129"/>
                  </a:cubicBezTo>
                  <a:cubicBezTo>
                    <a:pt x="342" y="125"/>
                    <a:pt x="342" y="125"/>
                    <a:pt x="342" y="125"/>
                  </a:cubicBezTo>
                  <a:cubicBezTo>
                    <a:pt x="348" y="126"/>
                    <a:pt x="348" y="126"/>
                    <a:pt x="348" y="126"/>
                  </a:cubicBezTo>
                  <a:cubicBezTo>
                    <a:pt x="348" y="126"/>
                    <a:pt x="354" y="114"/>
                    <a:pt x="359" y="118"/>
                  </a:cubicBezTo>
                  <a:cubicBezTo>
                    <a:pt x="364" y="121"/>
                    <a:pt x="354" y="126"/>
                    <a:pt x="354" y="126"/>
                  </a:cubicBezTo>
                  <a:cubicBezTo>
                    <a:pt x="358" y="139"/>
                    <a:pt x="358" y="139"/>
                    <a:pt x="358" y="139"/>
                  </a:cubicBezTo>
                  <a:cubicBezTo>
                    <a:pt x="374" y="134"/>
                    <a:pt x="374" y="134"/>
                    <a:pt x="374" y="134"/>
                  </a:cubicBezTo>
                  <a:cubicBezTo>
                    <a:pt x="373" y="130"/>
                    <a:pt x="373" y="130"/>
                    <a:pt x="373" y="130"/>
                  </a:cubicBezTo>
                  <a:cubicBezTo>
                    <a:pt x="373" y="130"/>
                    <a:pt x="379" y="130"/>
                    <a:pt x="382" y="129"/>
                  </a:cubicBezTo>
                  <a:cubicBezTo>
                    <a:pt x="387" y="127"/>
                    <a:pt x="389" y="121"/>
                    <a:pt x="393" y="125"/>
                  </a:cubicBezTo>
                  <a:cubicBezTo>
                    <a:pt x="398" y="129"/>
                    <a:pt x="400" y="132"/>
                    <a:pt x="396" y="134"/>
                  </a:cubicBezTo>
                  <a:cubicBezTo>
                    <a:pt x="392" y="136"/>
                    <a:pt x="386" y="145"/>
                    <a:pt x="386" y="145"/>
                  </a:cubicBezTo>
                  <a:cubicBezTo>
                    <a:pt x="377" y="146"/>
                    <a:pt x="377" y="146"/>
                    <a:pt x="377" y="146"/>
                  </a:cubicBezTo>
                  <a:cubicBezTo>
                    <a:pt x="372" y="151"/>
                    <a:pt x="372" y="151"/>
                    <a:pt x="372" y="151"/>
                  </a:cubicBezTo>
                  <a:cubicBezTo>
                    <a:pt x="361" y="159"/>
                    <a:pt x="361" y="159"/>
                    <a:pt x="361" y="159"/>
                  </a:cubicBezTo>
                  <a:cubicBezTo>
                    <a:pt x="361" y="159"/>
                    <a:pt x="367" y="161"/>
                    <a:pt x="367" y="162"/>
                  </a:cubicBezTo>
                  <a:cubicBezTo>
                    <a:pt x="367" y="164"/>
                    <a:pt x="364" y="181"/>
                    <a:pt x="364" y="181"/>
                  </a:cubicBezTo>
                  <a:cubicBezTo>
                    <a:pt x="378" y="186"/>
                    <a:pt x="378" y="186"/>
                    <a:pt x="378" y="186"/>
                  </a:cubicBezTo>
                  <a:cubicBezTo>
                    <a:pt x="383" y="184"/>
                    <a:pt x="383" y="184"/>
                    <a:pt x="383" y="184"/>
                  </a:cubicBezTo>
                  <a:cubicBezTo>
                    <a:pt x="393" y="187"/>
                    <a:pt x="393" y="187"/>
                    <a:pt x="393" y="187"/>
                  </a:cubicBezTo>
                  <a:cubicBezTo>
                    <a:pt x="391" y="209"/>
                    <a:pt x="391" y="209"/>
                    <a:pt x="391" y="209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77" y="234"/>
                    <a:pt x="377" y="234"/>
                    <a:pt x="377" y="234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80" y="239"/>
                    <a:pt x="396" y="229"/>
                    <a:pt x="398" y="232"/>
                  </a:cubicBezTo>
                  <a:cubicBezTo>
                    <a:pt x="402" y="236"/>
                    <a:pt x="398" y="240"/>
                    <a:pt x="398" y="240"/>
                  </a:cubicBezTo>
                  <a:cubicBezTo>
                    <a:pt x="408" y="239"/>
                    <a:pt x="408" y="239"/>
                    <a:pt x="408" y="23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395" y="19"/>
                  </a:lnTo>
                  <a:close/>
                  <a:moveTo>
                    <a:pt x="379" y="327"/>
                  </a:moveTo>
                  <a:cubicBezTo>
                    <a:pt x="370" y="322"/>
                    <a:pt x="370" y="316"/>
                    <a:pt x="364" y="316"/>
                  </a:cubicBezTo>
                  <a:cubicBezTo>
                    <a:pt x="359" y="318"/>
                    <a:pt x="354" y="319"/>
                    <a:pt x="354" y="319"/>
                  </a:cubicBezTo>
                  <a:cubicBezTo>
                    <a:pt x="354" y="319"/>
                    <a:pt x="358" y="326"/>
                    <a:pt x="355" y="328"/>
                  </a:cubicBezTo>
                  <a:cubicBezTo>
                    <a:pt x="353" y="330"/>
                    <a:pt x="336" y="337"/>
                    <a:pt x="336" y="337"/>
                  </a:cubicBezTo>
                  <a:cubicBezTo>
                    <a:pt x="345" y="346"/>
                    <a:pt x="345" y="346"/>
                    <a:pt x="345" y="346"/>
                  </a:cubicBezTo>
                  <a:cubicBezTo>
                    <a:pt x="345" y="346"/>
                    <a:pt x="338" y="346"/>
                    <a:pt x="337" y="347"/>
                  </a:cubicBezTo>
                  <a:cubicBezTo>
                    <a:pt x="336" y="350"/>
                    <a:pt x="340" y="354"/>
                    <a:pt x="337" y="356"/>
                  </a:cubicBezTo>
                  <a:cubicBezTo>
                    <a:pt x="332" y="358"/>
                    <a:pt x="318" y="353"/>
                    <a:pt x="318" y="353"/>
                  </a:cubicBezTo>
                  <a:cubicBezTo>
                    <a:pt x="306" y="362"/>
                    <a:pt x="306" y="362"/>
                    <a:pt x="306" y="362"/>
                  </a:cubicBezTo>
                  <a:cubicBezTo>
                    <a:pt x="306" y="362"/>
                    <a:pt x="311" y="370"/>
                    <a:pt x="307" y="371"/>
                  </a:cubicBezTo>
                  <a:cubicBezTo>
                    <a:pt x="303" y="371"/>
                    <a:pt x="296" y="367"/>
                    <a:pt x="296" y="367"/>
                  </a:cubicBezTo>
                  <a:cubicBezTo>
                    <a:pt x="297" y="382"/>
                    <a:pt x="297" y="382"/>
                    <a:pt x="297" y="382"/>
                  </a:cubicBezTo>
                  <a:cubicBezTo>
                    <a:pt x="292" y="384"/>
                    <a:pt x="292" y="384"/>
                    <a:pt x="292" y="384"/>
                  </a:cubicBezTo>
                  <a:cubicBezTo>
                    <a:pt x="292" y="384"/>
                    <a:pt x="298" y="390"/>
                    <a:pt x="296" y="397"/>
                  </a:cubicBezTo>
                  <a:cubicBezTo>
                    <a:pt x="294" y="402"/>
                    <a:pt x="290" y="414"/>
                    <a:pt x="290" y="414"/>
                  </a:cubicBezTo>
                  <a:cubicBezTo>
                    <a:pt x="258" y="417"/>
                    <a:pt x="258" y="417"/>
                    <a:pt x="258" y="417"/>
                  </a:cubicBezTo>
                  <a:cubicBezTo>
                    <a:pt x="258" y="417"/>
                    <a:pt x="258" y="414"/>
                    <a:pt x="255" y="413"/>
                  </a:cubicBezTo>
                  <a:cubicBezTo>
                    <a:pt x="251" y="413"/>
                    <a:pt x="248" y="415"/>
                    <a:pt x="248" y="415"/>
                  </a:cubicBezTo>
                  <a:cubicBezTo>
                    <a:pt x="248" y="415"/>
                    <a:pt x="236" y="410"/>
                    <a:pt x="234" y="415"/>
                  </a:cubicBezTo>
                  <a:cubicBezTo>
                    <a:pt x="232" y="419"/>
                    <a:pt x="232" y="422"/>
                    <a:pt x="234" y="423"/>
                  </a:cubicBezTo>
                  <a:cubicBezTo>
                    <a:pt x="238" y="423"/>
                    <a:pt x="243" y="422"/>
                    <a:pt x="245" y="428"/>
                  </a:cubicBezTo>
                  <a:cubicBezTo>
                    <a:pt x="247" y="432"/>
                    <a:pt x="255" y="432"/>
                    <a:pt x="254" y="436"/>
                  </a:cubicBezTo>
                  <a:cubicBezTo>
                    <a:pt x="252" y="440"/>
                    <a:pt x="251" y="448"/>
                    <a:pt x="246" y="445"/>
                  </a:cubicBezTo>
                  <a:cubicBezTo>
                    <a:pt x="242" y="442"/>
                    <a:pt x="239" y="436"/>
                    <a:pt x="239" y="433"/>
                  </a:cubicBezTo>
                  <a:cubicBezTo>
                    <a:pt x="239" y="429"/>
                    <a:pt x="238" y="428"/>
                    <a:pt x="232" y="428"/>
                  </a:cubicBezTo>
                  <a:cubicBezTo>
                    <a:pt x="227" y="428"/>
                    <a:pt x="221" y="429"/>
                    <a:pt x="215" y="424"/>
                  </a:cubicBezTo>
                  <a:cubicBezTo>
                    <a:pt x="210" y="420"/>
                    <a:pt x="205" y="419"/>
                    <a:pt x="202" y="422"/>
                  </a:cubicBezTo>
                  <a:cubicBezTo>
                    <a:pt x="199" y="426"/>
                    <a:pt x="198" y="428"/>
                    <a:pt x="194" y="426"/>
                  </a:cubicBezTo>
                  <a:cubicBezTo>
                    <a:pt x="189" y="425"/>
                    <a:pt x="191" y="417"/>
                    <a:pt x="182" y="418"/>
                  </a:cubicBezTo>
                  <a:cubicBezTo>
                    <a:pt x="174" y="419"/>
                    <a:pt x="161" y="431"/>
                    <a:pt x="161" y="431"/>
                  </a:cubicBezTo>
                  <a:cubicBezTo>
                    <a:pt x="153" y="431"/>
                    <a:pt x="153" y="431"/>
                    <a:pt x="153" y="431"/>
                  </a:cubicBezTo>
                  <a:cubicBezTo>
                    <a:pt x="153" y="431"/>
                    <a:pt x="157" y="437"/>
                    <a:pt x="151" y="437"/>
                  </a:cubicBezTo>
                  <a:cubicBezTo>
                    <a:pt x="145" y="438"/>
                    <a:pt x="129" y="428"/>
                    <a:pt x="129" y="428"/>
                  </a:cubicBezTo>
                  <a:cubicBezTo>
                    <a:pt x="125" y="430"/>
                    <a:pt x="125" y="430"/>
                    <a:pt x="125" y="430"/>
                  </a:cubicBezTo>
                  <a:cubicBezTo>
                    <a:pt x="127" y="437"/>
                    <a:pt x="127" y="437"/>
                    <a:pt x="127" y="437"/>
                  </a:cubicBezTo>
                  <a:cubicBezTo>
                    <a:pt x="127" y="437"/>
                    <a:pt x="118" y="437"/>
                    <a:pt x="116" y="441"/>
                  </a:cubicBezTo>
                  <a:cubicBezTo>
                    <a:pt x="114" y="446"/>
                    <a:pt x="123" y="452"/>
                    <a:pt x="119" y="454"/>
                  </a:cubicBezTo>
                  <a:cubicBezTo>
                    <a:pt x="116" y="456"/>
                    <a:pt x="111" y="455"/>
                    <a:pt x="111" y="455"/>
                  </a:cubicBezTo>
                  <a:cubicBezTo>
                    <a:pt x="111" y="455"/>
                    <a:pt x="110" y="468"/>
                    <a:pt x="104" y="466"/>
                  </a:cubicBezTo>
                  <a:cubicBezTo>
                    <a:pt x="99" y="465"/>
                    <a:pt x="105" y="455"/>
                    <a:pt x="102" y="454"/>
                  </a:cubicBezTo>
                  <a:cubicBezTo>
                    <a:pt x="99" y="453"/>
                    <a:pt x="88" y="460"/>
                    <a:pt x="88" y="460"/>
                  </a:cubicBezTo>
                  <a:cubicBezTo>
                    <a:pt x="77" y="460"/>
                    <a:pt x="77" y="460"/>
                    <a:pt x="77" y="460"/>
                  </a:cubicBezTo>
                  <a:cubicBezTo>
                    <a:pt x="84" y="466"/>
                    <a:pt x="84" y="466"/>
                    <a:pt x="84" y="466"/>
                  </a:cubicBezTo>
                  <a:cubicBezTo>
                    <a:pt x="84" y="466"/>
                    <a:pt x="79" y="469"/>
                    <a:pt x="77" y="471"/>
                  </a:cubicBezTo>
                  <a:cubicBezTo>
                    <a:pt x="75" y="473"/>
                    <a:pt x="80" y="480"/>
                    <a:pt x="80" y="482"/>
                  </a:cubicBezTo>
                  <a:cubicBezTo>
                    <a:pt x="80" y="485"/>
                    <a:pt x="70" y="487"/>
                    <a:pt x="71" y="489"/>
                  </a:cubicBezTo>
                  <a:cubicBezTo>
                    <a:pt x="72" y="493"/>
                    <a:pt x="79" y="492"/>
                    <a:pt x="78" y="496"/>
                  </a:cubicBezTo>
                  <a:cubicBezTo>
                    <a:pt x="78" y="499"/>
                    <a:pt x="65" y="507"/>
                    <a:pt x="65" y="507"/>
                  </a:cubicBezTo>
                  <a:cubicBezTo>
                    <a:pt x="59" y="518"/>
                    <a:pt x="59" y="518"/>
                    <a:pt x="59" y="518"/>
                  </a:cubicBezTo>
                  <a:cubicBezTo>
                    <a:pt x="49" y="524"/>
                    <a:pt x="49" y="524"/>
                    <a:pt x="49" y="524"/>
                  </a:cubicBezTo>
                  <a:cubicBezTo>
                    <a:pt x="51" y="534"/>
                    <a:pt x="51" y="534"/>
                    <a:pt x="51" y="534"/>
                  </a:cubicBezTo>
                  <a:cubicBezTo>
                    <a:pt x="51" y="534"/>
                    <a:pt x="61" y="533"/>
                    <a:pt x="59" y="537"/>
                  </a:cubicBezTo>
                  <a:cubicBezTo>
                    <a:pt x="58" y="543"/>
                    <a:pt x="51" y="548"/>
                    <a:pt x="51" y="548"/>
                  </a:cubicBezTo>
                  <a:cubicBezTo>
                    <a:pt x="51" y="548"/>
                    <a:pt x="53" y="564"/>
                    <a:pt x="47" y="565"/>
                  </a:cubicBezTo>
                  <a:cubicBezTo>
                    <a:pt x="41" y="566"/>
                    <a:pt x="36" y="568"/>
                    <a:pt x="36" y="568"/>
                  </a:cubicBezTo>
                  <a:cubicBezTo>
                    <a:pt x="35" y="572"/>
                    <a:pt x="35" y="572"/>
                    <a:pt x="35" y="572"/>
                  </a:cubicBezTo>
                  <a:cubicBezTo>
                    <a:pt x="39" y="572"/>
                    <a:pt x="39" y="572"/>
                    <a:pt x="39" y="572"/>
                  </a:cubicBezTo>
                  <a:cubicBezTo>
                    <a:pt x="39" y="572"/>
                    <a:pt x="49" y="584"/>
                    <a:pt x="53" y="588"/>
                  </a:cubicBezTo>
                  <a:cubicBezTo>
                    <a:pt x="58" y="590"/>
                    <a:pt x="61" y="595"/>
                    <a:pt x="61" y="595"/>
                  </a:cubicBezTo>
                  <a:cubicBezTo>
                    <a:pt x="61" y="595"/>
                    <a:pt x="68" y="587"/>
                    <a:pt x="67" y="596"/>
                  </a:cubicBezTo>
                  <a:cubicBezTo>
                    <a:pt x="66" y="606"/>
                    <a:pt x="60" y="620"/>
                    <a:pt x="54" y="620"/>
                  </a:cubicBezTo>
                  <a:cubicBezTo>
                    <a:pt x="48" y="620"/>
                    <a:pt x="41" y="621"/>
                    <a:pt x="37" y="614"/>
                  </a:cubicBezTo>
                  <a:cubicBezTo>
                    <a:pt x="34" y="609"/>
                    <a:pt x="22" y="600"/>
                    <a:pt x="14" y="600"/>
                  </a:cubicBezTo>
                  <a:cubicBezTo>
                    <a:pt x="4" y="600"/>
                    <a:pt x="0" y="607"/>
                    <a:pt x="1" y="614"/>
                  </a:cubicBezTo>
                  <a:cubicBezTo>
                    <a:pt x="1" y="622"/>
                    <a:pt x="10" y="623"/>
                    <a:pt x="9" y="628"/>
                  </a:cubicBezTo>
                  <a:cubicBezTo>
                    <a:pt x="0" y="643"/>
                    <a:pt x="0" y="643"/>
                    <a:pt x="0" y="643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22" y="676"/>
                    <a:pt x="25" y="685"/>
                  </a:cubicBezTo>
                  <a:cubicBezTo>
                    <a:pt x="28" y="693"/>
                    <a:pt x="22" y="703"/>
                    <a:pt x="22" y="703"/>
                  </a:cubicBezTo>
                  <a:cubicBezTo>
                    <a:pt x="28" y="742"/>
                    <a:pt x="28" y="742"/>
                    <a:pt x="28" y="742"/>
                  </a:cubicBezTo>
                  <a:cubicBezTo>
                    <a:pt x="57" y="736"/>
                    <a:pt x="57" y="736"/>
                    <a:pt x="57" y="736"/>
                  </a:cubicBezTo>
                  <a:cubicBezTo>
                    <a:pt x="57" y="736"/>
                    <a:pt x="57" y="740"/>
                    <a:pt x="60" y="742"/>
                  </a:cubicBezTo>
                  <a:cubicBezTo>
                    <a:pt x="62" y="745"/>
                    <a:pt x="67" y="747"/>
                    <a:pt x="65" y="750"/>
                  </a:cubicBezTo>
                  <a:cubicBezTo>
                    <a:pt x="64" y="752"/>
                    <a:pt x="63" y="759"/>
                    <a:pt x="68" y="760"/>
                  </a:cubicBezTo>
                  <a:cubicBezTo>
                    <a:pt x="74" y="762"/>
                    <a:pt x="86" y="762"/>
                    <a:pt x="86" y="762"/>
                  </a:cubicBezTo>
                  <a:cubicBezTo>
                    <a:pt x="82" y="754"/>
                    <a:pt x="82" y="754"/>
                    <a:pt x="82" y="754"/>
                  </a:cubicBezTo>
                  <a:cubicBezTo>
                    <a:pt x="82" y="754"/>
                    <a:pt x="87" y="755"/>
                    <a:pt x="94" y="753"/>
                  </a:cubicBezTo>
                  <a:cubicBezTo>
                    <a:pt x="101" y="751"/>
                    <a:pt x="98" y="739"/>
                    <a:pt x="108" y="742"/>
                  </a:cubicBezTo>
                  <a:cubicBezTo>
                    <a:pt x="117" y="745"/>
                    <a:pt x="118" y="756"/>
                    <a:pt x="125" y="756"/>
                  </a:cubicBezTo>
                  <a:cubicBezTo>
                    <a:pt x="132" y="756"/>
                    <a:pt x="133" y="752"/>
                    <a:pt x="139" y="754"/>
                  </a:cubicBezTo>
                  <a:cubicBezTo>
                    <a:pt x="144" y="757"/>
                    <a:pt x="149" y="768"/>
                    <a:pt x="157" y="770"/>
                  </a:cubicBezTo>
                  <a:cubicBezTo>
                    <a:pt x="164" y="772"/>
                    <a:pt x="183" y="779"/>
                    <a:pt x="178" y="784"/>
                  </a:cubicBezTo>
                  <a:cubicBezTo>
                    <a:pt x="174" y="788"/>
                    <a:pt x="164" y="782"/>
                    <a:pt x="160" y="787"/>
                  </a:cubicBezTo>
                  <a:cubicBezTo>
                    <a:pt x="156" y="794"/>
                    <a:pt x="157" y="800"/>
                    <a:pt x="166" y="801"/>
                  </a:cubicBezTo>
                  <a:cubicBezTo>
                    <a:pt x="177" y="802"/>
                    <a:pt x="200" y="798"/>
                    <a:pt x="200" y="798"/>
                  </a:cubicBezTo>
                  <a:cubicBezTo>
                    <a:pt x="199" y="794"/>
                    <a:pt x="199" y="794"/>
                    <a:pt x="199" y="794"/>
                  </a:cubicBezTo>
                  <a:cubicBezTo>
                    <a:pt x="196" y="793"/>
                    <a:pt x="196" y="793"/>
                    <a:pt x="196" y="793"/>
                  </a:cubicBezTo>
                  <a:cubicBezTo>
                    <a:pt x="202" y="791"/>
                    <a:pt x="202" y="791"/>
                    <a:pt x="202" y="791"/>
                  </a:cubicBezTo>
                  <a:cubicBezTo>
                    <a:pt x="202" y="788"/>
                    <a:pt x="202" y="788"/>
                    <a:pt x="202" y="788"/>
                  </a:cubicBezTo>
                  <a:cubicBezTo>
                    <a:pt x="198" y="789"/>
                    <a:pt x="198" y="789"/>
                    <a:pt x="198" y="789"/>
                  </a:cubicBezTo>
                  <a:cubicBezTo>
                    <a:pt x="198" y="785"/>
                    <a:pt x="198" y="785"/>
                    <a:pt x="198" y="785"/>
                  </a:cubicBezTo>
                  <a:cubicBezTo>
                    <a:pt x="195" y="782"/>
                    <a:pt x="195" y="782"/>
                    <a:pt x="195" y="782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5" y="779"/>
                    <a:pt x="205" y="779"/>
                    <a:pt x="205" y="779"/>
                  </a:cubicBezTo>
                  <a:cubicBezTo>
                    <a:pt x="209" y="784"/>
                    <a:pt x="209" y="784"/>
                    <a:pt x="209" y="784"/>
                  </a:cubicBezTo>
                  <a:cubicBezTo>
                    <a:pt x="209" y="778"/>
                    <a:pt x="209" y="778"/>
                    <a:pt x="209" y="778"/>
                  </a:cubicBezTo>
                  <a:cubicBezTo>
                    <a:pt x="209" y="778"/>
                    <a:pt x="212" y="780"/>
                    <a:pt x="215" y="775"/>
                  </a:cubicBezTo>
                  <a:cubicBezTo>
                    <a:pt x="219" y="770"/>
                    <a:pt x="218" y="765"/>
                    <a:pt x="218" y="765"/>
                  </a:cubicBezTo>
                  <a:cubicBezTo>
                    <a:pt x="218" y="765"/>
                    <a:pt x="222" y="768"/>
                    <a:pt x="223" y="765"/>
                  </a:cubicBezTo>
                  <a:cubicBezTo>
                    <a:pt x="225" y="763"/>
                    <a:pt x="224" y="756"/>
                    <a:pt x="224" y="756"/>
                  </a:cubicBezTo>
                  <a:cubicBezTo>
                    <a:pt x="228" y="754"/>
                    <a:pt x="228" y="754"/>
                    <a:pt x="228" y="754"/>
                  </a:cubicBezTo>
                  <a:cubicBezTo>
                    <a:pt x="228" y="740"/>
                    <a:pt x="228" y="740"/>
                    <a:pt x="228" y="740"/>
                  </a:cubicBezTo>
                  <a:cubicBezTo>
                    <a:pt x="236" y="740"/>
                    <a:pt x="236" y="740"/>
                    <a:pt x="236" y="740"/>
                  </a:cubicBezTo>
                  <a:cubicBezTo>
                    <a:pt x="235" y="733"/>
                    <a:pt x="235" y="733"/>
                    <a:pt x="235" y="733"/>
                  </a:cubicBezTo>
                  <a:cubicBezTo>
                    <a:pt x="243" y="732"/>
                    <a:pt x="243" y="732"/>
                    <a:pt x="243" y="732"/>
                  </a:cubicBezTo>
                  <a:cubicBezTo>
                    <a:pt x="243" y="732"/>
                    <a:pt x="239" y="722"/>
                    <a:pt x="247" y="714"/>
                  </a:cubicBezTo>
                  <a:cubicBezTo>
                    <a:pt x="256" y="705"/>
                    <a:pt x="262" y="707"/>
                    <a:pt x="262" y="707"/>
                  </a:cubicBezTo>
                  <a:cubicBezTo>
                    <a:pt x="266" y="705"/>
                    <a:pt x="266" y="705"/>
                    <a:pt x="266" y="705"/>
                  </a:cubicBezTo>
                  <a:cubicBezTo>
                    <a:pt x="268" y="707"/>
                    <a:pt x="268" y="707"/>
                    <a:pt x="268" y="707"/>
                  </a:cubicBezTo>
                  <a:cubicBezTo>
                    <a:pt x="270" y="703"/>
                    <a:pt x="270" y="703"/>
                    <a:pt x="270" y="703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81" y="707"/>
                    <a:pt x="281" y="707"/>
                    <a:pt x="281" y="707"/>
                  </a:cubicBezTo>
                  <a:cubicBezTo>
                    <a:pt x="283" y="702"/>
                    <a:pt x="283" y="702"/>
                    <a:pt x="283" y="702"/>
                  </a:cubicBezTo>
                  <a:cubicBezTo>
                    <a:pt x="285" y="708"/>
                    <a:pt x="285" y="708"/>
                    <a:pt x="285" y="708"/>
                  </a:cubicBezTo>
                  <a:cubicBezTo>
                    <a:pt x="290" y="703"/>
                    <a:pt x="290" y="703"/>
                    <a:pt x="290" y="703"/>
                  </a:cubicBezTo>
                  <a:cubicBezTo>
                    <a:pt x="290" y="703"/>
                    <a:pt x="293" y="708"/>
                    <a:pt x="296" y="707"/>
                  </a:cubicBezTo>
                  <a:cubicBezTo>
                    <a:pt x="299" y="706"/>
                    <a:pt x="298" y="699"/>
                    <a:pt x="298" y="699"/>
                  </a:cubicBezTo>
                  <a:cubicBezTo>
                    <a:pt x="304" y="696"/>
                    <a:pt x="304" y="696"/>
                    <a:pt x="304" y="696"/>
                  </a:cubicBezTo>
                  <a:cubicBezTo>
                    <a:pt x="304" y="696"/>
                    <a:pt x="301" y="687"/>
                    <a:pt x="304" y="685"/>
                  </a:cubicBezTo>
                  <a:cubicBezTo>
                    <a:pt x="307" y="683"/>
                    <a:pt x="309" y="688"/>
                    <a:pt x="309" y="688"/>
                  </a:cubicBezTo>
                  <a:cubicBezTo>
                    <a:pt x="318" y="683"/>
                    <a:pt x="318" y="683"/>
                    <a:pt x="318" y="683"/>
                  </a:cubicBezTo>
                  <a:cubicBezTo>
                    <a:pt x="318" y="683"/>
                    <a:pt x="318" y="677"/>
                    <a:pt x="322" y="677"/>
                  </a:cubicBezTo>
                  <a:cubicBezTo>
                    <a:pt x="326" y="677"/>
                    <a:pt x="326" y="679"/>
                    <a:pt x="326" y="679"/>
                  </a:cubicBezTo>
                  <a:cubicBezTo>
                    <a:pt x="332" y="678"/>
                    <a:pt x="332" y="678"/>
                    <a:pt x="332" y="678"/>
                  </a:cubicBezTo>
                  <a:cubicBezTo>
                    <a:pt x="332" y="678"/>
                    <a:pt x="333" y="684"/>
                    <a:pt x="337" y="685"/>
                  </a:cubicBezTo>
                  <a:cubicBezTo>
                    <a:pt x="340" y="685"/>
                    <a:pt x="345" y="682"/>
                    <a:pt x="345" y="685"/>
                  </a:cubicBezTo>
                  <a:cubicBezTo>
                    <a:pt x="345" y="689"/>
                    <a:pt x="337" y="691"/>
                    <a:pt x="337" y="691"/>
                  </a:cubicBezTo>
                  <a:cubicBezTo>
                    <a:pt x="338" y="696"/>
                    <a:pt x="338" y="696"/>
                    <a:pt x="338" y="696"/>
                  </a:cubicBezTo>
                  <a:cubicBezTo>
                    <a:pt x="341" y="694"/>
                    <a:pt x="341" y="694"/>
                    <a:pt x="341" y="694"/>
                  </a:cubicBezTo>
                  <a:cubicBezTo>
                    <a:pt x="342" y="701"/>
                    <a:pt x="342" y="701"/>
                    <a:pt x="342" y="701"/>
                  </a:cubicBezTo>
                  <a:cubicBezTo>
                    <a:pt x="352" y="703"/>
                    <a:pt x="352" y="703"/>
                    <a:pt x="352" y="703"/>
                  </a:cubicBezTo>
                  <a:cubicBezTo>
                    <a:pt x="352" y="706"/>
                    <a:pt x="352" y="706"/>
                    <a:pt x="352" y="706"/>
                  </a:cubicBezTo>
                  <a:cubicBezTo>
                    <a:pt x="346" y="706"/>
                    <a:pt x="346" y="706"/>
                    <a:pt x="346" y="706"/>
                  </a:cubicBezTo>
                  <a:cubicBezTo>
                    <a:pt x="348" y="713"/>
                    <a:pt x="348" y="713"/>
                    <a:pt x="348" y="713"/>
                  </a:cubicBezTo>
                  <a:cubicBezTo>
                    <a:pt x="357" y="709"/>
                    <a:pt x="357" y="709"/>
                    <a:pt x="357" y="709"/>
                  </a:cubicBezTo>
                  <a:cubicBezTo>
                    <a:pt x="357" y="709"/>
                    <a:pt x="357" y="716"/>
                    <a:pt x="359" y="718"/>
                  </a:cubicBezTo>
                  <a:cubicBezTo>
                    <a:pt x="361" y="720"/>
                    <a:pt x="364" y="725"/>
                    <a:pt x="363" y="732"/>
                  </a:cubicBezTo>
                  <a:cubicBezTo>
                    <a:pt x="363" y="738"/>
                    <a:pt x="361" y="741"/>
                    <a:pt x="361" y="748"/>
                  </a:cubicBezTo>
                  <a:cubicBezTo>
                    <a:pt x="361" y="753"/>
                    <a:pt x="367" y="760"/>
                    <a:pt x="367" y="760"/>
                  </a:cubicBezTo>
                  <a:cubicBezTo>
                    <a:pt x="391" y="756"/>
                    <a:pt x="391" y="756"/>
                    <a:pt x="391" y="756"/>
                  </a:cubicBezTo>
                  <a:cubicBezTo>
                    <a:pt x="391" y="756"/>
                    <a:pt x="388" y="767"/>
                    <a:pt x="381" y="768"/>
                  </a:cubicBezTo>
                  <a:cubicBezTo>
                    <a:pt x="374" y="770"/>
                    <a:pt x="366" y="769"/>
                    <a:pt x="362" y="772"/>
                  </a:cubicBezTo>
                  <a:cubicBezTo>
                    <a:pt x="358" y="776"/>
                    <a:pt x="350" y="784"/>
                    <a:pt x="346" y="786"/>
                  </a:cubicBezTo>
                  <a:cubicBezTo>
                    <a:pt x="342" y="788"/>
                    <a:pt x="331" y="789"/>
                    <a:pt x="331" y="789"/>
                  </a:cubicBezTo>
                  <a:cubicBezTo>
                    <a:pt x="330" y="799"/>
                    <a:pt x="330" y="799"/>
                    <a:pt x="330" y="799"/>
                  </a:cubicBezTo>
                  <a:cubicBezTo>
                    <a:pt x="323" y="801"/>
                    <a:pt x="323" y="801"/>
                    <a:pt x="323" y="801"/>
                  </a:cubicBezTo>
                  <a:cubicBezTo>
                    <a:pt x="323" y="801"/>
                    <a:pt x="321" y="810"/>
                    <a:pt x="321" y="814"/>
                  </a:cubicBezTo>
                  <a:cubicBezTo>
                    <a:pt x="321" y="818"/>
                    <a:pt x="326" y="823"/>
                    <a:pt x="326" y="823"/>
                  </a:cubicBezTo>
                  <a:cubicBezTo>
                    <a:pt x="326" y="823"/>
                    <a:pt x="323" y="823"/>
                    <a:pt x="321" y="825"/>
                  </a:cubicBezTo>
                  <a:cubicBezTo>
                    <a:pt x="318" y="827"/>
                    <a:pt x="317" y="831"/>
                    <a:pt x="317" y="831"/>
                  </a:cubicBezTo>
                  <a:cubicBezTo>
                    <a:pt x="313" y="834"/>
                    <a:pt x="313" y="834"/>
                    <a:pt x="313" y="834"/>
                  </a:cubicBezTo>
                  <a:cubicBezTo>
                    <a:pt x="314" y="838"/>
                    <a:pt x="314" y="838"/>
                    <a:pt x="314" y="838"/>
                  </a:cubicBezTo>
                  <a:cubicBezTo>
                    <a:pt x="322" y="836"/>
                    <a:pt x="322" y="836"/>
                    <a:pt x="322" y="836"/>
                  </a:cubicBezTo>
                  <a:cubicBezTo>
                    <a:pt x="321" y="842"/>
                    <a:pt x="321" y="842"/>
                    <a:pt x="321" y="842"/>
                  </a:cubicBezTo>
                  <a:cubicBezTo>
                    <a:pt x="327" y="840"/>
                    <a:pt x="327" y="840"/>
                    <a:pt x="327" y="840"/>
                  </a:cubicBezTo>
                  <a:cubicBezTo>
                    <a:pt x="328" y="842"/>
                    <a:pt x="328" y="842"/>
                    <a:pt x="328" y="842"/>
                  </a:cubicBezTo>
                  <a:cubicBezTo>
                    <a:pt x="337" y="842"/>
                    <a:pt x="337" y="842"/>
                    <a:pt x="337" y="842"/>
                  </a:cubicBezTo>
                  <a:cubicBezTo>
                    <a:pt x="337" y="842"/>
                    <a:pt x="339" y="846"/>
                    <a:pt x="342" y="846"/>
                  </a:cubicBezTo>
                  <a:cubicBezTo>
                    <a:pt x="346" y="845"/>
                    <a:pt x="349" y="840"/>
                    <a:pt x="352" y="843"/>
                  </a:cubicBezTo>
                  <a:cubicBezTo>
                    <a:pt x="355" y="847"/>
                    <a:pt x="345" y="850"/>
                    <a:pt x="345" y="850"/>
                  </a:cubicBezTo>
                  <a:cubicBezTo>
                    <a:pt x="345" y="850"/>
                    <a:pt x="344" y="860"/>
                    <a:pt x="340" y="859"/>
                  </a:cubicBezTo>
                  <a:cubicBezTo>
                    <a:pt x="336" y="858"/>
                    <a:pt x="323" y="857"/>
                    <a:pt x="323" y="857"/>
                  </a:cubicBezTo>
                  <a:cubicBezTo>
                    <a:pt x="323" y="857"/>
                    <a:pt x="316" y="863"/>
                    <a:pt x="312" y="864"/>
                  </a:cubicBezTo>
                  <a:cubicBezTo>
                    <a:pt x="309" y="865"/>
                    <a:pt x="297" y="866"/>
                    <a:pt x="301" y="879"/>
                  </a:cubicBezTo>
                  <a:cubicBezTo>
                    <a:pt x="306" y="891"/>
                    <a:pt x="314" y="889"/>
                    <a:pt x="321" y="886"/>
                  </a:cubicBezTo>
                  <a:cubicBezTo>
                    <a:pt x="328" y="883"/>
                    <a:pt x="336" y="879"/>
                    <a:pt x="341" y="886"/>
                  </a:cubicBezTo>
                  <a:cubicBezTo>
                    <a:pt x="346" y="891"/>
                    <a:pt x="363" y="907"/>
                    <a:pt x="367" y="906"/>
                  </a:cubicBezTo>
                  <a:cubicBezTo>
                    <a:pt x="373" y="906"/>
                    <a:pt x="378" y="904"/>
                    <a:pt x="385" y="913"/>
                  </a:cubicBezTo>
                  <a:cubicBezTo>
                    <a:pt x="391" y="922"/>
                    <a:pt x="390" y="931"/>
                    <a:pt x="390" y="931"/>
                  </a:cubicBezTo>
                  <a:cubicBezTo>
                    <a:pt x="393" y="931"/>
                    <a:pt x="393" y="931"/>
                    <a:pt x="393" y="931"/>
                  </a:cubicBezTo>
                  <a:cubicBezTo>
                    <a:pt x="397" y="925"/>
                    <a:pt x="397" y="925"/>
                    <a:pt x="397" y="925"/>
                  </a:cubicBezTo>
                  <a:cubicBezTo>
                    <a:pt x="402" y="925"/>
                    <a:pt x="402" y="925"/>
                    <a:pt x="402" y="925"/>
                  </a:cubicBezTo>
                  <a:cubicBezTo>
                    <a:pt x="402" y="925"/>
                    <a:pt x="402" y="921"/>
                    <a:pt x="406" y="920"/>
                  </a:cubicBezTo>
                  <a:cubicBezTo>
                    <a:pt x="408" y="920"/>
                    <a:pt x="408" y="920"/>
                    <a:pt x="408" y="920"/>
                  </a:cubicBezTo>
                  <a:cubicBezTo>
                    <a:pt x="408" y="320"/>
                    <a:pt x="408" y="320"/>
                    <a:pt x="408" y="320"/>
                  </a:cubicBezTo>
                  <a:cubicBezTo>
                    <a:pt x="399" y="324"/>
                    <a:pt x="387" y="331"/>
                    <a:pt x="379" y="32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9" name="Aserbaidschan" descr="© INSCALE GmbH, 05.05.2010&#10;http://www.presentationload.com/">
              <a:extLst>
                <a:ext uri="{FF2B5EF4-FFF2-40B4-BE49-F238E27FC236}">
                  <a16:creationId xmlns:a16="http://schemas.microsoft.com/office/drawing/2014/main" id="{5529BB09-426F-5E45-9E22-E62931A758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01070" y="4768787"/>
              <a:ext cx="542930" cy="584187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0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BFDF641-D34A-5444-AC30-FB96ABFD25A0}"/>
                </a:ext>
              </a:extLst>
            </p:cNvPr>
            <p:cNvSpPr>
              <a:spLocks/>
            </p:cNvSpPr>
            <p:nvPr/>
          </p:nvSpPr>
          <p:spPr bwMode="gray">
            <a:xfrm>
              <a:off x="8635723" y="5098836"/>
              <a:ext cx="508277" cy="696405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Irak" descr="© INSCALE GmbH, 05.05.2010&#10;http://www.presentationload.com/">
              <a:extLst>
                <a:ext uri="{FF2B5EF4-FFF2-40B4-BE49-F238E27FC236}">
                  <a16:creationId xmlns:a16="http://schemas.microsoft.com/office/drawing/2014/main" id="{9C4718FA-0804-CE45-8B48-D61ECC20E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98088" y="5654970"/>
              <a:ext cx="745912" cy="1082562"/>
            </a:xfrm>
            <a:custGeom>
              <a:avLst/>
              <a:gdLst/>
              <a:ahLst/>
              <a:cxnLst>
                <a:cxn ang="0">
                  <a:pos x="312" y="46"/>
                </a:cxn>
                <a:cxn ang="0">
                  <a:pos x="312" y="47"/>
                </a:cxn>
                <a:cxn ang="0">
                  <a:pos x="306" y="42"/>
                </a:cxn>
                <a:cxn ang="0">
                  <a:pos x="292" y="55"/>
                </a:cxn>
                <a:cxn ang="0">
                  <a:pos x="276" y="50"/>
                </a:cxn>
                <a:cxn ang="0">
                  <a:pos x="264" y="60"/>
                </a:cxn>
                <a:cxn ang="0">
                  <a:pos x="264" y="49"/>
                </a:cxn>
                <a:cxn ang="0">
                  <a:pos x="253" y="44"/>
                </a:cxn>
                <a:cxn ang="0">
                  <a:pos x="245" y="31"/>
                </a:cxn>
                <a:cxn ang="0">
                  <a:pos x="234" y="35"/>
                </a:cxn>
                <a:cxn ang="0">
                  <a:pos x="227" y="20"/>
                </a:cxn>
                <a:cxn ang="0">
                  <a:pos x="213" y="21"/>
                </a:cxn>
                <a:cxn ang="0">
                  <a:pos x="211" y="18"/>
                </a:cxn>
                <a:cxn ang="0">
                  <a:pos x="214" y="8"/>
                </a:cxn>
                <a:cxn ang="0">
                  <a:pos x="203" y="7"/>
                </a:cxn>
                <a:cxn ang="0">
                  <a:pos x="200" y="2"/>
                </a:cxn>
                <a:cxn ang="0">
                  <a:pos x="191" y="3"/>
                </a:cxn>
                <a:cxn ang="0">
                  <a:pos x="182" y="22"/>
                </a:cxn>
                <a:cxn ang="0">
                  <a:pos x="175" y="20"/>
                </a:cxn>
                <a:cxn ang="0">
                  <a:pos x="168" y="5"/>
                </a:cxn>
                <a:cxn ang="0">
                  <a:pos x="155" y="18"/>
                </a:cxn>
                <a:cxn ang="0">
                  <a:pos x="126" y="22"/>
                </a:cxn>
                <a:cxn ang="0">
                  <a:pos x="126" y="26"/>
                </a:cxn>
                <a:cxn ang="0">
                  <a:pos x="113" y="26"/>
                </a:cxn>
                <a:cxn ang="0">
                  <a:pos x="110" y="33"/>
                </a:cxn>
                <a:cxn ang="0">
                  <a:pos x="90" y="33"/>
                </a:cxn>
                <a:cxn ang="0">
                  <a:pos x="96" y="50"/>
                </a:cxn>
                <a:cxn ang="0">
                  <a:pos x="84" y="56"/>
                </a:cxn>
                <a:cxn ang="0">
                  <a:pos x="85" y="69"/>
                </a:cxn>
                <a:cxn ang="0">
                  <a:pos x="79" y="77"/>
                </a:cxn>
                <a:cxn ang="0">
                  <a:pos x="70" y="101"/>
                </a:cxn>
                <a:cxn ang="0">
                  <a:pos x="51" y="117"/>
                </a:cxn>
                <a:cxn ang="0">
                  <a:pos x="57" y="147"/>
                </a:cxn>
                <a:cxn ang="0">
                  <a:pos x="72" y="164"/>
                </a:cxn>
                <a:cxn ang="0">
                  <a:pos x="77" y="200"/>
                </a:cxn>
                <a:cxn ang="0">
                  <a:pos x="90" y="226"/>
                </a:cxn>
                <a:cxn ang="0">
                  <a:pos x="91" y="239"/>
                </a:cxn>
                <a:cxn ang="0">
                  <a:pos x="88" y="240"/>
                </a:cxn>
                <a:cxn ang="0">
                  <a:pos x="89" y="256"/>
                </a:cxn>
                <a:cxn ang="0">
                  <a:pos x="87" y="257"/>
                </a:cxn>
                <a:cxn ang="0">
                  <a:pos x="0" y="371"/>
                </a:cxn>
                <a:cxn ang="0">
                  <a:pos x="57" y="432"/>
                </a:cxn>
                <a:cxn ang="0">
                  <a:pos x="101" y="425"/>
                </a:cxn>
                <a:cxn ang="0">
                  <a:pos x="203" y="436"/>
                </a:cxn>
                <a:cxn ang="0">
                  <a:pos x="298" y="438"/>
                </a:cxn>
                <a:cxn ang="0">
                  <a:pos x="312" y="455"/>
                </a:cxn>
                <a:cxn ang="0">
                  <a:pos x="312" y="46"/>
                </a:cxn>
              </a:cxnLst>
              <a:rect l="0" t="0" r="r" b="b"/>
              <a:pathLst>
                <a:path w="312" h="455">
                  <a:moveTo>
                    <a:pt x="312" y="46"/>
                  </a:moveTo>
                  <a:cubicBezTo>
                    <a:pt x="312" y="47"/>
                    <a:pt x="312" y="47"/>
                    <a:pt x="312" y="47"/>
                  </a:cubicBezTo>
                  <a:cubicBezTo>
                    <a:pt x="306" y="42"/>
                    <a:pt x="306" y="42"/>
                    <a:pt x="306" y="42"/>
                  </a:cubicBezTo>
                  <a:cubicBezTo>
                    <a:pt x="306" y="42"/>
                    <a:pt x="297" y="52"/>
                    <a:pt x="292" y="55"/>
                  </a:cubicBezTo>
                  <a:cubicBezTo>
                    <a:pt x="286" y="57"/>
                    <a:pt x="281" y="51"/>
                    <a:pt x="276" y="50"/>
                  </a:cubicBezTo>
                  <a:cubicBezTo>
                    <a:pt x="271" y="49"/>
                    <a:pt x="264" y="60"/>
                    <a:pt x="264" y="6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4" y="49"/>
                    <a:pt x="258" y="48"/>
                    <a:pt x="253" y="44"/>
                  </a:cubicBezTo>
                  <a:cubicBezTo>
                    <a:pt x="250" y="39"/>
                    <a:pt x="245" y="31"/>
                    <a:pt x="245" y="31"/>
                  </a:cubicBezTo>
                  <a:cubicBezTo>
                    <a:pt x="245" y="31"/>
                    <a:pt x="242" y="36"/>
                    <a:pt x="234" y="35"/>
                  </a:cubicBezTo>
                  <a:cubicBezTo>
                    <a:pt x="227" y="34"/>
                    <a:pt x="230" y="22"/>
                    <a:pt x="227" y="20"/>
                  </a:cubicBezTo>
                  <a:cubicBezTo>
                    <a:pt x="222" y="18"/>
                    <a:pt x="213" y="21"/>
                    <a:pt x="213" y="21"/>
                  </a:cubicBezTo>
                  <a:cubicBezTo>
                    <a:pt x="211" y="18"/>
                    <a:pt x="211" y="18"/>
                    <a:pt x="211" y="18"/>
                  </a:cubicBezTo>
                  <a:cubicBezTo>
                    <a:pt x="211" y="18"/>
                    <a:pt x="214" y="14"/>
                    <a:pt x="214" y="8"/>
                  </a:cubicBezTo>
                  <a:cubicBezTo>
                    <a:pt x="213" y="4"/>
                    <a:pt x="203" y="7"/>
                    <a:pt x="203" y="7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2"/>
                    <a:pt x="193" y="0"/>
                    <a:pt x="191" y="3"/>
                  </a:cubicBezTo>
                  <a:cubicBezTo>
                    <a:pt x="188" y="7"/>
                    <a:pt x="182" y="22"/>
                    <a:pt x="182" y="22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75" y="20"/>
                    <a:pt x="180" y="5"/>
                    <a:pt x="168" y="5"/>
                  </a:cubicBezTo>
                  <a:cubicBezTo>
                    <a:pt x="156" y="5"/>
                    <a:pt x="155" y="18"/>
                    <a:pt x="155" y="18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5" y="65"/>
                    <a:pt x="85" y="69"/>
                  </a:cubicBezTo>
                  <a:cubicBezTo>
                    <a:pt x="85" y="72"/>
                    <a:pt x="79" y="77"/>
                    <a:pt x="79" y="77"/>
                  </a:cubicBezTo>
                  <a:cubicBezTo>
                    <a:pt x="79" y="77"/>
                    <a:pt x="77" y="90"/>
                    <a:pt x="70" y="101"/>
                  </a:cubicBezTo>
                  <a:cubicBezTo>
                    <a:pt x="65" y="113"/>
                    <a:pt x="56" y="111"/>
                    <a:pt x="51" y="117"/>
                  </a:cubicBezTo>
                  <a:cubicBezTo>
                    <a:pt x="47" y="125"/>
                    <a:pt x="53" y="139"/>
                    <a:pt x="57" y="147"/>
                  </a:cubicBezTo>
                  <a:cubicBezTo>
                    <a:pt x="61" y="157"/>
                    <a:pt x="68" y="156"/>
                    <a:pt x="72" y="164"/>
                  </a:cubicBezTo>
                  <a:cubicBezTo>
                    <a:pt x="78" y="172"/>
                    <a:pt x="73" y="184"/>
                    <a:pt x="77" y="200"/>
                  </a:cubicBezTo>
                  <a:cubicBezTo>
                    <a:pt x="80" y="215"/>
                    <a:pt x="90" y="226"/>
                    <a:pt x="90" y="226"/>
                  </a:cubicBezTo>
                  <a:cubicBezTo>
                    <a:pt x="91" y="239"/>
                    <a:pt x="91" y="239"/>
                    <a:pt x="91" y="239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57" y="432"/>
                    <a:pt x="57" y="432"/>
                    <a:pt x="57" y="432"/>
                  </a:cubicBezTo>
                  <a:cubicBezTo>
                    <a:pt x="57" y="432"/>
                    <a:pt x="87" y="425"/>
                    <a:pt x="101" y="425"/>
                  </a:cubicBezTo>
                  <a:cubicBezTo>
                    <a:pt x="114" y="425"/>
                    <a:pt x="176" y="436"/>
                    <a:pt x="203" y="436"/>
                  </a:cubicBezTo>
                  <a:cubicBezTo>
                    <a:pt x="230" y="438"/>
                    <a:pt x="298" y="438"/>
                    <a:pt x="298" y="438"/>
                  </a:cubicBezTo>
                  <a:cubicBezTo>
                    <a:pt x="312" y="455"/>
                    <a:pt x="312" y="455"/>
                    <a:pt x="312" y="455"/>
                  </a:cubicBezTo>
                  <a:lnTo>
                    <a:pt x="312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2" name="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34E1E18-0A34-5041-93BF-BF8328D2C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85402" y="889056"/>
              <a:ext cx="3658598" cy="4107465"/>
            </a:xfrm>
            <a:custGeom>
              <a:avLst/>
              <a:gdLst/>
              <a:ahLst/>
              <a:cxnLst>
                <a:cxn ang="0">
                  <a:pos x="24" y="1219"/>
                </a:cxn>
                <a:cxn ang="0">
                  <a:pos x="8" y="1240"/>
                </a:cxn>
                <a:cxn ang="0">
                  <a:pos x="229" y="230"/>
                </a:cxn>
                <a:cxn ang="0">
                  <a:pos x="352" y="472"/>
                </a:cxn>
                <a:cxn ang="0">
                  <a:pos x="677" y="24"/>
                </a:cxn>
                <a:cxn ang="0">
                  <a:pos x="626" y="78"/>
                </a:cxn>
                <a:cxn ang="0">
                  <a:pos x="603" y="203"/>
                </a:cxn>
                <a:cxn ang="0">
                  <a:pos x="448" y="151"/>
                </a:cxn>
                <a:cxn ang="0">
                  <a:pos x="531" y="298"/>
                </a:cxn>
                <a:cxn ang="0">
                  <a:pos x="472" y="442"/>
                </a:cxn>
                <a:cxn ang="0">
                  <a:pos x="434" y="468"/>
                </a:cxn>
                <a:cxn ang="0">
                  <a:pos x="423" y="504"/>
                </a:cxn>
                <a:cxn ang="0">
                  <a:pos x="396" y="529"/>
                </a:cxn>
                <a:cxn ang="0">
                  <a:pos x="342" y="498"/>
                </a:cxn>
                <a:cxn ang="0">
                  <a:pos x="275" y="414"/>
                </a:cxn>
                <a:cxn ang="0">
                  <a:pos x="257" y="401"/>
                </a:cxn>
                <a:cxn ang="0">
                  <a:pos x="215" y="380"/>
                </a:cxn>
                <a:cxn ang="0">
                  <a:pos x="297" y="390"/>
                </a:cxn>
                <a:cxn ang="0">
                  <a:pos x="444" y="343"/>
                </a:cxn>
                <a:cxn ang="0">
                  <a:pos x="386" y="262"/>
                </a:cxn>
                <a:cxn ang="0">
                  <a:pos x="269" y="230"/>
                </a:cxn>
                <a:cxn ang="0">
                  <a:pos x="212" y="247"/>
                </a:cxn>
                <a:cxn ang="0">
                  <a:pos x="186" y="232"/>
                </a:cxn>
                <a:cxn ang="0">
                  <a:pos x="188" y="225"/>
                </a:cxn>
                <a:cxn ang="0">
                  <a:pos x="143" y="237"/>
                </a:cxn>
                <a:cxn ang="0">
                  <a:pos x="160" y="363"/>
                </a:cxn>
                <a:cxn ang="0">
                  <a:pos x="216" y="541"/>
                </a:cxn>
                <a:cxn ang="0">
                  <a:pos x="237" y="775"/>
                </a:cxn>
                <a:cxn ang="0">
                  <a:pos x="246" y="825"/>
                </a:cxn>
                <a:cxn ang="0">
                  <a:pos x="239" y="876"/>
                </a:cxn>
                <a:cxn ang="0">
                  <a:pos x="242" y="1006"/>
                </a:cxn>
                <a:cxn ang="0">
                  <a:pos x="289" y="1074"/>
                </a:cxn>
                <a:cxn ang="0">
                  <a:pos x="413" y="1136"/>
                </a:cxn>
                <a:cxn ang="0">
                  <a:pos x="490" y="1247"/>
                </a:cxn>
                <a:cxn ang="0">
                  <a:pos x="560" y="1265"/>
                </a:cxn>
                <a:cxn ang="0">
                  <a:pos x="648" y="1333"/>
                </a:cxn>
                <a:cxn ang="0">
                  <a:pos x="764" y="1354"/>
                </a:cxn>
                <a:cxn ang="0">
                  <a:pos x="862" y="1350"/>
                </a:cxn>
                <a:cxn ang="0">
                  <a:pos x="900" y="1455"/>
                </a:cxn>
                <a:cxn ang="0">
                  <a:pos x="871" y="1537"/>
                </a:cxn>
                <a:cxn ang="0">
                  <a:pos x="862" y="1623"/>
                </a:cxn>
                <a:cxn ang="0">
                  <a:pos x="903" y="1684"/>
                </a:cxn>
                <a:cxn ang="0">
                  <a:pos x="1047" y="1703"/>
                </a:cxn>
                <a:cxn ang="0">
                  <a:pos x="1233" y="1674"/>
                </a:cxn>
                <a:cxn ang="0">
                  <a:pos x="1408" y="1689"/>
                </a:cxn>
                <a:cxn ang="0">
                  <a:pos x="1341" y="1543"/>
                </a:cxn>
                <a:cxn ang="0">
                  <a:pos x="1283" y="1465"/>
                </a:cxn>
                <a:cxn ang="0">
                  <a:pos x="1320" y="1398"/>
                </a:cxn>
                <a:cxn ang="0">
                  <a:pos x="1281" y="1326"/>
                </a:cxn>
                <a:cxn ang="0">
                  <a:pos x="1133" y="1184"/>
                </a:cxn>
                <a:cxn ang="0">
                  <a:pos x="1183" y="1074"/>
                </a:cxn>
                <a:cxn ang="0">
                  <a:pos x="1253" y="984"/>
                </a:cxn>
                <a:cxn ang="0">
                  <a:pos x="1379" y="969"/>
                </a:cxn>
                <a:cxn ang="0">
                  <a:pos x="1488" y="872"/>
                </a:cxn>
                <a:cxn ang="0">
                  <a:pos x="1496" y="707"/>
                </a:cxn>
                <a:cxn ang="0">
                  <a:pos x="1446" y="669"/>
                </a:cxn>
                <a:cxn ang="0">
                  <a:pos x="1519" y="575"/>
                </a:cxn>
                <a:cxn ang="0">
                  <a:pos x="266" y="764"/>
                </a:cxn>
                <a:cxn ang="0">
                  <a:pos x="356" y="755"/>
                </a:cxn>
                <a:cxn ang="0">
                  <a:pos x="381" y="658"/>
                </a:cxn>
                <a:cxn ang="0">
                  <a:pos x="422" y="650"/>
                </a:cxn>
                <a:cxn ang="0">
                  <a:pos x="464" y="712"/>
                </a:cxn>
              </a:cxnLst>
              <a:rect l="0" t="0" r="r" b="b"/>
              <a:pathLst>
                <a:path w="1532" h="1721">
                  <a:moveTo>
                    <a:pt x="113" y="1210"/>
                  </a:moveTo>
                  <a:cubicBezTo>
                    <a:pt x="110" y="1208"/>
                    <a:pt x="101" y="1201"/>
                    <a:pt x="101" y="1201"/>
                  </a:cubicBezTo>
                  <a:cubicBezTo>
                    <a:pt x="90" y="1201"/>
                    <a:pt x="90" y="1201"/>
                    <a:pt x="90" y="1201"/>
                  </a:cubicBezTo>
                  <a:cubicBezTo>
                    <a:pt x="80" y="1205"/>
                    <a:pt x="80" y="1205"/>
                    <a:pt x="80" y="1205"/>
                  </a:cubicBezTo>
                  <a:cubicBezTo>
                    <a:pt x="79" y="1201"/>
                    <a:pt x="79" y="1201"/>
                    <a:pt x="79" y="1201"/>
                  </a:cubicBezTo>
                  <a:cubicBezTo>
                    <a:pt x="79" y="1201"/>
                    <a:pt x="73" y="1203"/>
                    <a:pt x="69" y="1200"/>
                  </a:cubicBezTo>
                  <a:cubicBezTo>
                    <a:pt x="64" y="1198"/>
                    <a:pt x="62" y="1197"/>
                    <a:pt x="62" y="1197"/>
                  </a:cubicBezTo>
                  <a:cubicBezTo>
                    <a:pt x="56" y="1198"/>
                    <a:pt x="56" y="1198"/>
                    <a:pt x="56" y="1198"/>
                  </a:cubicBezTo>
                  <a:cubicBezTo>
                    <a:pt x="51" y="1194"/>
                    <a:pt x="51" y="1194"/>
                    <a:pt x="51" y="1194"/>
                  </a:cubicBezTo>
                  <a:cubicBezTo>
                    <a:pt x="49" y="1199"/>
                    <a:pt x="49" y="1199"/>
                    <a:pt x="49" y="1199"/>
                  </a:cubicBezTo>
                  <a:cubicBezTo>
                    <a:pt x="46" y="1199"/>
                    <a:pt x="46" y="1199"/>
                    <a:pt x="46" y="1199"/>
                  </a:cubicBezTo>
                  <a:cubicBezTo>
                    <a:pt x="51" y="1215"/>
                    <a:pt x="51" y="1215"/>
                    <a:pt x="51" y="1215"/>
                  </a:cubicBezTo>
                  <a:cubicBezTo>
                    <a:pt x="44" y="1219"/>
                    <a:pt x="44" y="1219"/>
                    <a:pt x="44" y="1219"/>
                  </a:cubicBezTo>
                  <a:cubicBezTo>
                    <a:pt x="37" y="1219"/>
                    <a:pt x="37" y="1219"/>
                    <a:pt x="37" y="1219"/>
                  </a:cubicBezTo>
                  <a:cubicBezTo>
                    <a:pt x="37" y="1219"/>
                    <a:pt x="33" y="1218"/>
                    <a:pt x="32" y="1218"/>
                  </a:cubicBezTo>
                  <a:cubicBezTo>
                    <a:pt x="31" y="1218"/>
                    <a:pt x="24" y="1219"/>
                    <a:pt x="24" y="1219"/>
                  </a:cubicBezTo>
                  <a:cubicBezTo>
                    <a:pt x="36" y="1202"/>
                    <a:pt x="36" y="1202"/>
                    <a:pt x="36" y="1202"/>
                  </a:cubicBezTo>
                  <a:cubicBezTo>
                    <a:pt x="36" y="1198"/>
                    <a:pt x="36" y="1198"/>
                    <a:pt x="36" y="1198"/>
                  </a:cubicBezTo>
                  <a:cubicBezTo>
                    <a:pt x="41" y="1193"/>
                    <a:pt x="41" y="1193"/>
                    <a:pt x="41" y="1193"/>
                  </a:cubicBezTo>
                  <a:cubicBezTo>
                    <a:pt x="39" y="1191"/>
                    <a:pt x="39" y="1191"/>
                    <a:pt x="39" y="1191"/>
                  </a:cubicBezTo>
                  <a:cubicBezTo>
                    <a:pt x="37" y="1192"/>
                    <a:pt x="37" y="1192"/>
                    <a:pt x="37" y="1192"/>
                  </a:cubicBezTo>
                  <a:cubicBezTo>
                    <a:pt x="32" y="1202"/>
                    <a:pt x="32" y="1202"/>
                    <a:pt x="32" y="1202"/>
                  </a:cubicBezTo>
                  <a:cubicBezTo>
                    <a:pt x="23" y="1215"/>
                    <a:pt x="23" y="1215"/>
                    <a:pt x="23" y="1215"/>
                  </a:cubicBezTo>
                  <a:cubicBezTo>
                    <a:pt x="20" y="1218"/>
                    <a:pt x="20" y="1218"/>
                    <a:pt x="20" y="1218"/>
                  </a:cubicBezTo>
                  <a:cubicBezTo>
                    <a:pt x="2" y="1221"/>
                    <a:pt x="2" y="1221"/>
                    <a:pt x="2" y="1221"/>
                  </a:cubicBezTo>
                  <a:cubicBezTo>
                    <a:pt x="0" y="1226"/>
                    <a:pt x="0" y="1226"/>
                    <a:pt x="0" y="1226"/>
                  </a:cubicBezTo>
                  <a:cubicBezTo>
                    <a:pt x="3" y="1230"/>
                    <a:pt x="3" y="1230"/>
                    <a:pt x="3" y="1230"/>
                  </a:cubicBezTo>
                  <a:cubicBezTo>
                    <a:pt x="0" y="1241"/>
                    <a:pt x="0" y="1241"/>
                    <a:pt x="0" y="1241"/>
                  </a:cubicBezTo>
                  <a:cubicBezTo>
                    <a:pt x="3" y="1242"/>
                    <a:pt x="3" y="1242"/>
                    <a:pt x="3" y="1242"/>
                  </a:cubicBezTo>
                  <a:cubicBezTo>
                    <a:pt x="4" y="1239"/>
                    <a:pt x="4" y="1239"/>
                    <a:pt x="4" y="1239"/>
                  </a:cubicBezTo>
                  <a:cubicBezTo>
                    <a:pt x="6" y="1237"/>
                    <a:pt x="6" y="1237"/>
                    <a:pt x="6" y="1237"/>
                  </a:cubicBezTo>
                  <a:cubicBezTo>
                    <a:pt x="8" y="1240"/>
                    <a:pt x="8" y="1240"/>
                    <a:pt x="8" y="1240"/>
                  </a:cubicBezTo>
                  <a:cubicBezTo>
                    <a:pt x="13" y="1235"/>
                    <a:pt x="13" y="1235"/>
                    <a:pt x="13" y="1235"/>
                  </a:cubicBezTo>
                  <a:cubicBezTo>
                    <a:pt x="21" y="1237"/>
                    <a:pt x="21" y="1237"/>
                    <a:pt x="21" y="1237"/>
                  </a:cubicBezTo>
                  <a:cubicBezTo>
                    <a:pt x="16" y="1239"/>
                    <a:pt x="16" y="1239"/>
                    <a:pt x="16" y="1239"/>
                  </a:cubicBezTo>
                  <a:cubicBezTo>
                    <a:pt x="16" y="1241"/>
                    <a:pt x="16" y="1241"/>
                    <a:pt x="16" y="1241"/>
                  </a:cubicBezTo>
                  <a:cubicBezTo>
                    <a:pt x="8" y="1246"/>
                    <a:pt x="8" y="1246"/>
                    <a:pt x="8" y="1246"/>
                  </a:cubicBezTo>
                  <a:cubicBezTo>
                    <a:pt x="6" y="1245"/>
                    <a:pt x="6" y="1245"/>
                    <a:pt x="6" y="1245"/>
                  </a:cubicBezTo>
                  <a:cubicBezTo>
                    <a:pt x="3" y="1253"/>
                    <a:pt x="3" y="1253"/>
                    <a:pt x="3" y="1253"/>
                  </a:cubicBezTo>
                  <a:cubicBezTo>
                    <a:pt x="11" y="1253"/>
                    <a:pt x="45" y="1255"/>
                    <a:pt x="58" y="1254"/>
                  </a:cubicBezTo>
                  <a:cubicBezTo>
                    <a:pt x="74" y="1254"/>
                    <a:pt x="113" y="1244"/>
                    <a:pt x="113" y="1244"/>
                  </a:cubicBezTo>
                  <a:cubicBezTo>
                    <a:pt x="113" y="1244"/>
                    <a:pt x="106" y="1237"/>
                    <a:pt x="107" y="1229"/>
                  </a:cubicBezTo>
                  <a:cubicBezTo>
                    <a:pt x="107" y="1223"/>
                    <a:pt x="109" y="1218"/>
                    <a:pt x="109" y="1218"/>
                  </a:cubicBezTo>
                  <a:cubicBezTo>
                    <a:pt x="109" y="1218"/>
                    <a:pt x="117" y="1213"/>
                    <a:pt x="113" y="1210"/>
                  </a:cubicBezTo>
                  <a:close/>
                  <a:moveTo>
                    <a:pt x="229" y="228"/>
                  </a:moveTo>
                  <a:cubicBezTo>
                    <a:pt x="222" y="228"/>
                    <a:pt x="222" y="228"/>
                    <a:pt x="222" y="228"/>
                  </a:cubicBezTo>
                  <a:cubicBezTo>
                    <a:pt x="219" y="232"/>
                    <a:pt x="219" y="232"/>
                    <a:pt x="219" y="232"/>
                  </a:cubicBezTo>
                  <a:cubicBezTo>
                    <a:pt x="229" y="230"/>
                    <a:pt x="229" y="230"/>
                    <a:pt x="229" y="230"/>
                  </a:cubicBezTo>
                  <a:lnTo>
                    <a:pt x="229" y="228"/>
                  </a:lnTo>
                  <a:close/>
                  <a:moveTo>
                    <a:pt x="246" y="829"/>
                  </a:moveTo>
                  <a:cubicBezTo>
                    <a:pt x="238" y="825"/>
                    <a:pt x="238" y="825"/>
                    <a:pt x="238" y="825"/>
                  </a:cubicBezTo>
                  <a:cubicBezTo>
                    <a:pt x="239" y="830"/>
                    <a:pt x="239" y="830"/>
                    <a:pt x="239" y="830"/>
                  </a:cubicBezTo>
                  <a:cubicBezTo>
                    <a:pt x="244" y="832"/>
                    <a:pt x="244" y="832"/>
                    <a:pt x="244" y="832"/>
                  </a:cubicBezTo>
                  <a:lnTo>
                    <a:pt x="246" y="829"/>
                  </a:lnTo>
                  <a:close/>
                  <a:moveTo>
                    <a:pt x="363" y="466"/>
                  </a:moveTo>
                  <a:cubicBezTo>
                    <a:pt x="365" y="470"/>
                    <a:pt x="365" y="470"/>
                    <a:pt x="365" y="470"/>
                  </a:cubicBezTo>
                  <a:cubicBezTo>
                    <a:pt x="372" y="462"/>
                    <a:pt x="372" y="462"/>
                    <a:pt x="372" y="462"/>
                  </a:cubicBezTo>
                  <a:lnTo>
                    <a:pt x="363" y="466"/>
                  </a:lnTo>
                  <a:close/>
                  <a:moveTo>
                    <a:pt x="352" y="472"/>
                  </a:moveTo>
                  <a:cubicBezTo>
                    <a:pt x="351" y="476"/>
                    <a:pt x="351" y="476"/>
                    <a:pt x="351" y="476"/>
                  </a:cubicBezTo>
                  <a:cubicBezTo>
                    <a:pt x="356" y="478"/>
                    <a:pt x="356" y="478"/>
                    <a:pt x="356" y="478"/>
                  </a:cubicBezTo>
                  <a:cubicBezTo>
                    <a:pt x="363" y="473"/>
                    <a:pt x="363" y="473"/>
                    <a:pt x="363" y="473"/>
                  </a:cubicBezTo>
                  <a:cubicBezTo>
                    <a:pt x="357" y="468"/>
                    <a:pt x="357" y="468"/>
                    <a:pt x="357" y="468"/>
                  </a:cubicBezTo>
                  <a:lnTo>
                    <a:pt x="352" y="472"/>
                  </a:lnTo>
                  <a:close/>
                  <a:moveTo>
                    <a:pt x="365" y="482"/>
                  </a:moveTo>
                  <a:cubicBezTo>
                    <a:pt x="369" y="478"/>
                    <a:pt x="367" y="475"/>
                    <a:pt x="360" y="480"/>
                  </a:cubicBezTo>
                  <a:cubicBezTo>
                    <a:pt x="360" y="480"/>
                    <a:pt x="362" y="485"/>
                    <a:pt x="365" y="482"/>
                  </a:cubicBezTo>
                  <a:close/>
                  <a:moveTo>
                    <a:pt x="1532" y="0"/>
                  </a:moveTo>
                  <a:cubicBezTo>
                    <a:pt x="716" y="0"/>
                    <a:pt x="716" y="0"/>
                    <a:pt x="716" y="0"/>
                  </a:cubicBezTo>
                  <a:cubicBezTo>
                    <a:pt x="712" y="19"/>
                    <a:pt x="712" y="19"/>
                    <a:pt x="712" y="19"/>
                  </a:cubicBezTo>
                  <a:cubicBezTo>
                    <a:pt x="712" y="19"/>
                    <a:pt x="721" y="31"/>
                    <a:pt x="720" y="35"/>
                  </a:cubicBezTo>
                  <a:cubicBezTo>
                    <a:pt x="719" y="39"/>
                    <a:pt x="708" y="33"/>
                    <a:pt x="708" y="33"/>
                  </a:cubicBezTo>
                  <a:cubicBezTo>
                    <a:pt x="699" y="34"/>
                    <a:pt x="699" y="34"/>
                    <a:pt x="699" y="34"/>
                  </a:cubicBezTo>
                  <a:cubicBezTo>
                    <a:pt x="699" y="34"/>
                    <a:pt x="698" y="39"/>
                    <a:pt x="698" y="42"/>
                  </a:cubicBezTo>
                  <a:cubicBezTo>
                    <a:pt x="698" y="46"/>
                    <a:pt x="694" y="46"/>
                    <a:pt x="690" y="46"/>
                  </a:cubicBezTo>
                  <a:cubicBezTo>
                    <a:pt x="684" y="47"/>
                    <a:pt x="681" y="55"/>
                    <a:pt x="681" y="55"/>
                  </a:cubicBezTo>
                  <a:cubicBezTo>
                    <a:pt x="681" y="55"/>
                    <a:pt x="678" y="50"/>
                    <a:pt x="679" y="46"/>
                  </a:cubicBezTo>
                  <a:cubicBezTo>
                    <a:pt x="681" y="41"/>
                    <a:pt x="693" y="39"/>
                    <a:pt x="693" y="39"/>
                  </a:cubicBezTo>
                  <a:cubicBezTo>
                    <a:pt x="693" y="39"/>
                    <a:pt x="691" y="30"/>
                    <a:pt x="686" y="29"/>
                  </a:cubicBezTo>
                  <a:cubicBezTo>
                    <a:pt x="683" y="28"/>
                    <a:pt x="677" y="24"/>
                    <a:pt x="677" y="24"/>
                  </a:cubicBezTo>
                  <a:cubicBezTo>
                    <a:pt x="677" y="16"/>
                    <a:pt x="677" y="16"/>
                    <a:pt x="677" y="16"/>
                  </a:cubicBezTo>
                  <a:cubicBezTo>
                    <a:pt x="675" y="15"/>
                    <a:pt x="675" y="15"/>
                    <a:pt x="675" y="15"/>
                  </a:cubicBezTo>
                  <a:cubicBezTo>
                    <a:pt x="675" y="15"/>
                    <a:pt x="676" y="9"/>
                    <a:pt x="672" y="9"/>
                  </a:cubicBezTo>
                  <a:cubicBezTo>
                    <a:pt x="669" y="9"/>
                    <a:pt x="667" y="14"/>
                    <a:pt x="667" y="14"/>
                  </a:cubicBezTo>
                  <a:cubicBezTo>
                    <a:pt x="667" y="14"/>
                    <a:pt x="665" y="10"/>
                    <a:pt x="663" y="10"/>
                  </a:cubicBezTo>
                  <a:cubicBezTo>
                    <a:pt x="661" y="10"/>
                    <a:pt x="654" y="18"/>
                    <a:pt x="652" y="27"/>
                  </a:cubicBezTo>
                  <a:cubicBezTo>
                    <a:pt x="650" y="34"/>
                    <a:pt x="651" y="41"/>
                    <a:pt x="651" y="41"/>
                  </a:cubicBezTo>
                  <a:cubicBezTo>
                    <a:pt x="651" y="41"/>
                    <a:pt x="655" y="43"/>
                    <a:pt x="660" y="47"/>
                  </a:cubicBezTo>
                  <a:cubicBezTo>
                    <a:pt x="664" y="50"/>
                    <a:pt x="664" y="57"/>
                    <a:pt x="660" y="62"/>
                  </a:cubicBezTo>
                  <a:cubicBezTo>
                    <a:pt x="657" y="67"/>
                    <a:pt x="651" y="53"/>
                    <a:pt x="651" y="53"/>
                  </a:cubicBezTo>
                  <a:cubicBezTo>
                    <a:pt x="647" y="53"/>
                    <a:pt x="647" y="53"/>
                    <a:pt x="647" y="53"/>
                  </a:cubicBezTo>
                  <a:cubicBezTo>
                    <a:pt x="649" y="45"/>
                    <a:pt x="649" y="45"/>
                    <a:pt x="649" y="45"/>
                  </a:cubicBezTo>
                  <a:cubicBezTo>
                    <a:pt x="649" y="45"/>
                    <a:pt x="644" y="51"/>
                    <a:pt x="643" y="55"/>
                  </a:cubicBezTo>
                  <a:cubicBezTo>
                    <a:pt x="642" y="58"/>
                    <a:pt x="637" y="62"/>
                    <a:pt x="632" y="63"/>
                  </a:cubicBezTo>
                  <a:cubicBezTo>
                    <a:pt x="627" y="63"/>
                    <a:pt x="625" y="71"/>
                    <a:pt x="625" y="71"/>
                  </a:cubicBezTo>
                  <a:cubicBezTo>
                    <a:pt x="626" y="78"/>
                    <a:pt x="626" y="78"/>
                    <a:pt x="626" y="78"/>
                  </a:cubicBezTo>
                  <a:cubicBezTo>
                    <a:pt x="626" y="78"/>
                    <a:pt x="627" y="72"/>
                    <a:pt x="630" y="70"/>
                  </a:cubicBezTo>
                  <a:cubicBezTo>
                    <a:pt x="633" y="67"/>
                    <a:pt x="635" y="65"/>
                    <a:pt x="637" y="66"/>
                  </a:cubicBezTo>
                  <a:cubicBezTo>
                    <a:pt x="641" y="66"/>
                    <a:pt x="637" y="71"/>
                    <a:pt x="634" y="74"/>
                  </a:cubicBezTo>
                  <a:cubicBezTo>
                    <a:pt x="630" y="77"/>
                    <a:pt x="623" y="81"/>
                    <a:pt x="620" y="89"/>
                  </a:cubicBezTo>
                  <a:cubicBezTo>
                    <a:pt x="618" y="96"/>
                    <a:pt x="619" y="112"/>
                    <a:pt x="619" y="112"/>
                  </a:cubicBezTo>
                  <a:cubicBezTo>
                    <a:pt x="615" y="113"/>
                    <a:pt x="615" y="113"/>
                    <a:pt x="615" y="113"/>
                  </a:cubicBezTo>
                  <a:cubicBezTo>
                    <a:pt x="602" y="133"/>
                    <a:pt x="602" y="133"/>
                    <a:pt x="602" y="133"/>
                  </a:cubicBezTo>
                  <a:cubicBezTo>
                    <a:pt x="593" y="135"/>
                    <a:pt x="593" y="135"/>
                    <a:pt x="593" y="135"/>
                  </a:cubicBezTo>
                  <a:cubicBezTo>
                    <a:pt x="602" y="143"/>
                    <a:pt x="602" y="143"/>
                    <a:pt x="602" y="143"/>
                  </a:cubicBezTo>
                  <a:cubicBezTo>
                    <a:pt x="609" y="142"/>
                    <a:pt x="609" y="142"/>
                    <a:pt x="609" y="142"/>
                  </a:cubicBezTo>
                  <a:cubicBezTo>
                    <a:pt x="612" y="146"/>
                    <a:pt x="612" y="146"/>
                    <a:pt x="612" y="146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47"/>
                    <a:pt x="587" y="155"/>
                    <a:pt x="586" y="161"/>
                  </a:cubicBezTo>
                  <a:cubicBezTo>
                    <a:pt x="584" y="168"/>
                    <a:pt x="596" y="184"/>
                    <a:pt x="596" y="184"/>
                  </a:cubicBezTo>
                  <a:cubicBezTo>
                    <a:pt x="594" y="187"/>
                    <a:pt x="594" y="187"/>
                    <a:pt x="594" y="187"/>
                  </a:cubicBezTo>
                  <a:cubicBezTo>
                    <a:pt x="594" y="187"/>
                    <a:pt x="604" y="198"/>
                    <a:pt x="603" y="203"/>
                  </a:cubicBezTo>
                  <a:cubicBezTo>
                    <a:pt x="602" y="209"/>
                    <a:pt x="596" y="208"/>
                    <a:pt x="596" y="208"/>
                  </a:cubicBezTo>
                  <a:cubicBezTo>
                    <a:pt x="596" y="208"/>
                    <a:pt x="593" y="215"/>
                    <a:pt x="590" y="218"/>
                  </a:cubicBezTo>
                  <a:cubicBezTo>
                    <a:pt x="588" y="221"/>
                    <a:pt x="576" y="224"/>
                    <a:pt x="576" y="224"/>
                  </a:cubicBezTo>
                  <a:cubicBezTo>
                    <a:pt x="576" y="224"/>
                    <a:pt x="571" y="232"/>
                    <a:pt x="566" y="232"/>
                  </a:cubicBezTo>
                  <a:cubicBezTo>
                    <a:pt x="561" y="233"/>
                    <a:pt x="547" y="216"/>
                    <a:pt x="547" y="216"/>
                  </a:cubicBezTo>
                  <a:cubicBezTo>
                    <a:pt x="526" y="214"/>
                    <a:pt x="526" y="214"/>
                    <a:pt x="526" y="214"/>
                  </a:cubicBezTo>
                  <a:cubicBezTo>
                    <a:pt x="528" y="192"/>
                    <a:pt x="528" y="192"/>
                    <a:pt x="528" y="192"/>
                  </a:cubicBezTo>
                  <a:cubicBezTo>
                    <a:pt x="521" y="186"/>
                    <a:pt x="521" y="186"/>
                    <a:pt x="521" y="186"/>
                  </a:cubicBezTo>
                  <a:cubicBezTo>
                    <a:pt x="535" y="174"/>
                    <a:pt x="535" y="174"/>
                    <a:pt x="535" y="174"/>
                  </a:cubicBezTo>
                  <a:cubicBezTo>
                    <a:pt x="551" y="162"/>
                    <a:pt x="551" y="162"/>
                    <a:pt x="551" y="162"/>
                  </a:cubicBezTo>
                  <a:cubicBezTo>
                    <a:pt x="551" y="162"/>
                    <a:pt x="543" y="150"/>
                    <a:pt x="538" y="146"/>
                  </a:cubicBezTo>
                  <a:cubicBezTo>
                    <a:pt x="534" y="144"/>
                    <a:pt x="517" y="140"/>
                    <a:pt x="517" y="140"/>
                  </a:cubicBezTo>
                  <a:cubicBezTo>
                    <a:pt x="511" y="133"/>
                    <a:pt x="511" y="133"/>
                    <a:pt x="511" y="133"/>
                  </a:cubicBezTo>
                  <a:cubicBezTo>
                    <a:pt x="511" y="133"/>
                    <a:pt x="499" y="136"/>
                    <a:pt x="490" y="138"/>
                  </a:cubicBezTo>
                  <a:cubicBezTo>
                    <a:pt x="481" y="141"/>
                    <a:pt x="473" y="150"/>
                    <a:pt x="473" y="150"/>
                  </a:cubicBezTo>
                  <a:cubicBezTo>
                    <a:pt x="448" y="151"/>
                    <a:pt x="448" y="151"/>
                    <a:pt x="448" y="151"/>
                  </a:cubicBezTo>
                  <a:cubicBezTo>
                    <a:pt x="448" y="151"/>
                    <a:pt x="452" y="154"/>
                    <a:pt x="457" y="156"/>
                  </a:cubicBezTo>
                  <a:cubicBezTo>
                    <a:pt x="463" y="157"/>
                    <a:pt x="471" y="158"/>
                    <a:pt x="471" y="158"/>
                  </a:cubicBezTo>
                  <a:cubicBezTo>
                    <a:pt x="482" y="168"/>
                    <a:pt x="482" y="168"/>
                    <a:pt x="482" y="168"/>
                  </a:cubicBezTo>
                  <a:cubicBezTo>
                    <a:pt x="482" y="172"/>
                    <a:pt x="482" y="172"/>
                    <a:pt x="482" y="172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91" y="188"/>
                    <a:pt x="491" y="188"/>
                    <a:pt x="491" y="188"/>
                  </a:cubicBezTo>
                  <a:cubicBezTo>
                    <a:pt x="490" y="192"/>
                    <a:pt x="490" y="192"/>
                    <a:pt x="490" y="192"/>
                  </a:cubicBezTo>
                  <a:cubicBezTo>
                    <a:pt x="497" y="204"/>
                    <a:pt x="497" y="204"/>
                    <a:pt x="497" y="204"/>
                  </a:cubicBezTo>
                  <a:cubicBezTo>
                    <a:pt x="497" y="204"/>
                    <a:pt x="498" y="235"/>
                    <a:pt x="503" y="240"/>
                  </a:cubicBezTo>
                  <a:cubicBezTo>
                    <a:pt x="508" y="246"/>
                    <a:pt x="522" y="240"/>
                    <a:pt x="522" y="240"/>
                  </a:cubicBezTo>
                  <a:cubicBezTo>
                    <a:pt x="531" y="249"/>
                    <a:pt x="531" y="249"/>
                    <a:pt x="531" y="249"/>
                  </a:cubicBezTo>
                  <a:cubicBezTo>
                    <a:pt x="529" y="252"/>
                    <a:pt x="529" y="252"/>
                    <a:pt x="529" y="252"/>
                  </a:cubicBezTo>
                  <a:cubicBezTo>
                    <a:pt x="537" y="262"/>
                    <a:pt x="537" y="262"/>
                    <a:pt x="537" y="262"/>
                  </a:cubicBezTo>
                  <a:cubicBezTo>
                    <a:pt x="538" y="292"/>
                    <a:pt x="538" y="292"/>
                    <a:pt x="538" y="292"/>
                  </a:cubicBezTo>
                  <a:cubicBezTo>
                    <a:pt x="538" y="292"/>
                    <a:pt x="549" y="305"/>
                    <a:pt x="547" y="308"/>
                  </a:cubicBezTo>
                  <a:cubicBezTo>
                    <a:pt x="546" y="311"/>
                    <a:pt x="533" y="297"/>
                    <a:pt x="531" y="298"/>
                  </a:cubicBezTo>
                  <a:cubicBezTo>
                    <a:pt x="528" y="298"/>
                    <a:pt x="523" y="311"/>
                    <a:pt x="523" y="311"/>
                  </a:cubicBezTo>
                  <a:cubicBezTo>
                    <a:pt x="526" y="299"/>
                    <a:pt x="526" y="299"/>
                    <a:pt x="526" y="299"/>
                  </a:cubicBezTo>
                  <a:cubicBezTo>
                    <a:pt x="526" y="299"/>
                    <a:pt x="522" y="296"/>
                    <a:pt x="514" y="296"/>
                  </a:cubicBezTo>
                  <a:cubicBezTo>
                    <a:pt x="504" y="295"/>
                    <a:pt x="499" y="303"/>
                    <a:pt x="499" y="303"/>
                  </a:cubicBezTo>
                  <a:cubicBezTo>
                    <a:pt x="499" y="303"/>
                    <a:pt x="494" y="299"/>
                    <a:pt x="488" y="298"/>
                  </a:cubicBezTo>
                  <a:cubicBezTo>
                    <a:pt x="483" y="298"/>
                    <a:pt x="478" y="308"/>
                    <a:pt x="478" y="308"/>
                  </a:cubicBezTo>
                  <a:cubicBezTo>
                    <a:pt x="478" y="308"/>
                    <a:pt x="480" y="325"/>
                    <a:pt x="474" y="334"/>
                  </a:cubicBezTo>
                  <a:cubicBezTo>
                    <a:pt x="468" y="343"/>
                    <a:pt x="459" y="343"/>
                    <a:pt x="459" y="343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59" y="356"/>
                    <a:pt x="457" y="363"/>
                  </a:cubicBezTo>
                  <a:cubicBezTo>
                    <a:pt x="455" y="371"/>
                    <a:pt x="446" y="381"/>
                    <a:pt x="447" y="383"/>
                  </a:cubicBezTo>
                  <a:cubicBezTo>
                    <a:pt x="447" y="387"/>
                    <a:pt x="451" y="383"/>
                    <a:pt x="451" y="383"/>
                  </a:cubicBezTo>
                  <a:cubicBezTo>
                    <a:pt x="451" y="383"/>
                    <a:pt x="452" y="386"/>
                    <a:pt x="452" y="394"/>
                  </a:cubicBezTo>
                  <a:cubicBezTo>
                    <a:pt x="452" y="403"/>
                    <a:pt x="475" y="409"/>
                    <a:pt x="484" y="418"/>
                  </a:cubicBezTo>
                  <a:cubicBezTo>
                    <a:pt x="493" y="426"/>
                    <a:pt x="488" y="426"/>
                    <a:pt x="479" y="427"/>
                  </a:cubicBezTo>
                  <a:cubicBezTo>
                    <a:pt x="470" y="428"/>
                    <a:pt x="472" y="442"/>
                    <a:pt x="472" y="442"/>
                  </a:cubicBezTo>
                  <a:cubicBezTo>
                    <a:pt x="472" y="442"/>
                    <a:pt x="475" y="454"/>
                    <a:pt x="475" y="458"/>
                  </a:cubicBezTo>
                  <a:cubicBezTo>
                    <a:pt x="475" y="462"/>
                    <a:pt x="459" y="462"/>
                    <a:pt x="459" y="462"/>
                  </a:cubicBezTo>
                  <a:cubicBezTo>
                    <a:pt x="451" y="462"/>
                    <a:pt x="451" y="462"/>
                    <a:pt x="451" y="462"/>
                  </a:cubicBezTo>
                  <a:cubicBezTo>
                    <a:pt x="445" y="462"/>
                    <a:pt x="446" y="464"/>
                    <a:pt x="446" y="464"/>
                  </a:cubicBezTo>
                  <a:cubicBezTo>
                    <a:pt x="446" y="464"/>
                    <a:pt x="440" y="462"/>
                    <a:pt x="440" y="464"/>
                  </a:cubicBezTo>
                  <a:cubicBezTo>
                    <a:pt x="439" y="465"/>
                    <a:pt x="442" y="467"/>
                    <a:pt x="442" y="467"/>
                  </a:cubicBezTo>
                  <a:cubicBezTo>
                    <a:pt x="442" y="467"/>
                    <a:pt x="439" y="469"/>
                    <a:pt x="437" y="470"/>
                  </a:cubicBezTo>
                  <a:cubicBezTo>
                    <a:pt x="435" y="471"/>
                    <a:pt x="436" y="475"/>
                    <a:pt x="436" y="475"/>
                  </a:cubicBezTo>
                  <a:cubicBezTo>
                    <a:pt x="436" y="475"/>
                    <a:pt x="437" y="481"/>
                    <a:pt x="435" y="480"/>
                  </a:cubicBezTo>
                  <a:cubicBezTo>
                    <a:pt x="433" y="480"/>
                    <a:pt x="434" y="475"/>
                    <a:pt x="434" y="475"/>
                  </a:cubicBezTo>
                  <a:cubicBezTo>
                    <a:pt x="434" y="475"/>
                    <a:pt x="431" y="472"/>
                    <a:pt x="429" y="471"/>
                  </a:cubicBezTo>
                  <a:cubicBezTo>
                    <a:pt x="428" y="469"/>
                    <a:pt x="432" y="468"/>
                    <a:pt x="432" y="468"/>
                  </a:cubicBezTo>
                  <a:cubicBezTo>
                    <a:pt x="429" y="468"/>
                    <a:pt x="429" y="468"/>
                    <a:pt x="429" y="468"/>
                  </a:cubicBezTo>
                  <a:cubicBezTo>
                    <a:pt x="429" y="467"/>
                    <a:pt x="429" y="467"/>
                    <a:pt x="429" y="467"/>
                  </a:cubicBezTo>
                  <a:cubicBezTo>
                    <a:pt x="429" y="467"/>
                    <a:pt x="430" y="466"/>
                    <a:pt x="432" y="466"/>
                  </a:cubicBezTo>
                  <a:cubicBezTo>
                    <a:pt x="433" y="466"/>
                    <a:pt x="434" y="468"/>
                    <a:pt x="434" y="468"/>
                  </a:cubicBezTo>
                  <a:cubicBezTo>
                    <a:pt x="436" y="467"/>
                    <a:pt x="436" y="467"/>
                    <a:pt x="436" y="467"/>
                  </a:cubicBezTo>
                  <a:cubicBezTo>
                    <a:pt x="435" y="465"/>
                    <a:pt x="435" y="465"/>
                    <a:pt x="435" y="465"/>
                  </a:cubicBezTo>
                  <a:cubicBezTo>
                    <a:pt x="438" y="465"/>
                    <a:pt x="438" y="465"/>
                    <a:pt x="438" y="465"/>
                  </a:cubicBezTo>
                  <a:cubicBezTo>
                    <a:pt x="437" y="461"/>
                    <a:pt x="437" y="461"/>
                    <a:pt x="437" y="461"/>
                  </a:cubicBezTo>
                  <a:cubicBezTo>
                    <a:pt x="437" y="461"/>
                    <a:pt x="425" y="464"/>
                    <a:pt x="422" y="464"/>
                  </a:cubicBezTo>
                  <a:cubicBezTo>
                    <a:pt x="418" y="462"/>
                    <a:pt x="416" y="458"/>
                    <a:pt x="416" y="458"/>
                  </a:cubicBezTo>
                  <a:cubicBezTo>
                    <a:pt x="416" y="458"/>
                    <a:pt x="393" y="456"/>
                    <a:pt x="390" y="458"/>
                  </a:cubicBezTo>
                  <a:cubicBezTo>
                    <a:pt x="387" y="460"/>
                    <a:pt x="393" y="465"/>
                    <a:pt x="393" y="469"/>
                  </a:cubicBezTo>
                  <a:cubicBezTo>
                    <a:pt x="395" y="472"/>
                    <a:pt x="389" y="474"/>
                    <a:pt x="389" y="474"/>
                  </a:cubicBezTo>
                  <a:cubicBezTo>
                    <a:pt x="389" y="476"/>
                    <a:pt x="389" y="476"/>
                    <a:pt x="389" y="476"/>
                  </a:cubicBezTo>
                  <a:cubicBezTo>
                    <a:pt x="389" y="476"/>
                    <a:pt x="386" y="475"/>
                    <a:pt x="385" y="477"/>
                  </a:cubicBezTo>
                  <a:cubicBezTo>
                    <a:pt x="384" y="480"/>
                    <a:pt x="389" y="483"/>
                    <a:pt x="389" y="483"/>
                  </a:cubicBezTo>
                  <a:cubicBezTo>
                    <a:pt x="392" y="487"/>
                    <a:pt x="392" y="487"/>
                    <a:pt x="392" y="487"/>
                  </a:cubicBezTo>
                  <a:cubicBezTo>
                    <a:pt x="392" y="487"/>
                    <a:pt x="395" y="486"/>
                    <a:pt x="397" y="487"/>
                  </a:cubicBezTo>
                  <a:cubicBezTo>
                    <a:pt x="399" y="487"/>
                    <a:pt x="403" y="491"/>
                    <a:pt x="408" y="494"/>
                  </a:cubicBezTo>
                  <a:cubicBezTo>
                    <a:pt x="413" y="499"/>
                    <a:pt x="423" y="504"/>
                    <a:pt x="423" y="504"/>
                  </a:cubicBezTo>
                  <a:cubicBezTo>
                    <a:pt x="425" y="498"/>
                    <a:pt x="425" y="498"/>
                    <a:pt x="425" y="498"/>
                  </a:cubicBezTo>
                  <a:cubicBezTo>
                    <a:pt x="430" y="498"/>
                    <a:pt x="430" y="498"/>
                    <a:pt x="430" y="498"/>
                  </a:cubicBezTo>
                  <a:cubicBezTo>
                    <a:pt x="430" y="498"/>
                    <a:pt x="428" y="496"/>
                    <a:pt x="429" y="494"/>
                  </a:cubicBezTo>
                  <a:cubicBezTo>
                    <a:pt x="429" y="492"/>
                    <a:pt x="433" y="491"/>
                    <a:pt x="433" y="491"/>
                  </a:cubicBezTo>
                  <a:cubicBezTo>
                    <a:pt x="433" y="496"/>
                    <a:pt x="433" y="496"/>
                    <a:pt x="433" y="496"/>
                  </a:cubicBezTo>
                  <a:cubicBezTo>
                    <a:pt x="439" y="496"/>
                    <a:pt x="439" y="496"/>
                    <a:pt x="439" y="496"/>
                  </a:cubicBezTo>
                  <a:cubicBezTo>
                    <a:pt x="442" y="496"/>
                    <a:pt x="441" y="499"/>
                    <a:pt x="441" y="499"/>
                  </a:cubicBezTo>
                  <a:cubicBezTo>
                    <a:pt x="441" y="505"/>
                    <a:pt x="441" y="505"/>
                    <a:pt x="441" y="505"/>
                  </a:cubicBezTo>
                  <a:cubicBezTo>
                    <a:pt x="441" y="505"/>
                    <a:pt x="449" y="508"/>
                    <a:pt x="451" y="516"/>
                  </a:cubicBezTo>
                  <a:cubicBezTo>
                    <a:pt x="454" y="523"/>
                    <a:pt x="444" y="525"/>
                    <a:pt x="444" y="525"/>
                  </a:cubicBezTo>
                  <a:cubicBezTo>
                    <a:pt x="444" y="525"/>
                    <a:pt x="444" y="531"/>
                    <a:pt x="439" y="534"/>
                  </a:cubicBezTo>
                  <a:cubicBezTo>
                    <a:pt x="435" y="537"/>
                    <a:pt x="433" y="532"/>
                    <a:pt x="429" y="531"/>
                  </a:cubicBezTo>
                  <a:cubicBezTo>
                    <a:pt x="425" y="531"/>
                    <a:pt x="422" y="534"/>
                    <a:pt x="420" y="534"/>
                  </a:cubicBezTo>
                  <a:cubicBezTo>
                    <a:pt x="419" y="534"/>
                    <a:pt x="416" y="534"/>
                    <a:pt x="413" y="533"/>
                  </a:cubicBezTo>
                  <a:cubicBezTo>
                    <a:pt x="409" y="533"/>
                    <a:pt x="412" y="535"/>
                    <a:pt x="404" y="534"/>
                  </a:cubicBezTo>
                  <a:cubicBezTo>
                    <a:pt x="396" y="534"/>
                    <a:pt x="396" y="529"/>
                    <a:pt x="396" y="529"/>
                  </a:cubicBezTo>
                  <a:cubicBezTo>
                    <a:pt x="397" y="524"/>
                    <a:pt x="397" y="524"/>
                    <a:pt x="397" y="524"/>
                  </a:cubicBezTo>
                  <a:cubicBezTo>
                    <a:pt x="388" y="523"/>
                    <a:pt x="388" y="523"/>
                    <a:pt x="388" y="523"/>
                  </a:cubicBezTo>
                  <a:cubicBezTo>
                    <a:pt x="388" y="523"/>
                    <a:pt x="386" y="525"/>
                    <a:pt x="384" y="523"/>
                  </a:cubicBezTo>
                  <a:cubicBezTo>
                    <a:pt x="382" y="522"/>
                    <a:pt x="382" y="520"/>
                    <a:pt x="379" y="518"/>
                  </a:cubicBezTo>
                  <a:cubicBezTo>
                    <a:pt x="374" y="515"/>
                    <a:pt x="370" y="518"/>
                    <a:pt x="370" y="518"/>
                  </a:cubicBezTo>
                  <a:cubicBezTo>
                    <a:pt x="370" y="518"/>
                    <a:pt x="371" y="521"/>
                    <a:pt x="370" y="523"/>
                  </a:cubicBezTo>
                  <a:cubicBezTo>
                    <a:pt x="368" y="525"/>
                    <a:pt x="365" y="525"/>
                    <a:pt x="365" y="525"/>
                  </a:cubicBezTo>
                  <a:cubicBezTo>
                    <a:pt x="364" y="523"/>
                    <a:pt x="364" y="523"/>
                    <a:pt x="364" y="523"/>
                  </a:cubicBezTo>
                  <a:cubicBezTo>
                    <a:pt x="360" y="523"/>
                    <a:pt x="360" y="523"/>
                    <a:pt x="360" y="523"/>
                  </a:cubicBezTo>
                  <a:cubicBezTo>
                    <a:pt x="360" y="525"/>
                    <a:pt x="360" y="525"/>
                    <a:pt x="360" y="525"/>
                  </a:cubicBezTo>
                  <a:cubicBezTo>
                    <a:pt x="355" y="519"/>
                    <a:pt x="355" y="519"/>
                    <a:pt x="355" y="519"/>
                  </a:cubicBezTo>
                  <a:cubicBezTo>
                    <a:pt x="354" y="522"/>
                    <a:pt x="354" y="522"/>
                    <a:pt x="354" y="522"/>
                  </a:cubicBezTo>
                  <a:cubicBezTo>
                    <a:pt x="344" y="516"/>
                    <a:pt x="344" y="516"/>
                    <a:pt x="344" y="516"/>
                  </a:cubicBezTo>
                  <a:cubicBezTo>
                    <a:pt x="344" y="516"/>
                    <a:pt x="347" y="512"/>
                    <a:pt x="346" y="509"/>
                  </a:cubicBezTo>
                  <a:cubicBezTo>
                    <a:pt x="344" y="506"/>
                    <a:pt x="340" y="502"/>
                    <a:pt x="340" y="502"/>
                  </a:cubicBezTo>
                  <a:cubicBezTo>
                    <a:pt x="342" y="498"/>
                    <a:pt x="342" y="498"/>
                    <a:pt x="342" y="498"/>
                  </a:cubicBezTo>
                  <a:cubicBezTo>
                    <a:pt x="339" y="492"/>
                    <a:pt x="339" y="492"/>
                    <a:pt x="339" y="492"/>
                  </a:cubicBezTo>
                  <a:cubicBezTo>
                    <a:pt x="333" y="490"/>
                    <a:pt x="333" y="490"/>
                    <a:pt x="333" y="490"/>
                  </a:cubicBezTo>
                  <a:cubicBezTo>
                    <a:pt x="333" y="490"/>
                    <a:pt x="336" y="487"/>
                    <a:pt x="334" y="483"/>
                  </a:cubicBezTo>
                  <a:cubicBezTo>
                    <a:pt x="331" y="478"/>
                    <a:pt x="314" y="469"/>
                    <a:pt x="314" y="469"/>
                  </a:cubicBezTo>
                  <a:cubicBezTo>
                    <a:pt x="314" y="469"/>
                    <a:pt x="321" y="460"/>
                    <a:pt x="321" y="456"/>
                  </a:cubicBezTo>
                  <a:cubicBezTo>
                    <a:pt x="322" y="451"/>
                    <a:pt x="313" y="439"/>
                    <a:pt x="313" y="439"/>
                  </a:cubicBezTo>
                  <a:cubicBezTo>
                    <a:pt x="313" y="439"/>
                    <a:pt x="315" y="438"/>
                    <a:pt x="315" y="437"/>
                  </a:cubicBezTo>
                  <a:cubicBezTo>
                    <a:pt x="316" y="436"/>
                    <a:pt x="317" y="433"/>
                    <a:pt x="317" y="433"/>
                  </a:cubicBezTo>
                  <a:cubicBezTo>
                    <a:pt x="317" y="433"/>
                    <a:pt x="314" y="434"/>
                    <a:pt x="313" y="434"/>
                  </a:cubicBezTo>
                  <a:cubicBezTo>
                    <a:pt x="310" y="433"/>
                    <a:pt x="311" y="427"/>
                    <a:pt x="311" y="427"/>
                  </a:cubicBezTo>
                  <a:cubicBezTo>
                    <a:pt x="311" y="427"/>
                    <a:pt x="293" y="420"/>
                    <a:pt x="290" y="419"/>
                  </a:cubicBezTo>
                  <a:cubicBezTo>
                    <a:pt x="286" y="418"/>
                    <a:pt x="285" y="421"/>
                    <a:pt x="285" y="421"/>
                  </a:cubicBezTo>
                  <a:cubicBezTo>
                    <a:pt x="285" y="421"/>
                    <a:pt x="274" y="419"/>
                    <a:pt x="271" y="419"/>
                  </a:cubicBezTo>
                  <a:cubicBezTo>
                    <a:pt x="268" y="419"/>
                    <a:pt x="264" y="423"/>
                    <a:pt x="264" y="423"/>
                  </a:cubicBezTo>
                  <a:cubicBezTo>
                    <a:pt x="264" y="420"/>
                    <a:pt x="264" y="420"/>
                    <a:pt x="264" y="420"/>
                  </a:cubicBezTo>
                  <a:cubicBezTo>
                    <a:pt x="275" y="414"/>
                    <a:pt x="275" y="414"/>
                    <a:pt x="275" y="414"/>
                  </a:cubicBezTo>
                  <a:cubicBezTo>
                    <a:pt x="270" y="413"/>
                    <a:pt x="270" y="413"/>
                    <a:pt x="270" y="413"/>
                  </a:cubicBezTo>
                  <a:cubicBezTo>
                    <a:pt x="274" y="411"/>
                    <a:pt x="274" y="411"/>
                    <a:pt x="274" y="411"/>
                  </a:cubicBezTo>
                  <a:cubicBezTo>
                    <a:pt x="274" y="409"/>
                    <a:pt x="274" y="409"/>
                    <a:pt x="274" y="409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72" y="406"/>
                    <a:pt x="272" y="406"/>
                    <a:pt x="272" y="406"/>
                  </a:cubicBezTo>
                  <a:cubicBezTo>
                    <a:pt x="270" y="406"/>
                    <a:pt x="270" y="406"/>
                    <a:pt x="270" y="406"/>
                  </a:cubicBezTo>
                  <a:cubicBezTo>
                    <a:pt x="269" y="410"/>
                    <a:pt x="269" y="410"/>
                    <a:pt x="269" y="410"/>
                  </a:cubicBezTo>
                  <a:cubicBezTo>
                    <a:pt x="262" y="411"/>
                    <a:pt x="262" y="411"/>
                    <a:pt x="262" y="411"/>
                  </a:cubicBezTo>
                  <a:cubicBezTo>
                    <a:pt x="259" y="407"/>
                    <a:pt x="259" y="407"/>
                    <a:pt x="259" y="407"/>
                  </a:cubicBezTo>
                  <a:cubicBezTo>
                    <a:pt x="258" y="410"/>
                    <a:pt x="258" y="410"/>
                    <a:pt x="258" y="410"/>
                  </a:cubicBezTo>
                  <a:cubicBezTo>
                    <a:pt x="254" y="409"/>
                    <a:pt x="254" y="409"/>
                    <a:pt x="254" y="409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56" y="406"/>
                    <a:pt x="249" y="406"/>
                    <a:pt x="249" y="405"/>
                  </a:cubicBezTo>
                  <a:cubicBezTo>
                    <a:pt x="249" y="404"/>
                    <a:pt x="254" y="405"/>
                    <a:pt x="254" y="40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1" y="402"/>
                    <a:pt x="261" y="402"/>
                    <a:pt x="261" y="402"/>
                  </a:cubicBezTo>
                  <a:cubicBezTo>
                    <a:pt x="261" y="399"/>
                    <a:pt x="261" y="399"/>
                    <a:pt x="261" y="399"/>
                  </a:cubicBezTo>
                  <a:cubicBezTo>
                    <a:pt x="251" y="399"/>
                    <a:pt x="251" y="399"/>
                    <a:pt x="251" y="399"/>
                  </a:cubicBezTo>
                  <a:cubicBezTo>
                    <a:pt x="248" y="401"/>
                    <a:pt x="244" y="398"/>
                    <a:pt x="244" y="398"/>
                  </a:cubicBezTo>
                  <a:cubicBezTo>
                    <a:pt x="244" y="397"/>
                    <a:pt x="244" y="397"/>
                    <a:pt x="244" y="397"/>
                  </a:cubicBezTo>
                  <a:cubicBezTo>
                    <a:pt x="244" y="396"/>
                    <a:pt x="244" y="396"/>
                    <a:pt x="244" y="396"/>
                  </a:cubicBezTo>
                  <a:cubicBezTo>
                    <a:pt x="246" y="398"/>
                    <a:pt x="246" y="398"/>
                    <a:pt x="246" y="398"/>
                  </a:cubicBezTo>
                  <a:cubicBezTo>
                    <a:pt x="250" y="396"/>
                    <a:pt x="250" y="396"/>
                    <a:pt x="250" y="396"/>
                  </a:cubicBezTo>
                  <a:cubicBezTo>
                    <a:pt x="241" y="394"/>
                    <a:pt x="241" y="394"/>
                    <a:pt x="241" y="394"/>
                  </a:cubicBezTo>
                  <a:cubicBezTo>
                    <a:pt x="234" y="393"/>
                    <a:pt x="234" y="393"/>
                    <a:pt x="234" y="393"/>
                  </a:cubicBezTo>
                  <a:cubicBezTo>
                    <a:pt x="234" y="393"/>
                    <a:pt x="236" y="386"/>
                    <a:pt x="235" y="383"/>
                  </a:cubicBezTo>
                  <a:cubicBezTo>
                    <a:pt x="235" y="382"/>
                    <a:pt x="226" y="382"/>
                    <a:pt x="226" y="382"/>
                  </a:cubicBezTo>
                  <a:cubicBezTo>
                    <a:pt x="226" y="380"/>
                    <a:pt x="226" y="380"/>
                    <a:pt x="226" y="380"/>
                  </a:cubicBezTo>
                  <a:cubicBezTo>
                    <a:pt x="223" y="379"/>
                    <a:pt x="223" y="379"/>
                    <a:pt x="223" y="379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15" y="380"/>
                    <a:pt x="215" y="380"/>
                    <a:pt x="215" y="380"/>
                  </a:cubicBezTo>
                  <a:cubicBezTo>
                    <a:pt x="221" y="378"/>
                    <a:pt x="221" y="378"/>
                    <a:pt x="221" y="378"/>
                  </a:cubicBezTo>
                  <a:cubicBezTo>
                    <a:pt x="221" y="378"/>
                    <a:pt x="221" y="376"/>
                    <a:pt x="227" y="376"/>
                  </a:cubicBezTo>
                  <a:cubicBezTo>
                    <a:pt x="233" y="375"/>
                    <a:pt x="240" y="377"/>
                    <a:pt x="240" y="377"/>
                  </a:cubicBezTo>
                  <a:cubicBezTo>
                    <a:pt x="239" y="381"/>
                    <a:pt x="239" y="381"/>
                    <a:pt x="239" y="381"/>
                  </a:cubicBezTo>
                  <a:cubicBezTo>
                    <a:pt x="239" y="381"/>
                    <a:pt x="244" y="384"/>
                    <a:pt x="251" y="388"/>
                  </a:cubicBezTo>
                  <a:cubicBezTo>
                    <a:pt x="256" y="391"/>
                    <a:pt x="265" y="393"/>
                    <a:pt x="265" y="393"/>
                  </a:cubicBezTo>
                  <a:cubicBezTo>
                    <a:pt x="262" y="387"/>
                    <a:pt x="262" y="387"/>
                    <a:pt x="262" y="387"/>
                  </a:cubicBezTo>
                  <a:cubicBezTo>
                    <a:pt x="264" y="386"/>
                    <a:pt x="264" y="386"/>
                    <a:pt x="264" y="386"/>
                  </a:cubicBezTo>
                  <a:cubicBezTo>
                    <a:pt x="264" y="386"/>
                    <a:pt x="270" y="391"/>
                    <a:pt x="273" y="392"/>
                  </a:cubicBezTo>
                  <a:cubicBezTo>
                    <a:pt x="276" y="393"/>
                    <a:pt x="279" y="390"/>
                    <a:pt x="279" y="390"/>
                  </a:cubicBezTo>
                  <a:cubicBezTo>
                    <a:pt x="281" y="384"/>
                    <a:pt x="281" y="384"/>
                    <a:pt x="281" y="384"/>
                  </a:cubicBezTo>
                  <a:cubicBezTo>
                    <a:pt x="281" y="390"/>
                    <a:pt x="281" y="390"/>
                    <a:pt x="281" y="390"/>
                  </a:cubicBezTo>
                  <a:cubicBezTo>
                    <a:pt x="288" y="390"/>
                    <a:pt x="288" y="390"/>
                    <a:pt x="288" y="390"/>
                  </a:cubicBezTo>
                  <a:cubicBezTo>
                    <a:pt x="288" y="390"/>
                    <a:pt x="288" y="391"/>
                    <a:pt x="289" y="393"/>
                  </a:cubicBezTo>
                  <a:cubicBezTo>
                    <a:pt x="291" y="395"/>
                    <a:pt x="292" y="395"/>
                    <a:pt x="292" y="395"/>
                  </a:cubicBezTo>
                  <a:cubicBezTo>
                    <a:pt x="297" y="390"/>
                    <a:pt x="297" y="390"/>
                    <a:pt x="297" y="39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304" y="391"/>
                    <a:pt x="311" y="394"/>
                    <a:pt x="311" y="394"/>
                  </a:cubicBezTo>
                  <a:cubicBezTo>
                    <a:pt x="314" y="393"/>
                    <a:pt x="314" y="393"/>
                    <a:pt x="314" y="393"/>
                  </a:cubicBezTo>
                  <a:cubicBezTo>
                    <a:pt x="316" y="395"/>
                    <a:pt x="316" y="395"/>
                    <a:pt x="316" y="395"/>
                  </a:cubicBezTo>
                  <a:cubicBezTo>
                    <a:pt x="335" y="395"/>
                    <a:pt x="335" y="395"/>
                    <a:pt x="335" y="395"/>
                  </a:cubicBezTo>
                  <a:cubicBezTo>
                    <a:pt x="349" y="395"/>
                    <a:pt x="355" y="390"/>
                    <a:pt x="364" y="390"/>
                  </a:cubicBezTo>
                  <a:cubicBezTo>
                    <a:pt x="371" y="390"/>
                    <a:pt x="383" y="395"/>
                    <a:pt x="383" y="395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91" y="393"/>
                    <a:pt x="400" y="392"/>
                  </a:cubicBezTo>
                  <a:cubicBezTo>
                    <a:pt x="408" y="391"/>
                    <a:pt x="413" y="381"/>
                    <a:pt x="413" y="381"/>
                  </a:cubicBezTo>
                  <a:cubicBezTo>
                    <a:pt x="417" y="381"/>
                    <a:pt x="417" y="381"/>
                    <a:pt x="417" y="381"/>
                  </a:cubicBezTo>
                  <a:cubicBezTo>
                    <a:pt x="419" y="381"/>
                    <a:pt x="420" y="377"/>
                    <a:pt x="420" y="377"/>
                  </a:cubicBezTo>
                  <a:cubicBezTo>
                    <a:pt x="420" y="377"/>
                    <a:pt x="428" y="371"/>
                    <a:pt x="430" y="368"/>
                  </a:cubicBezTo>
                  <a:cubicBezTo>
                    <a:pt x="432" y="366"/>
                    <a:pt x="439" y="351"/>
                    <a:pt x="439" y="351"/>
                  </a:cubicBezTo>
                  <a:cubicBezTo>
                    <a:pt x="439" y="351"/>
                    <a:pt x="441" y="351"/>
                    <a:pt x="444" y="349"/>
                  </a:cubicBezTo>
                  <a:cubicBezTo>
                    <a:pt x="445" y="346"/>
                    <a:pt x="444" y="343"/>
                    <a:pt x="444" y="343"/>
                  </a:cubicBezTo>
                  <a:cubicBezTo>
                    <a:pt x="444" y="343"/>
                    <a:pt x="444" y="340"/>
                    <a:pt x="446" y="334"/>
                  </a:cubicBezTo>
                  <a:cubicBezTo>
                    <a:pt x="447" y="329"/>
                    <a:pt x="448" y="304"/>
                    <a:pt x="448" y="304"/>
                  </a:cubicBezTo>
                  <a:cubicBezTo>
                    <a:pt x="444" y="300"/>
                    <a:pt x="444" y="300"/>
                    <a:pt x="444" y="300"/>
                  </a:cubicBezTo>
                  <a:cubicBezTo>
                    <a:pt x="439" y="294"/>
                    <a:pt x="439" y="294"/>
                    <a:pt x="439" y="294"/>
                  </a:cubicBezTo>
                  <a:cubicBezTo>
                    <a:pt x="439" y="294"/>
                    <a:pt x="435" y="295"/>
                    <a:pt x="433" y="294"/>
                  </a:cubicBezTo>
                  <a:cubicBezTo>
                    <a:pt x="430" y="293"/>
                    <a:pt x="428" y="283"/>
                    <a:pt x="428" y="283"/>
                  </a:cubicBezTo>
                  <a:cubicBezTo>
                    <a:pt x="424" y="283"/>
                    <a:pt x="424" y="283"/>
                    <a:pt x="424" y="283"/>
                  </a:cubicBezTo>
                  <a:cubicBezTo>
                    <a:pt x="422" y="278"/>
                    <a:pt x="422" y="278"/>
                    <a:pt x="422" y="278"/>
                  </a:cubicBezTo>
                  <a:cubicBezTo>
                    <a:pt x="423" y="275"/>
                    <a:pt x="423" y="275"/>
                    <a:pt x="423" y="275"/>
                  </a:cubicBezTo>
                  <a:cubicBezTo>
                    <a:pt x="415" y="268"/>
                    <a:pt x="415" y="268"/>
                    <a:pt x="415" y="268"/>
                  </a:cubicBezTo>
                  <a:cubicBezTo>
                    <a:pt x="413" y="270"/>
                    <a:pt x="413" y="270"/>
                    <a:pt x="413" y="270"/>
                  </a:cubicBezTo>
                  <a:cubicBezTo>
                    <a:pt x="407" y="268"/>
                    <a:pt x="407" y="268"/>
                    <a:pt x="407" y="268"/>
                  </a:cubicBezTo>
                  <a:cubicBezTo>
                    <a:pt x="407" y="268"/>
                    <a:pt x="407" y="272"/>
                    <a:pt x="405" y="272"/>
                  </a:cubicBezTo>
                  <a:cubicBezTo>
                    <a:pt x="403" y="272"/>
                    <a:pt x="400" y="269"/>
                    <a:pt x="400" y="269"/>
                  </a:cubicBezTo>
                  <a:cubicBezTo>
                    <a:pt x="399" y="265"/>
                    <a:pt x="399" y="265"/>
                    <a:pt x="399" y="265"/>
                  </a:cubicBezTo>
                  <a:cubicBezTo>
                    <a:pt x="386" y="262"/>
                    <a:pt x="386" y="262"/>
                    <a:pt x="386" y="262"/>
                  </a:cubicBezTo>
                  <a:cubicBezTo>
                    <a:pt x="380" y="256"/>
                    <a:pt x="380" y="256"/>
                    <a:pt x="380" y="256"/>
                  </a:cubicBezTo>
                  <a:cubicBezTo>
                    <a:pt x="379" y="257"/>
                    <a:pt x="379" y="257"/>
                    <a:pt x="379" y="257"/>
                  </a:cubicBezTo>
                  <a:cubicBezTo>
                    <a:pt x="379" y="257"/>
                    <a:pt x="384" y="261"/>
                    <a:pt x="381" y="263"/>
                  </a:cubicBezTo>
                  <a:cubicBezTo>
                    <a:pt x="377" y="264"/>
                    <a:pt x="364" y="257"/>
                    <a:pt x="364" y="257"/>
                  </a:cubicBezTo>
                  <a:cubicBezTo>
                    <a:pt x="363" y="260"/>
                    <a:pt x="363" y="260"/>
                    <a:pt x="363" y="260"/>
                  </a:cubicBezTo>
                  <a:cubicBezTo>
                    <a:pt x="356" y="256"/>
                    <a:pt x="356" y="256"/>
                    <a:pt x="356" y="256"/>
                  </a:cubicBezTo>
                  <a:cubicBezTo>
                    <a:pt x="356" y="256"/>
                    <a:pt x="357" y="254"/>
                    <a:pt x="355" y="254"/>
                  </a:cubicBezTo>
                  <a:cubicBezTo>
                    <a:pt x="353" y="254"/>
                    <a:pt x="347" y="253"/>
                    <a:pt x="347" y="253"/>
                  </a:cubicBezTo>
                  <a:cubicBezTo>
                    <a:pt x="348" y="255"/>
                    <a:pt x="348" y="255"/>
                    <a:pt x="348" y="255"/>
                  </a:cubicBezTo>
                  <a:cubicBezTo>
                    <a:pt x="348" y="255"/>
                    <a:pt x="353" y="257"/>
                    <a:pt x="352" y="259"/>
                  </a:cubicBezTo>
                  <a:cubicBezTo>
                    <a:pt x="352" y="261"/>
                    <a:pt x="344" y="257"/>
                    <a:pt x="344" y="257"/>
                  </a:cubicBezTo>
                  <a:cubicBezTo>
                    <a:pt x="344" y="257"/>
                    <a:pt x="331" y="250"/>
                    <a:pt x="325" y="247"/>
                  </a:cubicBezTo>
                  <a:cubicBezTo>
                    <a:pt x="321" y="244"/>
                    <a:pt x="310" y="241"/>
                    <a:pt x="306" y="240"/>
                  </a:cubicBezTo>
                  <a:cubicBezTo>
                    <a:pt x="302" y="239"/>
                    <a:pt x="295" y="235"/>
                    <a:pt x="289" y="233"/>
                  </a:cubicBezTo>
                  <a:cubicBezTo>
                    <a:pt x="282" y="230"/>
                    <a:pt x="270" y="230"/>
                    <a:pt x="270" y="230"/>
                  </a:cubicBezTo>
                  <a:cubicBezTo>
                    <a:pt x="269" y="230"/>
                    <a:pt x="269" y="230"/>
                    <a:pt x="269" y="230"/>
                  </a:cubicBezTo>
                  <a:cubicBezTo>
                    <a:pt x="269" y="230"/>
                    <a:pt x="266" y="228"/>
                    <a:pt x="265" y="226"/>
                  </a:cubicBezTo>
                  <a:cubicBezTo>
                    <a:pt x="264" y="226"/>
                    <a:pt x="262" y="229"/>
                    <a:pt x="262" y="229"/>
                  </a:cubicBezTo>
                  <a:cubicBezTo>
                    <a:pt x="256" y="229"/>
                    <a:pt x="256" y="229"/>
                    <a:pt x="256" y="229"/>
                  </a:cubicBezTo>
                  <a:cubicBezTo>
                    <a:pt x="256" y="228"/>
                    <a:pt x="256" y="228"/>
                    <a:pt x="256" y="228"/>
                  </a:cubicBezTo>
                  <a:cubicBezTo>
                    <a:pt x="248" y="230"/>
                    <a:pt x="248" y="230"/>
                    <a:pt x="248" y="230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8" y="233"/>
                    <a:pt x="246" y="233"/>
                  </a:cubicBezTo>
                  <a:cubicBezTo>
                    <a:pt x="244" y="233"/>
                    <a:pt x="244" y="235"/>
                    <a:pt x="244" y="235"/>
                  </a:cubicBezTo>
                  <a:cubicBezTo>
                    <a:pt x="244" y="235"/>
                    <a:pt x="242" y="234"/>
                    <a:pt x="240" y="233"/>
                  </a:cubicBezTo>
                  <a:cubicBezTo>
                    <a:pt x="238" y="233"/>
                    <a:pt x="231" y="234"/>
                    <a:pt x="231" y="234"/>
                  </a:cubicBezTo>
                  <a:cubicBezTo>
                    <a:pt x="229" y="232"/>
                    <a:pt x="229" y="232"/>
                    <a:pt x="229" y="232"/>
                  </a:cubicBezTo>
                  <a:cubicBezTo>
                    <a:pt x="217" y="234"/>
                    <a:pt x="217" y="234"/>
                    <a:pt x="217" y="234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7" y="236"/>
                    <a:pt x="211" y="234"/>
                    <a:pt x="210" y="236"/>
                  </a:cubicBezTo>
                  <a:cubicBezTo>
                    <a:pt x="209" y="239"/>
                    <a:pt x="212" y="247"/>
                    <a:pt x="212" y="247"/>
                  </a:cubicBezTo>
                  <a:cubicBezTo>
                    <a:pt x="212" y="247"/>
                    <a:pt x="211" y="250"/>
                    <a:pt x="209" y="251"/>
                  </a:cubicBezTo>
                  <a:cubicBezTo>
                    <a:pt x="208" y="253"/>
                    <a:pt x="205" y="255"/>
                    <a:pt x="203" y="254"/>
                  </a:cubicBezTo>
                  <a:cubicBezTo>
                    <a:pt x="202" y="253"/>
                    <a:pt x="207" y="249"/>
                    <a:pt x="208" y="247"/>
                  </a:cubicBezTo>
                  <a:cubicBezTo>
                    <a:pt x="210" y="246"/>
                    <a:pt x="210" y="244"/>
                    <a:pt x="210" y="244"/>
                  </a:cubicBezTo>
                  <a:cubicBezTo>
                    <a:pt x="206" y="241"/>
                    <a:pt x="206" y="241"/>
                    <a:pt x="206" y="241"/>
                  </a:cubicBezTo>
                  <a:cubicBezTo>
                    <a:pt x="207" y="239"/>
                    <a:pt x="207" y="239"/>
                    <a:pt x="207" y="239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241"/>
                    <a:pt x="208" y="234"/>
                    <a:pt x="205" y="231"/>
                  </a:cubicBezTo>
                  <a:cubicBezTo>
                    <a:pt x="201" y="228"/>
                    <a:pt x="194" y="236"/>
                    <a:pt x="194" y="236"/>
                  </a:cubicBezTo>
                  <a:cubicBezTo>
                    <a:pt x="193" y="240"/>
                    <a:pt x="193" y="240"/>
                    <a:pt x="193" y="240"/>
                  </a:cubicBezTo>
                  <a:cubicBezTo>
                    <a:pt x="190" y="240"/>
                    <a:pt x="190" y="240"/>
                    <a:pt x="190" y="240"/>
                  </a:cubicBezTo>
                  <a:cubicBezTo>
                    <a:pt x="193" y="236"/>
                    <a:pt x="193" y="236"/>
                    <a:pt x="193" y="236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1" y="234"/>
                    <a:pt x="191" y="234"/>
                    <a:pt x="191" y="234"/>
                  </a:cubicBezTo>
                  <a:cubicBezTo>
                    <a:pt x="190" y="232"/>
                    <a:pt x="190" y="232"/>
                    <a:pt x="190" y="232"/>
                  </a:cubicBezTo>
                  <a:cubicBezTo>
                    <a:pt x="186" y="232"/>
                    <a:pt x="186" y="232"/>
                    <a:pt x="186" y="232"/>
                  </a:cubicBezTo>
                  <a:cubicBezTo>
                    <a:pt x="186" y="234"/>
                    <a:pt x="186" y="234"/>
                    <a:pt x="186" y="234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6"/>
                    <a:pt x="182" y="236"/>
                    <a:pt x="182" y="236"/>
                  </a:cubicBezTo>
                  <a:cubicBezTo>
                    <a:pt x="177" y="237"/>
                    <a:pt x="177" y="237"/>
                    <a:pt x="177" y="237"/>
                  </a:cubicBezTo>
                  <a:cubicBezTo>
                    <a:pt x="180" y="231"/>
                    <a:pt x="180" y="231"/>
                    <a:pt x="180" y="231"/>
                  </a:cubicBezTo>
                  <a:cubicBezTo>
                    <a:pt x="178" y="231"/>
                    <a:pt x="178" y="231"/>
                    <a:pt x="178" y="231"/>
                  </a:cubicBezTo>
                  <a:cubicBezTo>
                    <a:pt x="178" y="231"/>
                    <a:pt x="178" y="229"/>
                    <a:pt x="175" y="229"/>
                  </a:cubicBezTo>
                  <a:cubicBezTo>
                    <a:pt x="172" y="229"/>
                    <a:pt x="169" y="232"/>
                    <a:pt x="169" y="232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6" y="226"/>
                    <a:pt x="166" y="226"/>
                    <a:pt x="166" y="226"/>
                  </a:cubicBezTo>
                  <a:cubicBezTo>
                    <a:pt x="168" y="223"/>
                    <a:pt x="168" y="223"/>
                    <a:pt x="168" y="223"/>
                  </a:cubicBezTo>
                  <a:cubicBezTo>
                    <a:pt x="167" y="222"/>
                    <a:pt x="167" y="222"/>
                    <a:pt x="167" y="222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71" y="222"/>
                    <a:pt x="169" y="223"/>
                    <a:pt x="171" y="225"/>
                  </a:cubicBezTo>
                  <a:cubicBezTo>
                    <a:pt x="174" y="228"/>
                    <a:pt x="188" y="225"/>
                    <a:pt x="188" y="225"/>
                  </a:cubicBezTo>
                  <a:cubicBezTo>
                    <a:pt x="188" y="225"/>
                    <a:pt x="190" y="223"/>
                    <a:pt x="190" y="221"/>
                  </a:cubicBezTo>
                  <a:cubicBezTo>
                    <a:pt x="190" y="213"/>
                    <a:pt x="190" y="213"/>
                    <a:pt x="190" y="213"/>
                  </a:cubicBezTo>
                  <a:cubicBezTo>
                    <a:pt x="190" y="213"/>
                    <a:pt x="177" y="215"/>
                    <a:pt x="175" y="213"/>
                  </a:cubicBezTo>
                  <a:cubicBezTo>
                    <a:pt x="173" y="212"/>
                    <a:pt x="161" y="207"/>
                    <a:pt x="159" y="208"/>
                  </a:cubicBezTo>
                  <a:cubicBezTo>
                    <a:pt x="158" y="210"/>
                    <a:pt x="161" y="213"/>
                    <a:pt x="161" y="213"/>
                  </a:cubicBezTo>
                  <a:cubicBezTo>
                    <a:pt x="161" y="215"/>
                    <a:pt x="161" y="215"/>
                    <a:pt x="161" y="215"/>
                  </a:cubicBezTo>
                  <a:cubicBezTo>
                    <a:pt x="161" y="215"/>
                    <a:pt x="167" y="217"/>
                    <a:pt x="166" y="219"/>
                  </a:cubicBezTo>
                  <a:cubicBezTo>
                    <a:pt x="164" y="220"/>
                    <a:pt x="160" y="216"/>
                    <a:pt x="157" y="217"/>
                  </a:cubicBezTo>
                  <a:cubicBezTo>
                    <a:pt x="155" y="219"/>
                    <a:pt x="158" y="224"/>
                    <a:pt x="158" y="224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60" y="225"/>
                    <a:pt x="158" y="226"/>
                    <a:pt x="155" y="228"/>
                  </a:cubicBezTo>
                  <a:cubicBezTo>
                    <a:pt x="153" y="228"/>
                    <a:pt x="153" y="231"/>
                    <a:pt x="153" y="231"/>
                  </a:cubicBezTo>
                  <a:cubicBezTo>
                    <a:pt x="153" y="231"/>
                    <a:pt x="151" y="225"/>
                    <a:pt x="145" y="224"/>
                  </a:cubicBezTo>
                  <a:cubicBezTo>
                    <a:pt x="144" y="224"/>
                    <a:pt x="142" y="224"/>
                    <a:pt x="141" y="225"/>
                  </a:cubicBezTo>
                  <a:cubicBezTo>
                    <a:pt x="141" y="228"/>
                    <a:pt x="141" y="228"/>
                    <a:pt x="141" y="228"/>
                  </a:cubicBezTo>
                  <a:cubicBezTo>
                    <a:pt x="141" y="228"/>
                    <a:pt x="146" y="231"/>
                    <a:pt x="143" y="237"/>
                  </a:cubicBezTo>
                  <a:cubicBezTo>
                    <a:pt x="141" y="244"/>
                    <a:pt x="134" y="236"/>
                    <a:pt x="131" y="236"/>
                  </a:cubicBezTo>
                  <a:cubicBezTo>
                    <a:pt x="129" y="235"/>
                    <a:pt x="125" y="235"/>
                    <a:pt x="125" y="235"/>
                  </a:cubicBezTo>
                  <a:cubicBezTo>
                    <a:pt x="125" y="235"/>
                    <a:pt x="130" y="242"/>
                    <a:pt x="130" y="247"/>
                  </a:cubicBezTo>
                  <a:cubicBezTo>
                    <a:pt x="130" y="251"/>
                    <a:pt x="124" y="249"/>
                    <a:pt x="122" y="250"/>
                  </a:cubicBezTo>
                  <a:cubicBezTo>
                    <a:pt x="121" y="250"/>
                    <a:pt x="122" y="255"/>
                    <a:pt x="119" y="257"/>
                  </a:cubicBezTo>
                  <a:cubicBezTo>
                    <a:pt x="117" y="259"/>
                    <a:pt x="113" y="259"/>
                    <a:pt x="112" y="262"/>
                  </a:cubicBezTo>
                  <a:cubicBezTo>
                    <a:pt x="111" y="265"/>
                    <a:pt x="114" y="264"/>
                    <a:pt x="114" y="264"/>
                  </a:cubicBezTo>
                  <a:cubicBezTo>
                    <a:pt x="114" y="264"/>
                    <a:pt x="115" y="278"/>
                    <a:pt x="112" y="280"/>
                  </a:cubicBezTo>
                  <a:cubicBezTo>
                    <a:pt x="110" y="282"/>
                    <a:pt x="106" y="278"/>
                    <a:pt x="106" y="278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108" y="291"/>
                    <a:pt x="108" y="291"/>
                    <a:pt x="108" y="291"/>
                  </a:cubicBezTo>
                  <a:cubicBezTo>
                    <a:pt x="105" y="311"/>
                    <a:pt x="105" y="311"/>
                    <a:pt x="105" y="311"/>
                  </a:cubicBezTo>
                  <a:cubicBezTo>
                    <a:pt x="114" y="334"/>
                    <a:pt x="114" y="334"/>
                    <a:pt x="114" y="334"/>
                  </a:cubicBezTo>
                  <a:cubicBezTo>
                    <a:pt x="135" y="338"/>
                    <a:pt x="135" y="338"/>
                    <a:pt x="135" y="338"/>
                  </a:cubicBezTo>
                  <a:cubicBezTo>
                    <a:pt x="147" y="354"/>
                    <a:pt x="147" y="354"/>
                    <a:pt x="147" y="354"/>
                  </a:cubicBezTo>
                  <a:cubicBezTo>
                    <a:pt x="147" y="354"/>
                    <a:pt x="159" y="354"/>
                    <a:pt x="160" y="363"/>
                  </a:cubicBezTo>
                  <a:cubicBezTo>
                    <a:pt x="161" y="373"/>
                    <a:pt x="146" y="408"/>
                    <a:pt x="146" y="408"/>
                  </a:cubicBezTo>
                  <a:cubicBezTo>
                    <a:pt x="146" y="408"/>
                    <a:pt x="157" y="425"/>
                    <a:pt x="163" y="429"/>
                  </a:cubicBezTo>
                  <a:cubicBezTo>
                    <a:pt x="171" y="435"/>
                    <a:pt x="170" y="444"/>
                    <a:pt x="173" y="446"/>
                  </a:cubicBezTo>
                  <a:cubicBezTo>
                    <a:pt x="173" y="446"/>
                    <a:pt x="186" y="453"/>
                    <a:pt x="190" y="461"/>
                  </a:cubicBezTo>
                  <a:cubicBezTo>
                    <a:pt x="195" y="470"/>
                    <a:pt x="197" y="480"/>
                    <a:pt x="197" y="480"/>
                  </a:cubicBezTo>
                  <a:cubicBezTo>
                    <a:pt x="186" y="486"/>
                    <a:pt x="186" y="486"/>
                    <a:pt x="186" y="486"/>
                  </a:cubicBezTo>
                  <a:cubicBezTo>
                    <a:pt x="193" y="488"/>
                    <a:pt x="193" y="488"/>
                    <a:pt x="193" y="488"/>
                  </a:cubicBezTo>
                  <a:cubicBezTo>
                    <a:pt x="189" y="493"/>
                    <a:pt x="189" y="493"/>
                    <a:pt x="189" y="493"/>
                  </a:cubicBezTo>
                  <a:cubicBezTo>
                    <a:pt x="192" y="502"/>
                    <a:pt x="192" y="502"/>
                    <a:pt x="192" y="502"/>
                  </a:cubicBezTo>
                  <a:cubicBezTo>
                    <a:pt x="189" y="514"/>
                    <a:pt x="189" y="514"/>
                    <a:pt x="189" y="514"/>
                  </a:cubicBezTo>
                  <a:cubicBezTo>
                    <a:pt x="200" y="512"/>
                    <a:pt x="200" y="512"/>
                    <a:pt x="200" y="512"/>
                  </a:cubicBezTo>
                  <a:cubicBezTo>
                    <a:pt x="201" y="517"/>
                    <a:pt x="201" y="517"/>
                    <a:pt x="201" y="517"/>
                  </a:cubicBezTo>
                  <a:cubicBezTo>
                    <a:pt x="194" y="522"/>
                    <a:pt x="194" y="522"/>
                    <a:pt x="194" y="522"/>
                  </a:cubicBezTo>
                  <a:cubicBezTo>
                    <a:pt x="201" y="538"/>
                    <a:pt x="201" y="538"/>
                    <a:pt x="201" y="538"/>
                  </a:cubicBezTo>
                  <a:cubicBezTo>
                    <a:pt x="211" y="533"/>
                    <a:pt x="211" y="533"/>
                    <a:pt x="211" y="533"/>
                  </a:cubicBezTo>
                  <a:cubicBezTo>
                    <a:pt x="216" y="541"/>
                    <a:pt x="216" y="541"/>
                    <a:pt x="216" y="541"/>
                  </a:cubicBezTo>
                  <a:cubicBezTo>
                    <a:pt x="216" y="541"/>
                    <a:pt x="210" y="547"/>
                    <a:pt x="217" y="556"/>
                  </a:cubicBezTo>
                  <a:cubicBezTo>
                    <a:pt x="222" y="565"/>
                    <a:pt x="232" y="559"/>
                    <a:pt x="236" y="567"/>
                  </a:cubicBezTo>
                  <a:cubicBezTo>
                    <a:pt x="240" y="576"/>
                    <a:pt x="235" y="591"/>
                    <a:pt x="235" y="591"/>
                  </a:cubicBezTo>
                  <a:cubicBezTo>
                    <a:pt x="236" y="595"/>
                    <a:pt x="236" y="595"/>
                    <a:pt x="236" y="595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48" y="615"/>
                    <a:pt x="248" y="615"/>
                    <a:pt x="248" y="615"/>
                  </a:cubicBezTo>
                  <a:cubicBezTo>
                    <a:pt x="259" y="617"/>
                    <a:pt x="259" y="617"/>
                    <a:pt x="259" y="617"/>
                  </a:cubicBezTo>
                  <a:cubicBezTo>
                    <a:pt x="275" y="625"/>
                    <a:pt x="275" y="625"/>
                    <a:pt x="275" y="625"/>
                  </a:cubicBezTo>
                  <a:cubicBezTo>
                    <a:pt x="278" y="633"/>
                    <a:pt x="278" y="633"/>
                    <a:pt x="278" y="633"/>
                  </a:cubicBezTo>
                  <a:cubicBezTo>
                    <a:pt x="278" y="633"/>
                    <a:pt x="290" y="633"/>
                    <a:pt x="291" y="639"/>
                  </a:cubicBezTo>
                  <a:cubicBezTo>
                    <a:pt x="291" y="645"/>
                    <a:pt x="289" y="669"/>
                    <a:pt x="287" y="673"/>
                  </a:cubicBezTo>
                  <a:cubicBezTo>
                    <a:pt x="284" y="681"/>
                    <a:pt x="284" y="681"/>
                    <a:pt x="284" y="681"/>
                  </a:cubicBezTo>
                  <a:cubicBezTo>
                    <a:pt x="284" y="681"/>
                    <a:pt x="275" y="694"/>
                    <a:pt x="272" y="706"/>
                  </a:cubicBezTo>
                  <a:cubicBezTo>
                    <a:pt x="269" y="717"/>
                    <a:pt x="261" y="737"/>
                    <a:pt x="258" y="742"/>
                  </a:cubicBezTo>
                  <a:cubicBezTo>
                    <a:pt x="255" y="748"/>
                    <a:pt x="250" y="761"/>
                    <a:pt x="250" y="761"/>
                  </a:cubicBezTo>
                  <a:cubicBezTo>
                    <a:pt x="237" y="775"/>
                    <a:pt x="237" y="775"/>
                    <a:pt x="237" y="775"/>
                  </a:cubicBezTo>
                  <a:cubicBezTo>
                    <a:pt x="236" y="784"/>
                    <a:pt x="236" y="784"/>
                    <a:pt x="236" y="784"/>
                  </a:cubicBezTo>
                  <a:cubicBezTo>
                    <a:pt x="232" y="787"/>
                    <a:pt x="232" y="787"/>
                    <a:pt x="232" y="787"/>
                  </a:cubicBezTo>
                  <a:cubicBezTo>
                    <a:pt x="221" y="802"/>
                    <a:pt x="221" y="802"/>
                    <a:pt x="221" y="802"/>
                  </a:cubicBezTo>
                  <a:cubicBezTo>
                    <a:pt x="213" y="818"/>
                    <a:pt x="213" y="818"/>
                    <a:pt x="213" y="818"/>
                  </a:cubicBezTo>
                  <a:cubicBezTo>
                    <a:pt x="213" y="819"/>
                    <a:pt x="213" y="819"/>
                    <a:pt x="213" y="819"/>
                  </a:cubicBezTo>
                  <a:cubicBezTo>
                    <a:pt x="216" y="820"/>
                    <a:pt x="216" y="820"/>
                    <a:pt x="216" y="820"/>
                  </a:cubicBezTo>
                  <a:cubicBezTo>
                    <a:pt x="225" y="818"/>
                    <a:pt x="225" y="818"/>
                    <a:pt x="225" y="818"/>
                  </a:cubicBezTo>
                  <a:cubicBezTo>
                    <a:pt x="231" y="809"/>
                    <a:pt x="231" y="809"/>
                    <a:pt x="231" y="809"/>
                  </a:cubicBezTo>
                  <a:cubicBezTo>
                    <a:pt x="235" y="805"/>
                    <a:pt x="235" y="805"/>
                    <a:pt x="235" y="805"/>
                  </a:cubicBezTo>
                  <a:cubicBezTo>
                    <a:pt x="235" y="805"/>
                    <a:pt x="236" y="800"/>
                    <a:pt x="238" y="801"/>
                  </a:cubicBezTo>
                  <a:cubicBezTo>
                    <a:pt x="241" y="802"/>
                    <a:pt x="239" y="805"/>
                    <a:pt x="239" y="805"/>
                  </a:cubicBezTo>
                  <a:cubicBezTo>
                    <a:pt x="242" y="819"/>
                    <a:pt x="242" y="819"/>
                    <a:pt x="242" y="819"/>
                  </a:cubicBezTo>
                  <a:cubicBezTo>
                    <a:pt x="235" y="814"/>
                    <a:pt x="235" y="814"/>
                    <a:pt x="235" y="814"/>
                  </a:cubicBezTo>
                  <a:cubicBezTo>
                    <a:pt x="234" y="815"/>
                    <a:pt x="234" y="815"/>
                    <a:pt x="234" y="815"/>
                  </a:cubicBezTo>
                  <a:cubicBezTo>
                    <a:pt x="241" y="823"/>
                    <a:pt x="241" y="823"/>
                    <a:pt x="241" y="823"/>
                  </a:cubicBezTo>
                  <a:cubicBezTo>
                    <a:pt x="246" y="825"/>
                    <a:pt x="246" y="825"/>
                    <a:pt x="246" y="825"/>
                  </a:cubicBezTo>
                  <a:cubicBezTo>
                    <a:pt x="256" y="833"/>
                    <a:pt x="256" y="833"/>
                    <a:pt x="256" y="833"/>
                  </a:cubicBezTo>
                  <a:cubicBezTo>
                    <a:pt x="256" y="833"/>
                    <a:pt x="260" y="835"/>
                    <a:pt x="269" y="832"/>
                  </a:cubicBezTo>
                  <a:cubicBezTo>
                    <a:pt x="276" y="828"/>
                    <a:pt x="281" y="823"/>
                    <a:pt x="286" y="827"/>
                  </a:cubicBezTo>
                  <a:cubicBezTo>
                    <a:pt x="291" y="831"/>
                    <a:pt x="292" y="835"/>
                    <a:pt x="292" y="835"/>
                  </a:cubicBezTo>
                  <a:cubicBezTo>
                    <a:pt x="301" y="836"/>
                    <a:pt x="301" y="836"/>
                    <a:pt x="301" y="836"/>
                  </a:cubicBezTo>
                  <a:cubicBezTo>
                    <a:pt x="299" y="844"/>
                    <a:pt x="299" y="844"/>
                    <a:pt x="299" y="844"/>
                  </a:cubicBezTo>
                  <a:cubicBezTo>
                    <a:pt x="267" y="841"/>
                    <a:pt x="267" y="841"/>
                    <a:pt x="267" y="841"/>
                  </a:cubicBezTo>
                  <a:cubicBezTo>
                    <a:pt x="261" y="847"/>
                    <a:pt x="261" y="847"/>
                    <a:pt x="261" y="847"/>
                  </a:cubicBezTo>
                  <a:cubicBezTo>
                    <a:pt x="261" y="847"/>
                    <a:pt x="270" y="853"/>
                    <a:pt x="262" y="856"/>
                  </a:cubicBezTo>
                  <a:cubicBezTo>
                    <a:pt x="255" y="860"/>
                    <a:pt x="249" y="856"/>
                    <a:pt x="249" y="856"/>
                  </a:cubicBezTo>
                  <a:cubicBezTo>
                    <a:pt x="243" y="860"/>
                    <a:pt x="243" y="860"/>
                    <a:pt x="243" y="860"/>
                  </a:cubicBezTo>
                  <a:cubicBezTo>
                    <a:pt x="243" y="860"/>
                    <a:pt x="251" y="866"/>
                    <a:pt x="245" y="868"/>
                  </a:cubicBezTo>
                  <a:cubicBezTo>
                    <a:pt x="240" y="869"/>
                    <a:pt x="236" y="862"/>
                    <a:pt x="236" y="862"/>
                  </a:cubicBezTo>
                  <a:cubicBezTo>
                    <a:pt x="234" y="865"/>
                    <a:pt x="234" y="865"/>
                    <a:pt x="234" y="865"/>
                  </a:cubicBezTo>
                  <a:cubicBezTo>
                    <a:pt x="234" y="870"/>
                    <a:pt x="234" y="870"/>
                    <a:pt x="234" y="870"/>
                  </a:cubicBezTo>
                  <a:cubicBezTo>
                    <a:pt x="239" y="876"/>
                    <a:pt x="239" y="876"/>
                    <a:pt x="239" y="876"/>
                  </a:cubicBezTo>
                  <a:cubicBezTo>
                    <a:pt x="238" y="883"/>
                    <a:pt x="238" y="883"/>
                    <a:pt x="238" y="883"/>
                  </a:cubicBezTo>
                  <a:cubicBezTo>
                    <a:pt x="244" y="888"/>
                    <a:pt x="244" y="888"/>
                    <a:pt x="244" y="888"/>
                  </a:cubicBezTo>
                  <a:cubicBezTo>
                    <a:pt x="244" y="888"/>
                    <a:pt x="238" y="892"/>
                    <a:pt x="238" y="894"/>
                  </a:cubicBezTo>
                  <a:cubicBezTo>
                    <a:pt x="238" y="895"/>
                    <a:pt x="240" y="897"/>
                    <a:pt x="240" y="897"/>
                  </a:cubicBezTo>
                  <a:cubicBezTo>
                    <a:pt x="237" y="913"/>
                    <a:pt x="237" y="913"/>
                    <a:pt x="237" y="913"/>
                  </a:cubicBezTo>
                  <a:cubicBezTo>
                    <a:pt x="237" y="913"/>
                    <a:pt x="233" y="923"/>
                    <a:pt x="232" y="925"/>
                  </a:cubicBezTo>
                  <a:cubicBezTo>
                    <a:pt x="229" y="927"/>
                    <a:pt x="226" y="930"/>
                    <a:pt x="226" y="930"/>
                  </a:cubicBezTo>
                  <a:cubicBezTo>
                    <a:pt x="226" y="930"/>
                    <a:pt x="232" y="942"/>
                    <a:pt x="235" y="948"/>
                  </a:cubicBezTo>
                  <a:cubicBezTo>
                    <a:pt x="238" y="955"/>
                    <a:pt x="239" y="965"/>
                    <a:pt x="239" y="965"/>
                  </a:cubicBezTo>
                  <a:cubicBezTo>
                    <a:pt x="239" y="965"/>
                    <a:pt x="244" y="969"/>
                    <a:pt x="244" y="972"/>
                  </a:cubicBezTo>
                  <a:cubicBezTo>
                    <a:pt x="245" y="976"/>
                    <a:pt x="245" y="979"/>
                    <a:pt x="245" y="979"/>
                  </a:cubicBezTo>
                  <a:cubicBezTo>
                    <a:pt x="245" y="979"/>
                    <a:pt x="255" y="985"/>
                    <a:pt x="255" y="987"/>
                  </a:cubicBezTo>
                  <a:cubicBezTo>
                    <a:pt x="254" y="989"/>
                    <a:pt x="245" y="991"/>
                    <a:pt x="245" y="991"/>
                  </a:cubicBezTo>
                  <a:cubicBezTo>
                    <a:pt x="245" y="991"/>
                    <a:pt x="248" y="995"/>
                    <a:pt x="248" y="997"/>
                  </a:cubicBezTo>
                  <a:cubicBezTo>
                    <a:pt x="246" y="1000"/>
                    <a:pt x="243" y="1000"/>
                    <a:pt x="243" y="1000"/>
                  </a:cubicBezTo>
                  <a:cubicBezTo>
                    <a:pt x="242" y="1006"/>
                    <a:pt x="242" y="1006"/>
                    <a:pt x="242" y="1006"/>
                  </a:cubicBezTo>
                  <a:cubicBezTo>
                    <a:pt x="243" y="1010"/>
                    <a:pt x="243" y="1010"/>
                    <a:pt x="243" y="1010"/>
                  </a:cubicBezTo>
                  <a:cubicBezTo>
                    <a:pt x="246" y="1009"/>
                    <a:pt x="250" y="1009"/>
                    <a:pt x="250" y="1009"/>
                  </a:cubicBezTo>
                  <a:cubicBezTo>
                    <a:pt x="252" y="1016"/>
                    <a:pt x="252" y="1016"/>
                    <a:pt x="252" y="1016"/>
                  </a:cubicBezTo>
                  <a:cubicBezTo>
                    <a:pt x="252" y="1016"/>
                    <a:pt x="259" y="1017"/>
                    <a:pt x="261" y="1018"/>
                  </a:cubicBezTo>
                  <a:cubicBezTo>
                    <a:pt x="264" y="1019"/>
                    <a:pt x="267" y="1022"/>
                    <a:pt x="267" y="1022"/>
                  </a:cubicBezTo>
                  <a:cubicBezTo>
                    <a:pt x="267" y="1033"/>
                    <a:pt x="267" y="1033"/>
                    <a:pt x="267" y="1033"/>
                  </a:cubicBezTo>
                  <a:cubicBezTo>
                    <a:pt x="264" y="1037"/>
                    <a:pt x="264" y="1037"/>
                    <a:pt x="264" y="1037"/>
                  </a:cubicBezTo>
                  <a:cubicBezTo>
                    <a:pt x="266" y="1041"/>
                    <a:pt x="266" y="1041"/>
                    <a:pt x="266" y="1041"/>
                  </a:cubicBezTo>
                  <a:cubicBezTo>
                    <a:pt x="264" y="1052"/>
                    <a:pt x="264" y="1052"/>
                    <a:pt x="264" y="1052"/>
                  </a:cubicBezTo>
                  <a:cubicBezTo>
                    <a:pt x="264" y="1052"/>
                    <a:pt x="269" y="1049"/>
                    <a:pt x="272" y="1049"/>
                  </a:cubicBezTo>
                  <a:cubicBezTo>
                    <a:pt x="274" y="1049"/>
                    <a:pt x="276" y="1052"/>
                    <a:pt x="276" y="1052"/>
                  </a:cubicBezTo>
                  <a:cubicBezTo>
                    <a:pt x="274" y="1057"/>
                    <a:pt x="274" y="1057"/>
                    <a:pt x="274" y="1057"/>
                  </a:cubicBezTo>
                  <a:cubicBezTo>
                    <a:pt x="282" y="1059"/>
                    <a:pt x="282" y="1059"/>
                    <a:pt x="282" y="1059"/>
                  </a:cubicBezTo>
                  <a:cubicBezTo>
                    <a:pt x="283" y="1064"/>
                    <a:pt x="283" y="1064"/>
                    <a:pt x="283" y="1064"/>
                  </a:cubicBezTo>
                  <a:cubicBezTo>
                    <a:pt x="286" y="1065"/>
                    <a:pt x="286" y="1065"/>
                    <a:pt x="286" y="1065"/>
                  </a:cubicBezTo>
                  <a:cubicBezTo>
                    <a:pt x="289" y="1074"/>
                    <a:pt x="289" y="1074"/>
                    <a:pt x="289" y="1074"/>
                  </a:cubicBezTo>
                  <a:cubicBezTo>
                    <a:pt x="291" y="1080"/>
                    <a:pt x="291" y="1080"/>
                    <a:pt x="291" y="1080"/>
                  </a:cubicBezTo>
                  <a:cubicBezTo>
                    <a:pt x="293" y="1081"/>
                    <a:pt x="293" y="1081"/>
                    <a:pt x="293" y="1081"/>
                  </a:cubicBezTo>
                  <a:cubicBezTo>
                    <a:pt x="293" y="1081"/>
                    <a:pt x="294" y="1088"/>
                    <a:pt x="292" y="1092"/>
                  </a:cubicBezTo>
                  <a:cubicBezTo>
                    <a:pt x="291" y="1092"/>
                    <a:pt x="291" y="1092"/>
                    <a:pt x="291" y="1093"/>
                  </a:cubicBezTo>
                  <a:cubicBezTo>
                    <a:pt x="293" y="1093"/>
                    <a:pt x="295" y="1095"/>
                    <a:pt x="298" y="1095"/>
                  </a:cubicBezTo>
                  <a:cubicBezTo>
                    <a:pt x="301" y="1095"/>
                    <a:pt x="307" y="1090"/>
                    <a:pt x="313" y="1091"/>
                  </a:cubicBezTo>
                  <a:cubicBezTo>
                    <a:pt x="318" y="1092"/>
                    <a:pt x="310" y="1100"/>
                    <a:pt x="317" y="1101"/>
                  </a:cubicBezTo>
                  <a:cubicBezTo>
                    <a:pt x="322" y="1102"/>
                    <a:pt x="321" y="1096"/>
                    <a:pt x="323" y="1095"/>
                  </a:cubicBezTo>
                  <a:cubicBezTo>
                    <a:pt x="324" y="1092"/>
                    <a:pt x="338" y="1090"/>
                    <a:pt x="343" y="1095"/>
                  </a:cubicBezTo>
                  <a:cubicBezTo>
                    <a:pt x="349" y="1099"/>
                    <a:pt x="337" y="1108"/>
                    <a:pt x="348" y="1110"/>
                  </a:cubicBezTo>
                  <a:cubicBezTo>
                    <a:pt x="357" y="1110"/>
                    <a:pt x="351" y="1102"/>
                    <a:pt x="351" y="1102"/>
                  </a:cubicBezTo>
                  <a:cubicBezTo>
                    <a:pt x="351" y="1102"/>
                    <a:pt x="357" y="1100"/>
                    <a:pt x="365" y="1097"/>
                  </a:cubicBezTo>
                  <a:cubicBezTo>
                    <a:pt x="371" y="1093"/>
                    <a:pt x="379" y="1093"/>
                    <a:pt x="384" y="1098"/>
                  </a:cubicBezTo>
                  <a:cubicBezTo>
                    <a:pt x="390" y="1101"/>
                    <a:pt x="396" y="1098"/>
                    <a:pt x="402" y="1104"/>
                  </a:cubicBezTo>
                  <a:cubicBezTo>
                    <a:pt x="409" y="1111"/>
                    <a:pt x="401" y="1120"/>
                    <a:pt x="401" y="1120"/>
                  </a:cubicBezTo>
                  <a:cubicBezTo>
                    <a:pt x="413" y="1136"/>
                    <a:pt x="413" y="1136"/>
                    <a:pt x="413" y="1136"/>
                  </a:cubicBezTo>
                  <a:cubicBezTo>
                    <a:pt x="411" y="1154"/>
                    <a:pt x="411" y="1154"/>
                    <a:pt x="411" y="1154"/>
                  </a:cubicBezTo>
                  <a:cubicBezTo>
                    <a:pt x="411" y="1154"/>
                    <a:pt x="422" y="1156"/>
                    <a:pt x="429" y="1160"/>
                  </a:cubicBezTo>
                  <a:cubicBezTo>
                    <a:pt x="435" y="1163"/>
                    <a:pt x="426" y="1170"/>
                    <a:pt x="426" y="1170"/>
                  </a:cubicBezTo>
                  <a:cubicBezTo>
                    <a:pt x="434" y="1172"/>
                    <a:pt x="434" y="1172"/>
                    <a:pt x="434" y="1172"/>
                  </a:cubicBezTo>
                  <a:cubicBezTo>
                    <a:pt x="434" y="1172"/>
                    <a:pt x="435" y="1177"/>
                    <a:pt x="437" y="1181"/>
                  </a:cubicBezTo>
                  <a:cubicBezTo>
                    <a:pt x="438" y="1185"/>
                    <a:pt x="456" y="1186"/>
                    <a:pt x="456" y="1186"/>
                  </a:cubicBezTo>
                  <a:cubicBezTo>
                    <a:pt x="456" y="1186"/>
                    <a:pt x="462" y="1187"/>
                    <a:pt x="465" y="1191"/>
                  </a:cubicBezTo>
                  <a:cubicBezTo>
                    <a:pt x="468" y="1194"/>
                    <a:pt x="466" y="1207"/>
                    <a:pt x="466" y="1207"/>
                  </a:cubicBezTo>
                  <a:cubicBezTo>
                    <a:pt x="479" y="1203"/>
                    <a:pt x="479" y="1203"/>
                    <a:pt x="479" y="1203"/>
                  </a:cubicBezTo>
                  <a:cubicBezTo>
                    <a:pt x="495" y="1205"/>
                    <a:pt x="495" y="1205"/>
                    <a:pt x="495" y="1205"/>
                  </a:cubicBezTo>
                  <a:cubicBezTo>
                    <a:pt x="490" y="1212"/>
                    <a:pt x="490" y="1212"/>
                    <a:pt x="490" y="1212"/>
                  </a:cubicBezTo>
                  <a:cubicBezTo>
                    <a:pt x="510" y="1221"/>
                    <a:pt x="510" y="1221"/>
                    <a:pt x="510" y="1221"/>
                  </a:cubicBezTo>
                  <a:cubicBezTo>
                    <a:pt x="511" y="1226"/>
                    <a:pt x="511" y="1226"/>
                    <a:pt x="511" y="1226"/>
                  </a:cubicBezTo>
                  <a:cubicBezTo>
                    <a:pt x="500" y="1230"/>
                    <a:pt x="500" y="1230"/>
                    <a:pt x="500" y="1230"/>
                  </a:cubicBezTo>
                  <a:cubicBezTo>
                    <a:pt x="502" y="1235"/>
                    <a:pt x="502" y="1235"/>
                    <a:pt x="502" y="1235"/>
                  </a:cubicBezTo>
                  <a:cubicBezTo>
                    <a:pt x="502" y="1235"/>
                    <a:pt x="499" y="1243"/>
                    <a:pt x="490" y="1247"/>
                  </a:cubicBezTo>
                  <a:cubicBezTo>
                    <a:pt x="481" y="1253"/>
                    <a:pt x="472" y="1245"/>
                    <a:pt x="472" y="1245"/>
                  </a:cubicBezTo>
                  <a:cubicBezTo>
                    <a:pt x="461" y="1248"/>
                    <a:pt x="461" y="1248"/>
                    <a:pt x="461" y="1248"/>
                  </a:cubicBezTo>
                  <a:cubicBezTo>
                    <a:pt x="462" y="1256"/>
                    <a:pt x="462" y="1256"/>
                    <a:pt x="462" y="1256"/>
                  </a:cubicBezTo>
                  <a:cubicBezTo>
                    <a:pt x="459" y="1263"/>
                    <a:pt x="459" y="1263"/>
                    <a:pt x="459" y="1263"/>
                  </a:cubicBezTo>
                  <a:cubicBezTo>
                    <a:pt x="459" y="1263"/>
                    <a:pt x="467" y="1265"/>
                    <a:pt x="472" y="1270"/>
                  </a:cubicBezTo>
                  <a:cubicBezTo>
                    <a:pt x="479" y="1275"/>
                    <a:pt x="477" y="1281"/>
                    <a:pt x="477" y="1281"/>
                  </a:cubicBezTo>
                  <a:cubicBezTo>
                    <a:pt x="477" y="1281"/>
                    <a:pt x="479" y="1282"/>
                    <a:pt x="481" y="1286"/>
                  </a:cubicBezTo>
                  <a:cubicBezTo>
                    <a:pt x="484" y="1290"/>
                    <a:pt x="485" y="1302"/>
                    <a:pt x="485" y="1302"/>
                  </a:cubicBezTo>
                  <a:cubicBezTo>
                    <a:pt x="489" y="1305"/>
                    <a:pt x="489" y="1305"/>
                    <a:pt x="489" y="1305"/>
                  </a:cubicBezTo>
                  <a:cubicBezTo>
                    <a:pt x="493" y="1305"/>
                    <a:pt x="500" y="1306"/>
                    <a:pt x="503" y="1303"/>
                  </a:cubicBezTo>
                  <a:cubicBezTo>
                    <a:pt x="508" y="1300"/>
                    <a:pt x="507" y="1285"/>
                    <a:pt x="507" y="1285"/>
                  </a:cubicBezTo>
                  <a:cubicBezTo>
                    <a:pt x="526" y="1285"/>
                    <a:pt x="526" y="1285"/>
                    <a:pt x="526" y="1285"/>
                  </a:cubicBezTo>
                  <a:cubicBezTo>
                    <a:pt x="529" y="1285"/>
                    <a:pt x="529" y="1285"/>
                    <a:pt x="529" y="1285"/>
                  </a:cubicBezTo>
                  <a:cubicBezTo>
                    <a:pt x="533" y="1284"/>
                    <a:pt x="539" y="1272"/>
                    <a:pt x="539" y="1272"/>
                  </a:cubicBezTo>
                  <a:cubicBezTo>
                    <a:pt x="552" y="1272"/>
                    <a:pt x="552" y="1272"/>
                    <a:pt x="552" y="1272"/>
                  </a:cubicBezTo>
                  <a:cubicBezTo>
                    <a:pt x="552" y="1272"/>
                    <a:pt x="552" y="1266"/>
                    <a:pt x="560" y="1265"/>
                  </a:cubicBezTo>
                  <a:cubicBezTo>
                    <a:pt x="568" y="1265"/>
                    <a:pt x="567" y="1271"/>
                    <a:pt x="567" y="1271"/>
                  </a:cubicBezTo>
                  <a:cubicBezTo>
                    <a:pt x="576" y="1272"/>
                    <a:pt x="576" y="1272"/>
                    <a:pt x="576" y="1272"/>
                  </a:cubicBezTo>
                  <a:cubicBezTo>
                    <a:pt x="576" y="1272"/>
                    <a:pt x="576" y="1279"/>
                    <a:pt x="580" y="1285"/>
                  </a:cubicBezTo>
                  <a:cubicBezTo>
                    <a:pt x="584" y="1290"/>
                    <a:pt x="596" y="1291"/>
                    <a:pt x="599" y="1295"/>
                  </a:cubicBezTo>
                  <a:cubicBezTo>
                    <a:pt x="602" y="1301"/>
                    <a:pt x="584" y="1305"/>
                    <a:pt x="584" y="1305"/>
                  </a:cubicBezTo>
                  <a:cubicBezTo>
                    <a:pt x="584" y="1305"/>
                    <a:pt x="587" y="1306"/>
                    <a:pt x="592" y="1310"/>
                  </a:cubicBezTo>
                  <a:cubicBezTo>
                    <a:pt x="597" y="1313"/>
                    <a:pt x="595" y="1321"/>
                    <a:pt x="595" y="1321"/>
                  </a:cubicBezTo>
                  <a:cubicBezTo>
                    <a:pt x="600" y="1321"/>
                    <a:pt x="600" y="1321"/>
                    <a:pt x="600" y="1321"/>
                  </a:cubicBezTo>
                  <a:cubicBezTo>
                    <a:pt x="599" y="1328"/>
                    <a:pt x="599" y="1328"/>
                    <a:pt x="599" y="1328"/>
                  </a:cubicBezTo>
                  <a:cubicBezTo>
                    <a:pt x="613" y="1325"/>
                    <a:pt x="613" y="1325"/>
                    <a:pt x="613" y="1325"/>
                  </a:cubicBezTo>
                  <a:cubicBezTo>
                    <a:pt x="619" y="1329"/>
                    <a:pt x="619" y="1329"/>
                    <a:pt x="619" y="1329"/>
                  </a:cubicBezTo>
                  <a:cubicBezTo>
                    <a:pt x="619" y="1329"/>
                    <a:pt x="629" y="1319"/>
                    <a:pt x="634" y="1319"/>
                  </a:cubicBezTo>
                  <a:cubicBezTo>
                    <a:pt x="639" y="1319"/>
                    <a:pt x="639" y="1328"/>
                    <a:pt x="639" y="1328"/>
                  </a:cubicBezTo>
                  <a:cubicBezTo>
                    <a:pt x="645" y="1324"/>
                    <a:pt x="645" y="1324"/>
                    <a:pt x="645" y="1324"/>
                  </a:cubicBezTo>
                  <a:cubicBezTo>
                    <a:pt x="645" y="1324"/>
                    <a:pt x="649" y="1325"/>
                    <a:pt x="650" y="1325"/>
                  </a:cubicBezTo>
                  <a:cubicBezTo>
                    <a:pt x="651" y="1325"/>
                    <a:pt x="648" y="1333"/>
                    <a:pt x="648" y="1333"/>
                  </a:cubicBezTo>
                  <a:cubicBezTo>
                    <a:pt x="661" y="1349"/>
                    <a:pt x="661" y="1349"/>
                    <a:pt x="661" y="1349"/>
                  </a:cubicBezTo>
                  <a:cubicBezTo>
                    <a:pt x="659" y="1354"/>
                    <a:pt x="659" y="1354"/>
                    <a:pt x="659" y="1354"/>
                  </a:cubicBezTo>
                  <a:cubicBezTo>
                    <a:pt x="659" y="1354"/>
                    <a:pt x="675" y="1366"/>
                    <a:pt x="680" y="1361"/>
                  </a:cubicBezTo>
                  <a:cubicBezTo>
                    <a:pt x="686" y="1357"/>
                    <a:pt x="687" y="1355"/>
                    <a:pt x="693" y="1354"/>
                  </a:cubicBezTo>
                  <a:cubicBezTo>
                    <a:pt x="698" y="1353"/>
                    <a:pt x="698" y="1360"/>
                    <a:pt x="701" y="1360"/>
                  </a:cubicBezTo>
                  <a:cubicBezTo>
                    <a:pt x="704" y="1360"/>
                    <a:pt x="704" y="1356"/>
                    <a:pt x="704" y="1356"/>
                  </a:cubicBezTo>
                  <a:cubicBezTo>
                    <a:pt x="711" y="1356"/>
                    <a:pt x="711" y="1356"/>
                    <a:pt x="711" y="1356"/>
                  </a:cubicBezTo>
                  <a:cubicBezTo>
                    <a:pt x="712" y="1361"/>
                    <a:pt x="712" y="1361"/>
                    <a:pt x="712" y="1361"/>
                  </a:cubicBezTo>
                  <a:cubicBezTo>
                    <a:pt x="717" y="1363"/>
                    <a:pt x="717" y="1363"/>
                    <a:pt x="717" y="1363"/>
                  </a:cubicBezTo>
                  <a:cubicBezTo>
                    <a:pt x="717" y="1363"/>
                    <a:pt x="720" y="1356"/>
                    <a:pt x="721" y="1352"/>
                  </a:cubicBezTo>
                  <a:cubicBezTo>
                    <a:pt x="723" y="1349"/>
                    <a:pt x="734" y="1345"/>
                    <a:pt x="734" y="1345"/>
                  </a:cubicBezTo>
                  <a:cubicBezTo>
                    <a:pt x="744" y="1334"/>
                    <a:pt x="744" y="1334"/>
                    <a:pt x="744" y="1334"/>
                  </a:cubicBezTo>
                  <a:cubicBezTo>
                    <a:pt x="748" y="1339"/>
                    <a:pt x="748" y="1339"/>
                    <a:pt x="748" y="1339"/>
                  </a:cubicBezTo>
                  <a:cubicBezTo>
                    <a:pt x="753" y="1340"/>
                    <a:pt x="753" y="1340"/>
                    <a:pt x="753" y="1340"/>
                  </a:cubicBezTo>
                  <a:cubicBezTo>
                    <a:pt x="754" y="1344"/>
                    <a:pt x="754" y="1344"/>
                    <a:pt x="754" y="1344"/>
                  </a:cubicBezTo>
                  <a:cubicBezTo>
                    <a:pt x="764" y="1354"/>
                    <a:pt x="764" y="1354"/>
                    <a:pt x="764" y="1354"/>
                  </a:cubicBezTo>
                  <a:cubicBezTo>
                    <a:pt x="774" y="1354"/>
                    <a:pt x="774" y="1354"/>
                    <a:pt x="774" y="1354"/>
                  </a:cubicBezTo>
                  <a:cubicBezTo>
                    <a:pt x="779" y="1357"/>
                    <a:pt x="779" y="1357"/>
                    <a:pt x="779" y="1357"/>
                  </a:cubicBezTo>
                  <a:cubicBezTo>
                    <a:pt x="782" y="1354"/>
                    <a:pt x="782" y="1354"/>
                    <a:pt x="782" y="1354"/>
                  </a:cubicBezTo>
                  <a:cubicBezTo>
                    <a:pt x="782" y="1344"/>
                    <a:pt x="782" y="1344"/>
                    <a:pt x="782" y="1344"/>
                  </a:cubicBezTo>
                  <a:cubicBezTo>
                    <a:pt x="797" y="1349"/>
                    <a:pt x="797" y="1349"/>
                    <a:pt x="797" y="1349"/>
                  </a:cubicBezTo>
                  <a:cubicBezTo>
                    <a:pt x="801" y="1343"/>
                    <a:pt x="801" y="1343"/>
                    <a:pt x="801" y="1343"/>
                  </a:cubicBezTo>
                  <a:cubicBezTo>
                    <a:pt x="811" y="1349"/>
                    <a:pt x="811" y="1349"/>
                    <a:pt x="811" y="1349"/>
                  </a:cubicBezTo>
                  <a:cubicBezTo>
                    <a:pt x="819" y="1349"/>
                    <a:pt x="819" y="1349"/>
                    <a:pt x="819" y="1349"/>
                  </a:cubicBezTo>
                  <a:cubicBezTo>
                    <a:pt x="821" y="1341"/>
                    <a:pt x="821" y="1341"/>
                    <a:pt x="821" y="1341"/>
                  </a:cubicBezTo>
                  <a:cubicBezTo>
                    <a:pt x="826" y="1340"/>
                    <a:pt x="826" y="1340"/>
                    <a:pt x="826" y="1340"/>
                  </a:cubicBezTo>
                  <a:cubicBezTo>
                    <a:pt x="826" y="1340"/>
                    <a:pt x="829" y="1344"/>
                    <a:pt x="830" y="1347"/>
                  </a:cubicBezTo>
                  <a:cubicBezTo>
                    <a:pt x="831" y="1349"/>
                    <a:pt x="836" y="1348"/>
                    <a:pt x="836" y="1348"/>
                  </a:cubicBezTo>
                  <a:cubicBezTo>
                    <a:pt x="838" y="1344"/>
                    <a:pt x="838" y="1344"/>
                    <a:pt x="838" y="1344"/>
                  </a:cubicBezTo>
                  <a:cubicBezTo>
                    <a:pt x="845" y="1344"/>
                    <a:pt x="845" y="1344"/>
                    <a:pt x="845" y="1344"/>
                  </a:cubicBezTo>
                  <a:cubicBezTo>
                    <a:pt x="845" y="1344"/>
                    <a:pt x="847" y="1348"/>
                    <a:pt x="851" y="1350"/>
                  </a:cubicBezTo>
                  <a:cubicBezTo>
                    <a:pt x="856" y="1352"/>
                    <a:pt x="862" y="1350"/>
                    <a:pt x="862" y="1350"/>
                  </a:cubicBezTo>
                  <a:cubicBezTo>
                    <a:pt x="864" y="1343"/>
                    <a:pt x="864" y="1343"/>
                    <a:pt x="864" y="1343"/>
                  </a:cubicBezTo>
                  <a:cubicBezTo>
                    <a:pt x="870" y="1343"/>
                    <a:pt x="870" y="1343"/>
                    <a:pt x="870" y="1343"/>
                  </a:cubicBezTo>
                  <a:cubicBezTo>
                    <a:pt x="870" y="1354"/>
                    <a:pt x="870" y="1354"/>
                    <a:pt x="870" y="1354"/>
                  </a:cubicBezTo>
                  <a:cubicBezTo>
                    <a:pt x="870" y="1354"/>
                    <a:pt x="876" y="1357"/>
                    <a:pt x="879" y="1366"/>
                  </a:cubicBezTo>
                  <a:cubicBezTo>
                    <a:pt x="881" y="1374"/>
                    <a:pt x="868" y="1384"/>
                    <a:pt x="868" y="1384"/>
                  </a:cubicBezTo>
                  <a:cubicBezTo>
                    <a:pt x="868" y="1390"/>
                    <a:pt x="868" y="1390"/>
                    <a:pt x="868" y="1390"/>
                  </a:cubicBezTo>
                  <a:cubicBezTo>
                    <a:pt x="885" y="1389"/>
                    <a:pt x="885" y="1389"/>
                    <a:pt x="885" y="1389"/>
                  </a:cubicBezTo>
                  <a:cubicBezTo>
                    <a:pt x="885" y="1394"/>
                    <a:pt x="885" y="1394"/>
                    <a:pt x="885" y="1394"/>
                  </a:cubicBezTo>
                  <a:cubicBezTo>
                    <a:pt x="876" y="1397"/>
                    <a:pt x="876" y="1397"/>
                    <a:pt x="876" y="1397"/>
                  </a:cubicBezTo>
                  <a:cubicBezTo>
                    <a:pt x="876" y="1412"/>
                    <a:pt x="876" y="1412"/>
                    <a:pt x="876" y="1412"/>
                  </a:cubicBezTo>
                  <a:cubicBezTo>
                    <a:pt x="876" y="1412"/>
                    <a:pt x="882" y="1411"/>
                    <a:pt x="889" y="1415"/>
                  </a:cubicBezTo>
                  <a:cubicBezTo>
                    <a:pt x="896" y="1419"/>
                    <a:pt x="892" y="1427"/>
                    <a:pt x="892" y="1427"/>
                  </a:cubicBezTo>
                  <a:cubicBezTo>
                    <a:pt x="897" y="1428"/>
                    <a:pt x="897" y="1428"/>
                    <a:pt x="897" y="1428"/>
                  </a:cubicBezTo>
                  <a:cubicBezTo>
                    <a:pt x="898" y="1442"/>
                    <a:pt x="898" y="1442"/>
                    <a:pt x="898" y="1442"/>
                  </a:cubicBezTo>
                  <a:cubicBezTo>
                    <a:pt x="895" y="1445"/>
                    <a:pt x="895" y="1445"/>
                    <a:pt x="895" y="1445"/>
                  </a:cubicBezTo>
                  <a:cubicBezTo>
                    <a:pt x="895" y="1445"/>
                    <a:pt x="900" y="1449"/>
                    <a:pt x="900" y="1455"/>
                  </a:cubicBezTo>
                  <a:cubicBezTo>
                    <a:pt x="901" y="1462"/>
                    <a:pt x="874" y="1465"/>
                    <a:pt x="866" y="1467"/>
                  </a:cubicBezTo>
                  <a:cubicBezTo>
                    <a:pt x="859" y="1470"/>
                    <a:pt x="860" y="1475"/>
                    <a:pt x="861" y="1479"/>
                  </a:cubicBezTo>
                  <a:cubicBezTo>
                    <a:pt x="861" y="1482"/>
                    <a:pt x="856" y="1485"/>
                    <a:pt x="849" y="1489"/>
                  </a:cubicBezTo>
                  <a:cubicBezTo>
                    <a:pt x="843" y="1492"/>
                    <a:pt x="843" y="1505"/>
                    <a:pt x="847" y="1511"/>
                  </a:cubicBezTo>
                  <a:cubicBezTo>
                    <a:pt x="850" y="1516"/>
                    <a:pt x="852" y="1521"/>
                    <a:pt x="852" y="1524"/>
                  </a:cubicBezTo>
                  <a:cubicBezTo>
                    <a:pt x="870" y="1520"/>
                    <a:pt x="870" y="1520"/>
                    <a:pt x="870" y="1520"/>
                  </a:cubicBezTo>
                  <a:cubicBezTo>
                    <a:pt x="870" y="1511"/>
                    <a:pt x="870" y="1511"/>
                    <a:pt x="870" y="1511"/>
                  </a:cubicBezTo>
                  <a:cubicBezTo>
                    <a:pt x="881" y="1511"/>
                    <a:pt x="881" y="1511"/>
                    <a:pt x="881" y="1511"/>
                  </a:cubicBezTo>
                  <a:cubicBezTo>
                    <a:pt x="880" y="1506"/>
                    <a:pt x="880" y="1506"/>
                    <a:pt x="880" y="1506"/>
                  </a:cubicBezTo>
                  <a:cubicBezTo>
                    <a:pt x="884" y="1500"/>
                    <a:pt x="884" y="1500"/>
                    <a:pt x="884" y="1500"/>
                  </a:cubicBezTo>
                  <a:cubicBezTo>
                    <a:pt x="894" y="1500"/>
                    <a:pt x="894" y="1500"/>
                    <a:pt x="894" y="1500"/>
                  </a:cubicBezTo>
                  <a:cubicBezTo>
                    <a:pt x="893" y="1506"/>
                    <a:pt x="893" y="1506"/>
                    <a:pt x="893" y="1506"/>
                  </a:cubicBezTo>
                  <a:cubicBezTo>
                    <a:pt x="900" y="1515"/>
                    <a:pt x="900" y="1515"/>
                    <a:pt x="900" y="1515"/>
                  </a:cubicBezTo>
                  <a:cubicBezTo>
                    <a:pt x="891" y="1514"/>
                    <a:pt x="891" y="1514"/>
                    <a:pt x="891" y="1514"/>
                  </a:cubicBezTo>
                  <a:cubicBezTo>
                    <a:pt x="891" y="1514"/>
                    <a:pt x="887" y="1521"/>
                    <a:pt x="883" y="1530"/>
                  </a:cubicBezTo>
                  <a:cubicBezTo>
                    <a:pt x="880" y="1540"/>
                    <a:pt x="871" y="1537"/>
                    <a:pt x="871" y="1537"/>
                  </a:cubicBezTo>
                  <a:cubicBezTo>
                    <a:pt x="870" y="1544"/>
                    <a:pt x="870" y="1544"/>
                    <a:pt x="870" y="1544"/>
                  </a:cubicBezTo>
                  <a:cubicBezTo>
                    <a:pt x="878" y="1543"/>
                    <a:pt x="878" y="1543"/>
                    <a:pt x="878" y="1543"/>
                  </a:cubicBezTo>
                  <a:cubicBezTo>
                    <a:pt x="876" y="1549"/>
                    <a:pt x="876" y="1549"/>
                    <a:pt x="876" y="1549"/>
                  </a:cubicBezTo>
                  <a:cubicBezTo>
                    <a:pt x="866" y="1549"/>
                    <a:pt x="866" y="1549"/>
                    <a:pt x="866" y="1549"/>
                  </a:cubicBezTo>
                  <a:cubicBezTo>
                    <a:pt x="858" y="1558"/>
                    <a:pt x="858" y="1558"/>
                    <a:pt x="858" y="1558"/>
                  </a:cubicBezTo>
                  <a:cubicBezTo>
                    <a:pt x="843" y="1558"/>
                    <a:pt x="843" y="1558"/>
                    <a:pt x="843" y="1558"/>
                  </a:cubicBezTo>
                  <a:cubicBezTo>
                    <a:pt x="855" y="1575"/>
                    <a:pt x="855" y="1575"/>
                    <a:pt x="855" y="1575"/>
                  </a:cubicBezTo>
                  <a:cubicBezTo>
                    <a:pt x="855" y="1575"/>
                    <a:pt x="862" y="1571"/>
                    <a:pt x="867" y="1571"/>
                  </a:cubicBezTo>
                  <a:cubicBezTo>
                    <a:pt x="874" y="1571"/>
                    <a:pt x="876" y="1580"/>
                    <a:pt x="876" y="1580"/>
                  </a:cubicBezTo>
                  <a:cubicBezTo>
                    <a:pt x="876" y="1580"/>
                    <a:pt x="893" y="1578"/>
                    <a:pt x="894" y="1586"/>
                  </a:cubicBezTo>
                  <a:cubicBezTo>
                    <a:pt x="895" y="1592"/>
                    <a:pt x="880" y="1585"/>
                    <a:pt x="880" y="1585"/>
                  </a:cubicBezTo>
                  <a:cubicBezTo>
                    <a:pt x="877" y="1599"/>
                    <a:pt x="877" y="1599"/>
                    <a:pt x="877" y="1599"/>
                  </a:cubicBezTo>
                  <a:cubicBezTo>
                    <a:pt x="873" y="1591"/>
                    <a:pt x="873" y="1591"/>
                    <a:pt x="873" y="1591"/>
                  </a:cubicBezTo>
                  <a:cubicBezTo>
                    <a:pt x="867" y="1594"/>
                    <a:pt x="867" y="1594"/>
                    <a:pt x="867" y="1594"/>
                  </a:cubicBezTo>
                  <a:cubicBezTo>
                    <a:pt x="867" y="1594"/>
                    <a:pt x="871" y="1610"/>
                    <a:pt x="871" y="1615"/>
                  </a:cubicBezTo>
                  <a:cubicBezTo>
                    <a:pt x="871" y="1619"/>
                    <a:pt x="865" y="1619"/>
                    <a:pt x="862" y="1623"/>
                  </a:cubicBezTo>
                  <a:cubicBezTo>
                    <a:pt x="859" y="1626"/>
                    <a:pt x="868" y="1634"/>
                    <a:pt x="866" y="1639"/>
                  </a:cubicBezTo>
                  <a:cubicBezTo>
                    <a:pt x="864" y="1646"/>
                    <a:pt x="859" y="1657"/>
                    <a:pt x="852" y="1658"/>
                  </a:cubicBezTo>
                  <a:cubicBezTo>
                    <a:pt x="846" y="1658"/>
                    <a:pt x="844" y="1650"/>
                    <a:pt x="844" y="1650"/>
                  </a:cubicBezTo>
                  <a:cubicBezTo>
                    <a:pt x="830" y="1651"/>
                    <a:pt x="830" y="1651"/>
                    <a:pt x="830" y="1651"/>
                  </a:cubicBezTo>
                  <a:cubicBezTo>
                    <a:pt x="831" y="1656"/>
                    <a:pt x="831" y="1656"/>
                    <a:pt x="831" y="1656"/>
                  </a:cubicBezTo>
                  <a:cubicBezTo>
                    <a:pt x="831" y="1656"/>
                    <a:pt x="841" y="1657"/>
                    <a:pt x="842" y="1659"/>
                  </a:cubicBezTo>
                  <a:cubicBezTo>
                    <a:pt x="842" y="1662"/>
                    <a:pt x="830" y="1669"/>
                    <a:pt x="830" y="1669"/>
                  </a:cubicBezTo>
                  <a:cubicBezTo>
                    <a:pt x="833" y="1674"/>
                    <a:pt x="833" y="1674"/>
                    <a:pt x="833" y="1674"/>
                  </a:cubicBezTo>
                  <a:cubicBezTo>
                    <a:pt x="847" y="1669"/>
                    <a:pt x="847" y="1669"/>
                    <a:pt x="847" y="1669"/>
                  </a:cubicBezTo>
                  <a:cubicBezTo>
                    <a:pt x="847" y="1669"/>
                    <a:pt x="841" y="1664"/>
                    <a:pt x="851" y="1663"/>
                  </a:cubicBezTo>
                  <a:cubicBezTo>
                    <a:pt x="862" y="1663"/>
                    <a:pt x="852" y="1670"/>
                    <a:pt x="852" y="1670"/>
                  </a:cubicBezTo>
                  <a:cubicBezTo>
                    <a:pt x="865" y="1673"/>
                    <a:pt x="865" y="1673"/>
                    <a:pt x="865" y="1673"/>
                  </a:cubicBezTo>
                  <a:cubicBezTo>
                    <a:pt x="873" y="1686"/>
                    <a:pt x="873" y="1686"/>
                    <a:pt x="873" y="1686"/>
                  </a:cubicBezTo>
                  <a:cubicBezTo>
                    <a:pt x="894" y="1684"/>
                    <a:pt x="894" y="1684"/>
                    <a:pt x="894" y="1684"/>
                  </a:cubicBezTo>
                  <a:cubicBezTo>
                    <a:pt x="895" y="1678"/>
                    <a:pt x="895" y="1678"/>
                    <a:pt x="895" y="1678"/>
                  </a:cubicBezTo>
                  <a:cubicBezTo>
                    <a:pt x="903" y="1684"/>
                    <a:pt x="903" y="1684"/>
                    <a:pt x="903" y="1684"/>
                  </a:cubicBezTo>
                  <a:cubicBezTo>
                    <a:pt x="908" y="1684"/>
                    <a:pt x="908" y="1684"/>
                    <a:pt x="908" y="1684"/>
                  </a:cubicBezTo>
                  <a:cubicBezTo>
                    <a:pt x="911" y="1689"/>
                    <a:pt x="911" y="1689"/>
                    <a:pt x="911" y="1689"/>
                  </a:cubicBezTo>
                  <a:cubicBezTo>
                    <a:pt x="917" y="1688"/>
                    <a:pt x="917" y="1688"/>
                    <a:pt x="917" y="1688"/>
                  </a:cubicBezTo>
                  <a:cubicBezTo>
                    <a:pt x="926" y="1691"/>
                    <a:pt x="926" y="1691"/>
                    <a:pt x="926" y="1691"/>
                  </a:cubicBezTo>
                  <a:cubicBezTo>
                    <a:pt x="929" y="1688"/>
                    <a:pt x="929" y="1688"/>
                    <a:pt x="929" y="1688"/>
                  </a:cubicBezTo>
                  <a:cubicBezTo>
                    <a:pt x="943" y="1687"/>
                    <a:pt x="943" y="1687"/>
                    <a:pt x="943" y="1687"/>
                  </a:cubicBezTo>
                  <a:cubicBezTo>
                    <a:pt x="949" y="1694"/>
                    <a:pt x="949" y="1694"/>
                    <a:pt x="949" y="1694"/>
                  </a:cubicBezTo>
                  <a:cubicBezTo>
                    <a:pt x="949" y="1694"/>
                    <a:pt x="970" y="1696"/>
                    <a:pt x="976" y="1699"/>
                  </a:cubicBezTo>
                  <a:cubicBezTo>
                    <a:pt x="982" y="1702"/>
                    <a:pt x="998" y="1713"/>
                    <a:pt x="998" y="1713"/>
                  </a:cubicBezTo>
                  <a:cubicBezTo>
                    <a:pt x="1003" y="1712"/>
                    <a:pt x="1003" y="1712"/>
                    <a:pt x="1003" y="1712"/>
                  </a:cubicBezTo>
                  <a:cubicBezTo>
                    <a:pt x="1007" y="1716"/>
                    <a:pt x="1007" y="1716"/>
                    <a:pt x="1007" y="1716"/>
                  </a:cubicBezTo>
                  <a:cubicBezTo>
                    <a:pt x="1016" y="1717"/>
                    <a:pt x="1016" y="1717"/>
                    <a:pt x="1016" y="1717"/>
                  </a:cubicBezTo>
                  <a:cubicBezTo>
                    <a:pt x="1019" y="1721"/>
                    <a:pt x="1019" y="1721"/>
                    <a:pt x="1019" y="1721"/>
                  </a:cubicBezTo>
                  <a:cubicBezTo>
                    <a:pt x="1024" y="1720"/>
                    <a:pt x="1024" y="1720"/>
                    <a:pt x="1024" y="1720"/>
                  </a:cubicBezTo>
                  <a:cubicBezTo>
                    <a:pt x="1024" y="1720"/>
                    <a:pt x="1024" y="1710"/>
                    <a:pt x="1028" y="1705"/>
                  </a:cubicBezTo>
                  <a:cubicBezTo>
                    <a:pt x="1031" y="1701"/>
                    <a:pt x="1047" y="1703"/>
                    <a:pt x="1047" y="1703"/>
                  </a:cubicBezTo>
                  <a:cubicBezTo>
                    <a:pt x="1050" y="1698"/>
                    <a:pt x="1050" y="1698"/>
                    <a:pt x="1050" y="1698"/>
                  </a:cubicBezTo>
                  <a:cubicBezTo>
                    <a:pt x="1072" y="1701"/>
                    <a:pt x="1072" y="1701"/>
                    <a:pt x="1072" y="1701"/>
                  </a:cubicBezTo>
                  <a:cubicBezTo>
                    <a:pt x="1073" y="1700"/>
                    <a:pt x="1073" y="1700"/>
                    <a:pt x="1073" y="1700"/>
                  </a:cubicBezTo>
                  <a:cubicBezTo>
                    <a:pt x="1080" y="1700"/>
                    <a:pt x="1080" y="1700"/>
                    <a:pt x="1080" y="1700"/>
                  </a:cubicBezTo>
                  <a:cubicBezTo>
                    <a:pt x="1085" y="1696"/>
                    <a:pt x="1085" y="1696"/>
                    <a:pt x="1085" y="1696"/>
                  </a:cubicBezTo>
                  <a:cubicBezTo>
                    <a:pt x="1085" y="1696"/>
                    <a:pt x="1095" y="1702"/>
                    <a:pt x="1107" y="1699"/>
                  </a:cubicBezTo>
                  <a:cubicBezTo>
                    <a:pt x="1120" y="1697"/>
                    <a:pt x="1137" y="1683"/>
                    <a:pt x="1137" y="1683"/>
                  </a:cubicBezTo>
                  <a:cubicBezTo>
                    <a:pt x="1143" y="1684"/>
                    <a:pt x="1143" y="1684"/>
                    <a:pt x="1143" y="1684"/>
                  </a:cubicBezTo>
                  <a:cubicBezTo>
                    <a:pt x="1143" y="1684"/>
                    <a:pt x="1146" y="1679"/>
                    <a:pt x="1154" y="1679"/>
                  </a:cubicBezTo>
                  <a:cubicBezTo>
                    <a:pt x="1161" y="1678"/>
                    <a:pt x="1162" y="1683"/>
                    <a:pt x="1169" y="1685"/>
                  </a:cubicBezTo>
                  <a:cubicBezTo>
                    <a:pt x="1175" y="1688"/>
                    <a:pt x="1192" y="1683"/>
                    <a:pt x="1192" y="1683"/>
                  </a:cubicBezTo>
                  <a:cubicBezTo>
                    <a:pt x="1210" y="1683"/>
                    <a:pt x="1210" y="1683"/>
                    <a:pt x="1210" y="1683"/>
                  </a:cubicBezTo>
                  <a:cubicBezTo>
                    <a:pt x="1208" y="1689"/>
                    <a:pt x="1208" y="1689"/>
                    <a:pt x="1208" y="1689"/>
                  </a:cubicBezTo>
                  <a:cubicBezTo>
                    <a:pt x="1208" y="1689"/>
                    <a:pt x="1215" y="1691"/>
                    <a:pt x="1221" y="1690"/>
                  </a:cubicBezTo>
                  <a:cubicBezTo>
                    <a:pt x="1227" y="1690"/>
                    <a:pt x="1233" y="1681"/>
                    <a:pt x="1233" y="1681"/>
                  </a:cubicBezTo>
                  <a:cubicBezTo>
                    <a:pt x="1233" y="1674"/>
                    <a:pt x="1233" y="1674"/>
                    <a:pt x="1233" y="1674"/>
                  </a:cubicBezTo>
                  <a:cubicBezTo>
                    <a:pt x="1233" y="1674"/>
                    <a:pt x="1239" y="1669"/>
                    <a:pt x="1243" y="1666"/>
                  </a:cubicBezTo>
                  <a:cubicBezTo>
                    <a:pt x="1248" y="1664"/>
                    <a:pt x="1259" y="1669"/>
                    <a:pt x="1259" y="1669"/>
                  </a:cubicBezTo>
                  <a:cubicBezTo>
                    <a:pt x="1259" y="1659"/>
                    <a:pt x="1259" y="1659"/>
                    <a:pt x="1259" y="1659"/>
                  </a:cubicBezTo>
                  <a:cubicBezTo>
                    <a:pt x="1266" y="1660"/>
                    <a:pt x="1266" y="1660"/>
                    <a:pt x="1266" y="1660"/>
                  </a:cubicBezTo>
                  <a:cubicBezTo>
                    <a:pt x="1274" y="1656"/>
                    <a:pt x="1274" y="1656"/>
                    <a:pt x="1274" y="1656"/>
                  </a:cubicBezTo>
                  <a:cubicBezTo>
                    <a:pt x="1285" y="1663"/>
                    <a:pt x="1285" y="1663"/>
                    <a:pt x="1285" y="1663"/>
                  </a:cubicBezTo>
                  <a:cubicBezTo>
                    <a:pt x="1291" y="1657"/>
                    <a:pt x="1291" y="1657"/>
                    <a:pt x="1291" y="1657"/>
                  </a:cubicBezTo>
                  <a:cubicBezTo>
                    <a:pt x="1302" y="1654"/>
                    <a:pt x="1302" y="1654"/>
                    <a:pt x="1302" y="1654"/>
                  </a:cubicBezTo>
                  <a:cubicBezTo>
                    <a:pt x="1302" y="1654"/>
                    <a:pt x="1305" y="1671"/>
                    <a:pt x="1309" y="1675"/>
                  </a:cubicBezTo>
                  <a:cubicBezTo>
                    <a:pt x="1315" y="1679"/>
                    <a:pt x="1337" y="1674"/>
                    <a:pt x="1347" y="1674"/>
                  </a:cubicBezTo>
                  <a:cubicBezTo>
                    <a:pt x="1357" y="1673"/>
                    <a:pt x="1359" y="1675"/>
                    <a:pt x="1359" y="1675"/>
                  </a:cubicBezTo>
                  <a:cubicBezTo>
                    <a:pt x="1367" y="1671"/>
                    <a:pt x="1367" y="1671"/>
                    <a:pt x="1367" y="1671"/>
                  </a:cubicBezTo>
                  <a:cubicBezTo>
                    <a:pt x="1367" y="1671"/>
                    <a:pt x="1371" y="1672"/>
                    <a:pt x="1378" y="1672"/>
                  </a:cubicBezTo>
                  <a:cubicBezTo>
                    <a:pt x="1383" y="1672"/>
                    <a:pt x="1388" y="1681"/>
                    <a:pt x="1388" y="1681"/>
                  </a:cubicBezTo>
                  <a:cubicBezTo>
                    <a:pt x="1390" y="1678"/>
                    <a:pt x="1390" y="1678"/>
                    <a:pt x="1390" y="1678"/>
                  </a:cubicBezTo>
                  <a:cubicBezTo>
                    <a:pt x="1390" y="1678"/>
                    <a:pt x="1407" y="1689"/>
                    <a:pt x="1408" y="1689"/>
                  </a:cubicBezTo>
                  <a:cubicBezTo>
                    <a:pt x="1411" y="1689"/>
                    <a:pt x="1417" y="1687"/>
                    <a:pt x="1429" y="1686"/>
                  </a:cubicBezTo>
                  <a:cubicBezTo>
                    <a:pt x="1440" y="1685"/>
                    <a:pt x="1435" y="1674"/>
                    <a:pt x="1435" y="1674"/>
                  </a:cubicBezTo>
                  <a:cubicBezTo>
                    <a:pt x="1438" y="1668"/>
                    <a:pt x="1438" y="1668"/>
                    <a:pt x="1438" y="1668"/>
                  </a:cubicBezTo>
                  <a:cubicBezTo>
                    <a:pt x="1437" y="1657"/>
                    <a:pt x="1437" y="1657"/>
                    <a:pt x="1437" y="1657"/>
                  </a:cubicBezTo>
                  <a:cubicBezTo>
                    <a:pt x="1446" y="1644"/>
                    <a:pt x="1446" y="1644"/>
                    <a:pt x="1446" y="1644"/>
                  </a:cubicBezTo>
                  <a:cubicBezTo>
                    <a:pt x="1445" y="1626"/>
                    <a:pt x="1445" y="1626"/>
                    <a:pt x="1445" y="1626"/>
                  </a:cubicBezTo>
                  <a:cubicBezTo>
                    <a:pt x="1434" y="1626"/>
                    <a:pt x="1434" y="1626"/>
                    <a:pt x="1434" y="1626"/>
                  </a:cubicBezTo>
                  <a:cubicBezTo>
                    <a:pt x="1417" y="1613"/>
                    <a:pt x="1417" y="1613"/>
                    <a:pt x="1417" y="1613"/>
                  </a:cubicBezTo>
                  <a:cubicBezTo>
                    <a:pt x="1417" y="1613"/>
                    <a:pt x="1406" y="1612"/>
                    <a:pt x="1404" y="1611"/>
                  </a:cubicBezTo>
                  <a:cubicBezTo>
                    <a:pt x="1402" y="1611"/>
                    <a:pt x="1391" y="1604"/>
                    <a:pt x="1391" y="1604"/>
                  </a:cubicBezTo>
                  <a:cubicBezTo>
                    <a:pt x="1391" y="1604"/>
                    <a:pt x="1387" y="1604"/>
                    <a:pt x="1382" y="1602"/>
                  </a:cubicBezTo>
                  <a:cubicBezTo>
                    <a:pt x="1378" y="1601"/>
                    <a:pt x="1380" y="1599"/>
                    <a:pt x="1376" y="1592"/>
                  </a:cubicBezTo>
                  <a:cubicBezTo>
                    <a:pt x="1372" y="1586"/>
                    <a:pt x="1365" y="1590"/>
                    <a:pt x="1358" y="1584"/>
                  </a:cubicBezTo>
                  <a:cubicBezTo>
                    <a:pt x="1352" y="1578"/>
                    <a:pt x="1356" y="1565"/>
                    <a:pt x="1356" y="1565"/>
                  </a:cubicBezTo>
                  <a:cubicBezTo>
                    <a:pt x="1350" y="1565"/>
                    <a:pt x="1350" y="1565"/>
                    <a:pt x="1350" y="1565"/>
                  </a:cubicBezTo>
                  <a:cubicBezTo>
                    <a:pt x="1341" y="1543"/>
                    <a:pt x="1341" y="1543"/>
                    <a:pt x="1341" y="1543"/>
                  </a:cubicBezTo>
                  <a:cubicBezTo>
                    <a:pt x="1341" y="1530"/>
                    <a:pt x="1341" y="1530"/>
                    <a:pt x="1341" y="1530"/>
                  </a:cubicBezTo>
                  <a:cubicBezTo>
                    <a:pt x="1343" y="1527"/>
                    <a:pt x="1343" y="1527"/>
                    <a:pt x="1343" y="1527"/>
                  </a:cubicBezTo>
                  <a:cubicBezTo>
                    <a:pt x="1343" y="1527"/>
                    <a:pt x="1342" y="1525"/>
                    <a:pt x="1339" y="1525"/>
                  </a:cubicBezTo>
                  <a:cubicBezTo>
                    <a:pt x="1335" y="1526"/>
                    <a:pt x="1338" y="1538"/>
                    <a:pt x="1338" y="1538"/>
                  </a:cubicBezTo>
                  <a:cubicBezTo>
                    <a:pt x="1342" y="1559"/>
                    <a:pt x="1342" y="1559"/>
                    <a:pt x="1342" y="1559"/>
                  </a:cubicBezTo>
                  <a:cubicBezTo>
                    <a:pt x="1339" y="1558"/>
                    <a:pt x="1339" y="1558"/>
                    <a:pt x="1339" y="1558"/>
                  </a:cubicBezTo>
                  <a:cubicBezTo>
                    <a:pt x="1337" y="1540"/>
                    <a:pt x="1337" y="1540"/>
                    <a:pt x="1337" y="1540"/>
                  </a:cubicBezTo>
                  <a:cubicBezTo>
                    <a:pt x="1333" y="1539"/>
                    <a:pt x="1333" y="1539"/>
                    <a:pt x="1333" y="1539"/>
                  </a:cubicBezTo>
                  <a:cubicBezTo>
                    <a:pt x="1313" y="1523"/>
                    <a:pt x="1313" y="1523"/>
                    <a:pt x="1313" y="1523"/>
                  </a:cubicBezTo>
                  <a:cubicBezTo>
                    <a:pt x="1313" y="1523"/>
                    <a:pt x="1310" y="1526"/>
                    <a:pt x="1308" y="1526"/>
                  </a:cubicBezTo>
                  <a:cubicBezTo>
                    <a:pt x="1306" y="1526"/>
                    <a:pt x="1304" y="1521"/>
                    <a:pt x="1301" y="1518"/>
                  </a:cubicBezTo>
                  <a:cubicBezTo>
                    <a:pt x="1297" y="1516"/>
                    <a:pt x="1286" y="1522"/>
                    <a:pt x="1286" y="1522"/>
                  </a:cubicBezTo>
                  <a:cubicBezTo>
                    <a:pt x="1286" y="1522"/>
                    <a:pt x="1277" y="1512"/>
                    <a:pt x="1275" y="1508"/>
                  </a:cubicBezTo>
                  <a:cubicBezTo>
                    <a:pt x="1273" y="1502"/>
                    <a:pt x="1281" y="1496"/>
                    <a:pt x="1285" y="1490"/>
                  </a:cubicBezTo>
                  <a:cubicBezTo>
                    <a:pt x="1290" y="1483"/>
                    <a:pt x="1287" y="1468"/>
                    <a:pt x="1287" y="1468"/>
                  </a:cubicBezTo>
                  <a:cubicBezTo>
                    <a:pt x="1283" y="1465"/>
                    <a:pt x="1283" y="1465"/>
                    <a:pt x="1283" y="1465"/>
                  </a:cubicBezTo>
                  <a:cubicBezTo>
                    <a:pt x="1287" y="1460"/>
                    <a:pt x="1287" y="1460"/>
                    <a:pt x="1287" y="1460"/>
                  </a:cubicBezTo>
                  <a:cubicBezTo>
                    <a:pt x="1284" y="1459"/>
                    <a:pt x="1284" y="1459"/>
                    <a:pt x="1284" y="1459"/>
                  </a:cubicBezTo>
                  <a:cubicBezTo>
                    <a:pt x="1283" y="1443"/>
                    <a:pt x="1283" y="1443"/>
                    <a:pt x="1283" y="1443"/>
                  </a:cubicBezTo>
                  <a:cubicBezTo>
                    <a:pt x="1286" y="1436"/>
                    <a:pt x="1286" y="1436"/>
                    <a:pt x="1286" y="1436"/>
                  </a:cubicBezTo>
                  <a:cubicBezTo>
                    <a:pt x="1286" y="1436"/>
                    <a:pt x="1280" y="1431"/>
                    <a:pt x="1281" y="1428"/>
                  </a:cubicBezTo>
                  <a:cubicBezTo>
                    <a:pt x="1282" y="1424"/>
                    <a:pt x="1291" y="1430"/>
                    <a:pt x="1296" y="1431"/>
                  </a:cubicBezTo>
                  <a:cubicBezTo>
                    <a:pt x="1300" y="1431"/>
                    <a:pt x="1299" y="1428"/>
                    <a:pt x="1299" y="1428"/>
                  </a:cubicBezTo>
                  <a:cubicBezTo>
                    <a:pt x="1299" y="1428"/>
                    <a:pt x="1291" y="1422"/>
                    <a:pt x="1293" y="1419"/>
                  </a:cubicBezTo>
                  <a:cubicBezTo>
                    <a:pt x="1296" y="1416"/>
                    <a:pt x="1306" y="1410"/>
                    <a:pt x="1306" y="1410"/>
                  </a:cubicBezTo>
                  <a:cubicBezTo>
                    <a:pt x="1313" y="1412"/>
                    <a:pt x="1313" y="1412"/>
                    <a:pt x="1313" y="1412"/>
                  </a:cubicBezTo>
                  <a:cubicBezTo>
                    <a:pt x="1317" y="1411"/>
                    <a:pt x="1317" y="1411"/>
                    <a:pt x="1317" y="1411"/>
                  </a:cubicBezTo>
                  <a:cubicBezTo>
                    <a:pt x="1305" y="1402"/>
                    <a:pt x="1305" y="1402"/>
                    <a:pt x="1305" y="1402"/>
                  </a:cubicBezTo>
                  <a:cubicBezTo>
                    <a:pt x="1308" y="1397"/>
                    <a:pt x="1308" y="1397"/>
                    <a:pt x="1308" y="1397"/>
                  </a:cubicBezTo>
                  <a:cubicBezTo>
                    <a:pt x="1322" y="1404"/>
                    <a:pt x="1322" y="1404"/>
                    <a:pt x="1322" y="1404"/>
                  </a:cubicBezTo>
                  <a:cubicBezTo>
                    <a:pt x="1327" y="1402"/>
                    <a:pt x="1327" y="1402"/>
                    <a:pt x="1327" y="1402"/>
                  </a:cubicBezTo>
                  <a:cubicBezTo>
                    <a:pt x="1320" y="1398"/>
                    <a:pt x="1320" y="1398"/>
                    <a:pt x="1320" y="1398"/>
                  </a:cubicBezTo>
                  <a:cubicBezTo>
                    <a:pt x="1323" y="1391"/>
                    <a:pt x="1323" y="1391"/>
                    <a:pt x="1323" y="1391"/>
                  </a:cubicBezTo>
                  <a:cubicBezTo>
                    <a:pt x="1313" y="1386"/>
                    <a:pt x="1313" y="1386"/>
                    <a:pt x="1313" y="1386"/>
                  </a:cubicBezTo>
                  <a:cubicBezTo>
                    <a:pt x="1314" y="1381"/>
                    <a:pt x="1314" y="1381"/>
                    <a:pt x="1314" y="1381"/>
                  </a:cubicBezTo>
                  <a:cubicBezTo>
                    <a:pt x="1322" y="1383"/>
                    <a:pt x="1322" y="1383"/>
                    <a:pt x="1322" y="1383"/>
                  </a:cubicBezTo>
                  <a:cubicBezTo>
                    <a:pt x="1325" y="1383"/>
                    <a:pt x="1325" y="1383"/>
                    <a:pt x="1325" y="1383"/>
                  </a:cubicBezTo>
                  <a:cubicBezTo>
                    <a:pt x="1318" y="1378"/>
                    <a:pt x="1318" y="1378"/>
                    <a:pt x="1318" y="1378"/>
                  </a:cubicBezTo>
                  <a:cubicBezTo>
                    <a:pt x="1323" y="1375"/>
                    <a:pt x="1323" y="1375"/>
                    <a:pt x="1323" y="1375"/>
                  </a:cubicBezTo>
                  <a:cubicBezTo>
                    <a:pt x="1331" y="1379"/>
                    <a:pt x="1331" y="1379"/>
                    <a:pt x="1331" y="1379"/>
                  </a:cubicBezTo>
                  <a:cubicBezTo>
                    <a:pt x="1331" y="1379"/>
                    <a:pt x="1331" y="1372"/>
                    <a:pt x="1329" y="1369"/>
                  </a:cubicBezTo>
                  <a:cubicBezTo>
                    <a:pt x="1326" y="1366"/>
                    <a:pt x="1319" y="1367"/>
                    <a:pt x="1320" y="1363"/>
                  </a:cubicBezTo>
                  <a:cubicBezTo>
                    <a:pt x="1321" y="1357"/>
                    <a:pt x="1332" y="1358"/>
                    <a:pt x="1332" y="1358"/>
                  </a:cubicBezTo>
                  <a:cubicBezTo>
                    <a:pt x="1324" y="1354"/>
                    <a:pt x="1324" y="1354"/>
                    <a:pt x="1324" y="1354"/>
                  </a:cubicBezTo>
                  <a:cubicBezTo>
                    <a:pt x="1324" y="1354"/>
                    <a:pt x="1301" y="1358"/>
                    <a:pt x="1290" y="1357"/>
                  </a:cubicBezTo>
                  <a:cubicBezTo>
                    <a:pt x="1281" y="1356"/>
                    <a:pt x="1280" y="1350"/>
                    <a:pt x="1284" y="1343"/>
                  </a:cubicBezTo>
                  <a:cubicBezTo>
                    <a:pt x="1288" y="1338"/>
                    <a:pt x="1298" y="1344"/>
                    <a:pt x="1302" y="1340"/>
                  </a:cubicBezTo>
                  <a:cubicBezTo>
                    <a:pt x="1307" y="1335"/>
                    <a:pt x="1288" y="1328"/>
                    <a:pt x="1281" y="1326"/>
                  </a:cubicBezTo>
                  <a:cubicBezTo>
                    <a:pt x="1273" y="1324"/>
                    <a:pt x="1268" y="1313"/>
                    <a:pt x="1263" y="1310"/>
                  </a:cubicBezTo>
                  <a:cubicBezTo>
                    <a:pt x="1257" y="1308"/>
                    <a:pt x="1256" y="1312"/>
                    <a:pt x="1249" y="1312"/>
                  </a:cubicBezTo>
                  <a:cubicBezTo>
                    <a:pt x="1242" y="1312"/>
                    <a:pt x="1241" y="1301"/>
                    <a:pt x="1232" y="1298"/>
                  </a:cubicBezTo>
                  <a:cubicBezTo>
                    <a:pt x="1222" y="1295"/>
                    <a:pt x="1225" y="1307"/>
                    <a:pt x="1218" y="1309"/>
                  </a:cubicBezTo>
                  <a:cubicBezTo>
                    <a:pt x="1211" y="1311"/>
                    <a:pt x="1206" y="1310"/>
                    <a:pt x="1206" y="1310"/>
                  </a:cubicBezTo>
                  <a:cubicBezTo>
                    <a:pt x="1210" y="1318"/>
                    <a:pt x="1210" y="1318"/>
                    <a:pt x="1210" y="1318"/>
                  </a:cubicBezTo>
                  <a:cubicBezTo>
                    <a:pt x="1210" y="1318"/>
                    <a:pt x="1198" y="1318"/>
                    <a:pt x="1192" y="1316"/>
                  </a:cubicBezTo>
                  <a:cubicBezTo>
                    <a:pt x="1187" y="1315"/>
                    <a:pt x="1188" y="1308"/>
                    <a:pt x="1189" y="1306"/>
                  </a:cubicBezTo>
                  <a:cubicBezTo>
                    <a:pt x="1191" y="1303"/>
                    <a:pt x="1186" y="1301"/>
                    <a:pt x="1184" y="1298"/>
                  </a:cubicBezTo>
                  <a:cubicBezTo>
                    <a:pt x="1181" y="1296"/>
                    <a:pt x="1181" y="1292"/>
                    <a:pt x="1181" y="1292"/>
                  </a:cubicBezTo>
                  <a:cubicBezTo>
                    <a:pt x="1152" y="1298"/>
                    <a:pt x="1152" y="1298"/>
                    <a:pt x="1152" y="1298"/>
                  </a:cubicBezTo>
                  <a:cubicBezTo>
                    <a:pt x="1146" y="1259"/>
                    <a:pt x="1146" y="1259"/>
                    <a:pt x="1146" y="1259"/>
                  </a:cubicBezTo>
                  <a:cubicBezTo>
                    <a:pt x="1146" y="1259"/>
                    <a:pt x="1152" y="1249"/>
                    <a:pt x="1149" y="1241"/>
                  </a:cubicBezTo>
                  <a:cubicBezTo>
                    <a:pt x="1146" y="1232"/>
                    <a:pt x="1136" y="1234"/>
                    <a:pt x="1136" y="1234"/>
                  </a:cubicBezTo>
                  <a:cubicBezTo>
                    <a:pt x="1124" y="1199"/>
                    <a:pt x="1124" y="1199"/>
                    <a:pt x="1124" y="1199"/>
                  </a:cubicBezTo>
                  <a:cubicBezTo>
                    <a:pt x="1133" y="1184"/>
                    <a:pt x="1133" y="1184"/>
                    <a:pt x="1133" y="1184"/>
                  </a:cubicBezTo>
                  <a:cubicBezTo>
                    <a:pt x="1134" y="1179"/>
                    <a:pt x="1125" y="1178"/>
                    <a:pt x="1125" y="1170"/>
                  </a:cubicBezTo>
                  <a:cubicBezTo>
                    <a:pt x="1124" y="1163"/>
                    <a:pt x="1128" y="1156"/>
                    <a:pt x="1138" y="1156"/>
                  </a:cubicBezTo>
                  <a:cubicBezTo>
                    <a:pt x="1146" y="1156"/>
                    <a:pt x="1158" y="1165"/>
                    <a:pt x="1161" y="1170"/>
                  </a:cubicBezTo>
                  <a:cubicBezTo>
                    <a:pt x="1165" y="1177"/>
                    <a:pt x="1172" y="1176"/>
                    <a:pt x="1178" y="1176"/>
                  </a:cubicBezTo>
                  <a:cubicBezTo>
                    <a:pt x="1184" y="1176"/>
                    <a:pt x="1190" y="1162"/>
                    <a:pt x="1191" y="1152"/>
                  </a:cubicBezTo>
                  <a:cubicBezTo>
                    <a:pt x="1192" y="1143"/>
                    <a:pt x="1185" y="1151"/>
                    <a:pt x="1185" y="1151"/>
                  </a:cubicBezTo>
                  <a:cubicBezTo>
                    <a:pt x="1185" y="1151"/>
                    <a:pt x="1182" y="1146"/>
                    <a:pt x="1177" y="1144"/>
                  </a:cubicBezTo>
                  <a:cubicBezTo>
                    <a:pt x="1173" y="1140"/>
                    <a:pt x="1163" y="1128"/>
                    <a:pt x="1163" y="1128"/>
                  </a:cubicBezTo>
                  <a:cubicBezTo>
                    <a:pt x="1159" y="1128"/>
                    <a:pt x="1159" y="1128"/>
                    <a:pt x="1159" y="1128"/>
                  </a:cubicBezTo>
                  <a:cubicBezTo>
                    <a:pt x="1160" y="1124"/>
                    <a:pt x="1160" y="1124"/>
                    <a:pt x="1160" y="1124"/>
                  </a:cubicBezTo>
                  <a:cubicBezTo>
                    <a:pt x="1160" y="1124"/>
                    <a:pt x="1165" y="1122"/>
                    <a:pt x="1171" y="1121"/>
                  </a:cubicBezTo>
                  <a:cubicBezTo>
                    <a:pt x="1177" y="1120"/>
                    <a:pt x="1175" y="1104"/>
                    <a:pt x="1175" y="1104"/>
                  </a:cubicBezTo>
                  <a:cubicBezTo>
                    <a:pt x="1175" y="1104"/>
                    <a:pt x="1182" y="1099"/>
                    <a:pt x="1183" y="1093"/>
                  </a:cubicBezTo>
                  <a:cubicBezTo>
                    <a:pt x="1185" y="1089"/>
                    <a:pt x="1175" y="1090"/>
                    <a:pt x="1175" y="1090"/>
                  </a:cubicBezTo>
                  <a:cubicBezTo>
                    <a:pt x="1173" y="1080"/>
                    <a:pt x="1173" y="1080"/>
                    <a:pt x="1173" y="1080"/>
                  </a:cubicBezTo>
                  <a:cubicBezTo>
                    <a:pt x="1183" y="1074"/>
                    <a:pt x="1183" y="1074"/>
                    <a:pt x="1183" y="1074"/>
                  </a:cubicBezTo>
                  <a:cubicBezTo>
                    <a:pt x="1189" y="1063"/>
                    <a:pt x="1189" y="1063"/>
                    <a:pt x="1189" y="1063"/>
                  </a:cubicBezTo>
                  <a:cubicBezTo>
                    <a:pt x="1189" y="1063"/>
                    <a:pt x="1202" y="1055"/>
                    <a:pt x="1202" y="1052"/>
                  </a:cubicBezTo>
                  <a:cubicBezTo>
                    <a:pt x="1203" y="1048"/>
                    <a:pt x="1196" y="1049"/>
                    <a:pt x="1195" y="1045"/>
                  </a:cubicBezTo>
                  <a:cubicBezTo>
                    <a:pt x="1194" y="1043"/>
                    <a:pt x="1204" y="1041"/>
                    <a:pt x="1204" y="1038"/>
                  </a:cubicBezTo>
                  <a:cubicBezTo>
                    <a:pt x="1204" y="1036"/>
                    <a:pt x="1199" y="1029"/>
                    <a:pt x="1201" y="1027"/>
                  </a:cubicBezTo>
                  <a:cubicBezTo>
                    <a:pt x="1203" y="1025"/>
                    <a:pt x="1208" y="1022"/>
                    <a:pt x="1208" y="1022"/>
                  </a:cubicBezTo>
                  <a:cubicBezTo>
                    <a:pt x="1201" y="1016"/>
                    <a:pt x="1201" y="1016"/>
                    <a:pt x="1201" y="1016"/>
                  </a:cubicBezTo>
                  <a:cubicBezTo>
                    <a:pt x="1212" y="1016"/>
                    <a:pt x="1212" y="1016"/>
                    <a:pt x="1212" y="1016"/>
                  </a:cubicBezTo>
                  <a:cubicBezTo>
                    <a:pt x="1212" y="1016"/>
                    <a:pt x="1223" y="1009"/>
                    <a:pt x="1226" y="1010"/>
                  </a:cubicBezTo>
                  <a:cubicBezTo>
                    <a:pt x="1229" y="1011"/>
                    <a:pt x="1223" y="1021"/>
                    <a:pt x="1228" y="1022"/>
                  </a:cubicBezTo>
                  <a:cubicBezTo>
                    <a:pt x="1234" y="1024"/>
                    <a:pt x="1235" y="1011"/>
                    <a:pt x="1235" y="1011"/>
                  </a:cubicBezTo>
                  <a:cubicBezTo>
                    <a:pt x="1235" y="1011"/>
                    <a:pt x="1240" y="1012"/>
                    <a:pt x="1243" y="1010"/>
                  </a:cubicBezTo>
                  <a:cubicBezTo>
                    <a:pt x="1247" y="1008"/>
                    <a:pt x="1238" y="1002"/>
                    <a:pt x="1240" y="997"/>
                  </a:cubicBezTo>
                  <a:cubicBezTo>
                    <a:pt x="1242" y="993"/>
                    <a:pt x="1251" y="993"/>
                    <a:pt x="1251" y="993"/>
                  </a:cubicBezTo>
                  <a:cubicBezTo>
                    <a:pt x="1249" y="986"/>
                    <a:pt x="1249" y="986"/>
                    <a:pt x="1249" y="986"/>
                  </a:cubicBezTo>
                  <a:cubicBezTo>
                    <a:pt x="1253" y="984"/>
                    <a:pt x="1253" y="984"/>
                    <a:pt x="1253" y="984"/>
                  </a:cubicBezTo>
                  <a:cubicBezTo>
                    <a:pt x="1253" y="984"/>
                    <a:pt x="1269" y="994"/>
                    <a:pt x="1275" y="993"/>
                  </a:cubicBezTo>
                  <a:cubicBezTo>
                    <a:pt x="1281" y="993"/>
                    <a:pt x="1277" y="987"/>
                    <a:pt x="1277" y="987"/>
                  </a:cubicBezTo>
                  <a:cubicBezTo>
                    <a:pt x="1285" y="987"/>
                    <a:pt x="1285" y="987"/>
                    <a:pt x="1285" y="987"/>
                  </a:cubicBezTo>
                  <a:cubicBezTo>
                    <a:pt x="1285" y="987"/>
                    <a:pt x="1298" y="975"/>
                    <a:pt x="1306" y="974"/>
                  </a:cubicBezTo>
                  <a:cubicBezTo>
                    <a:pt x="1315" y="973"/>
                    <a:pt x="1313" y="981"/>
                    <a:pt x="1318" y="982"/>
                  </a:cubicBezTo>
                  <a:cubicBezTo>
                    <a:pt x="1322" y="984"/>
                    <a:pt x="1323" y="982"/>
                    <a:pt x="1326" y="978"/>
                  </a:cubicBezTo>
                  <a:cubicBezTo>
                    <a:pt x="1329" y="975"/>
                    <a:pt x="1334" y="976"/>
                    <a:pt x="1339" y="980"/>
                  </a:cubicBezTo>
                  <a:cubicBezTo>
                    <a:pt x="1345" y="985"/>
                    <a:pt x="1351" y="984"/>
                    <a:pt x="1356" y="984"/>
                  </a:cubicBezTo>
                  <a:cubicBezTo>
                    <a:pt x="1362" y="984"/>
                    <a:pt x="1363" y="985"/>
                    <a:pt x="1363" y="989"/>
                  </a:cubicBezTo>
                  <a:cubicBezTo>
                    <a:pt x="1363" y="992"/>
                    <a:pt x="1366" y="998"/>
                    <a:pt x="1370" y="1001"/>
                  </a:cubicBezTo>
                  <a:cubicBezTo>
                    <a:pt x="1375" y="1004"/>
                    <a:pt x="1376" y="996"/>
                    <a:pt x="1378" y="992"/>
                  </a:cubicBezTo>
                  <a:cubicBezTo>
                    <a:pt x="1379" y="988"/>
                    <a:pt x="1371" y="988"/>
                    <a:pt x="1369" y="984"/>
                  </a:cubicBezTo>
                  <a:cubicBezTo>
                    <a:pt x="1367" y="978"/>
                    <a:pt x="1362" y="979"/>
                    <a:pt x="1358" y="979"/>
                  </a:cubicBezTo>
                  <a:cubicBezTo>
                    <a:pt x="1356" y="978"/>
                    <a:pt x="1356" y="975"/>
                    <a:pt x="1358" y="971"/>
                  </a:cubicBezTo>
                  <a:cubicBezTo>
                    <a:pt x="1360" y="966"/>
                    <a:pt x="1372" y="971"/>
                    <a:pt x="1372" y="971"/>
                  </a:cubicBezTo>
                  <a:cubicBezTo>
                    <a:pt x="1372" y="971"/>
                    <a:pt x="1375" y="969"/>
                    <a:pt x="1379" y="969"/>
                  </a:cubicBezTo>
                  <a:cubicBezTo>
                    <a:pt x="1382" y="970"/>
                    <a:pt x="1382" y="973"/>
                    <a:pt x="1382" y="973"/>
                  </a:cubicBezTo>
                  <a:cubicBezTo>
                    <a:pt x="1414" y="970"/>
                    <a:pt x="1414" y="970"/>
                    <a:pt x="1414" y="970"/>
                  </a:cubicBezTo>
                  <a:cubicBezTo>
                    <a:pt x="1414" y="970"/>
                    <a:pt x="1418" y="958"/>
                    <a:pt x="1420" y="953"/>
                  </a:cubicBezTo>
                  <a:cubicBezTo>
                    <a:pt x="1422" y="946"/>
                    <a:pt x="1416" y="940"/>
                    <a:pt x="1416" y="940"/>
                  </a:cubicBezTo>
                  <a:cubicBezTo>
                    <a:pt x="1421" y="938"/>
                    <a:pt x="1421" y="938"/>
                    <a:pt x="1421" y="938"/>
                  </a:cubicBezTo>
                  <a:cubicBezTo>
                    <a:pt x="1420" y="923"/>
                    <a:pt x="1420" y="923"/>
                    <a:pt x="1420" y="923"/>
                  </a:cubicBezTo>
                  <a:cubicBezTo>
                    <a:pt x="1420" y="923"/>
                    <a:pt x="1427" y="927"/>
                    <a:pt x="1431" y="927"/>
                  </a:cubicBezTo>
                  <a:cubicBezTo>
                    <a:pt x="1435" y="926"/>
                    <a:pt x="1430" y="918"/>
                    <a:pt x="1430" y="918"/>
                  </a:cubicBezTo>
                  <a:cubicBezTo>
                    <a:pt x="1442" y="909"/>
                    <a:pt x="1442" y="909"/>
                    <a:pt x="1442" y="909"/>
                  </a:cubicBezTo>
                  <a:cubicBezTo>
                    <a:pt x="1442" y="909"/>
                    <a:pt x="1456" y="914"/>
                    <a:pt x="1461" y="912"/>
                  </a:cubicBezTo>
                  <a:cubicBezTo>
                    <a:pt x="1464" y="910"/>
                    <a:pt x="1460" y="906"/>
                    <a:pt x="1461" y="903"/>
                  </a:cubicBezTo>
                  <a:cubicBezTo>
                    <a:pt x="1462" y="902"/>
                    <a:pt x="1469" y="902"/>
                    <a:pt x="1469" y="902"/>
                  </a:cubicBezTo>
                  <a:cubicBezTo>
                    <a:pt x="1460" y="893"/>
                    <a:pt x="1460" y="893"/>
                    <a:pt x="1460" y="893"/>
                  </a:cubicBezTo>
                  <a:cubicBezTo>
                    <a:pt x="1460" y="893"/>
                    <a:pt x="1477" y="886"/>
                    <a:pt x="1479" y="884"/>
                  </a:cubicBezTo>
                  <a:cubicBezTo>
                    <a:pt x="1482" y="882"/>
                    <a:pt x="1478" y="875"/>
                    <a:pt x="1478" y="875"/>
                  </a:cubicBezTo>
                  <a:cubicBezTo>
                    <a:pt x="1478" y="875"/>
                    <a:pt x="1483" y="874"/>
                    <a:pt x="1488" y="872"/>
                  </a:cubicBezTo>
                  <a:cubicBezTo>
                    <a:pt x="1494" y="872"/>
                    <a:pt x="1494" y="878"/>
                    <a:pt x="1503" y="883"/>
                  </a:cubicBezTo>
                  <a:cubicBezTo>
                    <a:pt x="1511" y="887"/>
                    <a:pt x="1523" y="880"/>
                    <a:pt x="1532" y="876"/>
                  </a:cubicBezTo>
                  <a:cubicBezTo>
                    <a:pt x="1532" y="795"/>
                    <a:pt x="1532" y="795"/>
                    <a:pt x="1532" y="795"/>
                  </a:cubicBezTo>
                  <a:cubicBezTo>
                    <a:pt x="1522" y="796"/>
                    <a:pt x="1522" y="796"/>
                    <a:pt x="1522" y="796"/>
                  </a:cubicBezTo>
                  <a:cubicBezTo>
                    <a:pt x="1522" y="796"/>
                    <a:pt x="1526" y="792"/>
                    <a:pt x="1522" y="788"/>
                  </a:cubicBezTo>
                  <a:cubicBezTo>
                    <a:pt x="1520" y="785"/>
                    <a:pt x="1504" y="795"/>
                    <a:pt x="1504" y="795"/>
                  </a:cubicBezTo>
                  <a:cubicBezTo>
                    <a:pt x="1501" y="790"/>
                    <a:pt x="1501" y="790"/>
                    <a:pt x="1501" y="790"/>
                  </a:cubicBezTo>
                  <a:cubicBezTo>
                    <a:pt x="1509" y="767"/>
                    <a:pt x="1509" y="767"/>
                    <a:pt x="1509" y="767"/>
                  </a:cubicBezTo>
                  <a:cubicBezTo>
                    <a:pt x="1515" y="765"/>
                    <a:pt x="1515" y="765"/>
                    <a:pt x="1515" y="765"/>
                  </a:cubicBezTo>
                  <a:cubicBezTo>
                    <a:pt x="1517" y="743"/>
                    <a:pt x="1517" y="743"/>
                    <a:pt x="1517" y="743"/>
                  </a:cubicBezTo>
                  <a:cubicBezTo>
                    <a:pt x="1507" y="740"/>
                    <a:pt x="1507" y="740"/>
                    <a:pt x="1507" y="740"/>
                  </a:cubicBezTo>
                  <a:cubicBezTo>
                    <a:pt x="1502" y="742"/>
                    <a:pt x="1502" y="742"/>
                    <a:pt x="1502" y="742"/>
                  </a:cubicBezTo>
                  <a:cubicBezTo>
                    <a:pt x="1488" y="737"/>
                    <a:pt x="1488" y="737"/>
                    <a:pt x="1488" y="737"/>
                  </a:cubicBezTo>
                  <a:cubicBezTo>
                    <a:pt x="1488" y="737"/>
                    <a:pt x="1491" y="720"/>
                    <a:pt x="1491" y="718"/>
                  </a:cubicBezTo>
                  <a:cubicBezTo>
                    <a:pt x="1491" y="717"/>
                    <a:pt x="1485" y="715"/>
                    <a:pt x="1485" y="715"/>
                  </a:cubicBezTo>
                  <a:cubicBezTo>
                    <a:pt x="1496" y="707"/>
                    <a:pt x="1496" y="707"/>
                    <a:pt x="1496" y="707"/>
                  </a:cubicBezTo>
                  <a:cubicBezTo>
                    <a:pt x="1501" y="702"/>
                    <a:pt x="1501" y="702"/>
                    <a:pt x="1501" y="702"/>
                  </a:cubicBezTo>
                  <a:cubicBezTo>
                    <a:pt x="1510" y="701"/>
                    <a:pt x="1510" y="701"/>
                    <a:pt x="1510" y="701"/>
                  </a:cubicBezTo>
                  <a:cubicBezTo>
                    <a:pt x="1510" y="701"/>
                    <a:pt x="1516" y="692"/>
                    <a:pt x="1520" y="690"/>
                  </a:cubicBezTo>
                  <a:cubicBezTo>
                    <a:pt x="1524" y="688"/>
                    <a:pt x="1522" y="685"/>
                    <a:pt x="1517" y="681"/>
                  </a:cubicBezTo>
                  <a:cubicBezTo>
                    <a:pt x="1513" y="677"/>
                    <a:pt x="1511" y="683"/>
                    <a:pt x="1506" y="685"/>
                  </a:cubicBezTo>
                  <a:cubicBezTo>
                    <a:pt x="1503" y="686"/>
                    <a:pt x="1497" y="686"/>
                    <a:pt x="1497" y="686"/>
                  </a:cubicBezTo>
                  <a:cubicBezTo>
                    <a:pt x="1498" y="690"/>
                    <a:pt x="1498" y="690"/>
                    <a:pt x="1498" y="690"/>
                  </a:cubicBezTo>
                  <a:cubicBezTo>
                    <a:pt x="1482" y="695"/>
                    <a:pt x="1482" y="695"/>
                    <a:pt x="1482" y="695"/>
                  </a:cubicBezTo>
                  <a:cubicBezTo>
                    <a:pt x="1478" y="682"/>
                    <a:pt x="1478" y="682"/>
                    <a:pt x="1478" y="682"/>
                  </a:cubicBezTo>
                  <a:cubicBezTo>
                    <a:pt x="1478" y="682"/>
                    <a:pt x="1488" y="677"/>
                    <a:pt x="1483" y="674"/>
                  </a:cubicBezTo>
                  <a:cubicBezTo>
                    <a:pt x="1478" y="670"/>
                    <a:pt x="1472" y="682"/>
                    <a:pt x="1472" y="682"/>
                  </a:cubicBezTo>
                  <a:cubicBezTo>
                    <a:pt x="1466" y="681"/>
                    <a:pt x="1466" y="681"/>
                    <a:pt x="1466" y="681"/>
                  </a:cubicBezTo>
                  <a:cubicBezTo>
                    <a:pt x="1457" y="685"/>
                    <a:pt x="1457" y="685"/>
                    <a:pt x="1457" y="685"/>
                  </a:cubicBezTo>
                  <a:cubicBezTo>
                    <a:pt x="1460" y="679"/>
                    <a:pt x="1460" y="679"/>
                    <a:pt x="1460" y="679"/>
                  </a:cubicBezTo>
                  <a:cubicBezTo>
                    <a:pt x="1458" y="667"/>
                    <a:pt x="1458" y="667"/>
                    <a:pt x="1458" y="667"/>
                  </a:cubicBezTo>
                  <a:cubicBezTo>
                    <a:pt x="1446" y="669"/>
                    <a:pt x="1446" y="669"/>
                    <a:pt x="1446" y="669"/>
                  </a:cubicBezTo>
                  <a:cubicBezTo>
                    <a:pt x="1455" y="660"/>
                    <a:pt x="1455" y="660"/>
                    <a:pt x="1455" y="660"/>
                  </a:cubicBezTo>
                  <a:cubicBezTo>
                    <a:pt x="1451" y="658"/>
                    <a:pt x="1451" y="658"/>
                    <a:pt x="1451" y="658"/>
                  </a:cubicBezTo>
                  <a:cubicBezTo>
                    <a:pt x="1452" y="650"/>
                    <a:pt x="1452" y="650"/>
                    <a:pt x="1452" y="650"/>
                  </a:cubicBezTo>
                  <a:cubicBezTo>
                    <a:pt x="1465" y="650"/>
                    <a:pt x="1465" y="650"/>
                    <a:pt x="1465" y="650"/>
                  </a:cubicBezTo>
                  <a:cubicBezTo>
                    <a:pt x="1467" y="644"/>
                    <a:pt x="1467" y="644"/>
                    <a:pt x="1467" y="644"/>
                  </a:cubicBezTo>
                  <a:cubicBezTo>
                    <a:pt x="1476" y="646"/>
                    <a:pt x="1476" y="646"/>
                    <a:pt x="1476" y="646"/>
                  </a:cubicBezTo>
                  <a:cubicBezTo>
                    <a:pt x="1478" y="639"/>
                    <a:pt x="1478" y="639"/>
                    <a:pt x="1478" y="639"/>
                  </a:cubicBezTo>
                  <a:cubicBezTo>
                    <a:pt x="1486" y="627"/>
                    <a:pt x="1486" y="627"/>
                    <a:pt x="1486" y="627"/>
                  </a:cubicBezTo>
                  <a:cubicBezTo>
                    <a:pt x="1486" y="627"/>
                    <a:pt x="1489" y="636"/>
                    <a:pt x="1495" y="633"/>
                  </a:cubicBezTo>
                  <a:cubicBezTo>
                    <a:pt x="1500" y="631"/>
                    <a:pt x="1490" y="619"/>
                    <a:pt x="1490" y="619"/>
                  </a:cubicBezTo>
                  <a:cubicBezTo>
                    <a:pt x="1505" y="606"/>
                    <a:pt x="1505" y="606"/>
                    <a:pt x="1505" y="606"/>
                  </a:cubicBezTo>
                  <a:cubicBezTo>
                    <a:pt x="1501" y="599"/>
                    <a:pt x="1501" y="599"/>
                    <a:pt x="1501" y="599"/>
                  </a:cubicBezTo>
                  <a:cubicBezTo>
                    <a:pt x="1509" y="596"/>
                    <a:pt x="1509" y="596"/>
                    <a:pt x="1509" y="596"/>
                  </a:cubicBezTo>
                  <a:cubicBezTo>
                    <a:pt x="1515" y="584"/>
                    <a:pt x="1515" y="584"/>
                    <a:pt x="1515" y="584"/>
                  </a:cubicBezTo>
                  <a:cubicBezTo>
                    <a:pt x="1515" y="584"/>
                    <a:pt x="1521" y="584"/>
                    <a:pt x="1522" y="581"/>
                  </a:cubicBezTo>
                  <a:cubicBezTo>
                    <a:pt x="1524" y="578"/>
                    <a:pt x="1519" y="575"/>
                    <a:pt x="1519" y="575"/>
                  </a:cubicBezTo>
                  <a:cubicBezTo>
                    <a:pt x="1532" y="556"/>
                    <a:pt x="1532" y="556"/>
                    <a:pt x="1532" y="556"/>
                  </a:cubicBezTo>
                  <a:lnTo>
                    <a:pt x="1532" y="0"/>
                  </a:lnTo>
                  <a:close/>
                  <a:moveTo>
                    <a:pt x="375" y="778"/>
                  </a:moveTo>
                  <a:cubicBezTo>
                    <a:pt x="373" y="786"/>
                    <a:pt x="367" y="785"/>
                    <a:pt x="367" y="785"/>
                  </a:cubicBezTo>
                  <a:cubicBezTo>
                    <a:pt x="367" y="785"/>
                    <a:pt x="377" y="803"/>
                    <a:pt x="372" y="806"/>
                  </a:cubicBezTo>
                  <a:cubicBezTo>
                    <a:pt x="366" y="809"/>
                    <a:pt x="357" y="806"/>
                    <a:pt x="357" y="806"/>
                  </a:cubicBezTo>
                  <a:cubicBezTo>
                    <a:pt x="346" y="807"/>
                    <a:pt x="346" y="807"/>
                    <a:pt x="346" y="807"/>
                  </a:cubicBezTo>
                  <a:cubicBezTo>
                    <a:pt x="340" y="816"/>
                    <a:pt x="340" y="816"/>
                    <a:pt x="340" y="816"/>
                  </a:cubicBezTo>
                  <a:cubicBezTo>
                    <a:pt x="340" y="816"/>
                    <a:pt x="350" y="830"/>
                    <a:pt x="341" y="830"/>
                  </a:cubicBezTo>
                  <a:cubicBezTo>
                    <a:pt x="334" y="831"/>
                    <a:pt x="324" y="830"/>
                    <a:pt x="324" y="830"/>
                  </a:cubicBezTo>
                  <a:cubicBezTo>
                    <a:pt x="324" y="818"/>
                    <a:pt x="324" y="818"/>
                    <a:pt x="324" y="818"/>
                  </a:cubicBezTo>
                  <a:cubicBezTo>
                    <a:pt x="316" y="814"/>
                    <a:pt x="316" y="814"/>
                    <a:pt x="316" y="814"/>
                  </a:cubicBezTo>
                  <a:cubicBezTo>
                    <a:pt x="316" y="814"/>
                    <a:pt x="319" y="808"/>
                    <a:pt x="313" y="803"/>
                  </a:cubicBezTo>
                  <a:cubicBezTo>
                    <a:pt x="307" y="798"/>
                    <a:pt x="299" y="792"/>
                    <a:pt x="299" y="792"/>
                  </a:cubicBezTo>
                  <a:cubicBezTo>
                    <a:pt x="299" y="792"/>
                    <a:pt x="299" y="786"/>
                    <a:pt x="295" y="781"/>
                  </a:cubicBezTo>
                  <a:cubicBezTo>
                    <a:pt x="291" y="775"/>
                    <a:pt x="266" y="769"/>
                    <a:pt x="266" y="764"/>
                  </a:cubicBezTo>
                  <a:cubicBezTo>
                    <a:pt x="267" y="758"/>
                    <a:pt x="277" y="754"/>
                    <a:pt x="277" y="754"/>
                  </a:cubicBezTo>
                  <a:cubicBezTo>
                    <a:pt x="275" y="744"/>
                    <a:pt x="275" y="744"/>
                    <a:pt x="275" y="744"/>
                  </a:cubicBezTo>
                  <a:cubicBezTo>
                    <a:pt x="275" y="744"/>
                    <a:pt x="285" y="740"/>
                    <a:pt x="285" y="736"/>
                  </a:cubicBezTo>
                  <a:cubicBezTo>
                    <a:pt x="285" y="730"/>
                    <a:pt x="286" y="722"/>
                    <a:pt x="286" y="722"/>
                  </a:cubicBezTo>
                  <a:cubicBezTo>
                    <a:pt x="291" y="723"/>
                    <a:pt x="297" y="724"/>
                    <a:pt x="297" y="724"/>
                  </a:cubicBezTo>
                  <a:cubicBezTo>
                    <a:pt x="301" y="729"/>
                    <a:pt x="301" y="729"/>
                    <a:pt x="301" y="729"/>
                  </a:cubicBezTo>
                  <a:cubicBezTo>
                    <a:pt x="302" y="726"/>
                    <a:pt x="302" y="726"/>
                    <a:pt x="302" y="726"/>
                  </a:cubicBezTo>
                  <a:cubicBezTo>
                    <a:pt x="310" y="726"/>
                    <a:pt x="310" y="726"/>
                    <a:pt x="310" y="726"/>
                  </a:cubicBezTo>
                  <a:cubicBezTo>
                    <a:pt x="316" y="735"/>
                    <a:pt x="316" y="735"/>
                    <a:pt x="316" y="735"/>
                  </a:cubicBezTo>
                  <a:cubicBezTo>
                    <a:pt x="319" y="732"/>
                    <a:pt x="319" y="732"/>
                    <a:pt x="319" y="732"/>
                  </a:cubicBezTo>
                  <a:cubicBezTo>
                    <a:pt x="325" y="739"/>
                    <a:pt x="325" y="739"/>
                    <a:pt x="325" y="739"/>
                  </a:cubicBezTo>
                  <a:cubicBezTo>
                    <a:pt x="315" y="739"/>
                    <a:pt x="315" y="739"/>
                    <a:pt x="315" y="739"/>
                  </a:cubicBezTo>
                  <a:cubicBezTo>
                    <a:pt x="315" y="739"/>
                    <a:pt x="313" y="742"/>
                    <a:pt x="316" y="743"/>
                  </a:cubicBezTo>
                  <a:cubicBezTo>
                    <a:pt x="319" y="744"/>
                    <a:pt x="321" y="741"/>
                    <a:pt x="321" y="741"/>
                  </a:cubicBezTo>
                  <a:cubicBezTo>
                    <a:pt x="321" y="741"/>
                    <a:pt x="341" y="739"/>
                    <a:pt x="349" y="744"/>
                  </a:cubicBezTo>
                  <a:cubicBezTo>
                    <a:pt x="355" y="751"/>
                    <a:pt x="356" y="755"/>
                    <a:pt x="356" y="755"/>
                  </a:cubicBezTo>
                  <a:cubicBezTo>
                    <a:pt x="366" y="760"/>
                    <a:pt x="366" y="760"/>
                    <a:pt x="366" y="760"/>
                  </a:cubicBezTo>
                  <a:cubicBezTo>
                    <a:pt x="369" y="770"/>
                    <a:pt x="369" y="770"/>
                    <a:pt x="369" y="770"/>
                  </a:cubicBezTo>
                  <a:cubicBezTo>
                    <a:pt x="369" y="770"/>
                    <a:pt x="376" y="771"/>
                    <a:pt x="375" y="778"/>
                  </a:cubicBezTo>
                  <a:close/>
                  <a:moveTo>
                    <a:pt x="464" y="712"/>
                  </a:moveTo>
                  <a:cubicBezTo>
                    <a:pt x="462" y="717"/>
                    <a:pt x="462" y="724"/>
                    <a:pt x="462" y="724"/>
                  </a:cubicBezTo>
                  <a:cubicBezTo>
                    <a:pt x="449" y="726"/>
                    <a:pt x="449" y="726"/>
                    <a:pt x="449" y="726"/>
                  </a:cubicBezTo>
                  <a:cubicBezTo>
                    <a:pt x="449" y="726"/>
                    <a:pt x="454" y="717"/>
                    <a:pt x="446" y="708"/>
                  </a:cubicBezTo>
                  <a:cubicBezTo>
                    <a:pt x="437" y="698"/>
                    <a:pt x="425" y="697"/>
                    <a:pt x="425" y="697"/>
                  </a:cubicBezTo>
                  <a:cubicBezTo>
                    <a:pt x="408" y="694"/>
                    <a:pt x="408" y="694"/>
                    <a:pt x="408" y="694"/>
                  </a:cubicBezTo>
                  <a:cubicBezTo>
                    <a:pt x="388" y="677"/>
                    <a:pt x="388" y="677"/>
                    <a:pt x="388" y="677"/>
                  </a:cubicBezTo>
                  <a:cubicBezTo>
                    <a:pt x="398" y="683"/>
                    <a:pt x="398" y="683"/>
                    <a:pt x="398" y="683"/>
                  </a:cubicBezTo>
                  <a:cubicBezTo>
                    <a:pt x="401" y="683"/>
                    <a:pt x="401" y="683"/>
                    <a:pt x="401" y="683"/>
                  </a:cubicBezTo>
                  <a:cubicBezTo>
                    <a:pt x="401" y="674"/>
                    <a:pt x="401" y="674"/>
                    <a:pt x="401" y="674"/>
                  </a:cubicBezTo>
                  <a:cubicBezTo>
                    <a:pt x="392" y="669"/>
                    <a:pt x="392" y="669"/>
                    <a:pt x="392" y="669"/>
                  </a:cubicBezTo>
                  <a:cubicBezTo>
                    <a:pt x="389" y="667"/>
                    <a:pt x="389" y="667"/>
                    <a:pt x="389" y="667"/>
                  </a:cubicBezTo>
                  <a:cubicBezTo>
                    <a:pt x="381" y="658"/>
                    <a:pt x="381" y="658"/>
                    <a:pt x="381" y="658"/>
                  </a:cubicBezTo>
                  <a:cubicBezTo>
                    <a:pt x="373" y="650"/>
                    <a:pt x="373" y="650"/>
                    <a:pt x="373" y="650"/>
                  </a:cubicBezTo>
                  <a:cubicBezTo>
                    <a:pt x="375" y="650"/>
                    <a:pt x="375" y="650"/>
                    <a:pt x="375" y="650"/>
                  </a:cubicBezTo>
                  <a:cubicBezTo>
                    <a:pt x="384" y="656"/>
                    <a:pt x="384" y="656"/>
                    <a:pt x="384" y="656"/>
                  </a:cubicBezTo>
                  <a:cubicBezTo>
                    <a:pt x="386" y="661"/>
                    <a:pt x="386" y="661"/>
                    <a:pt x="386" y="661"/>
                  </a:cubicBezTo>
                  <a:cubicBezTo>
                    <a:pt x="401" y="669"/>
                    <a:pt x="401" y="669"/>
                    <a:pt x="401" y="669"/>
                  </a:cubicBezTo>
                  <a:cubicBezTo>
                    <a:pt x="401" y="666"/>
                    <a:pt x="401" y="666"/>
                    <a:pt x="401" y="666"/>
                  </a:cubicBezTo>
                  <a:cubicBezTo>
                    <a:pt x="395" y="658"/>
                    <a:pt x="395" y="658"/>
                    <a:pt x="395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85" y="646"/>
                    <a:pt x="385" y="646"/>
                    <a:pt x="385" y="646"/>
                  </a:cubicBezTo>
                  <a:cubicBezTo>
                    <a:pt x="398" y="653"/>
                    <a:pt x="398" y="653"/>
                    <a:pt x="398" y="653"/>
                  </a:cubicBezTo>
                  <a:cubicBezTo>
                    <a:pt x="385" y="638"/>
                    <a:pt x="385" y="638"/>
                    <a:pt x="385" y="638"/>
                  </a:cubicBezTo>
                  <a:cubicBezTo>
                    <a:pt x="385" y="638"/>
                    <a:pt x="401" y="649"/>
                    <a:pt x="402" y="653"/>
                  </a:cubicBezTo>
                  <a:cubicBezTo>
                    <a:pt x="404" y="656"/>
                    <a:pt x="411" y="662"/>
                    <a:pt x="413" y="663"/>
                  </a:cubicBezTo>
                  <a:cubicBezTo>
                    <a:pt x="414" y="663"/>
                    <a:pt x="414" y="660"/>
                    <a:pt x="414" y="660"/>
                  </a:cubicBezTo>
                  <a:cubicBezTo>
                    <a:pt x="414" y="660"/>
                    <a:pt x="407" y="656"/>
                    <a:pt x="408" y="654"/>
                  </a:cubicBezTo>
                  <a:cubicBezTo>
                    <a:pt x="409" y="651"/>
                    <a:pt x="422" y="660"/>
                    <a:pt x="422" y="650"/>
                  </a:cubicBezTo>
                  <a:cubicBezTo>
                    <a:pt x="423" y="641"/>
                    <a:pt x="411" y="632"/>
                    <a:pt x="411" y="632"/>
                  </a:cubicBezTo>
                  <a:cubicBezTo>
                    <a:pt x="405" y="632"/>
                    <a:pt x="405" y="632"/>
                    <a:pt x="405" y="632"/>
                  </a:cubicBezTo>
                  <a:cubicBezTo>
                    <a:pt x="397" y="629"/>
                    <a:pt x="397" y="629"/>
                    <a:pt x="397" y="629"/>
                  </a:cubicBezTo>
                  <a:cubicBezTo>
                    <a:pt x="393" y="629"/>
                    <a:pt x="393" y="629"/>
                    <a:pt x="393" y="629"/>
                  </a:cubicBezTo>
                  <a:cubicBezTo>
                    <a:pt x="404" y="643"/>
                    <a:pt x="404" y="643"/>
                    <a:pt x="404" y="643"/>
                  </a:cubicBezTo>
                  <a:cubicBezTo>
                    <a:pt x="404" y="643"/>
                    <a:pt x="374" y="620"/>
                    <a:pt x="376" y="618"/>
                  </a:cubicBezTo>
                  <a:cubicBezTo>
                    <a:pt x="379" y="615"/>
                    <a:pt x="385" y="620"/>
                    <a:pt x="385" y="620"/>
                  </a:cubicBezTo>
                  <a:cubicBezTo>
                    <a:pt x="385" y="620"/>
                    <a:pt x="390" y="618"/>
                    <a:pt x="393" y="619"/>
                  </a:cubicBezTo>
                  <a:cubicBezTo>
                    <a:pt x="397" y="619"/>
                    <a:pt x="407" y="625"/>
                    <a:pt x="407" y="625"/>
                  </a:cubicBezTo>
                  <a:cubicBezTo>
                    <a:pt x="407" y="625"/>
                    <a:pt x="421" y="622"/>
                    <a:pt x="426" y="632"/>
                  </a:cubicBezTo>
                  <a:cubicBezTo>
                    <a:pt x="433" y="642"/>
                    <a:pt x="424" y="654"/>
                    <a:pt x="429" y="657"/>
                  </a:cubicBezTo>
                  <a:cubicBezTo>
                    <a:pt x="433" y="660"/>
                    <a:pt x="440" y="670"/>
                    <a:pt x="440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8" y="677"/>
                    <a:pt x="448" y="677"/>
                    <a:pt x="448" y="677"/>
                  </a:cubicBezTo>
                  <a:cubicBezTo>
                    <a:pt x="448" y="677"/>
                    <a:pt x="466" y="682"/>
                    <a:pt x="468" y="692"/>
                  </a:cubicBezTo>
                  <a:cubicBezTo>
                    <a:pt x="470" y="702"/>
                    <a:pt x="467" y="707"/>
                    <a:pt x="464" y="71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3" name="Litauen" descr="© INSCALE GmbH, 05.05.2010&#10;http://www.presentationload.com/">
              <a:extLst>
                <a:ext uri="{FF2B5EF4-FFF2-40B4-BE49-F238E27FC236}">
                  <a16:creationId xmlns:a16="http://schemas.microsoft.com/office/drawing/2014/main" id="{41FA55F6-8DB9-EE46-8377-E9170A569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1314" y="3509648"/>
              <a:ext cx="529729" cy="401010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" name="Sp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EFFD3AF0-CFA3-1843-8C92-5D8CC952D9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28478" y="5334821"/>
              <a:ext cx="1506677" cy="1242637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" name="Italien" descr="© INSCALE GmbH, 05.05.2010&#10;http://www.presentationload.com/">
              <a:extLst>
                <a:ext uri="{FF2B5EF4-FFF2-40B4-BE49-F238E27FC236}">
                  <a16:creationId xmlns:a16="http://schemas.microsoft.com/office/drawing/2014/main" id="{43940C29-EB74-654C-AC81-0E5F42E5BE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63553" y="5059231"/>
              <a:ext cx="1407662" cy="1617242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FCE53FAD-B49D-114A-8F48-8D3BBB21AB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529858" y="5691275"/>
              <a:ext cx="47858" cy="41257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" name="Deutsch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8080B04-E69A-C643-A257-81203151C1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50351" y="3808344"/>
              <a:ext cx="909287" cy="1227784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" name="Saudi-Arabien" descr="© INSCALE GmbH, 05.05.2010&#10;http://www.presentationload.com/">
              <a:extLst>
                <a:ext uri="{FF2B5EF4-FFF2-40B4-BE49-F238E27FC236}">
                  <a16:creationId xmlns:a16="http://schemas.microsoft.com/office/drawing/2014/main" id="{40EA2FBF-960D-B249-B720-F96918CB742E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8580" y="6668221"/>
              <a:ext cx="795420" cy="189779"/>
            </a:xfrm>
            <a:custGeom>
              <a:avLst/>
              <a:gdLst/>
              <a:ahLst/>
              <a:cxnLst>
                <a:cxn ang="0">
                  <a:pos x="333" y="80"/>
                </a:cxn>
                <a:cxn ang="0">
                  <a:pos x="333" y="30"/>
                </a:cxn>
                <a:cxn ang="0">
                  <a:pos x="319" y="13"/>
                </a:cxn>
                <a:cxn ang="0">
                  <a:pos x="224" y="11"/>
                </a:cxn>
                <a:cxn ang="0">
                  <a:pos x="122" y="0"/>
                </a:cxn>
                <a:cxn ang="0">
                  <a:pos x="78" y="7"/>
                </a:cxn>
                <a:cxn ang="0">
                  <a:pos x="66" y="29"/>
                </a:cxn>
                <a:cxn ang="0">
                  <a:pos x="15" y="68"/>
                </a:cxn>
                <a:cxn ang="0">
                  <a:pos x="0" y="80"/>
                </a:cxn>
                <a:cxn ang="0">
                  <a:pos x="333" y="80"/>
                </a:cxn>
              </a:cxnLst>
              <a:rect l="0" t="0" r="r" b="b"/>
              <a:pathLst>
                <a:path w="333" h="80">
                  <a:moveTo>
                    <a:pt x="333" y="80"/>
                  </a:moveTo>
                  <a:cubicBezTo>
                    <a:pt x="333" y="30"/>
                    <a:pt x="333" y="30"/>
                    <a:pt x="333" y="30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9" y="13"/>
                    <a:pt x="251" y="13"/>
                    <a:pt x="224" y="11"/>
                  </a:cubicBezTo>
                  <a:cubicBezTo>
                    <a:pt x="197" y="11"/>
                    <a:pt x="135" y="0"/>
                    <a:pt x="122" y="0"/>
                  </a:cubicBezTo>
                  <a:cubicBezTo>
                    <a:pt x="108" y="0"/>
                    <a:pt x="78" y="7"/>
                    <a:pt x="78" y="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25" y="61"/>
                    <a:pt x="15" y="68"/>
                  </a:cubicBezTo>
                  <a:cubicBezTo>
                    <a:pt x="11" y="70"/>
                    <a:pt x="6" y="74"/>
                    <a:pt x="0" y="80"/>
                  </a:cubicBezTo>
                  <a:lnTo>
                    <a:pt x="333" y="8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9" name="Jord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2556CF34-5F6F-8A40-A05E-6560E9DF22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21832" y="6537852"/>
              <a:ext cx="513227" cy="320148"/>
            </a:xfrm>
            <a:custGeom>
              <a:avLst/>
              <a:gdLst/>
              <a:ahLst/>
              <a:cxnLst>
                <a:cxn ang="0">
                  <a:pos x="5" y="128"/>
                </a:cxn>
                <a:cxn ang="0">
                  <a:pos x="7" y="134"/>
                </a:cxn>
                <a:cxn ang="0">
                  <a:pos x="137" y="134"/>
                </a:cxn>
                <a:cxn ang="0">
                  <a:pos x="152" y="122"/>
                </a:cxn>
                <a:cxn ang="0">
                  <a:pos x="203" y="83"/>
                </a:cxn>
                <a:cxn ang="0">
                  <a:pos x="215" y="61"/>
                </a:cxn>
                <a:cxn ang="0">
                  <a:pos x="158" y="0"/>
                </a:cxn>
                <a:cxn ang="0">
                  <a:pos x="76" y="109"/>
                </a:cxn>
                <a:cxn ang="0">
                  <a:pos x="49" y="110"/>
                </a:cxn>
                <a:cxn ang="0">
                  <a:pos x="42" y="105"/>
                </a:cxn>
                <a:cxn ang="0">
                  <a:pos x="34" y="109"/>
                </a:cxn>
                <a:cxn ang="0">
                  <a:pos x="30" y="109"/>
                </a:cxn>
                <a:cxn ang="0">
                  <a:pos x="18" y="99"/>
                </a:cxn>
                <a:cxn ang="0">
                  <a:pos x="5" y="107"/>
                </a:cxn>
                <a:cxn ang="0">
                  <a:pos x="0" y="110"/>
                </a:cxn>
                <a:cxn ang="0">
                  <a:pos x="3" y="120"/>
                </a:cxn>
                <a:cxn ang="0">
                  <a:pos x="5" y="128"/>
                </a:cxn>
              </a:cxnLst>
              <a:rect l="0" t="0" r="r" b="b"/>
              <a:pathLst>
                <a:path w="215" h="134">
                  <a:moveTo>
                    <a:pt x="5" y="128"/>
                  </a:moveTo>
                  <a:cubicBezTo>
                    <a:pt x="7" y="134"/>
                    <a:pt x="7" y="134"/>
                    <a:pt x="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43" y="128"/>
                    <a:pt x="148" y="124"/>
                    <a:pt x="152" y="122"/>
                  </a:cubicBezTo>
                  <a:cubicBezTo>
                    <a:pt x="162" y="115"/>
                    <a:pt x="203" y="83"/>
                    <a:pt x="203" y="83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0"/>
                    <a:pt x="48" y="106"/>
                    <a:pt x="42" y="105"/>
                  </a:cubicBezTo>
                  <a:cubicBezTo>
                    <a:pt x="35" y="105"/>
                    <a:pt x="34" y="109"/>
                    <a:pt x="34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26" y="100"/>
                    <a:pt x="18" y="99"/>
                  </a:cubicBezTo>
                  <a:cubicBezTo>
                    <a:pt x="10" y="99"/>
                    <a:pt x="5" y="107"/>
                    <a:pt x="5" y="10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8"/>
                    <a:pt x="3" y="120"/>
                  </a:cubicBezTo>
                  <a:cubicBezTo>
                    <a:pt x="7" y="123"/>
                    <a:pt x="5" y="128"/>
                    <a:pt x="5" y="12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0" name="Freeform 9" descr="© INSCALE GmbH, 05.05.2010&#10;http://www.presentationload.com/">
              <a:extLst>
                <a:ext uri="{FF2B5EF4-FFF2-40B4-BE49-F238E27FC236}">
                  <a16:creationId xmlns:a16="http://schemas.microsoft.com/office/drawing/2014/main" id="{AF809ACA-1D57-7D48-86F1-A4CAC2CE4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1017" y="5077384"/>
              <a:ext cx="344901" cy="242586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1" name="Freeform 79" descr="© INSCALE GmbH, 05.05.2010&#10;http://www.presentationload.com/">
              <a:extLst>
                <a:ext uri="{FF2B5EF4-FFF2-40B4-BE49-F238E27FC236}">
                  <a16:creationId xmlns:a16="http://schemas.microsoft.com/office/drawing/2014/main" id="{F93E05D2-73D9-D84A-94A9-519D5AB92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3260" y="5561736"/>
              <a:ext cx="207930" cy="26074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9" y="9"/>
                </a:cxn>
                <a:cxn ang="0">
                  <a:pos x="44" y="9"/>
                </a:cxn>
                <a:cxn ang="0">
                  <a:pos x="34" y="2"/>
                </a:cxn>
                <a:cxn ang="0">
                  <a:pos x="32" y="13"/>
                </a:cxn>
                <a:cxn ang="0">
                  <a:pos x="49" y="36"/>
                </a:cxn>
                <a:cxn ang="0">
                  <a:pos x="30" y="32"/>
                </a:cxn>
                <a:cxn ang="0">
                  <a:pos x="13" y="43"/>
                </a:cxn>
                <a:cxn ang="0">
                  <a:pos x="15" y="70"/>
                </a:cxn>
                <a:cxn ang="0">
                  <a:pos x="2" y="78"/>
                </a:cxn>
                <a:cxn ang="0">
                  <a:pos x="3" y="108"/>
                </a:cxn>
                <a:cxn ang="0">
                  <a:pos x="9" y="108"/>
                </a:cxn>
                <a:cxn ang="0">
                  <a:pos x="9" y="127"/>
                </a:cxn>
                <a:cxn ang="0">
                  <a:pos x="0" y="133"/>
                </a:cxn>
                <a:cxn ang="0">
                  <a:pos x="0" y="144"/>
                </a:cxn>
                <a:cxn ang="0">
                  <a:pos x="7" y="148"/>
                </a:cxn>
                <a:cxn ang="0">
                  <a:pos x="19" y="136"/>
                </a:cxn>
                <a:cxn ang="0">
                  <a:pos x="28" y="138"/>
                </a:cxn>
                <a:cxn ang="0">
                  <a:pos x="25" y="159"/>
                </a:cxn>
                <a:cxn ang="0">
                  <a:pos x="34" y="165"/>
                </a:cxn>
                <a:cxn ang="0">
                  <a:pos x="47" y="163"/>
                </a:cxn>
                <a:cxn ang="0">
                  <a:pos x="49" y="170"/>
                </a:cxn>
                <a:cxn ang="0">
                  <a:pos x="72" y="189"/>
                </a:cxn>
                <a:cxn ang="0">
                  <a:pos x="72" y="199"/>
                </a:cxn>
                <a:cxn ang="0">
                  <a:pos x="82" y="205"/>
                </a:cxn>
                <a:cxn ang="0">
                  <a:pos x="93" y="208"/>
                </a:cxn>
                <a:cxn ang="0">
                  <a:pos x="91" y="193"/>
                </a:cxn>
                <a:cxn ang="0">
                  <a:pos x="87" y="174"/>
                </a:cxn>
                <a:cxn ang="0">
                  <a:pos x="82" y="172"/>
                </a:cxn>
                <a:cxn ang="0">
                  <a:pos x="116" y="106"/>
                </a:cxn>
                <a:cxn ang="0">
                  <a:pos x="121" y="108"/>
                </a:cxn>
                <a:cxn ang="0">
                  <a:pos x="121" y="121"/>
                </a:cxn>
                <a:cxn ang="0">
                  <a:pos x="135" y="129"/>
                </a:cxn>
                <a:cxn ang="0">
                  <a:pos x="145" y="122"/>
                </a:cxn>
                <a:cxn ang="0">
                  <a:pos x="140" y="116"/>
                </a:cxn>
                <a:cxn ang="0">
                  <a:pos x="130" y="96"/>
                </a:cxn>
                <a:cxn ang="0">
                  <a:pos x="138" y="90"/>
                </a:cxn>
                <a:cxn ang="0">
                  <a:pos x="146" y="90"/>
                </a:cxn>
                <a:cxn ang="0">
                  <a:pos x="153" y="92"/>
                </a:cxn>
                <a:cxn ang="0">
                  <a:pos x="158" y="83"/>
                </a:cxn>
                <a:cxn ang="0">
                  <a:pos x="164" y="78"/>
                </a:cxn>
                <a:cxn ang="0">
                  <a:pos x="166" y="66"/>
                </a:cxn>
                <a:cxn ang="0">
                  <a:pos x="153" y="63"/>
                </a:cxn>
                <a:cxn ang="0">
                  <a:pos x="120" y="47"/>
                </a:cxn>
                <a:cxn ang="0">
                  <a:pos x="109" y="43"/>
                </a:cxn>
                <a:cxn ang="0">
                  <a:pos x="94" y="30"/>
                </a:cxn>
                <a:cxn ang="0">
                  <a:pos x="78" y="19"/>
                </a:cxn>
                <a:cxn ang="0">
                  <a:pos x="66" y="10"/>
                </a:cxn>
                <a:cxn ang="0">
                  <a:pos x="60" y="0"/>
                </a:cxn>
              </a:cxnLst>
              <a:rect l="0" t="0" r="r" b="b"/>
              <a:pathLst>
                <a:path w="166" h="208">
                  <a:moveTo>
                    <a:pt x="60" y="0"/>
                  </a:moveTo>
                  <a:cubicBezTo>
                    <a:pt x="59" y="9"/>
                    <a:pt x="59" y="9"/>
                    <a:pt x="5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53" y="30"/>
                    <a:pt x="49" y="36"/>
                  </a:cubicBezTo>
                  <a:cubicBezTo>
                    <a:pt x="44" y="42"/>
                    <a:pt x="36" y="32"/>
                    <a:pt x="30" y="32"/>
                  </a:cubicBezTo>
                  <a:cubicBezTo>
                    <a:pt x="21" y="32"/>
                    <a:pt x="15" y="40"/>
                    <a:pt x="13" y="43"/>
                  </a:cubicBezTo>
                  <a:cubicBezTo>
                    <a:pt x="9" y="49"/>
                    <a:pt x="19" y="66"/>
                    <a:pt x="15" y="70"/>
                  </a:cubicBezTo>
                  <a:cubicBezTo>
                    <a:pt x="11" y="72"/>
                    <a:pt x="6" y="72"/>
                    <a:pt x="2" y="78"/>
                  </a:cubicBezTo>
                  <a:cubicBezTo>
                    <a:pt x="0" y="83"/>
                    <a:pt x="3" y="108"/>
                    <a:pt x="3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2" y="199"/>
                    <a:pt x="72" y="199"/>
                    <a:pt x="72" y="199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82" y="172"/>
                    <a:pt x="82" y="172"/>
                    <a:pt x="82" y="172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21" y="108"/>
                    <a:pt x="121" y="108"/>
                    <a:pt x="121" y="108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53" y="63"/>
                    <a:pt x="153" y="63"/>
                    <a:pt x="153" y="63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2" name="Freeform 141" descr="© INSCALE GmbH, 05.05.2010&#10;http://www.presentationload.com/">
              <a:extLst>
                <a:ext uri="{FF2B5EF4-FFF2-40B4-BE49-F238E27FC236}">
                  <a16:creationId xmlns:a16="http://schemas.microsoft.com/office/drawing/2014/main" id="{29987B60-09DE-B649-90F9-CD11C7246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6659" y="5147524"/>
              <a:ext cx="519827" cy="585114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3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F3F863CD-0F50-7045-83C7-04713D0C0D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4838" y="5592658"/>
              <a:ext cx="223776" cy="228166"/>
            </a:xfrm>
            <a:custGeom>
              <a:avLst/>
              <a:gdLst/>
              <a:ahLst/>
              <a:cxnLst>
                <a:cxn ang="0">
                  <a:pos x="63" y="40"/>
                </a:cxn>
                <a:cxn ang="0">
                  <a:pos x="65" y="36"/>
                </a:cxn>
                <a:cxn ang="0">
                  <a:pos x="68" y="29"/>
                </a:cxn>
                <a:cxn ang="0">
                  <a:pos x="66" y="24"/>
                </a:cxn>
                <a:cxn ang="0">
                  <a:pos x="61" y="22"/>
                </a:cxn>
                <a:cxn ang="0">
                  <a:pos x="59" y="21"/>
                </a:cxn>
                <a:cxn ang="0">
                  <a:pos x="54" y="19"/>
                </a:cxn>
                <a:cxn ang="0">
                  <a:pos x="51" y="16"/>
                </a:cxn>
                <a:cxn ang="0">
                  <a:pos x="47" y="15"/>
                </a:cxn>
                <a:cxn ang="0">
                  <a:pos x="44" y="11"/>
                </a:cxn>
                <a:cxn ang="0">
                  <a:pos x="39" y="9"/>
                </a:cxn>
                <a:cxn ang="0">
                  <a:pos x="37" y="8"/>
                </a:cxn>
                <a:cxn ang="0">
                  <a:pos x="34" y="7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1" y="1"/>
                </a:cxn>
                <a:cxn ang="0">
                  <a:pos x="27" y="4"/>
                </a:cxn>
                <a:cxn ang="0">
                  <a:pos x="24" y="9"/>
                </a:cxn>
                <a:cxn ang="0">
                  <a:pos x="25" y="15"/>
                </a:cxn>
                <a:cxn ang="0">
                  <a:pos x="22" y="20"/>
                </a:cxn>
                <a:cxn ang="0">
                  <a:pos x="18" y="24"/>
                </a:cxn>
                <a:cxn ang="0">
                  <a:pos x="10" y="24"/>
                </a:cxn>
                <a:cxn ang="0">
                  <a:pos x="6" y="25"/>
                </a:cxn>
                <a:cxn ang="0">
                  <a:pos x="0" y="27"/>
                </a:cxn>
                <a:cxn ang="0">
                  <a:pos x="5" y="37"/>
                </a:cxn>
                <a:cxn ang="0">
                  <a:pos x="12" y="38"/>
                </a:cxn>
                <a:cxn ang="0">
                  <a:pos x="26" y="48"/>
                </a:cxn>
                <a:cxn ang="0">
                  <a:pos x="29" y="69"/>
                </a:cxn>
                <a:cxn ang="0">
                  <a:pos x="35" y="55"/>
                </a:cxn>
                <a:cxn ang="0">
                  <a:pos x="46" y="47"/>
                </a:cxn>
                <a:cxn ang="0">
                  <a:pos x="58" y="43"/>
                </a:cxn>
                <a:cxn ang="0">
                  <a:pos x="63" y="42"/>
                </a:cxn>
              </a:cxnLst>
              <a:rect l="0" t="0" r="r" b="b"/>
              <a:pathLst>
                <a:path w="68" h="69">
                  <a:moveTo>
                    <a:pt x="63" y="42"/>
                  </a:moveTo>
                  <a:cubicBezTo>
                    <a:pt x="63" y="41"/>
                    <a:pt x="63" y="40"/>
                    <a:pt x="63" y="40"/>
                  </a:cubicBezTo>
                  <a:cubicBezTo>
                    <a:pt x="63" y="40"/>
                    <a:pt x="64" y="39"/>
                    <a:pt x="64" y="38"/>
                  </a:cubicBezTo>
                  <a:cubicBezTo>
                    <a:pt x="64" y="38"/>
                    <a:pt x="65" y="36"/>
                    <a:pt x="65" y="3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8" y="30"/>
                    <a:pt x="68" y="29"/>
                  </a:cubicBezTo>
                  <a:cubicBezTo>
                    <a:pt x="68" y="29"/>
                    <a:pt x="67" y="27"/>
                    <a:pt x="67" y="27"/>
                  </a:cubicBezTo>
                  <a:cubicBezTo>
                    <a:pt x="67" y="27"/>
                    <a:pt x="66" y="24"/>
                    <a:pt x="66" y="24"/>
                  </a:cubicBezTo>
                  <a:cubicBezTo>
                    <a:pt x="65" y="23"/>
                    <a:pt x="63" y="23"/>
                    <a:pt x="63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8" y="16"/>
                    <a:pt x="47" y="15"/>
                    <a:pt x="47" y="15"/>
                  </a:cubicBezTo>
                  <a:cubicBezTo>
                    <a:pt x="47" y="15"/>
                    <a:pt x="47" y="12"/>
                    <a:pt x="47" y="12"/>
                  </a:cubicBezTo>
                  <a:cubicBezTo>
                    <a:pt x="46" y="11"/>
                    <a:pt x="44" y="11"/>
                    <a:pt x="44" y="11"/>
                  </a:cubicBezTo>
                  <a:cubicBezTo>
                    <a:pt x="44" y="11"/>
                    <a:pt x="44" y="9"/>
                    <a:pt x="43" y="9"/>
                  </a:cubicBezTo>
                  <a:cubicBezTo>
                    <a:pt x="42" y="9"/>
                    <a:pt x="40" y="10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8" y="8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2" y="6"/>
                    <a:pt x="33" y="5"/>
                    <a:pt x="34" y="4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1" y="1"/>
                  </a:cubicBezTo>
                  <a:cubicBezTo>
                    <a:pt x="31" y="1"/>
                    <a:pt x="30" y="4"/>
                    <a:pt x="30" y="4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8"/>
                    <a:pt x="24" y="9"/>
                  </a:cubicBezTo>
                  <a:cubicBezTo>
                    <a:pt x="25" y="9"/>
                    <a:pt x="25" y="10"/>
                    <a:pt x="26" y="11"/>
                  </a:cubicBezTo>
                  <a:cubicBezTo>
                    <a:pt x="26" y="11"/>
                    <a:pt x="25" y="15"/>
                    <a:pt x="25" y="15"/>
                  </a:cubicBezTo>
                  <a:cubicBezTo>
                    <a:pt x="25" y="15"/>
                    <a:pt x="23" y="17"/>
                    <a:pt x="22" y="18"/>
                  </a:cubicBezTo>
                  <a:cubicBezTo>
                    <a:pt x="21" y="19"/>
                    <a:pt x="22" y="20"/>
                    <a:pt x="22" y="20"/>
                  </a:cubicBezTo>
                  <a:cubicBezTo>
                    <a:pt x="21" y="21"/>
                    <a:pt x="21" y="22"/>
                    <a:pt x="20" y="23"/>
                  </a:cubicBezTo>
                  <a:cubicBezTo>
                    <a:pt x="20" y="23"/>
                    <a:pt x="18" y="24"/>
                    <a:pt x="1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1" y="36"/>
                    <a:pt x="12" y="38"/>
                  </a:cubicBezTo>
                  <a:cubicBezTo>
                    <a:pt x="14" y="40"/>
                    <a:pt x="15" y="45"/>
                    <a:pt x="15" y="45"/>
                  </a:cubicBezTo>
                  <a:cubicBezTo>
                    <a:pt x="15" y="45"/>
                    <a:pt x="23" y="46"/>
                    <a:pt x="26" y="48"/>
                  </a:cubicBezTo>
                  <a:cubicBezTo>
                    <a:pt x="28" y="52"/>
                    <a:pt x="31" y="59"/>
                    <a:pt x="31" y="5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3" y="58"/>
                    <a:pt x="35" y="55"/>
                  </a:cubicBezTo>
                  <a:cubicBezTo>
                    <a:pt x="37" y="51"/>
                    <a:pt x="42" y="51"/>
                    <a:pt x="42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60" y="43"/>
                    <a:pt x="61" y="43"/>
                  </a:cubicBezTo>
                  <a:cubicBezTo>
                    <a:pt x="62" y="42"/>
                    <a:pt x="63" y="42"/>
                    <a:pt x="63" y="4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4" name="Freeform 7" descr="© INSCALE GmbH, 05.05.2010&#10;http://www.presentationload.com/">
              <a:extLst>
                <a:ext uri="{FF2B5EF4-FFF2-40B4-BE49-F238E27FC236}">
                  <a16:creationId xmlns:a16="http://schemas.microsoft.com/office/drawing/2014/main" id="{0F12AA26-9A8C-D243-8FAD-8ACD6B875E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9195" y="4433787"/>
              <a:ext cx="704656" cy="397709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5" name="Freeform 20" descr="© INSCALE GmbH, 05.05.2010&#10;http://www.presentationload.com/">
              <a:extLst>
                <a:ext uri="{FF2B5EF4-FFF2-40B4-BE49-F238E27FC236}">
                  <a16:creationId xmlns:a16="http://schemas.microsoft.com/office/drawing/2014/main" id="{3D2CD66F-2E2B-FD4B-AABE-3E54572497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30918" y="5130191"/>
              <a:ext cx="668349" cy="613892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6" name="Freeform 26" descr="© INSCALE GmbH, 05.05.2010&#10;http://www.presentationload.com/">
              <a:extLst>
                <a:ext uri="{FF2B5EF4-FFF2-40B4-BE49-F238E27FC236}">
                  <a16:creationId xmlns:a16="http://schemas.microsoft.com/office/drawing/2014/main" id="{1F4AD5A9-1CB7-AE4B-A406-F5C0281171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820" y="4623566"/>
              <a:ext cx="587488" cy="310247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7" name="Freeform 27" descr="© INSCALE GmbH, 05.05.2010&#10;http://www.presentationload.com/">
              <a:extLst>
                <a:ext uri="{FF2B5EF4-FFF2-40B4-BE49-F238E27FC236}">
                  <a16:creationId xmlns:a16="http://schemas.microsoft.com/office/drawing/2014/main" id="{46302BA9-37CC-C045-9471-C3C5ECBCD18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410" y="4762187"/>
              <a:ext cx="716207" cy="478571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8" name="Freeform 32" descr="© INSCALE GmbH, 05.05.2010&#10;http://www.presentationload.com/">
              <a:extLst>
                <a:ext uri="{FF2B5EF4-FFF2-40B4-BE49-F238E27FC236}">
                  <a16:creationId xmlns:a16="http://schemas.microsoft.com/office/drawing/2014/main" id="{FDE6B26E-0DA2-C349-99AB-CE70EEC855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5180" y="4712680"/>
              <a:ext cx="1071010" cy="760763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9" name="Freeform 52" descr="© INSCALE GmbH, 05.05.2010&#10;http://www.presentationload.com/">
              <a:extLst>
                <a:ext uri="{FF2B5EF4-FFF2-40B4-BE49-F238E27FC236}">
                  <a16:creationId xmlns:a16="http://schemas.microsoft.com/office/drawing/2014/main" id="{2D7945EE-E5D4-0C4D-BE10-BFAAC73CAF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4022" y="3836397"/>
              <a:ext cx="1029753" cy="849878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0" name="Frank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4F4FCEBA-5739-0943-B838-DE52D460DB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478" y="4395832"/>
              <a:ext cx="1496774" cy="1554533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1" name="Sch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6D2684C6-DB94-E042-8D36-6E707F59D0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88331" y="1638269"/>
              <a:ext cx="872981" cy="2145322"/>
            </a:xfrm>
            <a:custGeom>
              <a:avLst/>
              <a:gdLst/>
              <a:ahLst/>
              <a:cxnLst>
                <a:cxn ang="0">
                  <a:pos x="336" y="111"/>
                </a:cxn>
                <a:cxn ang="0">
                  <a:pos x="305" y="38"/>
                </a:cxn>
                <a:cxn ang="0">
                  <a:pos x="247" y="2"/>
                </a:cxn>
                <a:cxn ang="0">
                  <a:pos x="194" y="36"/>
                </a:cxn>
                <a:cxn ang="0">
                  <a:pos x="136" y="151"/>
                </a:cxn>
                <a:cxn ang="0">
                  <a:pos x="98" y="268"/>
                </a:cxn>
                <a:cxn ang="0">
                  <a:pos x="33" y="410"/>
                </a:cxn>
                <a:cxn ang="0">
                  <a:pos x="41" y="538"/>
                </a:cxn>
                <a:cxn ang="0">
                  <a:pos x="12" y="671"/>
                </a:cxn>
                <a:cxn ang="0">
                  <a:pos x="9" y="707"/>
                </a:cxn>
                <a:cxn ang="0">
                  <a:pos x="18" y="737"/>
                </a:cxn>
                <a:cxn ang="0">
                  <a:pos x="37" y="779"/>
                </a:cxn>
                <a:cxn ang="0">
                  <a:pos x="52" y="826"/>
                </a:cxn>
                <a:cxn ang="0">
                  <a:pos x="64" y="871"/>
                </a:cxn>
                <a:cxn ang="0">
                  <a:pos x="106" y="895"/>
                </a:cxn>
                <a:cxn ang="0">
                  <a:pos x="172" y="847"/>
                </a:cxn>
                <a:cxn ang="0">
                  <a:pos x="197" y="756"/>
                </a:cxn>
                <a:cxn ang="0">
                  <a:pos x="196" y="719"/>
                </a:cxn>
                <a:cxn ang="0">
                  <a:pos x="192" y="677"/>
                </a:cxn>
                <a:cxn ang="0">
                  <a:pos x="226" y="648"/>
                </a:cxn>
                <a:cxn ang="0">
                  <a:pos x="237" y="628"/>
                </a:cxn>
                <a:cxn ang="0">
                  <a:pos x="267" y="592"/>
                </a:cxn>
                <a:cxn ang="0">
                  <a:pos x="216" y="557"/>
                </a:cxn>
                <a:cxn ang="0">
                  <a:pos x="193" y="502"/>
                </a:cxn>
                <a:cxn ang="0">
                  <a:pos x="201" y="450"/>
                </a:cxn>
                <a:cxn ang="0">
                  <a:pos x="207" y="432"/>
                </a:cxn>
                <a:cxn ang="0">
                  <a:pos x="225" y="405"/>
                </a:cxn>
                <a:cxn ang="0">
                  <a:pos x="233" y="375"/>
                </a:cxn>
                <a:cxn ang="0">
                  <a:pos x="262" y="357"/>
                </a:cxn>
                <a:cxn ang="0">
                  <a:pos x="290" y="333"/>
                </a:cxn>
                <a:cxn ang="0">
                  <a:pos x="309" y="283"/>
                </a:cxn>
                <a:cxn ang="0">
                  <a:pos x="307" y="221"/>
                </a:cxn>
                <a:cxn ang="0">
                  <a:pos x="329" y="199"/>
                </a:cxn>
                <a:cxn ang="0">
                  <a:pos x="365" y="195"/>
                </a:cxn>
                <a:cxn ang="0">
                  <a:pos x="14" y="718"/>
                </a:cxn>
                <a:cxn ang="0">
                  <a:pos x="207" y="765"/>
                </a:cxn>
                <a:cxn ang="0">
                  <a:pos x="190" y="816"/>
                </a:cxn>
                <a:cxn ang="0">
                  <a:pos x="208" y="788"/>
                </a:cxn>
                <a:cxn ang="0">
                  <a:pos x="277" y="731"/>
                </a:cxn>
                <a:cxn ang="0">
                  <a:pos x="248" y="746"/>
                </a:cxn>
                <a:cxn ang="0">
                  <a:pos x="253" y="787"/>
                </a:cxn>
                <a:cxn ang="0">
                  <a:pos x="277" y="750"/>
                </a:cxn>
                <a:cxn ang="0">
                  <a:pos x="281" y="712"/>
                </a:cxn>
                <a:cxn ang="0">
                  <a:pos x="281" y="689"/>
                </a:cxn>
                <a:cxn ang="0">
                  <a:pos x="243" y="630"/>
                </a:cxn>
                <a:cxn ang="0">
                  <a:pos x="258" y="630"/>
                </a:cxn>
                <a:cxn ang="0">
                  <a:pos x="247" y="656"/>
                </a:cxn>
                <a:cxn ang="0">
                  <a:pos x="251" y="636"/>
                </a:cxn>
                <a:cxn ang="0">
                  <a:pos x="241" y="554"/>
                </a:cxn>
                <a:cxn ang="0">
                  <a:pos x="256" y="573"/>
                </a:cxn>
                <a:cxn ang="0">
                  <a:pos x="195" y="740"/>
                </a:cxn>
                <a:cxn ang="0">
                  <a:pos x="205" y="485"/>
                </a:cxn>
                <a:cxn ang="0">
                  <a:pos x="214" y="425"/>
                </a:cxn>
                <a:cxn ang="0">
                  <a:pos x="294" y="343"/>
                </a:cxn>
                <a:cxn ang="0">
                  <a:pos x="307" y="241"/>
                </a:cxn>
                <a:cxn ang="0">
                  <a:pos x="312" y="222"/>
                </a:cxn>
                <a:cxn ang="0">
                  <a:pos x="325" y="217"/>
                </a:cxn>
                <a:cxn ang="0">
                  <a:pos x="356" y="200"/>
                </a:cxn>
              </a:cxnLst>
              <a:rect l="0" t="0" r="r" b="b"/>
              <a:pathLst>
                <a:path w="365" h="899">
                  <a:moveTo>
                    <a:pt x="364" y="188"/>
                  </a:moveTo>
                  <a:cubicBezTo>
                    <a:pt x="364" y="188"/>
                    <a:pt x="359" y="186"/>
                    <a:pt x="358" y="182"/>
                  </a:cubicBezTo>
                  <a:cubicBezTo>
                    <a:pt x="357" y="178"/>
                    <a:pt x="358" y="175"/>
                    <a:pt x="356" y="173"/>
                  </a:cubicBezTo>
                  <a:cubicBezTo>
                    <a:pt x="354" y="172"/>
                    <a:pt x="347" y="171"/>
                    <a:pt x="347" y="167"/>
                  </a:cubicBezTo>
                  <a:cubicBezTo>
                    <a:pt x="348" y="161"/>
                    <a:pt x="348" y="160"/>
                    <a:pt x="348" y="160"/>
                  </a:cubicBezTo>
                  <a:cubicBezTo>
                    <a:pt x="348" y="160"/>
                    <a:pt x="343" y="159"/>
                    <a:pt x="345" y="155"/>
                  </a:cubicBezTo>
                  <a:cubicBezTo>
                    <a:pt x="348" y="150"/>
                    <a:pt x="353" y="147"/>
                    <a:pt x="352" y="144"/>
                  </a:cubicBezTo>
                  <a:cubicBezTo>
                    <a:pt x="350" y="140"/>
                    <a:pt x="348" y="136"/>
                    <a:pt x="348" y="136"/>
                  </a:cubicBezTo>
                  <a:cubicBezTo>
                    <a:pt x="348" y="136"/>
                    <a:pt x="349" y="129"/>
                    <a:pt x="347" y="125"/>
                  </a:cubicBezTo>
                  <a:cubicBezTo>
                    <a:pt x="345" y="122"/>
                    <a:pt x="336" y="117"/>
                    <a:pt x="336" y="111"/>
                  </a:cubicBezTo>
                  <a:cubicBezTo>
                    <a:pt x="336" y="106"/>
                    <a:pt x="337" y="104"/>
                    <a:pt x="337" y="104"/>
                  </a:cubicBezTo>
                  <a:cubicBezTo>
                    <a:pt x="340" y="101"/>
                    <a:pt x="340" y="101"/>
                    <a:pt x="340" y="101"/>
                  </a:cubicBezTo>
                  <a:cubicBezTo>
                    <a:pt x="339" y="95"/>
                    <a:pt x="339" y="95"/>
                    <a:pt x="339" y="95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93"/>
                    <a:pt x="330" y="87"/>
                    <a:pt x="328" y="81"/>
                  </a:cubicBezTo>
                  <a:cubicBezTo>
                    <a:pt x="327" y="77"/>
                    <a:pt x="325" y="74"/>
                    <a:pt x="326" y="69"/>
                  </a:cubicBezTo>
                  <a:cubicBezTo>
                    <a:pt x="327" y="65"/>
                    <a:pt x="332" y="65"/>
                    <a:pt x="330" y="62"/>
                  </a:cubicBezTo>
                  <a:cubicBezTo>
                    <a:pt x="328" y="59"/>
                    <a:pt x="319" y="50"/>
                    <a:pt x="319" y="50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53"/>
                    <a:pt x="314" y="43"/>
                    <a:pt x="305" y="38"/>
                  </a:cubicBezTo>
                  <a:cubicBezTo>
                    <a:pt x="295" y="33"/>
                    <a:pt x="282" y="31"/>
                    <a:pt x="282" y="31"/>
                  </a:cubicBezTo>
                  <a:cubicBezTo>
                    <a:pt x="278" y="27"/>
                    <a:pt x="278" y="27"/>
                    <a:pt x="278" y="27"/>
                  </a:cubicBezTo>
                  <a:cubicBezTo>
                    <a:pt x="274" y="27"/>
                    <a:pt x="274" y="27"/>
                    <a:pt x="274" y="27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0" y="5"/>
                    <a:pt x="250" y="5"/>
                    <a:pt x="250" y="5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30" y="2"/>
                    <a:pt x="237" y="11"/>
                    <a:pt x="238" y="17"/>
                  </a:cubicBezTo>
                  <a:cubicBezTo>
                    <a:pt x="239" y="25"/>
                    <a:pt x="231" y="34"/>
                    <a:pt x="231" y="34"/>
                  </a:cubicBezTo>
                  <a:cubicBezTo>
                    <a:pt x="239" y="38"/>
                    <a:pt x="239" y="38"/>
                    <a:pt x="239" y="38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198" y="41"/>
                    <a:pt x="198" y="41"/>
                    <a:pt x="198" y="41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9" y="56"/>
                    <a:pt x="188" y="61"/>
                  </a:cubicBezTo>
                  <a:cubicBezTo>
                    <a:pt x="186" y="66"/>
                    <a:pt x="183" y="77"/>
                    <a:pt x="183" y="77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4"/>
                    <a:pt x="149" y="101"/>
                    <a:pt x="149" y="106"/>
                  </a:cubicBezTo>
                  <a:cubicBezTo>
                    <a:pt x="148" y="111"/>
                    <a:pt x="140" y="109"/>
                    <a:pt x="140" y="109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7" y="127"/>
                    <a:pt x="148" y="135"/>
                  </a:cubicBezTo>
                  <a:cubicBezTo>
                    <a:pt x="150" y="141"/>
                    <a:pt x="144" y="143"/>
                    <a:pt x="136" y="151"/>
                  </a:cubicBezTo>
                  <a:cubicBezTo>
                    <a:pt x="130" y="157"/>
                    <a:pt x="132" y="162"/>
                    <a:pt x="130" y="169"/>
                  </a:cubicBezTo>
                  <a:cubicBezTo>
                    <a:pt x="128" y="175"/>
                    <a:pt x="123" y="176"/>
                    <a:pt x="123" y="176"/>
                  </a:cubicBezTo>
                  <a:cubicBezTo>
                    <a:pt x="126" y="189"/>
                    <a:pt x="126" y="189"/>
                    <a:pt x="126" y="18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00" y="201"/>
                    <a:pt x="100" y="201"/>
                    <a:pt x="100" y="201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03" y="253"/>
                    <a:pt x="103" y="253"/>
                    <a:pt x="103" y="253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79" y="300"/>
                    <a:pt x="79" y="300"/>
                    <a:pt x="79" y="300"/>
                  </a:cubicBezTo>
                  <a:cubicBezTo>
                    <a:pt x="93" y="310"/>
                    <a:pt x="93" y="310"/>
                    <a:pt x="93" y="310"/>
                  </a:cubicBezTo>
                  <a:cubicBezTo>
                    <a:pt x="94" y="325"/>
                    <a:pt x="94" y="325"/>
                    <a:pt x="94" y="325"/>
                  </a:cubicBezTo>
                  <a:cubicBezTo>
                    <a:pt x="89" y="337"/>
                    <a:pt x="89" y="337"/>
                    <a:pt x="89" y="337"/>
                  </a:cubicBezTo>
                  <a:cubicBezTo>
                    <a:pt x="89" y="337"/>
                    <a:pt x="69" y="331"/>
                    <a:pt x="59" y="334"/>
                  </a:cubicBezTo>
                  <a:cubicBezTo>
                    <a:pt x="47" y="337"/>
                    <a:pt x="35" y="365"/>
                    <a:pt x="35" y="365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30" y="385"/>
                    <a:pt x="30" y="385"/>
                    <a:pt x="30" y="385"/>
                  </a:cubicBezTo>
                  <a:cubicBezTo>
                    <a:pt x="37" y="404"/>
                    <a:pt x="37" y="404"/>
                    <a:pt x="37" y="404"/>
                  </a:cubicBezTo>
                  <a:cubicBezTo>
                    <a:pt x="33" y="410"/>
                    <a:pt x="33" y="410"/>
                    <a:pt x="33" y="410"/>
                  </a:cubicBezTo>
                  <a:cubicBezTo>
                    <a:pt x="36" y="421"/>
                    <a:pt x="36" y="421"/>
                    <a:pt x="36" y="421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41" y="452"/>
                    <a:pt x="41" y="452"/>
                    <a:pt x="41" y="452"/>
                  </a:cubicBezTo>
                  <a:cubicBezTo>
                    <a:pt x="35" y="487"/>
                    <a:pt x="35" y="487"/>
                    <a:pt x="35" y="487"/>
                  </a:cubicBezTo>
                  <a:cubicBezTo>
                    <a:pt x="45" y="497"/>
                    <a:pt x="45" y="497"/>
                    <a:pt x="45" y="497"/>
                  </a:cubicBezTo>
                  <a:cubicBezTo>
                    <a:pt x="45" y="497"/>
                    <a:pt x="50" y="500"/>
                    <a:pt x="54" y="503"/>
                  </a:cubicBezTo>
                  <a:cubicBezTo>
                    <a:pt x="58" y="507"/>
                    <a:pt x="59" y="511"/>
                    <a:pt x="55" y="523"/>
                  </a:cubicBezTo>
                  <a:cubicBezTo>
                    <a:pt x="53" y="535"/>
                    <a:pt x="45" y="529"/>
                    <a:pt x="45" y="529"/>
                  </a:cubicBezTo>
                  <a:cubicBezTo>
                    <a:pt x="36" y="532"/>
                    <a:pt x="36" y="532"/>
                    <a:pt x="36" y="532"/>
                  </a:cubicBezTo>
                  <a:cubicBezTo>
                    <a:pt x="41" y="538"/>
                    <a:pt x="41" y="538"/>
                    <a:pt x="41" y="538"/>
                  </a:cubicBezTo>
                  <a:cubicBezTo>
                    <a:pt x="43" y="547"/>
                    <a:pt x="43" y="547"/>
                    <a:pt x="43" y="547"/>
                  </a:cubicBezTo>
                  <a:cubicBezTo>
                    <a:pt x="43" y="547"/>
                    <a:pt x="49" y="561"/>
                    <a:pt x="51" y="568"/>
                  </a:cubicBezTo>
                  <a:cubicBezTo>
                    <a:pt x="54" y="576"/>
                    <a:pt x="46" y="572"/>
                    <a:pt x="45" y="577"/>
                  </a:cubicBezTo>
                  <a:cubicBezTo>
                    <a:pt x="44" y="581"/>
                    <a:pt x="48" y="584"/>
                    <a:pt x="45" y="597"/>
                  </a:cubicBezTo>
                  <a:cubicBezTo>
                    <a:pt x="41" y="609"/>
                    <a:pt x="30" y="603"/>
                    <a:pt x="26" y="607"/>
                  </a:cubicBezTo>
                  <a:cubicBezTo>
                    <a:pt x="21" y="610"/>
                    <a:pt x="28" y="611"/>
                    <a:pt x="27" y="616"/>
                  </a:cubicBezTo>
                  <a:cubicBezTo>
                    <a:pt x="27" y="620"/>
                    <a:pt x="21" y="619"/>
                    <a:pt x="19" y="623"/>
                  </a:cubicBezTo>
                  <a:cubicBezTo>
                    <a:pt x="16" y="625"/>
                    <a:pt x="25" y="643"/>
                    <a:pt x="25" y="643"/>
                  </a:cubicBezTo>
                  <a:cubicBezTo>
                    <a:pt x="25" y="643"/>
                    <a:pt x="21" y="651"/>
                    <a:pt x="19" y="658"/>
                  </a:cubicBezTo>
                  <a:cubicBezTo>
                    <a:pt x="17" y="665"/>
                    <a:pt x="16" y="671"/>
                    <a:pt x="12" y="671"/>
                  </a:cubicBezTo>
                  <a:cubicBezTo>
                    <a:pt x="8" y="671"/>
                    <a:pt x="11" y="662"/>
                    <a:pt x="10" y="657"/>
                  </a:cubicBezTo>
                  <a:cubicBezTo>
                    <a:pt x="9" y="652"/>
                    <a:pt x="1" y="657"/>
                    <a:pt x="1" y="657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0" y="664"/>
                    <a:pt x="3" y="668"/>
                    <a:pt x="3" y="673"/>
                  </a:cubicBezTo>
                  <a:cubicBezTo>
                    <a:pt x="3" y="676"/>
                    <a:pt x="0" y="679"/>
                    <a:pt x="0" y="679"/>
                  </a:cubicBezTo>
                  <a:cubicBezTo>
                    <a:pt x="0" y="679"/>
                    <a:pt x="5" y="693"/>
                    <a:pt x="5" y="696"/>
                  </a:cubicBezTo>
                  <a:cubicBezTo>
                    <a:pt x="5" y="699"/>
                    <a:pt x="1" y="699"/>
                    <a:pt x="1" y="699"/>
                  </a:cubicBezTo>
                  <a:cubicBezTo>
                    <a:pt x="2" y="703"/>
                    <a:pt x="2" y="703"/>
                    <a:pt x="2" y="703"/>
                  </a:cubicBezTo>
                  <a:cubicBezTo>
                    <a:pt x="2" y="703"/>
                    <a:pt x="6" y="700"/>
                    <a:pt x="9" y="702"/>
                  </a:cubicBezTo>
                  <a:cubicBezTo>
                    <a:pt x="10" y="703"/>
                    <a:pt x="9" y="707"/>
                    <a:pt x="9" y="707"/>
                  </a:cubicBezTo>
                  <a:cubicBezTo>
                    <a:pt x="11" y="707"/>
                    <a:pt x="11" y="707"/>
                    <a:pt x="11" y="707"/>
                  </a:cubicBezTo>
                  <a:cubicBezTo>
                    <a:pt x="14" y="697"/>
                    <a:pt x="14" y="697"/>
                    <a:pt x="14" y="697"/>
                  </a:cubicBezTo>
                  <a:cubicBezTo>
                    <a:pt x="17" y="700"/>
                    <a:pt x="17" y="700"/>
                    <a:pt x="17" y="700"/>
                  </a:cubicBezTo>
                  <a:cubicBezTo>
                    <a:pt x="10" y="710"/>
                    <a:pt x="10" y="710"/>
                    <a:pt x="10" y="710"/>
                  </a:cubicBezTo>
                  <a:cubicBezTo>
                    <a:pt x="10" y="712"/>
                    <a:pt x="10" y="712"/>
                    <a:pt x="10" y="712"/>
                  </a:cubicBezTo>
                  <a:cubicBezTo>
                    <a:pt x="25" y="704"/>
                    <a:pt x="25" y="704"/>
                    <a:pt x="25" y="704"/>
                  </a:cubicBezTo>
                  <a:cubicBezTo>
                    <a:pt x="22" y="709"/>
                    <a:pt x="22" y="709"/>
                    <a:pt x="22" y="709"/>
                  </a:cubicBezTo>
                  <a:cubicBezTo>
                    <a:pt x="25" y="713"/>
                    <a:pt x="25" y="713"/>
                    <a:pt x="25" y="713"/>
                  </a:cubicBezTo>
                  <a:cubicBezTo>
                    <a:pt x="21" y="730"/>
                    <a:pt x="21" y="730"/>
                    <a:pt x="21" y="730"/>
                  </a:cubicBezTo>
                  <a:cubicBezTo>
                    <a:pt x="18" y="737"/>
                    <a:pt x="18" y="737"/>
                    <a:pt x="18" y="737"/>
                  </a:cubicBezTo>
                  <a:cubicBezTo>
                    <a:pt x="22" y="741"/>
                    <a:pt x="22" y="741"/>
                    <a:pt x="22" y="741"/>
                  </a:cubicBezTo>
                  <a:cubicBezTo>
                    <a:pt x="17" y="746"/>
                    <a:pt x="17" y="746"/>
                    <a:pt x="17" y="746"/>
                  </a:cubicBezTo>
                  <a:cubicBezTo>
                    <a:pt x="22" y="746"/>
                    <a:pt x="22" y="746"/>
                    <a:pt x="22" y="746"/>
                  </a:cubicBezTo>
                  <a:cubicBezTo>
                    <a:pt x="24" y="746"/>
                    <a:pt x="26" y="754"/>
                    <a:pt x="26" y="757"/>
                  </a:cubicBezTo>
                  <a:cubicBezTo>
                    <a:pt x="26" y="761"/>
                    <a:pt x="27" y="768"/>
                    <a:pt x="29" y="768"/>
                  </a:cubicBezTo>
                  <a:cubicBezTo>
                    <a:pt x="31" y="768"/>
                    <a:pt x="32" y="761"/>
                    <a:pt x="32" y="761"/>
                  </a:cubicBezTo>
                  <a:cubicBezTo>
                    <a:pt x="32" y="770"/>
                    <a:pt x="32" y="770"/>
                    <a:pt x="32" y="770"/>
                  </a:cubicBezTo>
                  <a:cubicBezTo>
                    <a:pt x="34" y="771"/>
                    <a:pt x="34" y="771"/>
                    <a:pt x="34" y="771"/>
                  </a:cubicBezTo>
                  <a:cubicBezTo>
                    <a:pt x="32" y="777"/>
                    <a:pt x="32" y="777"/>
                    <a:pt x="32" y="777"/>
                  </a:cubicBezTo>
                  <a:cubicBezTo>
                    <a:pt x="37" y="779"/>
                    <a:pt x="37" y="779"/>
                    <a:pt x="37" y="779"/>
                  </a:cubicBezTo>
                  <a:cubicBezTo>
                    <a:pt x="37" y="786"/>
                    <a:pt x="37" y="786"/>
                    <a:pt x="37" y="786"/>
                  </a:cubicBezTo>
                  <a:cubicBezTo>
                    <a:pt x="42" y="791"/>
                    <a:pt x="42" y="791"/>
                    <a:pt x="42" y="791"/>
                  </a:cubicBezTo>
                  <a:cubicBezTo>
                    <a:pt x="42" y="796"/>
                    <a:pt x="42" y="796"/>
                    <a:pt x="42" y="796"/>
                  </a:cubicBezTo>
                  <a:cubicBezTo>
                    <a:pt x="48" y="804"/>
                    <a:pt x="48" y="804"/>
                    <a:pt x="48" y="804"/>
                  </a:cubicBezTo>
                  <a:cubicBezTo>
                    <a:pt x="50" y="803"/>
                    <a:pt x="50" y="803"/>
                    <a:pt x="50" y="803"/>
                  </a:cubicBezTo>
                  <a:cubicBezTo>
                    <a:pt x="50" y="803"/>
                    <a:pt x="52" y="815"/>
                    <a:pt x="55" y="816"/>
                  </a:cubicBezTo>
                  <a:cubicBezTo>
                    <a:pt x="60" y="818"/>
                    <a:pt x="61" y="814"/>
                    <a:pt x="61" y="814"/>
                  </a:cubicBezTo>
                  <a:cubicBezTo>
                    <a:pt x="61" y="814"/>
                    <a:pt x="64" y="822"/>
                    <a:pt x="64" y="825"/>
                  </a:cubicBezTo>
                  <a:cubicBezTo>
                    <a:pt x="64" y="829"/>
                    <a:pt x="58" y="828"/>
                    <a:pt x="58" y="828"/>
                  </a:cubicBezTo>
                  <a:cubicBezTo>
                    <a:pt x="58" y="828"/>
                    <a:pt x="57" y="823"/>
                    <a:pt x="52" y="826"/>
                  </a:cubicBezTo>
                  <a:cubicBezTo>
                    <a:pt x="48" y="830"/>
                    <a:pt x="58" y="834"/>
                    <a:pt x="58" y="834"/>
                  </a:cubicBezTo>
                  <a:cubicBezTo>
                    <a:pt x="58" y="834"/>
                    <a:pt x="61" y="839"/>
                    <a:pt x="59" y="841"/>
                  </a:cubicBezTo>
                  <a:cubicBezTo>
                    <a:pt x="55" y="844"/>
                    <a:pt x="51" y="838"/>
                    <a:pt x="49" y="837"/>
                  </a:cubicBezTo>
                  <a:cubicBezTo>
                    <a:pt x="47" y="835"/>
                    <a:pt x="44" y="835"/>
                    <a:pt x="43" y="836"/>
                  </a:cubicBezTo>
                  <a:cubicBezTo>
                    <a:pt x="42" y="837"/>
                    <a:pt x="47" y="839"/>
                    <a:pt x="47" y="839"/>
                  </a:cubicBezTo>
                  <a:cubicBezTo>
                    <a:pt x="48" y="844"/>
                    <a:pt x="48" y="844"/>
                    <a:pt x="48" y="844"/>
                  </a:cubicBezTo>
                  <a:cubicBezTo>
                    <a:pt x="48" y="844"/>
                    <a:pt x="54" y="852"/>
                    <a:pt x="58" y="856"/>
                  </a:cubicBezTo>
                  <a:cubicBezTo>
                    <a:pt x="61" y="861"/>
                    <a:pt x="61" y="865"/>
                    <a:pt x="61" y="865"/>
                  </a:cubicBezTo>
                  <a:cubicBezTo>
                    <a:pt x="65" y="866"/>
                    <a:pt x="65" y="866"/>
                    <a:pt x="65" y="866"/>
                  </a:cubicBezTo>
                  <a:cubicBezTo>
                    <a:pt x="64" y="871"/>
                    <a:pt x="64" y="871"/>
                    <a:pt x="64" y="871"/>
                  </a:cubicBezTo>
                  <a:cubicBezTo>
                    <a:pt x="64" y="871"/>
                    <a:pt x="67" y="871"/>
                    <a:pt x="69" y="877"/>
                  </a:cubicBezTo>
                  <a:cubicBezTo>
                    <a:pt x="71" y="881"/>
                    <a:pt x="64" y="882"/>
                    <a:pt x="64" y="882"/>
                  </a:cubicBezTo>
                  <a:cubicBezTo>
                    <a:pt x="64" y="888"/>
                    <a:pt x="64" y="888"/>
                    <a:pt x="64" y="888"/>
                  </a:cubicBezTo>
                  <a:cubicBezTo>
                    <a:pt x="64" y="888"/>
                    <a:pt x="67" y="891"/>
                    <a:pt x="66" y="894"/>
                  </a:cubicBezTo>
                  <a:cubicBezTo>
                    <a:pt x="65" y="896"/>
                    <a:pt x="62" y="893"/>
                    <a:pt x="62" y="893"/>
                  </a:cubicBezTo>
                  <a:cubicBezTo>
                    <a:pt x="61" y="897"/>
                    <a:pt x="61" y="897"/>
                    <a:pt x="61" y="897"/>
                  </a:cubicBezTo>
                  <a:cubicBezTo>
                    <a:pt x="65" y="896"/>
                    <a:pt x="65" y="896"/>
                    <a:pt x="65" y="896"/>
                  </a:cubicBezTo>
                  <a:cubicBezTo>
                    <a:pt x="65" y="896"/>
                    <a:pt x="78" y="899"/>
                    <a:pt x="82" y="899"/>
                  </a:cubicBezTo>
                  <a:cubicBezTo>
                    <a:pt x="85" y="899"/>
                    <a:pt x="91" y="895"/>
                    <a:pt x="97" y="893"/>
                  </a:cubicBezTo>
                  <a:cubicBezTo>
                    <a:pt x="103" y="891"/>
                    <a:pt x="106" y="895"/>
                    <a:pt x="106" y="895"/>
                  </a:cubicBezTo>
                  <a:cubicBezTo>
                    <a:pt x="112" y="894"/>
                    <a:pt x="112" y="894"/>
                    <a:pt x="112" y="894"/>
                  </a:cubicBezTo>
                  <a:cubicBezTo>
                    <a:pt x="112" y="894"/>
                    <a:pt x="117" y="885"/>
                    <a:pt x="118" y="880"/>
                  </a:cubicBezTo>
                  <a:cubicBezTo>
                    <a:pt x="119" y="876"/>
                    <a:pt x="111" y="875"/>
                    <a:pt x="111" y="869"/>
                  </a:cubicBezTo>
                  <a:cubicBezTo>
                    <a:pt x="111" y="865"/>
                    <a:pt x="118" y="854"/>
                    <a:pt x="120" y="852"/>
                  </a:cubicBezTo>
                  <a:cubicBezTo>
                    <a:pt x="123" y="851"/>
                    <a:pt x="129" y="855"/>
                    <a:pt x="131" y="854"/>
                  </a:cubicBezTo>
                  <a:cubicBezTo>
                    <a:pt x="133" y="852"/>
                    <a:pt x="129" y="844"/>
                    <a:pt x="129" y="844"/>
                  </a:cubicBezTo>
                  <a:cubicBezTo>
                    <a:pt x="147" y="842"/>
                    <a:pt x="147" y="842"/>
                    <a:pt x="147" y="842"/>
                  </a:cubicBezTo>
                  <a:cubicBezTo>
                    <a:pt x="155" y="844"/>
                    <a:pt x="155" y="844"/>
                    <a:pt x="155" y="844"/>
                  </a:cubicBezTo>
                  <a:cubicBezTo>
                    <a:pt x="161" y="839"/>
                    <a:pt x="161" y="839"/>
                    <a:pt x="161" y="839"/>
                  </a:cubicBezTo>
                  <a:cubicBezTo>
                    <a:pt x="172" y="847"/>
                    <a:pt x="172" y="847"/>
                    <a:pt x="172" y="847"/>
                  </a:cubicBezTo>
                  <a:cubicBezTo>
                    <a:pt x="172" y="847"/>
                    <a:pt x="176" y="838"/>
                    <a:pt x="178" y="837"/>
                  </a:cubicBezTo>
                  <a:cubicBezTo>
                    <a:pt x="179" y="835"/>
                    <a:pt x="181" y="820"/>
                    <a:pt x="181" y="820"/>
                  </a:cubicBezTo>
                  <a:cubicBezTo>
                    <a:pt x="184" y="810"/>
                    <a:pt x="184" y="810"/>
                    <a:pt x="184" y="810"/>
                  </a:cubicBezTo>
                  <a:cubicBezTo>
                    <a:pt x="188" y="807"/>
                    <a:pt x="188" y="807"/>
                    <a:pt x="188" y="807"/>
                  </a:cubicBezTo>
                  <a:cubicBezTo>
                    <a:pt x="192" y="791"/>
                    <a:pt x="192" y="791"/>
                    <a:pt x="192" y="791"/>
                  </a:cubicBezTo>
                  <a:cubicBezTo>
                    <a:pt x="190" y="785"/>
                    <a:pt x="190" y="785"/>
                    <a:pt x="190" y="785"/>
                  </a:cubicBezTo>
                  <a:cubicBezTo>
                    <a:pt x="190" y="785"/>
                    <a:pt x="193" y="784"/>
                    <a:pt x="194" y="781"/>
                  </a:cubicBezTo>
                  <a:cubicBezTo>
                    <a:pt x="195" y="777"/>
                    <a:pt x="191" y="775"/>
                    <a:pt x="191" y="775"/>
                  </a:cubicBezTo>
                  <a:cubicBezTo>
                    <a:pt x="192" y="761"/>
                    <a:pt x="192" y="761"/>
                    <a:pt x="192" y="761"/>
                  </a:cubicBezTo>
                  <a:cubicBezTo>
                    <a:pt x="192" y="761"/>
                    <a:pt x="195" y="762"/>
                    <a:pt x="197" y="756"/>
                  </a:cubicBezTo>
                  <a:cubicBezTo>
                    <a:pt x="200" y="751"/>
                    <a:pt x="191" y="746"/>
                    <a:pt x="191" y="746"/>
                  </a:cubicBezTo>
                  <a:cubicBezTo>
                    <a:pt x="193" y="744"/>
                    <a:pt x="193" y="744"/>
                    <a:pt x="193" y="744"/>
                  </a:cubicBezTo>
                  <a:cubicBezTo>
                    <a:pt x="194" y="735"/>
                    <a:pt x="194" y="735"/>
                    <a:pt x="194" y="735"/>
                  </a:cubicBezTo>
                  <a:cubicBezTo>
                    <a:pt x="192" y="728"/>
                    <a:pt x="192" y="728"/>
                    <a:pt x="192" y="728"/>
                  </a:cubicBezTo>
                  <a:cubicBezTo>
                    <a:pt x="188" y="728"/>
                    <a:pt x="188" y="728"/>
                    <a:pt x="188" y="728"/>
                  </a:cubicBezTo>
                  <a:cubicBezTo>
                    <a:pt x="188" y="728"/>
                    <a:pt x="188" y="726"/>
                    <a:pt x="191" y="725"/>
                  </a:cubicBezTo>
                  <a:cubicBezTo>
                    <a:pt x="195" y="725"/>
                    <a:pt x="198" y="728"/>
                    <a:pt x="198" y="728"/>
                  </a:cubicBezTo>
                  <a:cubicBezTo>
                    <a:pt x="197" y="722"/>
                    <a:pt x="197" y="722"/>
                    <a:pt x="197" y="722"/>
                  </a:cubicBezTo>
                  <a:cubicBezTo>
                    <a:pt x="193" y="720"/>
                    <a:pt x="193" y="720"/>
                    <a:pt x="193" y="720"/>
                  </a:cubicBezTo>
                  <a:cubicBezTo>
                    <a:pt x="196" y="719"/>
                    <a:pt x="196" y="719"/>
                    <a:pt x="196" y="719"/>
                  </a:cubicBezTo>
                  <a:cubicBezTo>
                    <a:pt x="196" y="719"/>
                    <a:pt x="196" y="711"/>
                    <a:pt x="198" y="707"/>
                  </a:cubicBezTo>
                  <a:cubicBezTo>
                    <a:pt x="201" y="703"/>
                    <a:pt x="192" y="698"/>
                    <a:pt x="192" y="698"/>
                  </a:cubicBezTo>
                  <a:cubicBezTo>
                    <a:pt x="195" y="697"/>
                    <a:pt x="195" y="697"/>
                    <a:pt x="195" y="697"/>
                  </a:cubicBezTo>
                  <a:cubicBezTo>
                    <a:pt x="192" y="692"/>
                    <a:pt x="192" y="692"/>
                    <a:pt x="192" y="692"/>
                  </a:cubicBezTo>
                  <a:cubicBezTo>
                    <a:pt x="192" y="692"/>
                    <a:pt x="198" y="694"/>
                    <a:pt x="201" y="687"/>
                  </a:cubicBezTo>
                  <a:cubicBezTo>
                    <a:pt x="204" y="679"/>
                    <a:pt x="183" y="679"/>
                    <a:pt x="183" y="679"/>
                  </a:cubicBezTo>
                  <a:cubicBezTo>
                    <a:pt x="182" y="682"/>
                    <a:pt x="182" y="682"/>
                    <a:pt x="182" y="682"/>
                  </a:cubicBezTo>
                  <a:cubicBezTo>
                    <a:pt x="176" y="681"/>
                    <a:pt x="176" y="681"/>
                    <a:pt x="176" y="681"/>
                  </a:cubicBezTo>
                  <a:cubicBezTo>
                    <a:pt x="176" y="677"/>
                    <a:pt x="176" y="677"/>
                    <a:pt x="176" y="677"/>
                  </a:cubicBezTo>
                  <a:cubicBezTo>
                    <a:pt x="192" y="677"/>
                    <a:pt x="192" y="677"/>
                    <a:pt x="192" y="677"/>
                  </a:cubicBezTo>
                  <a:cubicBezTo>
                    <a:pt x="195" y="677"/>
                    <a:pt x="201" y="680"/>
                    <a:pt x="201" y="680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2" y="668"/>
                    <a:pt x="202" y="668"/>
                    <a:pt x="202" y="668"/>
                  </a:cubicBezTo>
                  <a:cubicBezTo>
                    <a:pt x="208" y="672"/>
                    <a:pt x="208" y="672"/>
                    <a:pt x="208" y="672"/>
                  </a:cubicBezTo>
                  <a:cubicBezTo>
                    <a:pt x="208" y="672"/>
                    <a:pt x="212" y="671"/>
                    <a:pt x="213" y="671"/>
                  </a:cubicBezTo>
                  <a:cubicBezTo>
                    <a:pt x="214" y="671"/>
                    <a:pt x="218" y="666"/>
                    <a:pt x="218" y="666"/>
                  </a:cubicBezTo>
                  <a:cubicBezTo>
                    <a:pt x="218" y="661"/>
                    <a:pt x="218" y="661"/>
                    <a:pt x="218" y="661"/>
                  </a:cubicBezTo>
                  <a:cubicBezTo>
                    <a:pt x="222" y="662"/>
                    <a:pt x="222" y="662"/>
                    <a:pt x="222" y="662"/>
                  </a:cubicBezTo>
                  <a:cubicBezTo>
                    <a:pt x="223" y="647"/>
                    <a:pt x="223" y="647"/>
                    <a:pt x="223" y="647"/>
                  </a:cubicBezTo>
                  <a:cubicBezTo>
                    <a:pt x="226" y="648"/>
                    <a:pt x="226" y="648"/>
                    <a:pt x="226" y="648"/>
                  </a:cubicBezTo>
                  <a:cubicBezTo>
                    <a:pt x="228" y="658"/>
                    <a:pt x="228" y="658"/>
                    <a:pt x="228" y="658"/>
                  </a:cubicBezTo>
                  <a:cubicBezTo>
                    <a:pt x="235" y="659"/>
                    <a:pt x="235" y="659"/>
                    <a:pt x="235" y="659"/>
                  </a:cubicBezTo>
                  <a:cubicBezTo>
                    <a:pt x="237" y="649"/>
                    <a:pt x="237" y="649"/>
                    <a:pt x="237" y="649"/>
                  </a:cubicBezTo>
                  <a:cubicBezTo>
                    <a:pt x="237" y="649"/>
                    <a:pt x="239" y="649"/>
                    <a:pt x="241" y="648"/>
                  </a:cubicBezTo>
                  <a:cubicBezTo>
                    <a:pt x="242" y="647"/>
                    <a:pt x="242" y="643"/>
                    <a:pt x="242" y="643"/>
                  </a:cubicBezTo>
                  <a:cubicBezTo>
                    <a:pt x="246" y="642"/>
                    <a:pt x="246" y="642"/>
                    <a:pt x="246" y="642"/>
                  </a:cubicBezTo>
                  <a:cubicBezTo>
                    <a:pt x="248" y="640"/>
                    <a:pt x="248" y="640"/>
                    <a:pt x="248" y="640"/>
                  </a:cubicBezTo>
                  <a:cubicBezTo>
                    <a:pt x="245" y="639"/>
                    <a:pt x="245" y="639"/>
                    <a:pt x="245" y="639"/>
                  </a:cubicBezTo>
                  <a:cubicBezTo>
                    <a:pt x="243" y="633"/>
                    <a:pt x="243" y="633"/>
                    <a:pt x="243" y="633"/>
                  </a:cubicBezTo>
                  <a:cubicBezTo>
                    <a:pt x="237" y="628"/>
                    <a:pt x="237" y="628"/>
                    <a:pt x="237" y="628"/>
                  </a:cubicBezTo>
                  <a:cubicBezTo>
                    <a:pt x="239" y="625"/>
                    <a:pt x="239" y="625"/>
                    <a:pt x="239" y="625"/>
                  </a:cubicBezTo>
                  <a:cubicBezTo>
                    <a:pt x="244" y="625"/>
                    <a:pt x="244" y="625"/>
                    <a:pt x="244" y="625"/>
                  </a:cubicBezTo>
                  <a:cubicBezTo>
                    <a:pt x="258" y="610"/>
                    <a:pt x="258" y="610"/>
                    <a:pt x="258" y="610"/>
                  </a:cubicBezTo>
                  <a:cubicBezTo>
                    <a:pt x="258" y="607"/>
                    <a:pt x="258" y="607"/>
                    <a:pt x="258" y="607"/>
                  </a:cubicBezTo>
                  <a:cubicBezTo>
                    <a:pt x="266" y="601"/>
                    <a:pt x="266" y="601"/>
                    <a:pt x="266" y="601"/>
                  </a:cubicBezTo>
                  <a:cubicBezTo>
                    <a:pt x="267" y="600"/>
                    <a:pt x="267" y="600"/>
                    <a:pt x="267" y="600"/>
                  </a:cubicBezTo>
                  <a:cubicBezTo>
                    <a:pt x="259" y="600"/>
                    <a:pt x="259" y="600"/>
                    <a:pt x="259" y="600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67" y="592"/>
                    <a:pt x="267" y="592"/>
                    <a:pt x="267" y="592"/>
                  </a:cubicBezTo>
                  <a:cubicBezTo>
                    <a:pt x="261" y="588"/>
                    <a:pt x="261" y="588"/>
                    <a:pt x="261" y="588"/>
                  </a:cubicBezTo>
                  <a:cubicBezTo>
                    <a:pt x="256" y="578"/>
                    <a:pt x="256" y="578"/>
                    <a:pt x="256" y="578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5" y="578"/>
                    <a:pt x="242" y="570"/>
                    <a:pt x="242" y="570"/>
                  </a:cubicBezTo>
                  <a:cubicBezTo>
                    <a:pt x="242" y="566"/>
                    <a:pt x="242" y="566"/>
                    <a:pt x="242" y="566"/>
                  </a:cubicBezTo>
                  <a:cubicBezTo>
                    <a:pt x="241" y="564"/>
                    <a:pt x="241" y="564"/>
                    <a:pt x="241" y="564"/>
                  </a:cubicBezTo>
                  <a:cubicBezTo>
                    <a:pt x="237" y="565"/>
                    <a:pt x="237" y="565"/>
                    <a:pt x="237" y="565"/>
                  </a:cubicBezTo>
                  <a:cubicBezTo>
                    <a:pt x="227" y="554"/>
                    <a:pt x="227" y="554"/>
                    <a:pt x="227" y="554"/>
                  </a:cubicBezTo>
                  <a:cubicBezTo>
                    <a:pt x="227" y="554"/>
                    <a:pt x="228" y="550"/>
                    <a:pt x="225" y="549"/>
                  </a:cubicBezTo>
                  <a:cubicBezTo>
                    <a:pt x="221" y="548"/>
                    <a:pt x="216" y="557"/>
                    <a:pt x="216" y="557"/>
                  </a:cubicBezTo>
                  <a:cubicBezTo>
                    <a:pt x="213" y="552"/>
                    <a:pt x="213" y="552"/>
                    <a:pt x="213" y="552"/>
                  </a:cubicBezTo>
                  <a:cubicBezTo>
                    <a:pt x="213" y="552"/>
                    <a:pt x="215" y="550"/>
                    <a:pt x="213" y="548"/>
                  </a:cubicBezTo>
                  <a:cubicBezTo>
                    <a:pt x="210" y="546"/>
                    <a:pt x="198" y="548"/>
                    <a:pt x="198" y="548"/>
                  </a:cubicBezTo>
                  <a:cubicBezTo>
                    <a:pt x="205" y="541"/>
                    <a:pt x="205" y="541"/>
                    <a:pt x="205" y="541"/>
                  </a:cubicBezTo>
                  <a:cubicBezTo>
                    <a:pt x="200" y="534"/>
                    <a:pt x="200" y="534"/>
                    <a:pt x="200" y="534"/>
                  </a:cubicBezTo>
                  <a:cubicBezTo>
                    <a:pt x="196" y="533"/>
                    <a:pt x="196" y="533"/>
                    <a:pt x="196" y="533"/>
                  </a:cubicBezTo>
                  <a:cubicBezTo>
                    <a:pt x="198" y="525"/>
                    <a:pt x="198" y="525"/>
                    <a:pt x="198" y="525"/>
                  </a:cubicBezTo>
                  <a:cubicBezTo>
                    <a:pt x="196" y="515"/>
                    <a:pt x="196" y="515"/>
                    <a:pt x="196" y="515"/>
                  </a:cubicBezTo>
                  <a:cubicBezTo>
                    <a:pt x="196" y="515"/>
                    <a:pt x="198" y="509"/>
                    <a:pt x="198" y="506"/>
                  </a:cubicBezTo>
                  <a:cubicBezTo>
                    <a:pt x="198" y="504"/>
                    <a:pt x="193" y="502"/>
                    <a:pt x="193" y="502"/>
                  </a:cubicBezTo>
                  <a:cubicBezTo>
                    <a:pt x="195" y="491"/>
                    <a:pt x="195" y="491"/>
                    <a:pt x="195" y="491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6" y="488"/>
                    <a:pt x="196" y="488"/>
                    <a:pt x="196" y="488"/>
                  </a:cubicBezTo>
                  <a:cubicBezTo>
                    <a:pt x="192" y="479"/>
                    <a:pt x="192" y="479"/>
                    <a:pt x="192" y="479"/>
                  </a:cubicBezTo>
                  <a:cubicBezTo>
                    <a:pt x="198" y="483"/>
                    <a:pt x="198" y="483"/>
                    <a:pt x="198" y="483"/>
                  </a:cubicBezTo>
                  <a:cubicBezTo>
                    <a:pt x="201" y="479"/>
                    <a:pt x="201" y="479"/>
                    <a:pt x="201" y="479"/>
                  </a:cubicBezTo>
                  <a:cubicBezTo>
                    <a:pt x="201" y="479"/>
                    <a:pt x="200" y="475"/>
                    <a:pt x="198" y="473"/>
                  </a:cubicBezTo>
                  <a:cubicBezTo>
                    <a:pt x="195" y="472"/>
                    <a:pt x="197" y="464"/>
                    <a:pt x="197" y="464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201" y="450"/>
                    <a:pt x="201" y="450"/>
                    <a:pt x="201" y="450"/>
                  </a:cubicBezTo>
                  <a:cubicBezTo>
                    <a:pt x="206" y="448"/>
                    <a:pt x="206" y="448"/>
                    <a:pt x="206" y="448"/>
                  </a:cubicBezTo>
                  <a:cubicBezTo>
                    <a:pt x="206" y="445"/>
                    <a:pt x="206" y="445"/>
                    <a:pt x="206" y="445"/>
                  </a:cubicBezTo>
                  <a:cubicBezTo>
                    <a:pt x="200" y="445"/>
                    <a:pt x="200" y="445"/>
                    <a:pt x="200" y="445"/>
                  </a:cubicBezTo>
                  <a:cubicBezTo>
                    <a:pt x="199" y="441"/>
                    <a:pt x="199" y="441"/>
                    <a:pt x="199" y="441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196" y="432"/>
                    <a:pt x="196" y="432"/>
                    <a:pt x="196" y="432"/>
                  </a:cubicBezTo>
                  <a:cubicBezTo>
                    <a:pt x="194" y="430"/>
                    <a:pt x="194" y="430"/>
                    <a:pt x="194" y="430"/>
                  </a:cubicBezTo>
                  <a:cubicBezTo>
                    <a:pt x="199" y="428"/>
                    <a:pt x="199" y="428"/>
                    <a:pt x="199" y="428"/>
                  </a:cubicBezTo>
                  <a:cubicBezTo>
                    <a:pt x="202" y="434"/>
                    <a:pt x="202" y="434"/>
                    <a:pt x="202" y="434"/>
                  </a:cubicBezTo>
                  <a:cubicBezTo>
                    <a:pt x="207" y="432"/>
                    <a:pt x="207" y="432"/>
                    <a:pt x="207" y="432"/>
                  </a:cubicBezTo>
                  <a:cubicBezTo>
                    <a:pt x="205" y="430"/>
                    <a:pt x="205" y="430"/>
                    <a:pt x="205" y="430"/>
                  </a:cubicBezTo>
                  <a:cubicBezTo>
                    <a:pt x="207" y="427"/>
                    <a:pt x="207" y="427"/>
                    <a:pt x="207" y="427"/>
                  </a:cubicBezTo>
                  <a:cubicBezTo>
                    <a:pt x="207" y="427"/>
                    <a:pt x="212" y="427"/>
                    <a:pt x="212" y="425"/>
                  </a:cubicBezTo>
                  <a:cubicBezTo>
                    <a:pt x="212" y="418"/>
                    <a:pt x="212" y="418"/>
                    <a:pt x="212" y="418"/>
                  </a:cubicBezTo>
                  <a:cubicBezTo>
                    <a:pt x="213" y="414"/>
                    <a:pt x="213" y="414"/>
                    <a:pt x="213" y="414"/>
                  </a:cubicBezTo>
                  <a:cubicBezTo>
                    <a:pt x="213" y="414"/>
                    <a:pt x="211" y="408"/>
                    <a:pt x="213" y="408"/>
                  </a:cubicBezTo>
                  <a:cubicBezTo>
                    <a:pt x="215" y="407"/>
                    <a:pt x="216" y="410"/>
                    <a:pt x="216" y="410"/>
                  </a:cubicBezTo>
                  <a:cubicBezTo>
                    <a:pt x="221" y="407"/>
                    <a:pt x="221" y="407"/>
                    <a:pt x="221" y="407"/>
                  </a:cubicBezTo>
                  <a:cubicBezTo>
                    <a:pt x="221" y="407"/>
                    <a:pt x="218" y="403"/>
                    <a:pt x="221" y="401"/>
                  </a:cubicBezTo>
                  <a:cubicBezTo>
                    <a:pt x="222" y="400"/>
                    <a:pt x="225" y="405"/>
                    <a:pt x="225" y="405"/>
                  </a:cubicBezTo>
                  <a:cubicBezTo>
                    <a:pt x="229" y="399"/>
                    <a:pt x="229" y="399"/>
                    <a:pt x="229" y="399"/>
                  </a:cubicBezTo>
                  <a:cubicBezTo>
                    <a:pt x="225" y="397"/>
                    <a:pt x="225" y="397"/>
                    <a:pt x="225" y="397"/>
                  </a:cubicBezTo>
                  <a:cubicBezTo>
                    <a:pt x="228" y="396"/>
                    <a:pt x="228" y="396"/>
                    <a:pt x="228" y="396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22" y="395"/>
                    <a:pt x="222" y="395"/>
                    <a:pt x="222" y="395"/>
                  </a:cubicBezTo>
                  <a:cubicBezTo>
                    <a:pt x="226" y="392"/>
                    <a:pt x="226" y="392"/>
                    <a:pt x="226" y="392"/>
                  </a:cubicBezTo>
                  <a:cubicBezTo>
                    <a:pt x="231" y="380"/>
                    <a:pt x="231" y="380"/>
                    <a:pt x="231" y="380"/>
                  </a:cubicBezTo>
                  <a:cubicBezTo>
                    <a:pt x="234" y="380"/>
                    <a:pt x="234" y="380"/>
                    <a:pt x="234" y="380"/>
                  </a:cubicBezTo>
                  <a:cubicBezTo>
                    <a:pt x="239" y="377"/>
                    <a:pt x="239" y="377"/>
                    <a:pt x="239" y="377"/>
                  </a:cubicBezTo>
                  <a:cubicBezTo>
                    <a:pt x="233" y="375"/>
                    <a:pt x="233" y="375"/>
                    <a:pt x="233" y="375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43" y="378"/>
                    <a:pt x="243" y="378"/>
                    <a:pt x="243" y="378"/>
                  </a:cubicBezTo>
                  <a:cubicBezTo>
                    <a:pt x="243" y="378"/>
                    <a:pt x="244" y="374"/>
                    <a:pt x="246" y="371"/>
                  </a:cubicBezTo>
                  <a:cubicBezTo>
                    <a:pt x="248" y="368"/>
                    <a:pt x="249" y="361"/>
                    <a:pt x="249" y="361"/>
                  </a:cubicBezTo>
                  <a:cubicBezTo>
                    <a:pt x="249" y="361"/>
                    <a:pt x="251" y="362"/>
                    <a:pt x="254" y="360"/>
                  </a:cubicBezTo>
                  <a:cubicBezTo>
                    <a:pt x="256" y="359"/>
                    <a:pt x="255" y="353"/>
                    <a:pt x="255" y="35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61" y="363"/>
                    <a:pt x="261" y="363"/>
                    <a:pt x="261" y="363"/>
                  </a:cubicBezTo>
                  <a:cubicBezTo>
                    <a:pt x="263" y="361"/>
                    <a:pt x="263" y="361"/>
                    <a:pt x="263" y="361"/>
                  </a:cubicBezTo>
                  <a:cubicBezTo>
                    <a:pt x="262" y="357"/>
                    <a:pt x="262" y="357"/>
                    <a:pt x="262" y="357"/>
                  </a:cubicBezTo>
                  <a:cubicBezTo>
                    <a:pt x="270" y="348"/>
                    <a:pt x="270" y="348"/>
                    <a:pt x="270" y="34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8" y="344"/>
                    <a:pt x="278" y="344"/>
                    <a:pt x="278" y="344"/>
                  </a:cubicBezTo>
                  <a:cubicBezTo>
                    <a:pt x="278" y="340"/>
                    <a:pt x="278" y="340"/>
                    <a:pt x="278" y="340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1" y="334"/>
                    <a:pt x="281" y="334"/>
                    <a:pt x="281" y="334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0" y="333"/>
                    <a:pt x="290" y="333"/>
                    <a:pt x="290" y="333"/>
                  </a:cubicBezTo>
                  <a:cubicBezTo>
                    <a:pt x="290" y="333"/>
                    <a:pt x="293" y="325"/>
                    <a:pt x="294" y="321"/>
                  </a:cubicBezTo>
                  <a:cubicBezTo>
                    <a:pt x="295" y="318"/>
                    <a:pt x="293" y="313"/>
                    <a:pt x="293" y="313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9" y="302"/>
                    <a:pt x="299" y="302"/>
                    <a:pt x="299" y="3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06" y="288"/>
                    <a:pt x="306" y="288"/>
                    <a:pt x="306" y="288"/>
                  </a:cubicBezTo>
                  <a:cubicBezTo>
                    <a:pt x="304" y="286"/>
                    <a:pt x="304" y="286"/>
                    <a:pt x="304" y="286"/>
                  </a:cubicBezTo>
                  <a:cubicBezTo>
                    <a:pt x="308" y="285"/>
                    <a:pt x="308" y="285"/>
                    <a:pt x="308" y="285"/>
                  </a:cubicBezTo>
                  <a:cubicBezTo>
                    <a:pt x="309" y="283"/>
                    <a:pt x="309" y="283"/>
                    <a:pt x="309" y="283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295" y="277"/>
                    <a:pt x="295" y="277"/>
                    <a:pt x="295" y="277"/>
                  </a:cubicBezTo>
                  <a:cubicBezTo>
                    <a:pt x="298" y="269"/>
                    <a:pt x="298" y="269"/>
                    <a:pt x="298" y="269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98" y="259"/>
                    <a:pt x="298" y="259"/>
                    <a:pt x="298" y="259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3" y="246"/>
                    <a:pt x="293" y="238"/>
                    <a:pt x="295" y="234"/>
                  </a:cubicBezTo>
                  <a:cubicBezTo>
                    <a:pt x="296" y="230"/>
                    <a:pt x="304" y="231"/>
                    <a:pt x="309" y="229"/>
                  </a:cubicBezTo>
                  <a:cubicBezTo>
                    <a:pt x="315" y="226"/>
                    <a:pt x="307" y="221"/>
                    <a:pt x="307" y="221"/>
                  </a:cubicBezTo>
                  <a:cubicBezTo>
                    <a:pt x="313" y="219"/>
                    <a:pt x="313" y="219"/>
                    <a:pt x="313" y="219"/>
                  </a:cubicBezTo>
                  <a:cubicBezTo>
                    <a:pt x="313" y="216"/>
                    <a:pt x="313" y="216"/>
                    <a:pt x="313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5" y="196"/>
                    <a:pt x="315" y="196"/>
                    <a:pt x="315" y="196"/>
                  </a:cubicBezTo>
                  <a:cubicBezTo>
                    <a:pt x="319" y="196"/>
                    <a:pt x="319" y="196"/>
                    <a:pt x="319" y="196"/>
                  </a:cubicBezTo>
                  <a:cubicBezTo>
                    <a:pt x="322" y="201"/>
                    <a:pt x="322" y="201"/>
                    <a:pt x="322" y="201"/>
                  </a:cubicBezTo>
                  <a:cubicBezTo>
                    <a:pt x="326" y="201"/>
                    <a:pt x="326" y="201"/>
                    <a:pt x="326" y="201"/>
                  </a:cubicBezTo>
                  <a:cubicBezTo>
                    <a:pt x="324" y="193"/>
                    <a:pt x="324" y="193"/>
                    <a:pt x="324" y="193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6" y="201"/>
                    <a:pt x="336" y="201"/>
                    <a:pt x="336" y="201"/>
                  </a:cubicBezTo>
                  <a:cubicBezTo>
                    <a:pt x="337" y="205"/>
                    <a:pt x="337" y="205"/>
                    <a:pt x="337" y="205"/>
                  </a:cubicBezTo>
                  <a:cubicBezTo>
                    <a:pt x="340" y="200"/>
                    <a:pt x="340" y="200"/>
                    <a:pt x="340" y="200"/>
                  </a:cubicBezTo>
                  <a:cubicBezTo>
                    <a:pt x="339" y="196"/>
                    <a:pt x="339" y="196"/>
                    <a:pt x="339" y="196"/>
                  </a:cubicBezTo>
                  <a:cubicBezTo>
                    <a:pt x="350" y="196"/>
                    <a:pt x="350" y="196"/>
                    <a:pt x="350" y="196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4" y="188"/>
                  </a:lnTo>
                  <a:close/>
                  <a:moveTo>
                    <a:pt x="14" y="718"/>
                  </a:moveTo>
                  <a:cubicBezTo>
                    <a:pt x="21" y="719"/>
                    <a:pt x="21" y="719"/>
                    <a:pt x="21" y="719"/>
                  </a:cubicBezTo>
                  <a:cubicBezTo>
                    <a:pt x="22" y="712"/>
                    <a:pt x="22" y="712"/>
                    <a:pt x="22" y="712"/>
                  </a:cubicBezTo>
                  <a:cubicBezTo>
                    <a:pt x="19" y="709"/>
                    <a:pt x="19" y="709"/>
                    <a:pt x="19" y="709"/>
                  </a:cubicBezTo>
                  <a:cubicBezTo>
                    <a:pt x="17" y="712"/>
                    <a:pt x="17" y="712"/>
                    <a:pt x="17" y="712"/>
                  </a:cubicBezTo>
                  <a:cubicBezTo>
                    <a:pt x="16" y="712"/>
                    <a:pt x="16" y="712"/>
                    <a:pt x="16" y="712"/>
                  </a:cubicBezTo>
                  <a:cubicBezTo>
                    <a:pt x="8" y="720"/>
                    <a:pt x="8" y="720"/>
                    <a:pt x="8" y="720"/>
                  </a:cubicBezTo>
                  <a:cubicBezTo>
                    <a:pt x="14" y="721"/>
                    <a:pt x="14" y="721"/>
                    <a:pt x="14" y="721"/>
                  </a:cubicBezTo>
                  <a:lnTo>
                    <a:pt x="14" y="718"/>
                  </a:lnTo>
                  <a:close/>
                  <a:moveTo>
                    <a:pt x="20" y="727"/>
                  </a:moveTo>
                  <a:cubicBezTo>
                    <a:pt x="19" y="723"/>
                    <a:pt x="19" y="723"/>
                    <a:pt x="19" y="723"/>
                  </a:cubicBezTo>
                  <a:cubicBezTo>
                    <a:pt x="11" y="725"/>
                    <a:pt x="11" y="725"/>
                    <a:pt x="11" y="725"/>
                  </a:cubicBezTo>
                  <a:cubicBezTo>
                    <a:pt x="13" y="728"/>
                    <a:pt x="13" y="728"/>
                    <a:pt x="13" y="728"/>
                  </a:cubicBezTo>
                  <a:cubicBezTo>
                    <a:pt x="13" y="730"/>
                    <a:pt x="13" y="730"/>
                    <a:pt x="13" y="730"/>
                  </a:cubicBezTo>
                  <a:cubicBezTo>
                    <a:pt x="16" y="730"/>
                    <a:pt x="16" y="730"/>
                    <a:pt x="16" y="730"/>
                  </a:cubicBezTo>
                  <a:cubicBezTo>
                    <a:pt x="17" y="727"/>
                    <a:pt x="17" y="727"/>
                    <a:pt x="17" y="727"/>
                  </a:cubicBezTo>
                  <a:lnTo>
                    <a:pt x="20" y="727"/>
                  </a:lnTo>
                  <a:close/>
                  <a:moveTo>
                    <a:pt x="211" y="760"/>
                  </a:moveTo>
                  <a:cubicBezTo>
                    <a:pt x="207" y="765"/>
                    <a:pt x="207" y="765"/>
                    <a:pt x="207" y="765"/>
                  </a:cubicBezTo>
                  <a:cubicBezTo>
                    <a:pt x="208" y="771"/>
                    <a:pt x="208" y="771"/>
                    <a:pt x="208" y="771"/>
                  </a:cubicBezTo>
                  <a:cubicBezTo>
                    <a:pt x="207" y="771"/>
                    <a:pt x="207" y="771"/>
                    <a:pt x="207" y="771"/>
                  </a:cubicBezTo>
                  <a:cubicBezTo>
                    <a:pt x="207" y="773"/>
                    <a:pt x="207" y="773"/>
                    <a:pt x="207" y="773"/>
                  </a:cubicBezTo>
                  <a:cubicBezTo>
                    <a:pt x="205" y="783"/>
                    <a:pt x="205" y="783"/>
                    <a:pt x="205" y="783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0" y="792"/>
                    <a:pt x="200" y="792"/>
                    <a:pt x="200" y="792"/>
                  </a:cubicBezTo>
                  <a:cubicBezTo>
                    <a:pt x="198" y="792"/>
                    <a:pt x="198" y="792"/>
                    <a:pt x="198" y="792"/>
                  </a:cubicBezTo>
                  <a:cubicBezTo>
                    <a:pt x="198" y="792"/>
                    <a:pt x="195" y="797"/>
                    <a:pt x="194" y="801"/>
                  </a:cubicBezTo>
                  <a:cubicBezTo>
                    <a:pt x="193" y="804"/>
                    <a:pt x="194" y="807"/>
                    <a:pt x="193" y="808"/>
                  </a:cubicBezTo>
                  <a:cubicBezTo>
                    <a:pt x="193" y="810"/>
                    <a:pt x="190" y="812"/>
                    <a:pt x="190" y="816"/>
                  </a:cubicBezTo>
                  <a:cubicBezTo>
                    <a:pt x="190" y="821"/>
                    <a:pt x="190" y="821"/>
                    <a:pt x="190" y="821"/>
                  </a:cubicBezTo>
                  <a:cubicBezTo>
                    <a:pt x="193" y="823"/>
                    <a:pt x="193" y="823"/>
                    <a:pt x="193" y="823"/>
                  </a:cubicBezTo>
                  <a:cubicBezTo>
                    <a:pt x="192" y="836"/>
                    <a:pt x="192" y="836"/>
                    <a:pt x="192" y="836"/>
                  </a:cubicBezTo>
                  <a:cubicBezTo>
                    <a:pt x="192" y="836"/>
                    <a:pt x="196" y="833"/>
                    <a:pt x="197" y="830"/>
                  </a:cubicBezTo>
                  <a:cubicBezTo>
                    <a:pt x="198" y="825"/>
                    <a:pt x="197" y="824"/>
                    <a:pt x="197" y="822"/>
                  </a:cubicBezTo>
                  <a:cubicBezTo>
                    <a:pt x="197" y="820"/>
                    <a:pt x="199" y="817"/>
                    <a:pt x="200" y="815"/>
                  </a:cubicBezTo>
                  <a:cubicBezTo>
                    <a:pt x="201" y="813"/>
                    <a:pt x="200" y="807"/>
                    <a:pt x="200" y="807"/>
                  </a:cubicBezTo>
                  <a:cubicBezTo>
                    <a:pt x="204" y="796"/>
                    <a:pt x="204" y="796"/>
                    <a:pt x="204" y="796"/>
                  </a:cubicBezTo>
                  <a:cubicBezTo>
                    <a:pt x="206" y="796"/>
                    <a:pt x="206" y="796"/>
                    <a:pt x="206" y="796"/>
                  </a:cubicBezTo>
                  <a:cubicBezTo>
                    <a:pt x="208" y="788"/>
                    <a:pt x="208" y="788"/>
                    <a:pt x="208" y="788"/>
                  </a:cubicBezTo>
                  <a:cubicBezTo>
                    <a:pt x="207" y="785"/>
                    <a:pt x="207" y="785"/>
                    <a:pt x="207" y="785"/>
                  </a:cubicBezTo>
                  <a:cubicBezTo>
                    <a:pt x="209" y="783"/>
                    <a:pt x="209" y="783"/>
                    <a:pt x="209" y="783"/>
                  </a:cubicBezTo>
                  <a:cubicBezTo>
                    <a:pt x="208" y="782"/>
                    <a:pt x="208" y="782"/>
                    <a:pt x="208" y="782"/>
                  </a:cubicBezTo>
                  <a:cubicBezTo>
                    <a:pt x="210" y="779"/>
                    <a:pt x="210" y="779"/>
                    <a:pt x="210" y="779"/>
                  </a:cubicBezTo>
                  <a:cubicBezTo>
                    <a:pt x="209" y="777"/>
                    <a:pt x="209" y="777"/>
                    <a:pt x="209" y="777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4" y="763"/>
                    <a:pt x="214" y="763"/>
                    <a:pt x="214" y="763"/>
                  </a:cubicBezTo>
                  <a:lnTo>
                    <a:pt x="211" y="760"/>
                  </a:lnTo>
                  <a:close/>
                  <a:moveTo>
                    <a:pt x="277" y="731"/>
                  </a:moveTo>
                  <a:cubicBezTo>
                    <a:pt x="281" y="724"/>
                    <a:pt x="281" y="724"/>
                    <a:pt x="281" y="724"/>
                  </a:cubicBezTo>
                  <a:cubicBezTo>
                    <a:pt x="278" y="718"/>
                    <a:pt x="278" y="718"/>
                    <a:pt x="278" y="718"/>
                  </a:cubicBezTo>
                  <a:cubicBezTo>
                    <a:pt x="272" y="719"/>
                    <a:pt x="272" y="719"/>
                    <a:pt x="272" y="719"/>
                  </a:cubicBezTo>
                  <a:cubicBezTo>
                    <a:pt x="270" y="724"/>
                    <a:pt x="270" y="724"/>
                    <a:pt x="270" y="724"/>
                  </a:cubicBezTo>
                  <a:cubicBezTo>
                    <a:pt x="270" y="719"/>
                    <a:pt x="270" y="719"/>
                    <a:pt x="270" y="719"/>
                  </a:cubicBezTo>
                  <a:cubicBezTo>
                    <a:pt x="270" y="719"/>
                    <a:pt x="267" y="719"/>
                    <a:pt x="266" y="720"/>
                  </a:cubicBezTo>
                  <a:cubicBezTo>
                    <a:pt x="264" y="721"/>
                    <a:pt x="263" y="724"/>
                    <a:pt x="263" y="724"/>
                  </a:cubicBezTo>
                  <a:cubicBezTo>
                    <a:pt x="263" y="724"/>
                    <a:pt x="262" y="723"/>
                    <a:pt x="259" y="726"/>
                  </a:cubicBezTo>
                  <a:cubicBezTo>
                    <a:pt x="257" y="729"/>
                    <a:pt x="253" y="739"/>
                    <a:pt x="253" y="739"/>
                  </a:cubicBezTo>
                  <a:cubicBezTo>
                    <a:pt x="253" y="739"/>
                    <a:pt x="248" y="741"/>
                    <a:pt x="248" y="746"/>
                  </a:cubicBezTo>
                  <a:cubicBezTo>
                    <a:pt x="247" y="753"/>
                    <a:pt x="253" y="753"/>
                    <a:pt x="253" y="757"/>
                  </a:cubicBezTo>
                  <a:cubicBezTo>
                    <a:pt x="251" y="762"/>
                    <a:pt x="249" y="763"/>
                    <a:pt x="249" y="763"/>
                  </a:cubicBezTo>
                  <a:cubicBezTo>
                    <a:pt x="251" y="765"/>
                    <a:pt x="251" y="765"/>
                    <a:pt x="251" y="765"/>
                  </a:cubicBezTo>
                  <a:cubicBezTo>
                    <a:pt x="251" y="772"/>
                    <a:pt x="251" y="772"/>
                    <a:pt x="251" y="772"/>
                  </a:cubicBezTo>
                  <a:cubicBezTo>
                    <a:pt x="254" y="773"/>
                    <a:pt x="254" y="773"/>
                    <a:pt x="254" y="773"/>
                  </a:cubicBezTo>
                  <a:cubicBezTo>
                    <a:pt x="254" y="776"/>
                    <a:pt x="254" y="776"/>
                    <a:pt x="254" y="776"/>
                  </a:cubicBezTo>
                  <a:cubicBezTo>
                    <a:pt x="254" y="776"/>
                    <a:pt x="257" y="775"/>
                    <a:pt x="257" y="776"/>
                  </a:cubicBezTo>
                  <a:cubicBezTo>
                    <a:pt x="257" y="777"/>
                    <a:pt x="255" y="778"/>
                    <a:pt x="255" y="778"/>
                  </a:cubicBezTo>
                  <a:cubicBezTo>
                    <a:pt x="255" y="782"/>
                    <a:pt x="255" y="782"/>
                    <a:pt x="255" y="782"/>
                  </a:cubicBezTo>
                  <a:cubicBezTo>
                    <a:pt x="255" y="783"/>
                    <a:pt x="253" y="787"/>
                    <a:pt x="253" y="787"/>
                  </a:cubicBezTo>
                  <a:cubicBezTo>
                    <a:pt x="258" y="785"/>
                    <a:pt x="258" y="785"/>
                    <a:pt x="258" y="785"/>
                  </a:cubicBezTo>
                  <a:cubicBezTo>
                    <a:pt x="261" y="779"/>
                    <a:pt x="261" y="779"/>
                    <a:pt x="261" y="779"/>
                  </a:cubicBezTo>
                  <a:cubicBezTo>
                    <a:pt x="260" y="779"/>
                    <a:pt x="260" y="779"/>
                    <a:pt x="260" y="779"/>
                  </a:cubicBezTo>
                  <a:cubicBezTo>
                    <a:pt x="261" y="774"/>
                    <a:pt x="261" y="774"/>
                    <a:pt x="261" y="774"/>
                  </a:cubicBezTo>
                  <a:cubicBezTo>
                    <a:pt x="262" y="772"/>
                    <a:pt x="262" y="772"/>
                    <a:pt x="262" y="772"/>
                  </a:cubicBezTo>
                  <a:cubicBezTo>
                    <a:pt x="261" y="772"/>
                    <a:pt x="261" y="772"/>
                    <a:pt x="261" y="772"/>
                  </a:cubicBezTo>
                  <a:cubicBezTo>
                    <a:pt x="266" y="766"/>
                    <a:pt x="266" y="766"/>
                    <a:pt x="266" y="766"/>
                  </a:cubicBezTo>
                  <a:cubicBezTo>
                    <a:pt x="271" y="763"/>
                    <a:pt x="271" y="763"/>
                    <a:pt x="271" y="763"/>
                  </a:cubicBezTo>
                  <a:cubicBezTo>
                    <a:pt x="271" y="758"/>
                    <a:pt x="271" y="758"/>
                    <a:pt x="271" y="758"/>
                  </a:cubicBezTo>
                  <a:cubicBezTo>
                    <a:pt x="277" y="750"/>
                    <a:pt x="277" y="750"/>
                    <a:pt x="277" y="750"/>
                  </a:cubicBezTo>
                  <a:cubicBezTo>
                    <a:pt x="274" y="750"/>
                    <a:pt x="274" y="750"/>
                    <a:pt x="274" y="750"/>
                  </a:cubicBezTo>
                  <a:cubicBezTo>
                    <a:pt x="271" y="746"/>
                    <a:pt x="271" y="746"/>
                    <a:pt x="271" y="746"/>
                  </a:cubicBezTo>
                  <a:cubicBezTo>
                    <a:pt x="271" y="746"/>
                    <a:pt x="273" y="743"/>
                    <a:pt x="274" y="740"/>
                  </a:cubicBezTo>
                  <a:cubicBezTo>
                    <a:pt x="274" y="738"/>
                    <a:pt x="271" y="735"/>
                    <a:pt x="271" y="735"/>
                  </a:cubicBezTo>
                  <a:cubicBezTo>
                    <a:pt x="272" y="730"/>
                    <a:pt x="272" y="730"/>
                    <a:pt x="272" y="730"/>
                  </a:cubicBezTo>
                  <a:lnTo>
                    <a:pt x="277" y="731"/>
                  </a:lnTo>
                  <a:close/>
                  <a:moveTo>
                    <a:pt x="280" y="719"/>
                  </a:moveTo>
                  <a:cubicBezTo>
                    <a:pt x="282" y="721"/>
                    <a:pt x="282" y="721"/>
                    <a:pt x="282" y="721"/>
                  </a:cubicBezTo>
                  <a:cubicBezTo>
                    <a:pt x="286" y="711"/>
                    <a:pt x="286" y="711"/>
                    <a:pt x="286" y="711"/>
                  </a:cubicBezTo>
                  <a:cubicBezTo>
                    <a:pt x="281" y="712"/>
                    <a:pt x="281" y="712"/>
                    <a:pt x="281" y="712"/>
                  </a:cubicBezTo>
                  <a:lnTo>
                    <a:pt x="280" y="719"/>
                  </a:lnTo>
                  <a:close/>
                  <a:moveTo>
                    <a:pt x="286" y="715"/>
                  </a:moveTo>
                  <a:cubicBezTo>
                    <a:pt x="290" y="715"/>
                    <a:pt x="290" y="715"/>
                    <a:pt x="290" y="715"/>
                  </a:cubicBezTo>
                  <a:cubicBezTo>
                    <a:pt x="291" y="712"/>
                    <a:pt x="291" y="712"/>
                    <a:pt x="291" y="712"/>
                  </a:cubicBezTo>
                  <a:cubicBezTo>
                    <a:pt x="288" y="712"/>
                    <a:pt x="288" y="712"/>
                    <a:pt x="288" y="712"/>
                  </a:cubicBezTo>
                  <a:lnTo>
                    <a:pt x="286" y="715"/>
                  </a:lnTo>
                  <a:close/>
                  <a:moveTo>
                    <a:pt x="282" y="691"/>
                  </a:moveTo>
                  <a:cubicBezTo>
                    <a:pt x="287" y="688"/>
                    <a:pt x="287" y="688"/>
                    <a:pt x="287" y="688"/>
                  </a:cubicBezTo>
                  <a:cubicBezTo>
                    <a:pt x="280" y="684"/>
                    <a:pt x="280" y="684"/>
                    <a:pt x="280" y="684"/>
                  </a:cubicBezTo>
                  <a:cubicBezTo>
                    <a:pt x="281" y="689"/>
                    <a:pt x="281" y="689"/>
                    <a:pt x="281" y="689"/>
                  </a:cubicBezTo>
                  <a:lnTo>
                    <a:pt x="282" y="691"/>
                  </a:lnTo>
                  <a:close/>
                  <a:moveTo>
                    <a:pt x="243" y="630"/>
                  </a:moveTo>
                  <a:cubicBezTo>
                    <a:pt x="255" y="631"/>
                    <a:pt x="255" y="631"/>
                    <a:pt x="255" y="631"/>
                  </a:cubicBezTo>
                  <a:cubicBezTo>
                    <a:pt x="256" y="630"/>
                    <a:pt x="256" y="630"/>
                    <a:pt x="256" y="630"/>
                  </a:cubicBezTo>
                  <a:cubicBezTo>
                    <a:pt x="254" y="626"/>
                    <a:pt x="254" y="626"/>
                    <a:pt x="254" y="626"/>
                  </a:cubicBezTo>
                  <a:cubicBezTo>
                    <a:pt x="251" y="625"/>
                    <a:pt x="251" y="625"/>
                    <a:pt x="251" y="625"/>
                  </a:cubicBezTo>
                  <a:cubicBezTo>
                    <a:pt x="248" y="626"/>
                    <a:pt x="248" y="626"/>
                    <a:pt x="248" y="626"/>
                  </a:cubicBezTo>
                  <a:cubicBezTo>
                    <a:pt x="249" y="628"/>
                    <a:pt x="249" y="628"/>
                    <a:pt x="249" y="628"/>
                  </a:cubicBezTo>
                  <a:cubicBezTo>
                    <a:pt x="243" y="628"/>
                    <a:pt x="243" y="628"/>
                    <a:pt x="243" y="628"/>
                  </a:cubicBezTo>
                  <a:lnTo>
                    <a:pt x="243" y="630"/>
                  </a:lnTo>
                  <a:close/>
                  <a:moveTo>
                    <a:pt x="254" y="615"/>
                  </a:moveTo>
                  <a:cubicBezTo>
                    <a:pt x="253" y="620"/>
                    <a:pt x="253" y="620"/>
                    <a:pt x="253" y="620"/>
                  </a:cubicBezTo>
                  <a:cubicBezTo>
                    <a:pt x="258" y="617"/>
                    <a:pt x="258" y="617"/>
                    <a:pt x="258" y="617"/>
                  </a:cubicBezTo>
                  <a:lnTo>
                    <a:pt x="254" y="615"/>
                  </a:lnTo>
                  <a:close/>
                  <a:moveTo>
                    <a:pt x="266" y="610"/>
                  </a:moveTo>
                  <a:cubicBezTo>
                    <a:pt x="265" y="607"/>
                    <a:pt x="265" y="607"/>
                    <a:pt x="265" y="607"/>
                  </a:cubicBezTo>
                  <a:cubicBezTo>
                    <a:pt x="259" y="610"/>
                    <a:pt x="259" y="610"/>
                    <a:pt x="259" y="610"/>
                  </a:cubicBezTo>
                  <a:cubicBezTo>
                    <a:pt x="262" y="612"/>
                    <a:pt x="262" y="612"/>
                    <a:pt x="262" y="612"/>
                  </a:cubicBezTo>
                  <a:lnTo>
                    <a:pt x="266" y="610"/>
                  </a:lnTo>
                  <a:close/>
                  <a:moveTo>
                    <a:pt x="258" y="630"/>
                  </a:moveTo>
                  <a:cubicBezTo>
                    <a:pt x="261" y="629"/>
                    <a:pt x="261" y="629"/>
                    <a:pt x="261" y="629"/>
                  </a:cubicBezTo>
                  <a:cubicBezTo>
                    <a:pt x="258" y="626"/>
                    <a:pt x="258" y="626"/>
                    <a:pt x="258" y="626"/>
                  </a:cubicBezTo>
                  <a:lnTo>
                    <a:pt x="258" y="630"/>
                  </a:lnTo>
                  <a:close/>
                  <a:moveTo>
                    <a:pt x="249" y="651"/>
                  </a:moveTo>
                  <a:cubicBezTo>
                    <a:pt x="253" y="644"/>
                    <a:pt x="253" y="644"/>
                    <a:pt x="253" y="644"/>
                  </a:cubicBezTo>
                  <a:cubicBezTo>
                    <a:pt x="250" y="643"/>
                    <a:pt x="250" y="643"/>
                    <a:pt x="250" y="643"/>
                  </a:cubicBezTo>
                  <a:cubicBezTo>
                    <a:pt x="246" y="649"/>
                    <a:pt x="246" y="649"/>
                    <a:pt x="246" y="649"/>
                  </a:cubicBezTo>
                  <a:lnTo>
                    <a:pt x="249" y="651"/>
                  </a:lnTo>
                  <a:close/>
                  <a:moveTo>
                    <a:pt x="245" y="653"/>
                  </a:moveTo>
                  <a:cubicBezTo>
                    <a:pt x="244" y="656"/>
                    <a:pt x="245" y="658"/>
                    <a:pt x="247" y="656"/>
                  </a:cubicBezTo>
                  <a:cubicBezTo>
                    <a:pt x="249" y="653"/>
                    <a:pt x="246" y="651"/>
                    <a:pt x="245" y="653"/>
                  </a:cubicBezTo>
                  <a:close/>
                  <a:moveTo>
                    <a:pt x="238" y="652"/>
                  </a:moveTo>
                  <a:cubicBezTo>
                    <a:pt x="241" y="653"/>
                    <a:pt x="241" y="653"/>
                    <a:pt x="241" y="653"/>
                  </a:cubicBezTo>
                  <a:cubicBezTo>
                    <a:pt x="243" y="649"/>
                    <a:pt x="243" y="649"/>
                    <a:pt x="243" y="649"/>
                  </a:cubicBezTo>
                  <a:cubicBezTo>
                    <a:pt x="242" y="649"/>
                    <a:pt x="242" y="649"/>
                    <a:pt x="242" y="649"/>
                  </a:cubicBezTo>
                  <a:lnTo>
                    <a:pt x="238" y="652"/>
                  </a:lnTo>
                  <a:close/>
                  <a:moveTo>
                    <a:pt x="251" y="632"/>
                  </a:moveTo>
                  <a:cubicBezTo>
                    <a:pt x="249" y="633"/>
                    <a:pt x="249" y="633"/>
                    <a:pt x="249" y="633"/>
                  </a:cubicBezTo>
                  <a:cubicBezTo>
                    <a:pt x="246" y="635"/>
                    <a:pt x="246" y="635"/>
                    <a:pt x="246" y="635"/>
                  </a:cubicBezTo>
                  <a:cubicBezTo>
                    <a:pt x="251" y="636"/>
                    <a:pt x="251" y="636"/>
                    <a:pt x="251" y="636"/>
                  </a:cubicBezTo>
                  <a:lnTo>
                    <a:pt x="251" y="632"/>
                  </a:lnTo>
                  <a:close/>
                  <a:moveTo>
                    <a:pt x="229" y="662"/>
                  </a:moveTo>
                  <a:cubicBezTo>
                    <a:pt x="229" y="664"/>
                    <a:pt x="229" y="664"/>
                    <a:pt x="229" y="664"/>
                  </a:cubicBezTo>
                  <a:cubicBezTo>
                    <a:pt x="232" y="666"/>
                    <a:pt x="232" y="666"/>
                    <a:pt x="232" y="666"/>
                  </a:cubicBezTo>
                  <a:cubicBezTo>
                    <a:pt x="231" y="661"/>
                    <a:pt x="231" y="661"/>
                    <a:pt x="231" y="661"/>
                  </a:cubicBezTo>
                  <a:lnTo>
                    <a:pt x="229" y="662"/>
                  </a:lnTo>
                  <a:close/>
                  <a:moveTo>
                    <a:pt x="246" y="562"/>
                  </a:moveTo>
                  <a:cubicBezTo>
                    <a:pt x="244" y="562"/>
                    <a:pt x="244" y="562"/>
                    <a:pt x="244" y="562"/>
                  </a:cubicBezTo>
                  <a:cubicBezTo>
                    <a:pt x="243" y="558"/>
                    <a:pt x="243" y="558"/>
                    <a:pt x="243" y="558"/>
                  </a:cubicBezTo>
                  <a:cubicBezTo>
                    <a:pt x="241" y="554"/>
                    <a:pt x="241" y="554"/>
                    <a:pt x="241" y="554"/>
                  </a:cubicBezTo>
                  <a:cubicBezTo>
                    <a:pt x="240" y="554"/>
                    <a:pt x="240" y="554"/>
                    <a:pt x="240" y="554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6" y="567"/>
                    <a:pt x="246" y="567"/>
                    <a:pt x="246" y="567"/>
                  </a:cubicBezTo>
                  <a:lnTo>
                    <a:pt x="246" y="562"/>
                  </a:lnTo>
                  <a:close/>
                  <a:moveTo>
                    <a:pt x="245" y="571"/>
                  </a:moveTo>
                  <a:cubicBezTo>
                    <a:pt x="248" y="572"/>
                    <a:pt x="249" y="569"/>
                    <a:pt x="246" y="569"/>
                  </a:cubicBezTo>
                  <a:cubicBezTo>
                    <a:pt x="243" y="569"/>
                    <a:pt x="243" y="571"/>
                    <a:pt x="245" y="571"/>
                  </a:cubicBezTo>
                  <a:close/>
                  <a:moveTo>
                    <a:pt x="253" y="571"/>
                  </a:moveTo>
                  <a:cubicBezTo>
                    <a:pt x="250" y="571"/>
                    <a:pt x="250" y="574"/>
                    <a:pt x="253" y="576"/>
                  </a:cubicBezTo>
                  <a:cubicBezTo>
                    <a:pt x="255" y="577"/>
                    <a:pt x="256" y="576"/>
                    <a:pt x="256" y="573"/>
                  </a:cubicBezTo>
                  <a:cubicBezTo>
                    <a:pt x="255" y="571"/>
                    <a:pt x="254" y="571"/>
                    <a:pt x="253" y="571"/>
                  </a:cubicBezTo>
                  <a:close/>
                  <a:moveTo>
                    <a:pt x="200" y="696"/>
                  </a:moveTo>
                  <a:cubicBezTo>
                    <a:pt x="199" y="693"/>
                    <a:pt x="199" y="693"/>
                    <a:pt x="199" y="693"/>
                  </a:cubicBezTo>
                  <a:cubicBezTo>
                    <a:pt x="198" y="693"/>
                    <a:pt x="198" y="693"/>
                    <a:pt x="198" y="69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202" y="698"/>
                    <a:pt x="202" y="698"/>
                    <a:pt x="202" y="698"/>
                  </a:cubicBezTo>
                  <a:lnTo>
                    <a:pt x="200" y="696"/>
                  </a:lnTo>
                  <a:close/>
                  <a:moveTo>
                    <a:pt x="198" y="739"/>
                  </a:moveTo>
                  <a:cubicBezTo>
                    <a:pt x="195" y="736"/>
                    <a:pt x="195" y="736"/>
                    <a:pt x="195" y="736"/>
                  </a:cubicBezTo>
                  <a:cubicBezTo>
                    <a:pt x="195" y="740"/>
                    <a:pt x="195" y="740"/>
                    <a:pt x="195" y="740"/>
                  </a:cubicBezTo>
                  <a:lnTo>
                    <a:pt x="198" y="739"/>
                  </a:lnTo>
                  <a:close/>
                  <a:moveTo>
                    <a:pt x="266" y="598"/>
                  </a:moveTo>
                  <a:cubicBezTo>
                    <a:pt x="263" y="596"/>
                    <a:pt x="263" y="596"/>
                    <a:pt x="263" y="596"/>
                  </a:cubicBezTo>
                  <a:cubicBezTo>
                    <a:pt x="261" y="598"/>
                    <a:pt x="261" y="598"/>
                    <a:pt x="261" y="598"/>
                  </a:cubicBezTo>
                  <a:lnTo>
                    <a:pt x="266" y="598"/>
                  </a:lnTo>
                  <a:close/>
                  <a:moveTo>
                    <a:pt x="205" y="485"/>
                  </a:moveTo>
                  <a:cubicBezTo>
                    <a:pt x="206" y="482"/>
                    <a:pt x="206" y="482"/>
                    <a:pt x="206" y="482"/>
                  </a:cubicBezTo>
                  <a:cubicBezTo>
                    <a:pt x="202" y="479"/>
                    <a:pt x="202" y="479"/>
                    <a:pt x="202" y="479"/>
                  </a:cubicBezTo>
                  <a:cubicBezTo>
                    <a:pt x="200" y="482"/>
                    <a:pt x="200" y="482"/>
                    <a:pt x="200" y="482"/>
                  </a:cubicBezTo>
                  <a:lnTo>
                    <a:pt x="205" y="485"/>
                  </a:lnTo>
                  <a:close/>
                  <a:moveTo>
                    <a:pt x="199" y="439"/>
                  </a:moveTo>
                  <a:cubicBezTo>
                    <a:pt x="201" y="439"/>
                    <a:pt x="201" y="439"/>
                    <a:pt x="201" y="439"/>
                  </a:cubicBezTo>
                  <a:cubicBezTo>
                    <a:pt x="200" y="432"/>
                    <a:pt x="200" y="432"/>
                    <a:pt x="200" y="432"/>
                  </a:cubicBezTo>
                  <a:cubicBezTo>
                    <a:pt x="198" y="431"/>
                    <a:pt x="198" y="431"/>
                    <a:pt x="198" y="431"/>
                  </a:cubicBezTo>
                  <a:lnTo>
                    <a:pt x="199" y="439"/>
                  </a:lnTo>
                  <a:close/>
                  <a:moveTo>
                    <a:pt x="217" y="421"/>
                  </a:moveTo>
                  <a:cubicBezTo>
                    <a:pt x="216" y="419"/>
                    <a:pt x="216" y="419"/>
                    <a:pt x="216" y="419"/>
                  </a:cubicBezTo>
                  <a:cubicBezTo>
                    <a:pt x="214" y="419"/>
                    <a:pt x="214" y="419"/>
                    <a:pt x="214" y="419"/>
                  </a:cubicBezTo>
                  <a:cubicBezTo>
                    <a:pt x="214" y="421"/>
                    <a:pt x="214" y="421"/>
                    <a:pt x="214" y="421"/>
                  </a:cubicBezTo>
                  <a:cubicBezTo>
                    <a:pt x="214" y="425"/>
                    <a:pt x="214" y="425"/>
                    <a:pt x="214" y="425"/>
                  </a:cubicBezTo>
                  <a:lnTo>
                    <a:pt x="217" y="421"/>
                  </a:lnTo>
                  <a:close/>
                  <a:moveTo>
                    <a:pt x="220" y="411"/>
                  </a:moveTo>
                  <a:cubicBezTo>
                    <a:pt x="215" y="412"/>
                    <a:pt x="214" y="415"/>
                    <a:pt x="216" y="416"/>
                  </a:cubicBezTo>
                  <a:cubicBezTo>
                    <a:pt x="220" y="418"/>
                    <a:pt x="223" y="411"/>
                    <a:pt x="220" y="411"/>
                  </a:cubicBezTo>
                  <a:close/>
                  <a:moveTo>
                    <a:pt x="234" y="392"/>
                  </a:moveTo>
                  <a:cubicBezTo>
                    <a:pt x="232" y="384"/>
                    <a:pt x="232" y="384"/>
                    <a:pt x="232" y="384"/>
                  </a:cubicBezTo>
                  <a:cubicBezTo>
                    <a:pt x="231" y="393"/>
                    <a:pt x="231" y="393"/>
                    <a:pt x="231" y="393"/>
                  </a:cubicBezTo>
                  <a:lnTo>
                    <a:pt x="234" y="392"/>
                  </a:lnTo>
                  <a:close/>
                  <a:moveTo>
                    <a:pt x="294" y="340"/>
                  </a:moveTo>
                  <a:cubicBezTo>
                    <a:pt x="294" y="343"/>
                    <a:pt x="294" y="343"/>
                    <a:pt x="294" y="343"/>
                  </a:cubicBezTo>
                  <a:cubicBezTo>
                    <a:pt x="297" y="342"/>
                    <a:pt x="297" y="342"/>
                    <a:pt x="297" y="342"/>
                  </a:cubicBezTo>
                  <a:cubicBezTo>
                    <a:pt x="296" y="336"/>
                    <a:pt x="296" y="336"/>
                    <a:pt x="296" y="336"/>
                  </a:cubicBezTo>
                  <a:lnTo>
                    <a:pt x="294" y="340"/>
                  </a:lnTo>
                  <a:close/>
                  <a:moveTo>
                    <a:pt x="293" y="335"/>
                  </a:moveTo>
                  <a:cubicBezTo>
                    <a:pt x="290" y="340"/>
                    <a:pt x="294" y="336"/>
                    <a:pt x="294" y="336"/>
                  </a:cubicBezTo>
                  <a:cubicBezTo>
                    <a:pt x="296" y="333"/>
                    <a:pt x="295" y="331"/>
                    <a:pt x="293" y="335"/>
                  </a:cubicBezTo>
                  <a:close/>
                  <a:moveTo>
                    <a:pt x="298" y="236"/>
                  </a:moveTo>
                  <a:cubicBezTo>
                    <a:pt x="300" y="240"/>
                    <a:pt x="300" y="240"/>
                    <a:pt x="300" y="240"/>
                  </a:cubicBezTo>
                  <a:cubicBezTo>
                    <a:pt x="306" y="242"/>
                    <a:pt x="306" y="242"/>
                    <a:pt x="306" y="242"/>
                  </a:cubicBezTo>
                  <a:cubicBezTo>
                    <a:pt x="307" y="241"/>
                    <a:pt x="307" y="241"/>
                    <a:pt x="307" y="241"/>
                  </a:cubicBezTo>
                  <a:cubicBezTo>
                    <a:pt x="304" y="239"/>
                    <a:pt x="304" y="239"/>
                    <a:pt x="304" y="239"/>
                  </a:cubicBezTo>
                  <a:cubicBezTo>
                    <a:pt x="305" y="236"/>
                    <a:pt x="305" y="236"/>
                    <a:pt x="305" y="236"/>
                  </a:cubicBezTo>
                  <a:cubicBezTo>
                    <a:pt x="303" y="235"/>
                    <a:pt x="303" y="235"/>
                    <a:pt x="303" y="235"/>
                  </a:cubicBezTo>
                  <a:cubicBezTo>
                    <a:pt x="302" y="237"/>
                    <a:pt x="302" y="237"/>
                    <a:pt x="302" y="237"/>
                  </a:cubicBezTo>
                  <a:cubicBezTo>
                    <a:pt x="302" y="235"/>
                    <a:pt x="302" y="235"/>
                    <a:pt x="302" y="235"/>
                  </a:cubicBezTo>
                  <a:lnTo>
                    <a:pt x="298" y="236"/>
                  </a:lnTo>
                  <a:close/>
                  <a:moveTo>
                    <a:pt x="312" y="222"/>
                  </a:moveTo>
                  <a:cubicBezTo>
                    <a:pt x="315" y="226"/>
                    <a:pt x="315" y="226"/>
                    <a:pt x="315" y="226"/>
                  </a:cubicBezTo>
                  <a:cubicBezTo>
                    <a:pt x="314" y="221"/>
                    <a:pt x="314" y="221"/>
                    <a:pt x="314" y="221"/>
                  </a:cubicBezTo>
                  <a:lnTo>
                    <a:pt x="312" y="222"/>
                  </a:lnTo>
                  <a:close/>
                  <a:moveTo>
                    <a:pt x="320" y="227"/>
                  </a:moveTo>
                  <a:cubicBezTo>
                    <a:pt x="322" y="224"/>
                    <a:pt x="322" y="224"/>
                    <a:pt x="322" y="224"/>
                  </a:cubicBezTo>
                  <a:cubicBezTo>
                    <a:pt x="317" y="225"/>
                    <a:pt x="317" y="225"/>
                    <a:pt x="317" y="225"/>
                  </a:cubicBezTo>
                  <a:lnTo>
                    <a:pt x="320" y="227"/>
                  </a:lnTo>
                  <a:close/>
                  <a:moveTo>
                    <a:pt x="322" y="222"/>
                  </a:moveTo>
                  <a:cubicBezTo>
                    <a:pt x="326" y="222"/>
                    <a:pt x="326" y="222"/>
                    <a:pt x="326" y="222"/>
                  </a:cubicBezTo>
                  <a:cubicBezTo>
                    <a:pt x="326" y="221"/>
                    <a:pt x="326" y="221"/>
                    <a:pt x="326" y="221"/>
                  </a:cubicBezTo>
                  <a:cubicBezTo>
                    <a:pt x="322" y="220"/>
                    <a:pt x="322" y="220"/>
                    <a:pt x="322" y="220"/>
                  </a:cubicBezTo>
                  <a:lnTo>
                    <a:pt x="322" y="222"/>
                  </a:lnTo>
                  <a:close/>
                  <a:moveTo>
                    <a:pt x="325" y="217"/>
                  </a:moveTo>
                  <a:cubicBezTo>
                    <a:pt x="326" y="213"/>
                    <a:pt x="326" y="213"/>
                    <a:pt x="326" y="213"/>
                  </a:cubicBezTo>
                  <a:cubicBezTo>
                    <a:pt x="322" y="215"/>
                    <a:pt x="322" y="215"/>
                    <a:pt x="322" y="215"/>
                  </a:cubicBezTo>
                  <a:lnTo>
                    <a:pt x="325" y="217"/>
                  </a:lnTo>
                  <a:close/>
                  <a:moveTo>
                    <a:pt x="319" y="219"/>
                  </a:moveTo>
                  <a:cubicBezTo>
                    <a:pt x="317" y="218"/>
                    <a:pt x="315" y="219"/>
                    <a:pt x="315" y="219"/>
                  </a:cubicBezTo>
                  <a:cubicBezTo>
                    <a:pt x="315" y="219"/>
                    <a:pt x="314" y="220"/>
                    <a:pt x="316" y="221"/>
                  </a:cubicBezTo>
                  <a:cubicBezTo>
                    <a:pt x="319" y="221"/>
                    <a:pt x="320" y="220"/>
                    <a:pt x="319" y="219"/>
                  </a:cubicBezTo>
                  <a:close/>
                  <a:moveTo>
                    <a:pt x="354" y="202"/>
                  </a:moveTo>
                  <a:cubicBezTo>
                    <a:pt x="356" y="202"/>
                    <a:pt x="356" y="202"/>
                    <a:pt x="356" y="202"/>
                  </a:cubicBezTo>
                  <a:cubicBezTo>
                    <a:pt x="356" y="200"/>
                    <a:pt x="356" y="200"/>
                    <a:pt x="356" y="200"/>
                  </a:cubicBezTo>
                  <a:cubicBezTo>
                    <a:pt x="354" y="200"/>
                    <a:pt x="354" y="200"/>
                    <a:pt x="354" y="200"/>
                  </a:cubicBezTo>
                  <a:lnTo>
                    <a:pt x="354" y="20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F7636D6-9045-8046-846A-18BC3CC14DDE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1641181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7E0ADF6-E402-3146-B6DE-495BAF74F338}"/>
              </a:ext>
            </a:extLst>
          </p:cNvPr>
          <p:cNvGrpSpPr/>
          <p:nvPr userDrawn="1"/>
        </p:nvGrpSpPr>
        <p:grpSpPr>
          <a:xfrm>
            <a:off x="2060687" y="1219765"/>
            <a:ext cx="1580322" cy="1823574"/>
            <a:chOff x="2060687" y="335183"/>
            <a:chExt cx="1580322" cy="182357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7080020-DBD7-7D4A-A601-0D373779B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70415" y="335183"/>
              <a:ext cx="1560866" cy="1560866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4B66BA5-5251-7D4A-ADB0-F06CA12C04E2}"/>
                </a:ext>
              </a:extLst>
            </p:cNvPr>
            <p:cNvSpPr txBox="1"/>
            <p:nvPr/>
          </p:nvSpPr>
          <p:spPr>
            <a:xfrm>
              <a:off x="2060687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 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311CBF-35F9-7B42-AFD0-7388FA15E194}"/>
              </a:ext>
            </a:extLst>
          </p:cNvPr>
          <p:cNvGrpSpPr/>
          <p:nvPr userDrawn="1"/>
        </p:nvGrpSpPr>
        <p:grpSpPr>
          <a:xfrm>
            <a:off x="3896140" y="1219765"/>
            <a:ext cx="1580322" cy="1823574"/>
            <a:chOff x="3896140" y="335183"/>
            <a:chExt cx="1580322" cy="1823574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3C9B6E8E-D382-C54D-B03F-EC03B231D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05868" y="335183"/>
              <a:ext cx="1560866" cy="1560866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7E95FD9-B3BE-3946-88C9-18D9AF591AE3}"/>
                </a:ext>
              </a:extLst>
            </p:cNvPr>
            <p:cNvSpPr txBox="1"/>
            <p:nvPr/>
          </p:nvSpPr>
          <p:spPr>
            <a:xfrm>
              <a:off x="389614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Harvested Rainwater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7A2DF56-7F4E-B74F-9EF8-22EB940B3D8F}"/>
              </a:ext>
            </a:extLst>
          </p:cNvPr>
          <p:cNvGrpSpPr/>
          <p:nvPr userDrawn="1"/>
        </p:nvGrpSpPr>
        <p:grpSpPr>
          <a:xfrm>
            <a:off x="5750970" y="1219765"/>
            <a:ext cx="1580322" cy="1823574"/>
            <a:chOff x="5750970" y="335183"/>
            <a:chExt cx="1580322" cy="182357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397EC76-47B1-5F40-8B0A-CCCC7E2D7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60698" y="335183"/>
              <a:ext cx="1560866" cy="1560866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AC4E3AF-BD61-5C4F-A121-07463167A4A2}"/>
                </a:ext>
              </a:extLst>
            </p:cNvPr>
            <p:cNvSpPr txBox="1"/>
            <p:nvPr/>
          </p:nvSpPr>
          <p:spPr>
            <a:xfrm>
              <a:off x="575097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 (PETS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A3D937-5DA9-6540-A3B4-35AB5AD80573}"/>
              </a:ext>
            </a:extLst>
          </p:cNvPr>
          <p:cNvGrpSpPr/>
          <p:nvPr userDrawn="1"/>
        </p:nvGrpSpPr>
        <p:grpSpPr>
          <a:xfrm>
            <a:off x="7667309" y="1219765"/>
            <a:ext cx="1580322" cy="1823574"/>
            <a:chOff x="7667309" y="335183"/>
            <a:chExt cx="1580322" cy="1823574"/>
          </a:xfrm>
        </p:grpSpPr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4199837F-648B-3E49-8C70-6CCBA8CB9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677037" y="335183"/>
              <a:ext cx="1560866" cy="1560866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3DD6A3E-810A-E149-B8DC-16C65669000C}"/>
                </a:ext>
              </a:extLst>
            </p:cNvPr>
            <p:cNvSpPr txBox="1"/>
            <p:nvPr/>
          </p:nvSpPr>
          <p:spPr>
            <a:xfrm>
              <a:off x="7667309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ustainable Disposabl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A435C9-18ED-7C47-B379-E289CBD0D831}"/>
              </a:ext>
            </a:extLst>
          </p:cNvPr>
          <p:cNvGrpSpPr/>
          <p:nvPr userDrawn="1"/>
        </p:nvGrpSpPr>
        <p:grpSpPr>
          <a:xfrm>
            <a:off x="9480376" y="1219765"/>
            <a:ext cx="1580322" cy="1823574"/>
            <a:chOff x="9480376" y="335183"/>
            <a:chExt cx="1580322" cy="1823574"/>
          </a:xfrm>
        </p:grpSpPr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B2DFCE71-6805-1940-98AC-BE0857ADF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490104" y="335183"/>
              <a:ext cx="1560866" cy="1560866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D4A8CB-B54E-F342-AD99-33B14AF80D1A}"/>
                </a:ext>
              </a:extLst>
            </p:cNvPr>
            <p:cNvSpPr txBox="1"/>
            <p:nvPr/>
          </p:nvSpPr>
          <p:spPr>
            <a:xfrm>
              <a:off x="9480376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ldlife Conserv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C275B83-58F3-4C41-A29B-A8449C9A03FC}"/>
              </a:ext>
            </a:extLst>
          </p:cNvPr>
          <p:cNvGrpSpPr/>
          <p:nvPr userDrawn="1"/>
        </p:nvGrpSpPr>
        <p:grpSpPr>
          <a:xfrm>
            <a:off x="366479" y="2970743"/>
            <a:ext cx="1580322" cy="1876512"/>
            <a:chOff x="366479" y="2086161"/>
            <a:chExt cx="1580322" cy="187651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D0B128-566C-9946-8291-F34F48BC9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76207" y="2086161"/>
              <a:ext cx="1560866" cy="156086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A6ED507-A5BD-5E41-A120-C59F75E0D899}"/>
                </a:ext>
              </a:extLst>
            </p:cNvPr>
            <p:cNvSpPr txBox="1"/>
            <p:nvPr/>
          </p:nvSpPr>
          <p:spPr>
            <a:xfrm>
              <a:off x="36647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Waste to Landfill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88C6F2-E90C-9D4F-BB44-9C228DB01E7B}"/>
              </a:ext>
            </a:extLst>
          </p:cNvPr>
          <p:cNvGrpSpPr/>
          <p:nvPr userDrawn="1"/>
        </p:nvGrpSpPr>
        <p:grpSpPr>
          <a:xfrm>
            <a:off x="5750970" y="2970743"/>
            <a:ext cx="1580322" cy="1876512"/>
            <a:chOff x="5750970" y="2086161"/>
            <a:chExt cx="1580322" cy="1876512"/>
          </a:xfrm>
        </p:grpSpPr>
        <p:pic>
          <p:nvPicPr>
            <p:cNvPr id="21" name="Picture 20" descr="A close up of a logo&#10;&#10;Description automatically generated">
              <a:extLst>
                <a:ext uri="{FF2B5EF4-FFF2-40B4-BE49-F238E27FC236}">
                  <a16:creationId xmlns:a16="http://schemas.microsoft.com/office/drawing/2014/main" id="{40AF79D2-ABB6-6249-AB90-819D80E27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60698" y="2086161"/>
              <a:ext cx="1560866" cy="1560866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6D520A-1850-6240-AF9C-C53B4319489F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erve Precious Water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E86519-8C0E-7E4A-B35D-EA1C68D21516}"/>
              </a:ext>
            </a:extLst>
          </p:cNvPr>
          <p:cNvGrpSpPr/>
          <p:nvPr userDrawn="1"/>
        </p:nvGrpSpPr>
        <p:grpSpPr>
          <a:xfrm>
            <a:off x="366479" y="4789815"/>
            <a:ext cx="1580322" cy="1823732"/>
            <a:chOff x="366479" y="3905233"/>
            <a:chExt cx="1580322" cy="182373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4DD2E8F-EA5D-BE4D-9771-D7938B9CF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76207" y="3905233"/>
              <a:ext cx="1560866" cy="1560866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FCDF5E6-CEA8-974B-9E45-8BA498AE4982}"/>
                </a:ext>
              </a:extLst>
            </p:cNvPr>
            <p:cNvSpPr txBox="1"/>
            <p:nvPr/>
          </p:nvSpPr>
          <p:spPr>
            <a:xfrm>
              <a:off x="366479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ivert Waste </a:t>
              </a:r>
              <a:br>
                <a:rPr lang="en-US" sz="1200" dirty="0"/>
              </a:br>
              <a:r>
                <a:rPr lang="en-US" sz="1200" dirty="0"/>
                <a:t>From Landfill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6554505-D36A-6B4A-B149-925F6F387039}"/>
              </a:ext>
            </a:extLst>
          </p:cNvPr>
          <p:cNvGrpSpPr/>
          <p:nvPr userDrawn="1"/>
        </p:nvGrpSpPr>
        <p:grpSpPr>
          <a:xfrm>
            <a:off x="2060687" y="4789815"/>
            <a:ext cx="1580322" cy="1639066"/>
            <a:chOff x="2060687" y="3905233"/>
            <a:chExt cx="1580322" cy="1639066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A87986D-6D26-B049-ACB6-D09710666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070415" y="3905233"/>
              <a:ext cx="1560866" cy="156086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A0E7E4B-4EED-EF45-AD38-AB6BBD575001}"/>
                </a:ext>
              </a:extLst>
            </p:cNvPr>
            <p:cNvSpPr txBox="1"/>
            <p:nvPr/>
          </p:nvSpPr>
          <p:spPr>
            <a:xfrm>
              <a:off x="2060687" y="52673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Car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59AC5-5161-3542-A44B-87C140EF1AD7}"/>
              </a:ext>
            </a:extLst>
          </p:cNvPr>
          <p:cNvGrpSpPr/>
          <p:nvPr userDrawn="1"/>
        </p:nvGrpSpPr>
        <p:grpSpPr>
          <a:xfrm>
            <a:off x="3896140" y="4789815"/>
            <a:ext cx="1580322" cy="1823732"/>
            <a:chOff x="3896140" y="3905233"/>
            <a:chExt cx="1580322" cy="1823732"/>
          </a:xfrm>
        </p:grpSpPr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3118C172-C374-7148-8AF8-91DA1163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905868" y="3905233"/>
              <a:ext cx="1560866" cy="1560866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8D30B9-2D0D-5447-B451-99762172B567}"/>
                </a:ext>
              </a:extLst>
            </p:cNvPr>
            <p:cNvSpPr txBox="1"/>
            <p:nvPr/>
          </p:nvSpPr>
          <p:spPr>
            <a:xfrm>
              <a:off x="3896140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FE88D3-964D-F04D-982F-D50679D1A931}"/>
              </a:ext>
            </a:extLst>
          </p:cNvPr>
          <p:cNvGrpSpPr/>
          <p:nvPr userDrawn="1"/>
        </p:nvGrpSpPr>
        <p:grpSpPr>
          <a:xfrm>
            <a:off x="9480376" y="2970743"/>
            <a:ext cx="1580322" cy="1876512"/>
            <a:chOff x="9480376" y="2086161"/>
            <a:chExt cx="1580322" cy="1876512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B81C42D-1A62-0E42-9368-8AB6785A055B}"/>
                </a:ext>
              </a:extLst>
            </p:cNvPr>
            <p:cNvSpPr txBox="1"/>
            <p:nvPr/>
          </p:nvSpPr>
          <p:spPr>
            <a:xfrm>
              <a:off x="9480376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duce Carbon Emissions</a:t>
              </a:r>
            </a:p>
          </p:txBody>
        </p: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8C3D0B-F69D-584A-B789-F78D1EE92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490104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34229A7-5746-1545-9D95-5DB5D524B8B6}"/>
              </a:ext>
            </a:extLst>
          </p:cNvPr>
          <p:cNvGrpSpPr/>
          <p:nvPr userDrawn="1"/>
        </p:nvGrpSpPr>
        <p:grpSpPr>
          <a:xfrm>
            <a:off x="7667309" y="2970743"/>
            <a:ext cx="1580322" cy="1876512"/>
            <a:chOff x="7667309" y="2086161"/>
            <a:chExt cx="1580322" cy="187651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FCA6388-B3D7-E04A-9FFD-911C1AD95D4E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Upcycling Solutions</a:t>
              </a:r>
            </a:p>
          </p:txBody>
        </p:sp>
        <p:pic>
          <p:nvPicPr>
            <p:cNvPr id="37" name="Picture 36" descr="A close up of a logo&#10;&#10;Description automatically generated">
              <a:extLst>
                <a:ext uri="{FF2B5EF4-FFF2-40B4-BE49-F238E27FC236}">
                  <a16:creationId xmlns:a16="http://schemas.microsoft.com/office/drawing/2014/main" id="{87D98C90-3A4F-924E-866C-A3BD078DC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677037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5319109-DF02-FB4B-A59E-90747F79DBD5}"/>
              </a:ext>
            </a:extLst>
          </p:cNvPr>
          <p:cNvGrpSpPr/>
          <p:nvPr userDrawn="1"/>
        </p:nvGrpSpPr>
        <p:grpSpPr>
          <a:xfrm>
            <a:off x="3896140" y="2970743"/>
            <a:ext cx="1580322" cy="1691846"/>
            <a:chOff x="3896140" y="2086161"/>
            <a:chExt cx="1580322" cy="169184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69ACBB5-7413-064B-976E-6770C7943827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458CDF8-B795-7B49-9715-EAF36754E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05868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B72E4C2-6ABB-FC4C-ABD8-C3F418B7756B}"/>
              </a:ext>
            </a:extLst>
          </p:cNvPr>
          <p:cNvGrpSpPr/>
          <p:nvPr userDrawn="1"/>
        </p:nvGrpSpPr>
        <p:grpSpPr>
          <a:xfrm>
            <a:off x="2060687" y="2970743"/>
            <a:ext cx="1580322" cy="1876512"/>
            <a:chOff x="2060687" y="2086161"/>
            <a:chExt cx="1580322" cy="187651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7521234-615B-9B46-946E-CCDAC01ACD92}"/>
                </a:ext>
              </a:extLst>
            </p:cNvPr>
            <p:cNvSpPr txBox="1"/>
            <p:nvPr/>
          </p:nvSpPr>
          <p:spPr>
            <a:xfrm>
              <a:off x="2060687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Vehicles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8AC1DD03-B1F9-6B4C-AA85-870734290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070415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48BFC73-B6AF-004C-B3A9-6E0BA209E43D}"/>
              </a:ext>
            </a:extLst>
          </p:cNvPr>
          <p:cNvGrpSpPr/>
          <p:nvPr userDrawn="1"/>
        </p:nvGrpSpPr>
        <p:grpSpPr>
          <a:xfrm>
            <a:off x="366479" y="1219765"/>
            <a:ext cx="1580322" cy="1638908"/>
            <a:chOff x="366479" y="1219765"/>
            <a:chExt cx="1580322" cy="1638908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6E7A0CA-1D4D-C14A-847A-285EFAADE9AA}"/>
                </a:ext>
              </a:extLst>
            </p:cNvPr>
            <p:cNvSpPr txBox="1"/>
            <p:nvPr/>
          </p:nvSpPr>
          <p:spPr>
            <a:xfrm>
              <a:off x="366479" y="258167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T Plastic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AA491AB-E6B6-604B-BC91-441D57CCB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76207" y="1219765"/>
              <a:ext cx="1560866" cy="1560866"/>
            </a:xfrm>
            <a:prstGeom prst="rect">
              <a:avLst/>
            </a:prstGeom>
          </p:spPr>
        </p:pic>
      </p:grpSp>
      <p:sp>
        <p:nvSpPr>
          <p:cNvPr id="47" name="Title 4">
            <a:extLst>
              <a:ext uri="{FF2B5EF4-FFF2-40B4-BE49-F238E27FC236}">
                <a16:creationId xmlns:a16="http://schemas.microsoft.com/office/drawing/2014/main" id="{77074F7F-7772-E54E-8E65-51F80B009F05}"/>
              </a:ext>
            </a:extLst>
          </p:cNvPr>
          <p:cNvSpPr txBox="1">
            <a:spLocks/>
          </p:cNvSpPr>
          <p:nvPr userDrawn="1"/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net Passionate Icons</a:t>
            </a:r>
            <a:br>
              <a:rPr lang="en-I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912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2353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4DB3BC1-51BC-FA4C-B894-20464786F5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uideline Slide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5058055-1CEA-8F4A-B28D-6EBF057B1F66}"/>
              </a:ext>
            </a:extLst>
          </p:cNvPr>
          <p:cNvSpPr txBox="1"/>
          <p:nvPr userDrawn="1"/>
        </p:nvSpPr>
        <p:spPr>
          <a:xfrm>
            <a:off x="4198976" y="1454019"/>
            <a:ext cx="3609474" cy="51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3200" dirty="0">
                <a:latin typeface="Century Gothic" panose="020B0502020202020204" pitchFamily="34" charset="0"/>
              </a:rPr>
              <a:t>Title </a:t>
            </a:r>
            <a:r>
              <a:rPr lang="en-US" sz="3200" b="0" i="0" dirty="0">
                <a:latin typeface="Century Gothic" panose="020B0502020202020204" pitchFamily="34" charset="0"/>
              </a:rPr>
              <a:t>Size 3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latin typeface="Century Gothic" panose="020B0502020202020204" pitchFamily="34" charset="0"/>
              </a:rPr>
              <a:t>Title </a:t>
            </a:r>
            <a:r>
              <a:rPr lang="en-US" sz="4000" b="0" i="0" dirty="0">
                <a:latin typeface="Century Gothic" panose="020B0502020202020204" pitchFamily="34" charset="0"/>
              </a:rPr>
              <a:t>Size 4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latin typeface="Century Gothic" panose="020B0502020202020204" pitchFamily="34" charset="0"/>
              </a:rPr>
              <a:t>Title </a:t>
            </a:r>
            <a:r>
              <a:rPr lang="en-US" sz="4800" b="0" i="0" dirty="0">
                <a:latin typeface="Century Gothic" panose="020B0502020202020204" pitchFamily="34" charset="0"/>
              </a:rPr>
              <a:t>Size 4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Subtitle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i="0" dirty="0">
                <a:latin typeface="Century Gothic" panose="020B0502020202020204" pitchFamily="34" charset="0"/>
              </a:rPr>
              <a:t>Subtitle Size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i="0" dirty="0">
                <a:latin typeface="Century Gothic" panose="020B0502020202020204" pitchFamily="34" charset="0"/>
              </a:rPr>
              <a:t>Subtitle Size 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0" i="0" dirty="0">
                <a:latin typeface="Century Gothic" panose="020B0502020202020204" pitchFamily="34" charset="0"/>
              </a:rPr>
              <a:t>Subtitle Size 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latin typeface="Century Gothic" panose="020B0502020202020204" pitchFamily="34" charset="0"/>
              </a:rPr>
              <a:t>Body Copy Size 1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dirty="0">
                <a:latin typeface="Century Gothic" panose="020B0502020202020204" pitchFamily="34" charset="0"/>
              </a:rPr>
              <a:t>Body Copy Size 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0" i="0" dirty="0">
                <a:latin typeface="Century Gothic" panose="020B0502020202020204" pitchFamily="34" charset="0"/>
              </a:rPr>
              <a:t>Body Copy Size 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Body Copy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endParaRPr lang="en-US" sz="3200" b="0" i="0" dirty="0">
              <a:latin typeface="Century Gothic" panose="020B0502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A9601FA-2C65-E743-B839-2BC0AA447EFA}"/>
              </a:ext>
            </a:extLst>
          </p:cNvPr>
          <p:cNvGrpSpPr/>
          <p:nvPr userDrawn="1"/>
        </p:nvGrpSpPr>
        <p:grpSpPr>
          <a:xfrm>
            <a:off x="623887" y="1457766"/>
            <a:ext cx="3625820" cy="4943755"/>
            <a:chOff x="-6257760" y="707017"/>
            <a:chExt cx="3625820" cy="494375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BD78F41-BB0F-F94F-B712-97D86AE976FB}"/>
                </a:ext>
              </a:extLst>
            </p:cNvPr>
            <p:cNvSpPr/>
            <p:nvPr/>
          </p:nvSpPr>
          <p:spPr>
            <a:xfrm>
              <a:off x="-6246609" y="707017"/>
              <a:ext cx="881743" cy="881743"/>
            </a:xfrm>
            <a:prstGeom prst="ellipse">
              <a:avLst/>
            </a:prstGeom>
            <a:solidFill>
              <a:srgbClr val="0941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BCF57C2-460B-E046-8C9E-C10EFA6D7193}"/>
                </a:ext>
              </a:extLst>
            </p:cNvPr>
            <p:cNvSpPr/>
            <p:nvPr/>
          </p:nvSpPr>
          <p:spPr>
            <a:xfrm>
              <a:off x="-6246609" y="1726714"/>
              <a:ext cx="881743" cy="881743"/>
            </a:xfrm>
            <a:prstGeom prst="ellipse">
              <a:avLst/>
            </a:prstGeom>
            <a:solidFill>
              <a:srgbClr val="2382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5F50ABA-AC03-BB42-A8AC-FAC93E74E2FA}"/>
                </a:ext>
              </a:extLst>
            </p:cNvPr>
            <p:cNvSpPr/>
            <p:nvPr/>
          </p:nvSpPr>
          <p:spPr>
            <a:xfrm>
              <a:off x="-6246609" y="2740819"/>
              <a:ext cx="881743" cy="881743"/>
            </a:xfrm>
            <a:prstGeom prst="ellipse">
              <a:avLst/>
            </a:prstGeom>
            <a:solidFill>
              <a:srgbClr val="F7A4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78521A9-75E7-4548-A46B-547A9ACB0A3D}"/>
                </a:ext>
              </a:extLst>
            </p:cNvPr>
            <p:cNvSpPr/>
            <p:nvPr/>
          </p:nvSpPr>
          <p:spPr>
            <a:xfrm>
              <a:off x="-6257760" y="3754924"/>
              <a:ext cx="881743" cy="881743"/>
            </a:xfrm>
            <a:prstGeom prst="ellipse">
              <a:avLst/>
            </a:prstGeom>
            <a:solidFill>
              <a:srgbClr val="0FA0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BF5A9BF-9E01-A946-A6D0-4A399D564919}"/>
                </a:ext>
              </a:extLst>
            </p:cNvPr>
            <p:cNvSpPr/>
            <p:nvPr/>
          </p:nvSpPr>
          <p:spPr>
            <a:xfrm>
              <a:off x="-6257760" y="4769029"/>
              <a:ext cx="881743" cy="881743"/>
            </a:xfrm>
            <a:prstGeom prst="ellipse">
              <a:avLst/>
            </a:prstGeom>
            <a:solidFill>
              <a:srgbClr val="C09A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474E757-2D7D-E84A-8F90-67963898E9A5}"/>
                </a:ext>
              </a:extLst>
            </p:cNvPr>
            <p:cNvSpPr txBox="1"/>
            <p:nvPr/>
          </p:nvSpPr>
          <p:spPr>
            <a:xfrm>
              <a:off x="-5235635" y="293357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Orang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0 / 42 / 87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247 / 164 / 45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FBDF904-4B20-C644-BF8D-76EF3776FFF5}"/>
                </a:ext>
              </a:extLst>
            </p:cNvPr>
            <p:cNvSpPr txBox="1"/>
            <p:nvPr/>
          </p:nvSpPr>
          <p:spPr>
            <a:xfrm>
              <a:off x="-5235635" y="191247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0 / 33 / 4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 / 141 / 198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8FEDB90-7B3E-404B-BEE7-B7222F3FF624}"/>
                </a:ext>
              </a:extLst>
            </p:cNvPr>
            <p:cNvSpPr txBox="1"/>
            <p:nvPr/>
          </p:nvSpPr>
          <p:spPr>
            <a:xfrm>
              <a:off x="-5235635" y="851395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100 / 72 / 0 / 18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0 / 66 / 137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2223326-CD12-D04E-AD0D-8F5551660336}"/>
                </a:ext>
              </a:extLst>
            </p:cNvPr>
            <p:cNvSpPr txBox="1"/>
            <p:nvPr/>
          </p:nvSpPr>
          <p:spPr>
            <a:xfrm>
              <a:off x="-5235635" y="396009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Green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1 / 5 / 95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5 / 160 / 66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42560D3-17B6-DD47-A272-449E80C687E5}"/>
                </a:ext>
              </a:extLst>
            </p:cNvPr>
            <p:cNvSpPr txBox="1"/>
            <p:nvPr/>
          </p:nvSpPr>
          <p:spPr>
            <a:xfrm>
              <a:off x="-5235635" y="496178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Gold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30 / 40 / 70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2 / 154 / 9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3093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FF804A-9FCC-3D4F-8E5D-878EB0BC5C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18954" y="1397777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</p:spTree>
    <p:extLst>
      <p:ext uri="{BB962C8B-B14F-4D97-AF65-F5344CB8AC3E}">
        <p14:creationId xmlns:p14="http://schemas.microsoft.com/office/powerpoint/2010/main" val="1476054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4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77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582F58F-84F7-A348-85DD-03FEC9C57F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895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5" t="27833" r="42531" b="51236"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nsert backdrop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F7D7FD-2E4D-764B-8614-8BB948EDA1D8}"/>
              </a:ext>
            </a:extLst>
          </p:cNvPr>
          <p:cNvSpPr/>
          <p:nvPr userDrawn="1"/>
        </p:nvSpPr>
        <p:spPr>
          <a:xfrm>
            <a:off x="5562600" y="3456947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Right click and use the crop function to size your image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Scale and position your image to fit inside this area.</a:t>
            </a:r>
            <a:br>
              <a:rPr lang="en-US" sz="1400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63046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6281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739745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5B61BF-F308-884F-835C-950D755857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9268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Rectangle 185">
            <a:extLst>
              <a:ext uri="{FF2B5EF4-FFF2-40B4-BE49-F238E27FC236}">
                <a16:creationId xmlns:a16="http://schemas.microsoft.com/office/drawing/2014/main" id="{1B24D510-5F04-0D4B-B09A-D6FCD87783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Title 1">
            <a:extLst>
              <a:ext uri="{FF2B5EF4-FFF2-40B4-BE49-F238E27FC236}">
                <a16:creationId xmlns:a16="http://schemas.microsoft.com/office/drawing/2014/main" id="{B4E0AB8A-C16B-0643-9066-4140FF474C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Australia</a:t>
            </a:r>
            <a:endParaRPr lang="en-US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8D485D-A667-DC44-81C7-6C226C580FE2}"/>
              </a:ext>
            </a:extLst>
          </p:cNvPr>
          <p:cNvGrpSpPr/>
          <p:nvPr userDrawn="1"/>
        </p:nvGrpSpPr>
        <p:grpSpPr>
          <a:xfrm>
            <a:off x="5431819" y="436846"/>
            <a:ext cx="6482275" cy="6091887"/>
            <a:chOff x="4450184" y="1201437"/>
            <a:chExt cx="4115592" cy="3867735"/>
          </a:xfrm>
        </p:grpSpPr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53826" y="2119391"/>
              <a:ext cx="298048" cy="319287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40660" y="1760190"/>
              <a:ext cx="875119" cy="667601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44805" y="4165732"/>
              <a:ext cx="1020971" cy="903440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0184" y="1201437"/>
              <a:ext cx="2625353" cy="119732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83103" y="2231865"/>
              <a:ext cx="199754" cy="108847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33351" y="2409652"/>
              <a:ext cx="2282917" cy="244908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70960D-A87D-FC4E-BA86-5B8E0C3BBE6B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3793931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227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</a:lstStyle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Right click and use the crop function to size your image box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Scale and position your image to fit inside this area.</a:t>
            </a:r>
            <a:br>
              <a:rPr lang="en-US" sz="2000" dirty="0"/>
            </a:br>
            <a:endParaRPr lang="en-US" sz="2000" dirty="0"/>
          </a:p>
          <a:p>
            <a:pPr lvl="0"/>
            <a:endParaRPr lang="en-US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829818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261142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833629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237838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427398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028467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773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39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4B06EC-548A-3A41-9515-77E050010F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549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3850"/>
            <a:ext cx="10934497" cy="55722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592263"/>
            <a:ext cx="3554209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Category Title here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5" y="2121145"/>
            <a:ext cx="3554205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white as the </a:t>
            </a:r>
            <a:r>
              <a:rPr lang="en-US" dirty="0" err="1"/>
              <a:t>colour</a:t>
            </a:r>
            <a:r>
              <a:rPr lang="en-US" dirty="0"/>
              <a:t> and place inside the blue circle.</a:t>
            </a:r>
          </a:p>
          <a:p>
            <a:r>
              <a:rPr lang="en-US" dirty="0"/>
              <a:t>Any unwanted Icons can be masked with a simple white box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4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5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4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FDD0A0D-4813-0442-B7A9-81BFB4829B0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697802F-0840-EE48-B35C-9CB300CE1D8F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Subtitle 2">
            <a:extLst>
              <a:ext uri="{FF2B5EF4-FFF2-40B4-BE49-F238E27FC236}">
                <a16:creationId xmlns:a16="http://schemas.microsoft.com/office/drawing/2014/main" id="{26402C3C-F59C-3A42-B015-2EA68FBF825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610022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826406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D2F7360-C85C-A545-9AC3-C8303F5241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474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2988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A08F8D-242C-EC41-A05E-7744BFBBC7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179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01CB732-A621-8440-A42B-A3E72ABEF6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748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56A60E4-0332-914F-93F8-9A7AA9093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834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08C281-9C7A-294A-87E1-B2464303E763}"/>
              </a:ext>
            </a:extLst>
          </p:cNvPr>
          <p:cNvSpPr/>
          <p:nvPr userDrawn="1"/>
        </p:nvSpPr>
        <p:spPr>
          <a:xfrm>
            <a:off x="0" y="1"/>
            <a:ext cx="12181021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9" y="1745140"/>
            <a:ext cx="3527424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12113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8023"/>
            <a:ext cx="10934489" cy="54303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49577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E4BDEA-9ED9-9E4A-8299-1ED7EDA0B7BE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530DB3-6D36-8245-B9A4-DFAB045921B8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44A662-5109-9E46-BA25-7B6A075E7F85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C6B76F-1E4F-AC47-9415-689DE31A47F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168B1D-3168-D940-8927-A3A5BAAAFAF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Subtitle 2">
            <a:extLst>
              <a:ext uri="{FF2B5EF4-FFF2-40B4-BE49-F238E27FC236}">
                <a16:creationId xmlns:a16="http://schemas.microsoft.com/office/drawing/2014/main" id="{A69FF014-B939-B84A-B950-4DB7547889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B58088-83A5-AD46-ACC2-6FB2290F56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277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B3BBCE2E-3119-F04F-B262-DE7256C2C7A1}"/>
              </a:ext>
            </a:extLst>
          </p:cNvPr>
          <p:cNvSpPr/>
          <p:nvPr userDrawn="1"/>
        </p:nvSpPr>
        <p:spPr>
          <a:xfrm>
            <a:off x="373198" y="0"/>
            <a:ext cx="11807823" cy="4530723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8" y="1745140"/>
            <a:ext cx="3527425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745140"/>
            <a:ext cx="3556001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01453" y="1745140"/>
            <a:ext cx="3556002" cy="254746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32288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E05B4EB-48E0-2742-B1AE-279309679E4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332288" y="4688681"/>
            <a:ext cx="3527425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CAB8C08-8214-6A4E-A4D8-C6B318A0AFD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3888" y="4688681"/>
            <a:ext cx="3556001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ECE91E5-64B2-9844-9A5C-E74D42AB53F9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8001453" y="4688681"/>
            <a:ext cx="3556002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06BC46-0E61-E540-B5BD-BCDF424A6C78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D66A452-9491-0747-91FC-E3C7677DDB5C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3775A9-4829-B74C-9440-0DEA4FFD7D3E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3921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736726"/>
            <a:ext cx="261815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736726"/>
            <a:ext cx="2627312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736726"/>
            <a:ext cx="259238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736726"/>
            <a:ext cx="2627313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B9EAB2A-56B1-E542-B42E-A1585F7F0D9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406405" y="1272949"/>
            <a:ext cx="2598735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0E97C0-517F-494A-9ECE-ABF5BF8D5F5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3888" y="1272949"/>
            <a:ext cx="2627311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6CB81E-2868-C24A-A2D5-F8A38CC80E0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6197605" y="1272949"/>
            <a:ext cx="259873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5484F9-15AE-E747-8437-F25FF8A7112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940800" y="1272949"/>
            <a:ext cx="262731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8A60D2C3-77F9-EA4D-8FDD-D99DA6EE91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3623"/>
            <a:ext cx="10968449" cy="512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Main Titl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AC9DD0D-4687-204C-B610-9E8509660368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23888" y="4801560"/>
            <a:ext cx="10944223" cy="12492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50B2B7B-B299-584F-83B1-8A6E2DAD24C1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1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7E5DAF-191D-4648-A2A4-AC5ABD21B32D}"/>
              </a:ext>
            </a:extLst>
          </p:cNvPr>
          <p:cNvCxnSpPr>
            <a:cxnSpLocks/>
          </p:cNvCxnSpPr>
          <p:nvPr userDrawn="1"/>
        </p:nvCxnSpPr>
        <p:spPr>
          <a:xfrm>
            <a:off x="3406405" y="1125538"/>
            <a:ext cx="261815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3C4C2E8-8905-214A-A6DA-BC1350B2EC69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A5E08C-7312-384E-B73D-6651839252B3}"/>
              </a:ext>
            </a:extLst>
          </p:cNvPr>
          <p:cNvCxnSpPr>
            <a:cxnSpLocks/>
          </p:cNvCxnSpPr>
          <p:nvPr userDrawn="1"/>
        </p:nvCxnSpPr>
        <p:spPr>
          <a:xfrm>
            <a:off x="89408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838D76C-8F40-194F-A2DC-75834602A1A6}"/>
              </a:ext>
            </a:extLst>
          </p:cNvPr>
          <p:cNvCxnSpPr>
            <a:cxnSpLocks/>
          </p:cNvCxnSpPr>
          <p:nvPr userDrawn="1"/>
        </p:nvCxnSpPr>
        <p:spPr>
          <a:xfrm>
            <a:off x="629925" y="4944428"/>
            <a:ext cx="31156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94EDC1BE-5A2F-9141-AD5F-0F7879D6BE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396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3B371F-F73D-7848-955E-6F4A47C7D7A0}"/>
              </a:ext>
            </a:extLst>
          </p:cNvPr>
          <p:cNvSpPr/>
          <p:nvPr userDrawn="1"/>
        </p:nvSpPr>
        <p:spPr>
          <a:xfrm>
            <a:off x="5232400" y="512763"/>
            <a:ext cx="4500563" cy="271747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9BCB5-7570-8940-9AC8-67AF9BFB7BFC}"/>
              </a:ext>
            </a:extLst>
          </p:cNvPr>
          <p:cNvSpPr/>
          <p:nvPr userDrawn="1"/>
        </p:nvSpPr>
        <p:spPr>
          <a:xfrm>
            <a:off x="5228384" y="3362277"/>
            <a:ext cx="3567953" cy="237387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02A2A2-091B-3843-8E8D-C5130D918C0B}"/>
              </a:ext>
            </a:extLst>
          </p:cNvPr>
          <p:cNvSpPr/>
          <p:nvPr userDrawn="1"/>
        </p:nvSpPr>
        <p:spPr>
          <a:xfrm>
            <a:off x="8947152" y="3362277"/>
            <a:ext cx="3244848" cy="237648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B59B44-4EB0-684F-AB52-741961638BCF}"/>
              </a:ext>
            </a:extLst>
          </p:cNvPr>
          <p:cNvSpPr/>
          <p:nvPr userDrawn="1"/>
        </p:nvSpPr>
        <p:spPr>
          <a:xfrm>
            <a:off x="9861552" y="501927"/>
            <a:ext cx="2330448" cy="272831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04AF4BF-EF8E-5246-A68A-86D5DCC9D8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560844" y="1459681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0D1934E5-DFFE-D64A-AC88-7270E46A22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7306656" y="1513469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BE6F2F-98ED-E740-8C3A-11E55932FF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021806" y="4122199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D554C6E-14A7-F240-A7FE-4B4921CCB3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9955726" y="4108752"/>
            <a:ext cx="1150938" cy="1004936"/>
          </a:xfrm>
          <a:prstGeom prst="rect">
            <a:avLst/>
          </a:prstGeom>
        </p:spPr>
      </p:pic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D0040FA-429B-3340-98A6-8EDBE6F6C15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400" y="501926"/>
            <a:ext cx="4500563" cy="2714866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25E71D81-56C6-4741-8183-0B428AFAEF52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5838" y="499315"/>
            <a:ext cx="2316162" cy="2717477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663DCAF0-0A11-9744-996C-8D17C975A9D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1" y="3373115"/>
            <a:ext cx="3251200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BD990BB-3AB6-874E-8F35-63EA9033F064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5232400" y="3373116"/>
            <a:ext cx="3563937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480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06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CFCF589-AF37-934C-9D77-389344C39EC6}"/>
              </a:ext>
            </a:extLst>
          </p:cNvPr>
          <p:cNvSpPr/>
          <p:nvPr userDrawn="1"/>
        </p:nvSpPr>
        <p:spPr>
          <a:xfrm>
            <a:off x="4187824" y="0"/>
            <a:ext cx="8004175" cy="685800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9148"/>
            <a:ext cx="3322921" cy="8213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7" y="1592262"/>
            <a:ext cx="3321608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Copy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6" y="2121144"/>
            <a:ext cx="3321608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Kingspan Blue as the </a:t>
            </a:r>
            <a:r>
              <a:rPr lang="en-US" dirty="0" err="1"/>
              <a:t>colour</a:t>
            </a:r>
            <a:r>
              <a:rPr lang="en-US" dirty="0"/>
              <a:t> and place inside the white circle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2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3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3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BC67C90-EE5C-624B-803D-A24E2B956D1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9B69D5E-ED9C-544E-A604-69F54D7871C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Subtitle 2">
            <a:extLst>
              <a:ext uri="{FF2B5EF4-FFF2-40B4-BE49-F238E27FC236}">
                <a16:creationId xmlns:a16="http://schemas.microsoft.com/office/drawing/2014/main" id="{9C1708ED-C33A-E546-BF47-ADC82014D16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D0268A4-3A87-5D4C-AF1D-0FE814E58E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197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198804" y="0"/>
            <a:ext cx="798221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Imag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CD41DA-5299-F245-B635-25684774BD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039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 for any mention of Quadcor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 Select the logo and copy to clipboard.</a:t>
            </a:r>
            <a:br>
              <a:rPr lang="en-GB" dirty="0"/>
            </a:br>
            <a:r>
              <a:rPr lang="en-GB" dirty="0"/>
              <a:t>- Close master and place on a slide of your choosing.</a:t>
            </a:r>
            <a:endParaRPr lang="en-US" dirty="0"/>
          </a:p>
          <a:p>
            <a:pPr lvl="0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E78980-CB00-7148-8535-BC8EA3D80D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209547"/>
            <a:ext cx="825028" cy="303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134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1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lace on a slide of your choosing.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B07D24-D394-6B43-9672-1B4A838AF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65975" y="6259606"/>
            <a:ext cx="1875066" cy="513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944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D3A9F48F-DEB8-D54B-9A3F-D74D7B3BDB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E83591B-96D8-4D47-B22F-66A56E777A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086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CB6B763-9BD5-DD42-876D-86BF240D60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C0519C4-C654-324F-A1C1-D78DB6CBA7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816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8693107-CCA3-A44F-A088-CA97182B2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E3C12AD-F3DE-8345-83C1-ED4A54A6FA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041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27396510-F944-4741-BA3C-017EE0787E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F86B7C-BE1A-8143-ADB4-6DDB056CB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4705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270B3F9-86D7-C949-8435-04D9B62A3D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44DA6B8-C25A-AE4C-8728-B2D0905C2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4186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004AB388-D756-A24F-A1DD-F8134B91DB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28E617-A629-9444-BEB9-06AC835D6C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862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85126B2A-21C1-B843-B973-F8CD5363EB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9231C03-7741-E94C-A68A-77ABA0F6DD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067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nsert backdrop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F7D7FD-2E4D-764B-8614-8BB948EDA1D8}"/>
              </a:ext>
            </a:extLst>
          </p:cNvPr>
          <p:cNvSpPr/>
          <p:nvPr userDrawn="1"/>
        </p:nvSpPr>
        <p:spPr>
          <a:xfrm>
            <a:off x="5562600" y="3456947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Right click and use the crop function to size your image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Scale and position your image to fit inside this area.</a:t>
            </a:r>
            <a:br>
              <a:rPr lang="en-US" sz="1400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518073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A0AD9CA-DD4F-6849-9EBD-847328BAD8DE}"/>
              </a:ext>
            </a:extLst>
          </p:cNvPr>
          <p:cNvSpPr/>
          <p:nvPr userDrawn="1"/>
        </p:nvSpPr>
        <p:spPr>
          <a:xfrm>
            <a:off x="890524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DBA820-B79F-8940-93B5-9A3B88CEEBE6}"/>
              </a:ext>
            </a:extLst>
          </p:cNvPr>
          <p:cNvSpPr/>
          <p:nvPr userDrawn="1"/>
        </p:nvSpPr>
        <p:spPr>
          <a:xfrm>
            <a:off x="27608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12DD1A3-2ECA-2941-93A2-23BA1BB974D6}"/>
              </a:ext>
            </a:extLst>
          </p:cNvPr>
          <p:cNvSpPr/>
          <p:nvPr userDrawn="1"/>
        </p:nvSpPr>
        <p:spPr>
          <a:xfrm>
            <a:off x="45896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4DA6F6B-A360-834A-B6A1-672292E771E1}"/>
              </a:ext>
            </a:extLst>
          </p:cNvPr>
          <p:cNvSpPr/>
          <p:nvPr userDrawn="1"/>
        </p:nvSpPr>
        <p:spPr>
          <a:xfrm>
            <a:off x="6489841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1162878-B24C-CB4E-82D5-450D8A9335EA}"/>
              </a:ext>
            </a:extLst>
          </p:cNvPr>
          <p:cNvSpPr/>
          <p:nvPr userDrawn="1"/>
        </p:nvSpPr>
        <p:spPr>
          <a:xfrm>
            <a:off x="8313789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4B2BB32-0183-9442-AD45-3D1F3A7510B4}"/>
              </a:ext>
            </a:extLst>
          </p:cNvPr>
          <p:cNvSpPr/>
          <p:nvPr userDrawn="1"/>
        </p:nvSpPr>
        <p:spPr>
          <a:xfrm>
            <a:off x="1016752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1566"/>
            <a:ext cx="10934496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8A2391B-7CB4-D048-93B2-01298DBE852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4797425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B9895C84-2A29-B648-9FCB-581D7A666A5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5265738"/>
            <a:ext cx="1725410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C4372F70-3F92-984D-A1D6-64A68A41CC4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491189" y="4797425"/>
            <a:ext cx="169663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11357760-943B-E346-879B-5120DFBB54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91189" y="5265738"/>
            <a:ext cx="169663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AB36158F-1BCC-9142-AC83-0549E61597E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29614" y="4797425"/>
            <a:ext cx="1694949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A6B674D9-7291-2045-937A-0C8BE04CBCD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29614" y="5265738"/>
            <a:ext cx="1694949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D345FC74-CE8E-024B-9255-A89BBBAAAF2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06540" y="4797425"/>
            <a:ext cx="1658034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77946A5A-2264-094F-849A-D29C2FE0346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06540" y="5265738"/>
            <a:ext cx="1658034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2B8AE223-BAE7-584D-B3CF-E89FCAF2D75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006465" y="4797425"/>
            <a:ext cx="171747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6FD89598-B46E-E149-80A9-FFF06C86794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006465" y="5265738"/>
            <a:ext cx="1717472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E9C16BF4-14AA-904F-8536-6397929D2C9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9873766" y="4797425"/>
            <a:ext cx="169434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D10C066C-33CD-ED43-90D0-B8F060FE81F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9873766" y="5265738"/>
            <a:ext cx="169434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8F9FF5E-F6CE-BD44-8EE0-5F95979213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C5920A3-68C0-0748-B9EC-F7A9A8E276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Subtitle 2">
            <a:extLst>
              <a:ext uri="{FF2B5EF4-FFF2-40B4-BE49-F238E27FC236}">
                <a16:creationId xmlns:a16="http://schemas.microsoft.com/office/drawing/2014/main" id="{496FCA75-A150-5D4F-9612-55D226FB00C1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5770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348A17DD-BEA2-8848-AA12-6063DC78CA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1E35709-C6B8-1846-9E42-6EBD70173E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7548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F34DB94D-7DB1-464A-90FB-C24B1FEAA0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528E442-F367-0A4F-90E7-9580D5CCF9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6672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56D5E389-1BA3-8945-B943-A8A836E009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0B6B91-2D0D-3E40-9B08-7A2F43897A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46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8F8528-A255-6045-B279-EFF4A71A06DD}"/>
              </a:ext>
            </a:extLst>
          </p:cNvPr>
          <p:cNvSpPr/>
          <p:nvPr userDrawn="1"/>
        </p:nvSpPr>
        <p:spPr>
          <a:xfrm>
            <a:off x="10979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0414" y="2432441"/>
            <a:ext cx="899998" cy="439534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2E7FB9-B022-AB4A-BAC0-F149A0629C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0413" y="2992990"/>
            <a:ext cx="899998" cy="4395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00D63A-3C2D-3140-BC56-D1370DC4894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413" y="4298362"/>
            <a:ext cx="899998" cy="43953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9E988D2-9BC7-BB40-B379-300A8F82E87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989441" y="2434511"/>
            <a:ext cx="899998" cy="28294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AA5258F-A7C4-504C-A201-2E2E3883AF7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989441" y="2744742"/>
            <a:ext cx="899998" cy="28294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514FBC5-ECB4-6E4B-918D-248C86BC33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989441" y="3621350"/>
            <a:ext cx="899998" cy="33076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Logo Asset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EEEF11F-B58A-FD47-AD30-84622B7E652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60413" y="3550163"/>
            <a:ext cx="899999" cy="4395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E37C99C-700A-5A47-8187-38196CD7BE7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35774" y="2452612"/>
            <a:ext cx="2184530" cy="52921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B8D4501-51DF-8449-83DA-B5724F011D8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35774" y="4190510"/>
            <a:ext cx="1998598" cy="547386"/>
          </a:xfrm>
          <a:prstGeom prst="rect">
            <a:avLst/>
          </a:prstGeom>
        </p:spPr>
      </p:pic>
      <p:pic>
        <p:nvPicPr>
          <p:cNvPr id="17" name="Picture 16" descr="A close up of a sign&#10;&#10;Description automatically generated">
            <a:extLst>
              <a:ext uri="{FF2B5EF4-FFF2-40B4-BE49-F238E27FC236}">
                <a16:creationId xmlns:a16="http://schemas.microsoft.com/office/drawing/2014/main" id="{D60CCDB2-0EE1-6543-84A2-4D6FAFFC9AC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969676" y="3220067"/>
            <a:ext cx="899998" cy="2113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AD87397-2A55-3448-9CF3-31235031B11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335774" y="3621350"/>
            <a:ext cx="2254404" cy="43650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881D252-0CE7-8149-AA1C-F3C162BA8436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361028" y="3050202"/>
            <a:ext cx="2261893" cy="43795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32639EA-3281-6442-A50C-851F285B3942}"/>
              </a:ext>
            </a:extLst>
          </p:cNvPr>
          <p:cNvSpPr txBox="1"/>
          <p:nvPr userDrawn="1"/>
        </p:nvSpPr>
        <p:spPr>
          <a:xfrm>
            <a:off x="7045693" y="1474269"/>
            <a:ext cx="22619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access logos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a logo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logos can then be pasted onto a slide of your choosing.</a:t>
            </a:r>
          </a:p>
        </p:txBody>
      </p:sp>
    </p:spTree>
    <p:extLst>
      <p:ext uri="{BB962C8B-B14F-4D97-AF65-F5344CB8AC3E}">
        <p14:creationId xmlns:p14="http://schemas.microsoft.com/office/powerpoint/2010/main" val="2308493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pic>
        <p:nvPicPr>
          <p:cNvPr id="187" name="Picture 186" descr="A group of people in a dark room&#10;&#10;Description automatically generated">
            <a:extLst>
              <a:ext uri="{FF2B5EF4-FFF2-40B4-BE49-F238E27FC236}">
                <a16:creationId xmlns:a16="http://schemas.microsoft.com/office/drawing/2014/main" id="{84355E12-4DC3-A24D-A7D7-89987EA9EB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82411" y="0"/>
            <a:ext cx="10609589" cy="6858000"/>
          </a:xfrm>
          <a:prstGeom prst="rect">
            <a:avLst/>
          </a:prstGeom>
        </p:spPr>
      </p:pic>
      <p:sp>
        <p:nvSpPr>
          <p:cNvPr id="188" name="Content Placeholder 2">
            <a:extLst>
              <a:ext uri="{FF2B5EF4-FFF2-40B4-BE49-F238E27FC236}">
                <a16:creationId xmlns:a16="http://schemas.microsoft.com/office/drawing/2014/main" id="{FF714AA7-CEE4-5F47-99FA-AE15DDF9FB8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327205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map&#10;&#10;Description automatically generated">
            <a:extLst>
              <a:ext uri="{FF2B5EF4-FFF2-40B4-BE49-F238E27FC236}">
                <a16:creationId xmlns:a16="http://schemas.microsoft.com/office/drawing/2014/main" id="{BD34BBF7-F237-CC4A-B3CD-B5C10BA9F6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6745" y="777711"/>
            <a:ext cx="10624276" cy="608028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5BAECDA-3C87-BF41-AD8F-C04F616F40D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</p:spTree>
    <p:extLst>
      <p:ext uri="{BB962C8B-B14F-4D97-AF65-F5344CB8AC3E}">
        <p14:creationId xmlns:p14="http://schemas.microsoft.com/office/powerpoint/2010/main" val="196463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0D7B03-0C58-0644-9EC7-D53C1D3087E4}"/>
              </a:ext>
            </a:extLst>
          </p:cNvPr>
          <p:cNvGrpSpPr/>
          <p:nvPr userDrawn="1"/>
        </p:nvGrpSpPr>
        <p:grpSpPr>
          <a:xfrm>
            <a:off x="1254681" y="1287006"/>
            <a:ext cx="9682637" cy="5156348"/>
            <a:chOff x="837718" y="2166032"/>
            <a:chExt cx="7093287" cy="3777427"/>
          </a:xfrm>
          <a:solidFill>
            <a:srgbClr val="09417A"/>
          </a:solidFill>
        </p:grpSpPr>
        <p:sp>
          <p:nvSpPr>
            <p:cNvPr id="6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DAF49FA4-B6FB-0F46-A0BA-21C9F57D1D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7718" y="2418601"/>
              <a:ext cx="990263" cy="467668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640446B4-3040-1D4B-840B-0E361CC5EE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72923" y="4820778"/>
              <a:ext cx="177968" cy="194284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01A6F51-C84B-9F47-9EC2-7970EFACE1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1736" y="4608454"/>
              <a:ext cx="268222" cy="281712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5AA18849-39FE-9B41-9D26-DBDF9DB3B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266" y="3838259"/>
              <a:ext cx="236443" cy="176243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D07A088-BF3A-0F44-AC89-393767370D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594016"/>
              <a:ext cx="193222" cy="180406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DD9D767A-7288-1348-84A7-DFED66876D8C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58018"/>
              <a:ext cx="13983" cy="33306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4A198BF-2931-E64C-805B-C2052042E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71" y="3090267"/>
              <a:ext cx="381360" cy="234528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3F5C7D8D-54BB-6146-8610-67E6A95F95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9211" y="3714749"/>
              <a:ext cx="195765" cy="419097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27D2E16E-A5D5-B24D-A2E3-A55D1BD5D3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2902" y="4032542"/>
              <a:ext cx="307630" cy="327507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BDD54B73-5DEE-864C-B0CA-377024D2AF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86029" y="2982023"/>
              <a:ext cx="1262300" cy="682768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2986076-BC4B-B947-B867-E7D21C467CD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2228" y="5232936"/>
              <a:ext cx="119493" cy="134611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62380EB0-BAB6-B54C-AC02-1A836BC10A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80120" y="2678108"/>
              <a:ext cx="185595" cy="290038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1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71DA14FD-819A-9346-80DF-9C39A7306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8946" y="3625934"/>
              <a:ext cx="108051" cy="112407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2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21ED622D-F845-4A49-B303-2D39675ADCB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3770" y="2901534"/>
              <a:ext cx="359749" cy="22065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4D19FE5E-7193-F34E-9986-9D11AFB391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8433" y="4260131"/>
              <a:ext cx="125848" cy="16236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F0D3446-BF62-3A4A-AFBA-4C01FAB82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996" y="3166593"/>
              <a:ext cx="325427" cy="212325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5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BB07076-388E-A34F-A6CC-09DDD04CF9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47499" y="3183246"/>
              <a:ext cx="428393" cy="17763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6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95C5FB4E-E02F-4648-A39E-B7564C1606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5038" y="3320631"/>
              <a:ext cx="87712" cy="19983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7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1671B8CE-94A9-1D4F-98F0-02BCD8AD49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5799" y="4064460"/>
              <a:ext cx="45763" cy="141549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9EA8586-F1DD-0147-8BEA-63245D8588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5142" y="3799402"/>
              <a:ext cx="199578" cy="417710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FA18E-509B-6F4E-B1F6-83832338418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7161" y="4407232"/>
              <a:ext cx="247883" cy="305303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619D18B-1B62-1C4A-AF21-FECBE870D2F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6237" y="3216551"/>
              <a:ext cx="177968" cy="123509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1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923B25CB-9D3E-3945-BBEE-20C381783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2011" y="3660628"/>
              <a:ext cx="38136" cy="9436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2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CEC19507-D2E4-3D46-B0B7-BD5DEBF24E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317856"/>
              <a:ext cx="144917" cy="14571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9D78D97-75EA-1742-BDB4-A9E6A56343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3025043"/>
              <a:ext cx="92797" cy="55510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4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026FE73A-891F-D144-B368-53D5C2C5B6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52581" y="2471335"/>
              <a:ext cx="223731" cy="348323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5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1F8F3C2-9E49-D547-BB98-83EDD700C9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416" y="5106653"/>
              <a:ext cx="33051" cy="47183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6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90AD4590-428C-7845-881F-AD9A60FF4E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397" y="4208785"/>
              <a:ext cx="94069" cy="117958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968A0D37-FD84-814B-B9F3-FC60D033BFB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2512" y="4106092"/>
              <a:ext cx="54661" cy="106856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8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3F5F92B-7E04-904F-A705-6A334CD194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25458" y="3138838"/>
              <a:ext cx="282206" cy="216487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6081DFCA-3607-5F4B-A84F-853A57D02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0300" y="4036705"/>
              <a:ext cx="230087" cy="38995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85663" y="4568210"/>
              <a:ext cx="119493" cy="122121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1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3B0B63E-08BE-024E-8D98-7EAE9C7725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5802" y="3048634"/>
              <a:ext cx="67373" cy="43020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2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F4BDB682-36AD-FF49-9375-C22F06C516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4447" y="2977860"/>
              <a:ext cx="115679" cy="51347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3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10CFEAE4-D597-064F-AA2C-04C7326E18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7068" y="4092214"/>
              <a:ext cx="67373" cy="9436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4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FF44D0B-D47E-0F4D-BE0D-80079287A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9694" y="3900706"/>
              <a:ext cx="134747" cy="129060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5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A848B51-A257-B141-A263-BE224F057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66344"/>
              <a:ext cx="477971" cy="448240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DE846F17-9F01-EF48-962A-D0A9F82C6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365" y="4407232"/>
              <a:ext cx="48306" cy="5134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7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372E6C68-F958-F445-8B73-E7939351B5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33963" y="2716965"/>
              <a:ext cx="97882" cy="421873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F42B9E93-C135-AE4A-A75B-415E4E29E0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17837" y="2196562"/>
              <a:ext cx="2916129" cy="1013050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ED648A8-9E07-0949-9E20-4C80C17ADD1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3013941"/>
              <a:ext cx="198307" cy="12906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B02953AA-348B-2F4E-BD82-9FC16DCE81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2420" y="3634260"/>
              <a:ext cx="21610" cy="4995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2DFD4982-A5B9-4E4F-8E73-67E0780CD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4345" y="3856299"/>
              <a:ext cx="44492" cy="2081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BEA959A1-E334-C94B-8EE0-1F52439F8E2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4018" y="3186021"/>
              <a:ext cx="73730" cy="144325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EFEBD36-86E7-2A46-B431-7A131B104F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9785" y="2834922"/>
              <a:ext cx="200849" cy="158202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4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D605A7B9-5938-034F-BA38-0471753AA7E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80570" y="3846585"/>
              <a:ext cx="230087" cy="42326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1BAB6D50-490A-6047-9A62-6C0F2F27253B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4765" y="4376702"/>
              <a:ext cx="302545" cy="52456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6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5C147906-B4DE-0A4C-B4E8-22D5959DAC6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7481" y="4923471"/>
              <a:ext cx="193222" cy="23869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19558" y="4430823"/>
              <a:ext cx="350851" cy="255344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8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5FEAE546-523E-AC42-A6B1-19CA1E780CA9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1713" y="4106092"/>
              <a:ext cx="130933" cy="680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50BCDF8-3135-5248-93F6-AE4B61D5D3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2168" y="3328958"/>
              <a:ext cx="338139" cy="370527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BCF68BDE-2130-F843-B4A7-1E94A1A95C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4213" y="3888217"/>
              <a:ext cx="30509" cy="22204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6BFC5A4-5C32-5749-9975-344F30D10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8014" y="3667566"/>
              <a:ext cx="174154" cy="237304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2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BB354FDB-0A58-9F46-9FC3-6BA252ED1BF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39445" y="2222930"/>
              <a:ext cx="438563" cy="52595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3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AB4B013-C271-2B47-9FB4-4E78AE94D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3173" y="3983971"/>
              <a:ext cx="269494" cy="2719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4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B3E8443-69F6-7041-AD17-3D1DC6B9C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969" y="3711974"/>
              <a:ext cx="357206" cy="331670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5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3DECCEF-2270-784E-BCAF-F10E57D8B3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3832" y="3957604"/>
              <a:ext cx="105509" cy="116570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21679" y="5350895"/>
              <a:ext cx="409326" cy="34554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BF31AF5-9264-CD44-86C0-EBDC749118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6297" y="2925126"/>
              <a:ext cx="137289" cy="134611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0A28748-E3AD-BD4A-85B0-B8D548584FB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8597" y="2872392"/>
              <a:ext cx="87712" cy="7355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9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E76FF854-0325-AE44-9D8C-AAB4FE65959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8019" y="3513528"/>
              <a:ext cx="189408" cy="11657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AE04FF1B-7800-154B-94D8-D2E361BBBA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5293" y="4858247"/>
              <a:ext cx="307630" cy="342772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811D5E9C-14A7-3A40-8667-0C42E33A39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5480" y="3569037"/>
              <a:ext cx="204663" cy="52734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2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25240E4B-B718-7F43-898D-8636267733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4789" y="4675065"/>
              <a:ext cx="246612" cy="47044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F7E9F73A-3DBC-3A43-B6D7-A4584C9A4D0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593" y="3360876"/>
              <a:ext cx="273307" cy="23314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4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176C0E46-7111-3D41-BC06-D17DC19DB77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2583" y="3143001"/>
              <a:ext cx="36864" cy="4718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5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D797893-1110-BE47-837C-5D9227211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89460" y="2905698"/>
              <a:ext cx="676278" cy="292813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FFF037F-C801-AE4A-A50B-D97EC55A8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96" y="3008390"/>
              <a:ext cx="69916" cy="8326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7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59AA8A-CB58-F746-8029-88751D885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0860" y="3452467"/>
              <a:ext cx="600006" cy="513464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8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E8824692-E2E0-5547-AD8D-0E5BD8CC3AA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17413" y="3351162"/>
              <a:ext cx="10170" cy="9715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9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2171320-371D-9B4B-A33C-220B752FE4E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606506"/>
              <a:ext cx="277121" cy="353874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0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5219B2B8-0AB4-874F-8AEB-AA738990DB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2492" y="3667566"/>
              <a:ext cx="373732" cy="42326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D08ED4CE-9296-2C4B-9BE4-04F85D2B35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9041" y="4186581"/>
              <a:ext cx="99153" cy="154040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990497EC-2119-3B4A-9C01-FCF50F5A68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0399" y="4168541"/>
              <a:ext cx="221189" cy="185957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2E37103F-4E40-6D49-A1C0-07C4AA1E7C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4535" y="4644535"/>
              <a:ext cx="75000" cy="22065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DE19BEA9-2759-8944-BD58-5E193AC6E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4452" y="4726412"/>
              <a:ext cx="191951" cy="383016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5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AF9052D-38A6-BB49-BC34-33F4416CB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346" y="3176306"/>
              <a:ext cx="53390" cy="44408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6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95E272BC-A097-824E-861A-D3A5637968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1987" y="2962594"/>
              <a:ext cx="16525" cy="1526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7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4BF7B08-758B-5042-9A32-DC5C0BD7D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9448" y="2790515"/>
              <a:ext cx="109323" cy="6938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8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3E7960AF-38D7-9E49-B1FD-EC0C15E6E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4445" y="3038921"/>
              <a:ext cx="5085" cy="8326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927E917-C6EC-1F4A-80D6-7E5988E20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3435814"/>
              <a:ext cx="354664" cy="38995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D28C5CB-C809-4F49-87FB-592C56054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0119" y="4133847"/>
              <a:ext cx="99153" cy="122121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2B34936F-976E-5945-8C5F-5214E9E139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3432" y="5189917"/>
              <a:ext cx="53390" cy="5689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14DE609C-CC3F-2D44-8380-22A8EC6CD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9959" y="3395569"/>
              <a:ext cx="34322" cy="55510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3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3CAFEBC2-E7F5-9849-B0D5-18B1C15F69E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2747495"/>
              <a:ext cx="137289" cy="6383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2EB0F508-E6AA-F04B-82F6-8E7C7F7D25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7261" y="3739729"/>
              <a:ext cx="193222" cy="244242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5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5995702-DA7F-4B41-BB2D-A3AD2E217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3101" y="3155491"/>
              <a:ext cx="216104" cy="10963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440E35C6-8F30-F14A-B7B1-6C286308BC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6911" y="3526017"/>
              <a:ext cx="44492" cy="43020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7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9FC9D387-1716-764D-A419-8571984317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19978" y="3285938"/>
              <a:ext cx="87712" cy="14987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1C36E996-9AD7-5745-A5D8-0FF94C28B5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46248" y="3162429"/>
              <a:ext cx="105509" cy="14710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9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10D2CB17-EB05-C64B-9880-8096F1E8A3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4244866"/>
              <a:ext cx="180510" cy="26783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7A27997-3D41-CA49-9CEA-857713EFB7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2819658"/>
              <a:ext cx="811025" cy="40938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4F29EEC-989F-7449-BDA9-F5E9B2181E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434426"/>
              <a:ext cx="90255" cy="117958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2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82F50A72-6FFD-8C4A-975D-2CF4DE9BDD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291" y="3856299"/>
              <a:ext cx="50848" cy="1804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3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504A868F-9630-B647-ABBE-0395C868D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69554" y="3090267"/>
              <a:ext cx="282206" cy="60089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63A4F46-4B32-FD4C-8313-C85B87DCBC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57242" y="3044472"/>
              <a:ext cx="250426" cy="292813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DFE9D0B4-0AEF-AE43-A484-16F8863A49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1060" y="3430263"/>
              <a:ext cx="33051" cy="112407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6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C40B0C6-ABA4-1E40-AF04-AD7D0F94F34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8001" y="2822433"/>
              <a:ext cx="90255" cy="104081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375E5BA3-5F93-5342-A775-E6524381F3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5129" y="3320631"/>
              <a:ext cx="221189" cy="231753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8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C269DEC-7FEA-AC4E-8BB1-4A1DB5957B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9198" y="3249857"/>
              <a:ext cx="463987" cy="414935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0989" y="4217111"/>
              <a:ext cx="1052552" cy="457954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A53D257F-B7C2-FB42-ACA9-5F81B765DD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36492" y="3356713"/>
              <a:ext cx="629243" cy="829868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1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BEEC59A-C859-5F41-A790-C40C37A32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3508" y="2532395"/>
              <a:ext cx="184323" cy="77713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0DE3950-C8D1-AC49-BB7F-8E7082EEA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4277" y="3005615"/>
              <a:ext cx="137289" cy="7771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3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CA5F6AD-6B1B-B847-B0A5-B10A62834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9509" y="3924298"/>
              <a:ext cx="143645" cy="8604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4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4BDD70F8-F59A-194D-ACA9-35B086EE3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1631" y="3814667"/>
              <a:ext cx="63560" cy="54122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5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4A896B05-7090-ED49-89FC-3C32DBB7D11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940" y="4214336"/>
              <a:ext cx="66102" cy="104081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6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E15ED31E-A063-F749-8C3E-9DBE6BF3C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1125" y="4138010"/>
              <a:ext cx="105509" cy="20538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7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D3C30FB3-8756-D646-8F89-F128731296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8423" y="4015889"/>
              <a:ext cx="59746" cy="55510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8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D9AF898F-AB32-0B4B-9B68-8490A53965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60" y="4018665"/>
              <a:ext cx="167798" cy="155427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9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E8CEF630-CD55-CC40-99C6-BFFFB89428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136" y="3870176"/>
              <a:ext cx="95339" cy="117958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54B9099-7E7B-7443-88B7-E3F47D0E83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14434" y="2166032"/>
              <a:ext cx="902551" cy="537056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1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6D8E5FEE-4A9D-2241-96D8-E5910411B1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7075" y="3194347"/>
              <a:ext cx="171611" cy="194284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2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360C1EA2-A8C0-0B40-B87A-ADA32B43BBA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2070" y="4063072"/>
              <a:ext cx="105509" cy="181794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3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F171FAA-1AC8-6F42-B558-1ADF7502645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2832147"/>
              <a:ext cx="181781" cy="206774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A732323D-F9C5-3A42-A22B-D99008E03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1316" y="3143001"/>
              <a:ext cx="148730" cy="7355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5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9C03-4491-9541-8611-3DE2526D62B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254" y="3986746"/>
              <a:ext cx="68645" cy="1804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6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B29C833E-78A1-3144-AE83-3685EFDC460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7920" y="4308702"/>
              <a:ext cx="134747" cy="180406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7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09A6D4BC-0CBA-1944-B8B0-BDCB5890BE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25884" y="2932064"/>
              <a:ext cx="293646" cy="27616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8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8FD2806-F4C2-BC4E-A283-7F5C4220F76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7667" y="2447744"/>
              <a:ext cx="203392" cy="252569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9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0327DD2A-68B7-684E-801A-1DC19D1D10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55976" y="3956216"/>
              <a:ext cx="340681" cy="32473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0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A2F3B1DF-EAE0-E346-B3A5-B5E2E210F9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346" y="2708639"/>
              <a:ext cx="111865" cy="54122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1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832A0616-B6C3-3142-94E2-F09D320E1A0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7163" y="3866013"/>
              <a:ext cx="155086" cy="16097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2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DF39F4F-EF0F-B64E-A406-70972C8CB50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4311477"/>
              <a:ext cx="47034" cy="38857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2C386AC4-3C1B-4D46-9A48-A3DE9F884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627" y="3968706"/>
              <a:ext cx="54661" cy="38857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C2C610D7-DD19-B147-9A77-39DCEA31B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313" y="3480222"/>
              <a:ext cx="254240" cy="283099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5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83D85B79-4B7A-9E43-B64E-A1A34F9C8D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38579" y="4332294"/>
              <a:ext cx="133475" cy="18595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35656" y="4611229"/>
              <a:ext cx="80085" cy="41632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7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C7FD8FF-083B-954C-A87E-E6863FCFDD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292" y="3814667"/>
              <a:ext cx="80085" cy="58285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8A8F7F21-18B6-C644-B3EE-228B6966FA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469" y="4018665"/>
              <a:ext cx="38136" cy="4857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F3EFAEAB-F135-F64F-94D1-82860E49B7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91564" y="2759985"/>
              <a:ext cx="88984" cy="83264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0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64F99F6-EC3C-3C4F-8DCB-C18A2DFF4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0378" y="2937615"/>
              <a:ext cx="136018" cy="680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1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CE846B08-B010-8540-A687-A13636C35D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670" y="3367814"/>
              <a:ext cx="48306" cy="30530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2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8E4C-3A8A-5746-B003-F1639CC13B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195358" y="3718913"/>
              <a:ext cx="237714" cy="9575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3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2EF9A2D4-36FF-8A4F-B138-7E7AB60CEF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3429" y="3062512"/>
              <a:ext cx="118221" cy="97142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4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05D78167-1A54-1D4A-9E20-B34CCF8E6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0035" y="4074174"/>
              <a:ext cx="141103" cy="181794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68C0568-35DB-C14D-B883-EC35C27CCC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35611" y="4060297"/>
              <a:ext cx="77543" cy="80489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6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8C0F3DB1-61AF-A742-9925-ACD308B9E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0548" y="4225437"/>
              <a:ext cx="434750" cy="53428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7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7605DDEA-60BD-DA43-A460-2E1C06BD57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2581" y="4272621"/>
              <a:ext cx="172883" cy="245630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8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5D5A8D6-264B-0342-A508-322110CB9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84342" y="4024216"/>
              <a:ext cx="279664" cy="47322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9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4A195178-707F-EA44-BDFC-6A2541D8C3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10615" y="4877675"/>
              <a:ext cx="372461" cy="106578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0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0319B322-D9B9-6248-867F-8D18BC0BBC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9712" y="2866841"/>
              <a:ext cx="1179672" cy="99362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F1B21333-AFF9-6746-804A-62D7F335F93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5971" y="3711974"/>
              <a:ext cx="238985" cy="45379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19C86435-F022-D445-AD83-576A5B8DE2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28853" y="4067235"/>
              <a:ext cx="294918" cy="245630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3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A28E9468-5E2A-0B46-B3D7-9AB65F3B1D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3402" y="2174358"/>
              <a:ext cx="1796203" cy="1014438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4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9746559D-C56A-3D42-BFC1-A5ACDDE6DA8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5378" y="4004787"/>
              <a:ext cx="175425" cy="326119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5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1E4A2EF-BD0B-EA49-A6F0-BCE0C0822F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2262" y="3965931"/>
              <a:ext cx="122035" cy="117958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5676EECF-3CD9-2D4D-A1D5-75A25C96944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79" y="4447476"/>
              <a:ext cx="43221" cy="58285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4D0E7A1-E73C-6241-8945-207006017BD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72493" y="3952053"/>
              <a:ext cx="184323" cy="158202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057A09AC-6876-F149-AD03-92551D0D49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6482" y="3127736"/>
              <a:ext cx="127120" cy="7910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9EDD2BF4-A4D8-0149-9A23-EFBEB04C4A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05105" y="4228213"/>
              <a:ext cx="897466" cy="110741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0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0EDA2F90-F4C0-8940-A03F-04E3C4578A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0888" y="4881839"/>
              <a:ext cx="208477" cy="256732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DC5CDCDB-9496-E042-B45B-274B38A2E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2837" y="3095817"/>
              <a:ext cx="85170" cy="8326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2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549DBB26-4102-8A4C-9E36-6524310DD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13157" y="4652861"/>
              <a:ext cx="287291" cy="373302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3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CDDAA2D9-E8A5-194E-8995-3C233B4BF0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8869" y="3574588"/>
              <a:ext cx="75000" cy="47183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4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FA3774AE-27A4-244E-B083-A8EDCA0EF6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410" y="4026991"/>
              <a:ext cx="71187" cy="174855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B6ED8C5F-70A3-E946-912C-AF64DA3A8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5865" y="3853523"/>
              <a:ext cx="34322" cy="7493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E06E570C-12DE-7149-8DEA-961D105725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4783" y="2926513"/>
              <a:ext cx="72458" cy="54122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7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182CE3BD-C442-7F45-B9CA-6FDE5314C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8699" y="3625934"/>
              <a:ext cx="120763" cy="14987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C0D8E9D-97C9-5741-9090-340132988C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7753" y="2798841"/>
              <a:ext cx="183053" cy="130448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BC42B544-8F2D-0846-96C3-0D1B5E39E9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2250" y="3627322"/>
              <a:ext cx="8898" cy="1942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C3A1C4F4-DDDB-E64E-9F8C-5D4166505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3190184"/>
              <a:ext cx="116950" cy="102693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7949E105-52FD-5046-A31F-9BC1F196A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9530" y="2993125"/>
              <a:ext cx="147459" cy="7077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94975" y="4679229"/>
              <a:ext cx="915263" cy="936725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3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55469E7-E7D1-3348-A69B-4D2A653C613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2673" y="3205449"/>
              <a:ext cx="71187" cy="7493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4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B3DEFFCF-AAB1-3642-91C5-DE4810571B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58921" y="4998409"/>
              <a:ext cx="352122" cy="859011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7521A6CE-6F98-0B44-99C1-A63D4DE0F1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65293" y="4498823"/>
              <a:ext cx="286019" cy="389955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CB02392A-E2CE-3148-85AE-BCEA1D57B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9189" y="3170755"/>
              <a:ext cx="10170" cy="5551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7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75732-6B7B-B545-80F9-EE99846E28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6221" y="3324795"/>
              <a:ext cx="476699" cy="513464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8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28186DFD-64FA-474B-8D41-2F04044AE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5295" y="3170755"/>
              <a:ext cx="47034" cy="8604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AA1E7552-2310-4D44-AD53-799CC30727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70803" y="5006735"/>
              <a:ext cx="366105" cy="359425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0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977D33B-3CDB-3345-B37D-D72D2A34168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2930" y="3285938"/>
              <a:ext cx="292376" cy="25950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181" name="Group 340">
              <a:extLst>
                <a:ext uri="{FF2B5EF4-FFF2-40B4-BE49-F238E27FC236}">
                  <a16:creationId xmlns:a16="http://schemas.microsoft.com/office/drawing/2014/main" id="{C58EA603-7266-DE48-8A2A-92C7FADF26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07667" y="3072226"/>
              <a:ext cx="88984" cy="119346"/>
              <a:chOff x="2184" y="1242"/>
              <a:chExt cx="257" cy="316"/>
            </a:xfrm>
            <a:grpFill/>
          </p:grpSpPr>
          <p:sp>
            <p:nvSpPr>
              <p:cNvPr id="18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69AE035-7B4F-164B-A9A9-E7FD0AFED4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A648D03-405F-FB4A-9FD3-D4DDC98B11C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2" name="Freeform 8">
              <a:extLst>
                <a:ext uri="{FF2B5EF4-FFF2-40B4-BE49-F238E27FC236}">
                  <a16:creationId xmlns:a16="http://schemas.microsoft.com/office/drawing/2014/main" id="{FD68E863-4757-814A-8DFE-A41707FF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042" y="3717611"/>
              <a:ext cx="388418" cy="415994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9">
              <a:extLst>
                <a:ext uri="{FF2B5EF4-FFF2-40B4-BE49-F238E27FC236}">
                  <a16:creationId xmlns:a16="http://schemas.microsoft.com/office/drawing/2014/main" id="{8B0634EF-FC5F-C744-8278-7C6F7A41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011" y="4027375"/>
              <a:ext cx="279661" cy="255310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560D582-DEA8-E74C-B2B7-4A0667BA1F5A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3422662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Europe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CD78BE-D550-3246-8FEB-D416FAC204D3}"/>
              </a:ext>
            </a:extLst>
          </p:cNvPr>
          <p:cNvGrpSpPr/>
          <p:nvPr userDrawn="1"/>
        </p:nvGrpSpPr>
        <p:grpSpPr>
          <a:xfrm>
            <a:off x="5188350" y="889056"/>
            <a:ext cx="7003650" cy="5968944"/>
            <a:chOff x="2140350" y="889056"/>
            <a:chExt cx="7003650" cy="5968944"/>
          </a:xfrm>
          <a:solidFill>
            <a:srgbClr val="09417A"/>
          </a:solidFill>
        </p:grpSpPr>
        <p:sp>
          <p:nvSpPr>
            <p:cNvPr id="24" name="Schweiz" descr="© INSCALE GmbH, 05.05.2010&#10;http://www.presentationload.com/">
              <a:extLst>
                <a:ext uri="{FF2B5EF4-FFF2-40B4-BE49-F238E27FC236}">
                  <a16:creationId xmlns:a16="http://schemas.microsoft.com/office/drawing/2014/main" id="{0535A40E-70FD-D749-B162-DC04351056F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795" y="4950314"/>
              <a:ext cx="496724" cy="308596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Niederlande" descr="© INSCALE GmbH, 05.05.2010&#10;http://www.presentationload.com/">
              <a:extLst>
                <a:ext uri="{FF2B5EF4-FFF2-40B4-BE49-F238E27FC236}">
                  <a16:creationId xmlns:a16="http://schemas.microsoft.com/office/drawing/2014/main" id="{0DCA152D-5DDD-B948-BCED-F5B1025605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99514" y="4054230"/>
              <a:ext cx="401010" cy="420814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Belgien" descr="© INSCALE GmbH, 05.05.2010&#10;http://www.presentationload.com/">
              <a:extLst>
                <a:ext uri="{FF2B5EF4-FFF2-40B4-BE49-F238E27FC236}">
                  <a16:creationId xmlns:a16="http://schemas.microsoft.com/office/drawing/2014/main" id="{2172DDBA-DAA5-E949-A629-02FCD0C8C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8652" y="4354575"/>
              <a:ext cx="384507" cy="316847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Luxemburg" descr="© INSCALE GmbH, 05.05.2010&#10;http://www.presentationload.com/">
              <a:extLst>
                <a:ext uri="{FF2B5EF4-FFF2-40B4-BE49-F238E27FC236}">
                  <a16:creationId xmlns:a16="http://schemas.microsoft.com/office/drawing/2014/main" id="{78A776CD-D227-524B-ADEE-E471815288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5598" y="4570757"/>
              <a:ext cx="84162" cy="118817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Däne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C6F5416-35DB-0D4D-A2D2-08A7E76DCB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539" y="3400732"/>
              <a:ext cx="640296" cy="488473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Öster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285B4E3B-DD89-CA4E-81BB-B697A13BA9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1953" y="4758886"/>
              <a:ext cx="820172" cy="407611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Vereinigtes König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C9A0A0F0-FBC1-DF4A-8C0E-F29B4DB0CB3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20917" y="2849549"/>
              <a:ext cx="853178" cy="1597439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I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3F1B05C-8F35-D049-B939-DC4F4DDD4F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94169" y="3570708"/>
              <a:ext cx="486822" cy="552833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51C3C924-F01B-9441-898E-A9937FDC4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350" y="5564207"/>
              <a:ext cx="483523" cy="802020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Zypern" descr="© INSCALE GmbH, 05.05.2010&#10;http://www.presentationload.com/">
              <a:extLst>
                <a:ext uri="{FF2B5EF4-FFF2-40B4-BE49-F238E27FC236}">
                  <a16:creationId xmlns:a16="http://schemas.microsoft.com/office/drawing/2014/main" id="{B4366EEE-FEB3-8048-B035-64847330C6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0649" y="6377778"/>
              <a:ext cx="267340" cy="255788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Bosnien und Herzegowina" descr="© INSCALE GmbH, 05.05.2010&#10;http://www.presentationload.com/">
              <a:extLst>
                <a:ext uri="{FF2B5EF4-FFF2-40B4-BE49-F238E27FC236}">
                  <a16:creationId xmlns:a16="http://schemas.microsoft.com/office/drawing/2014/main" id="{B471F671-CFAF-FF41-AAF4-11A16BD358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5156" y="5323271"/>
              <a:ext cx="473621" cy="405961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Alb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57A54FD-ABAE-6B45-8616-11F2359A57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3924" y="5696227"/>
              <a:ext cx="240936" cy="457119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Mazedo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20BD5DB-52E3-E246-A72E-7B5EEE4E1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4095" y="5706128"/>
              <a:ext cx="301996" cy="250837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Norwegen" descr="© INSCALE GmbH, 05.05.2010&#10;http://www.presentationload.com/">
              <a:extLst>
                <a:ext uri="{FF2B5EF4-FFF2-40B4-BE49-F238E27FC236}">
                  <a16:creationId xmlns:a16="http://schemas.microsoft.com/office/drawing/2014/main" id="{629EDFA3-5E72-A84A-A5CA-5AA9A68875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85008" y="1263662"/>
              <a:ext cx="1648597" cy="2099114"/>
            </a:xfrm>
            <a:custGeom>
              <a:avLst/>
              <a:gdLst/>
              <a:ahLst/>
              <a:cxnLst>
                <a:cxn ang="0">
                  <a:pos x="626" y="61"/>
                </a:cxn>
                <a:cxn ang="0">
                  <a:pos x="605" y="40"/>
                </a:cxn>
                <a:cxn ang="0">
                  <a:pos x="586" y="22"/>
                </a:cxn>
                <a:cxn ang="0">
                  <a:pos x="547" y="55"/>
                </a:cxn>
                <a:cxn ang="0">
                  <a:pos x="532" y="46"/>
                </a:cxn>
                <a:cxn ang="0">
                  <a:pos x="465" y="77"/>
                </a:cxn>
                <a:cxn ang="0">
                  <a:pos x="445" y="116"/>
                </a:cxn>
                <a:cxn ang="0">
                  <a:pos x="410" y="132"/>
                </a:cxn>
                <a:cxn ang="0">
                  <a:pos x="380" y="181"/>
                </a:cxn>
                <a:cxn ang="0">
                  <a:pos x="374" y="209"/>
                </a:cxn>
                <a:cxn ang="0">
                  <a:pos x="330" y="227"/>
                </a:cxn>
                <a:cxn ang="0">
                  <a:pos x="331" y="254"/>
                </a:cxn>
                <a:cxn ang="0">
                  <a:pos x="331" y="290"/>
                </a:cxn>
                <a:cxn ang="0">
                  <a:pos x="275" y="339"/>
                </a:cxn>
                <a:cxn ang="0">
                  <a:pos x="261" y="381"/>
                </a:cxn>
                <a:cxn ang="0">
                  <a:pos x="252" y="428"/>
                </a:cxn>
                <a:cxn ang="0">
                  <a:pos x="198" y="471"/>
                </a:cxn>
                <a:cxn ang="0">
                  <a:pos x="224" y="509"/>
                </a:cxn>
                <a:cxn ang="0">
                  <a:pos x="141" y="534"/>
                </a:cxn>
                <a:cxn ang="0">
                  <a:pos x="122" y="571"/>
                </a:cxn>
                <a:cxn ang="0">
                  <a:pos x="96" y="584"/>
                </a:cxn>
                <a:cxn ang="0">
                  <a:pos x="69" y="595"/>
                </a:cxn>
                <a:cxn ang="0">
                  <a:pos x="26" y="611"/>
                </a:cxn>
                <a:cxn ang="0">
                  <a:pos x="23" y="650"/>
                </a:cxn>
                <a:cxn ang="0">
                  <a:pos x="83" y="675"/>
                </a:cxn>
                <a:cxn ang="0">
                  <a:pos x="74" y="678"/>
                </a:cxn>
                <a:cxn ang="0">
                  <a:pos x="38" y="704"/>
                </a:cxn>
                <a:cxn ang="0">
                  <a:pos x="55" y="723"/>
                </a:cxn>
                <a:cxn ang="0">
                  <a:pos x="42" y="766"/>
                </a:cxn>
                <a:cxn ang="0">
                  <a:pos x="26" y="785"/>
                </a:cxn>
                <a:cxn ang="0">
                  <a:pos x="34" y="813"/>
                </a:cxn>
                <a:cxn ang="0">
                  <a:pos x="65" y="873"/>
                </a:cxn>
                <a:cxn ang="0">
                  <a:pos x="182" y="789"/>
                </a:cxn>
                <a:cxn ang="0">
                  <a:pos x="230" y="815"/>
                </a:cxn>
                <a:cxn ang="0">
                  <a:pos x="305" y="482"/>
                </a:cxn>
                <a:cxn ang="0">
                  <a:pos x="443" y="205"/>
                </a:cxn>
                <a:cxn ang="0">
                  <a:pos x="595" y="78"/>
                </a:cxn>
                <a:cxn ang="0">
                  <a:pos x="18" y="803"/>
                </a:cxn>
                <a:cxn ang="0">
                  <a:pos x="10" y="767"/>
                </a:cxn>
                <a:cxn ang="0">
                  <a:pos x="14" y="743"/>
                </a:cxn>
                <a:cxn ang="0">
                  <a:pos x="10" y="711"/>
                </a:cxn>
                <a:cxn ang="0">
                  <a:pos x="8" y="699"/>
                </a:cxn>
                <a:cxn ang="0">
                  <a:pos x="7" y="680"/>
                </a:cxn>
                <a:cxn ang="0">
                  <a:pos x="15" y="632"/>
                </a:cxn>
                <a:cxn ang="0">
                  <a:pos x="44" y="600"/>
                </a:cxn>
                <a:cxn ang="0">
                  <a:pos x="58" y="582"/>
                </a:cxn>
                <a:cxn ang="0">
                  <a:pos x="106" y="551"/>
                </a:cxn>
                <a:cxn ang="0">
                  <a:pos x="123" y="537"/>
                </a:cxn>
                <a:cxn ang="0">
                  <a:pos x="162" y="515"/>
                </a:cxn>
                <a:cxn ang="0">
                  <a:pos x="259" y="367"/>
                </a:cxn>
                <a:cxn ang="0">
                  <a:pos x="264" y="359"/>
                </a:cxn>
                <a:cxn ang="0">
                  <a:pos x="301" y="294"/>
                </a:cxn>
                <a:cxn ang="0">
                  <a:pos x="351" y="208"/>
                </a:cxn>
                <a:cxn ang="0">
                  <a:pos x="296" y="220"/>
                </a:cxn>
                <a:cxn ang="0">
                  <a:pos x="362" y="187"/>
                </a:cxn>
                <a:cxn ang="0">
                  <a:pos x="322" y="218"/>
                </a:cxn>
                <a:cxn ang="0">
                  <a:pos x="320" y="183"/>
                </a:cxn>
                <a:cxn ang="0">
                  <a:pos x="367" y="152"/>
                </a:cxn>
                <a:cxn ang="0">
                  <a:pos x="411" y="97"/>
                </a:cxn>
                <a:cxn ang="0">
                  <a:pos x="407" y="97"/>
                </a:cxn>
                <a:cxn ang="0">
                  <a:pos x="492" y="40"/>
                </a:cxn>
                <a:cxn ang="0">
                  <a:pos x="514" y="56"/>
                </a:cxn>
                <a:cxn ang="0">
                  <a:pos x="538" y="19"/>
                </a:cxn>
              </a:cxnLst>
              <a:rect l="0" t="0" r="r" b="b"/>
              <a:pathLst>
                <a:path w="690" h="880">
                  <a:moveTo>
                    <a:pt x="685" y="71"/>
                  </a:moveTo>
                  <a:cubicBezTo>
                    <a:pt x="685" y="68"/>
                    <a:pt x="685" y="68"/>
                    <a:pt x="685" y="68"/>
                  </a:cubicBezTo>
                  <a:cubicBezTo>
                    <a:pt x="681" y="68"/>
                    <a:pt x="681" y="68"/>
                    <a:pt x="681" y="68"/>
                  </a:cubicBezTo>
                  <a:cubicBezTo>
                    <a:pt x="681" y="68"/>
                    <a:pt x="681" y="66"/>
                    <a:pt x="678" y="66"/>
                  </a:cubicBezTo>
                  <a:cubicBezTo>
                    <a:pt x="673" y="66"/>
                    <a:pt x="673" y="66"/>
                    <a:pt x="673" y="66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3" y="76"/>
                    <a:pt x="673" y="76"/>
                    <a:pt x="673" y="76"/>
                  </a:cubicBezTo>
                  <a:cubicBezTo>
                    <a:pt x="673" y="72"/>
                    <a:pt x="673" y="72"/>
                    <a:pt x="673" y="72"/>
                  </a:cubicBezTo>
                  <a:cubicBezTo>
                    <a:pt x="668" y="64"/>
                    <a:pt x="668" y="64"/>
                    <a:pt x="668" y="64"/>
                  </a:cubicBezTo>
                  <a:cubicBezTo>
                    <a:pt x="666" y="64"/>
                    <a:pt x="666" y="64"/>
                    <a:pt x="666" y="64"/>
                  </a:cubicBezTo>
                  <a:cubicBezTo>
                    <a:pt x="668" y="72"/>
                    <a:pt x="668" y="72"/>
                    <a:pt x="668" y="72"/>
                  </a:cubicBezTo>
                  <a:cubicBezTo>
                    <a:pt x="666" y="76"/>
                    <a:pt x="666" y="76"/>
                    <a:pt x="666" y="76"/>
                  </a:cubicBezTo>
                  <a:cubicBezTo>
                    <a:pt x="664" y="73"/>
                    <a:pt x="664" y="73"/>
                    <a:pt x="664" y="73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59" y="77"/>
                    <a:pt x="659" y="77"/>
                    <a:pt x="659" y="77"/>
                  </a:cubicBezTo>
                  <a:cubicBezTo>
                    <a:pt x="659" y="77"/>
                    <a:pt x="656" y="81"/>
                    <a:pt x="655" y="81"/>
                  </a:cubicBezTo>
                  <a:cubicBezTo>
                    <a:pt x="654" y="80"/>
                    <a:pt x="655" y="77"/>
                    <a:pt x="656" y="75"/>
                  </a:cubicBezTo>
                  <a:cubicBezTo>
                    <a:pt x="657" y="74"/>
                    <a:pt x="657" y="67"/>
                    <a:pt x="654" y="66"/>
                  </a:cubicBezTo>
                  <a:cubicBezTo>
                    <a:pt x="652" y="64"/>
                    <a:pt x="649" y="71"/>
                    <a:pt x="649" y="71"/>
                  </a:cubicBezTo>
                  <a:cubicBezTo>
                    <a:pt x="647" y="71"/>
                    <a:pt x="647" y="71"/>
                    <a:pt x="647" y="71"/>
                  </a:cubicBezTo>
                  <a:cubicBezTo>
                    <a:pt x="647" y="71"/>
                    <a:pt x="653" y="64"/>
                    <a:pt x="649" y="62"/>
                  </a:cubicBezTo>
                  <a:cubicBezTo>
                    <a:pt x="645" y="59"/>
                    <a:pt x="641" y="62"/>
                    <a:pt x="641" y="62"/>
                  </a:cubicBezTo>
                  <a:cubicBezTo>
                    <a:pt x="637" y="59"/>
                    <a:pt x="637" y="59"/>
                    <a:pt x="637" y="59"/>
                  </a:cubicBezTo>
                  <a:cubicBezTo>
                    <a:pt x="633" y="61"/>
                    <a:pt x="633" y="61"/>
                    <a:pt x="633" y="61"/>
                  </a:cubicBezTo>
                  <a:cubicBezTo>
                    <a:pt x="632" y="59"/>
                    <a:pt x="632" y="59"/>
                    <a:pt x="632" y="59"/>
                  </a:cubicBezTo>
                  <a:cubicBezTo>
                    <a:pt x="632" y="59"/>
                    <a:pt x="629" y="62"/>
                    <a:pt x="626" y="61"/>
                  </a:cubicBezTo>
                  <a:cubicBezTo>
                    <a:pt x="624" y="60"/>
                    <a:pt x="626" y="58"/>
                    <a:pt x="626" y="58"/>
                  </a:cubicBezTo>
                  <a:cubicBezTo>
                    <a:pt x="626" y="57"/>
                    <a:pt x="624" y="56"/>
                    <a:pt x="625" y="53"/>
                  </a:cubicBezTo>
                  <a:cubicBezTo>
                    <a:pt x="625" y="51"/>
                    <a:pt x="646" y="57"/>
                    <a:pt x="646" y="57"/>
                  </a:cubicBezTo>
                  <a:cubicBezTo>
                    <a:pt x="646" y="57"/>
                    <a:pt x="655" y="57"/>
                    <a:pt x="662" y="52"/>
                  </a:cubicBezTo>
                  <a:cubicBezTo>
                    <a:pt x="668" y="47"/>
                    <a:pt x="666" y="41"/>
                    <a:pt x="666" y="41"/>
                  </a:cubicBezTo>
                  <a:cubicBezTo>
                    <a:pt x="666" y="41"/>
                    <a:pt x="678" y="35"/>
                    <a:pt x="677" y="30"/>
                  </a:cubicBezTo>
                  <a:cubicBezTo>
                    <a:pt x="675" y="26"/>
                    <a:pt x="667" y="28"/>
                    <a:pt x="667" y="28"/>
                  </a:cubicBezTo>
                  <a:cubicBezTo>
                    <a:pt x="667" y="28"/>
                    <a:pt x="664" y="24"/>
                    <a:pt x="661" y="24"/>
                  </a:cubicBezTo>
                  <a:cubicBezTo>
                    <a:pt x="656" y="24"/>
                    <a:pt x="652" y="27"/>
                    <a:pt x="652" y="27"/>
                  </a:cubicBezTo>
                  <a:cubicBezTo>
                    <a:pt x="655" y="19"/>
                    <a:pt x="655" y="19"/>
                    <a:pt x="655" y="19"/>
                  </a:cubicBezTo>
                  <a:cubicBezTo>
                    <a:pt x="651" y="19"/>
                    <a:pt x="651" y="19"/>
                    <a:pt x="651" y="19"/>
                  </a:cubicBezTo>
                  <a:cubicBezTo>
                    <a:pt x="651" y="19"/>
                    <a:pt x="652" y="16"/>
                    <a:pt x="648" y="16"/>
                  </a:cubicBezTo>
                  <a:cubicBezTo>
                    <a:pt x="644" y="15"/>
                    <a:pt x="645" y="21"/>
                    <a:pt x="642" y="21"/>
                  </a:cubicBezTo>
                  <a:cubicBezTo>
                    <a:pt x="640" y="22"/>
                    <a:pt x="642" y="16"/>
                    <a:pt x="640" y="16"/>
                  </a:cubicBezTo>
                  <a:cubicBezTo>
                    <a:pt x="639" y="16"/>
                    <a:pt x="632" y="22"/>
                    <a:pt x="632" y="22"/>
                  </a:cubicBezTo>
                  <a:cubicBezTo>
                    <a:pt x="632" y="15"/>
                    <a:pt x="632" y="15"/>
                    <a:pt x="632" y="15"/>
                  </a:cubicBezTo>
                  <a:cubicBezTo>
                    <a:pt x="632" y="15"/>
                    <a:pt x="629" y="10"/>
                    <a:pt x="622" y="11"/>
                  </a:cubicBezTo>
                  <a:cubicBezTo>
                    <a:pt x="615" y="11"/>
                    <a:pt x="616" y="22"/>
                    <a:pt x="616" y="22"/>
                  </a:cubicBezTo>
                  <a:cubicBezTo>
                    <a:pt x="617" y="25"/>
                    <a:pt x="617" y="25"/>
                    <a:pt x="617" y="25"/>
                  </a:cubicBezTo>
                  <a:cubicBezTo>
                    <a:pt x="616" y="36"/>
                    <a:pt x="616" y="36"/>
                    <a:pt x="616" y="36"/>
                  </a:cubicBezTo>
                  <a:cubicBezTo>
                    <a:pt x="619" y="36"/>
                    <a:pt x="619" y="36"/>
                    <a:pt x="619" y="36"/>
                  </a:cubicBezTo>
                  <a:cubicBezTo>
                    <a:pt x="619" y="39"/>
                    <a:pt x="619" y="39"/>
                    <a:pt x="619" y="39"/>
                  </a:cubicBezTo>
                  <a:cubicBezTo>
                    <a:pt x="614" y="39"/>
                    <a:pt x="614" y="39"/>
                    <a:pt x="614" y="39"/>
                  </a:cubicBezTo>
                  <a:cubicBezTo>
                    <a:pt x="613" y="35"/>
                    <a:pt x="613" y="35"/>
                    <a:pt x="613" y="35"/>
                  </a:cubicBezTo>
                  <a:cubicBezTo>
                    <a:pt x="608" y="40"/>
                    <a:pt x="608" y="40"/>
                    <a:pt x="608" y="40"/>
                  </a:cubicBezTo>
                  <a:cubicBezTo>
                    <a:pt x="605" y="40"/>
                    <a:pt x="605" y="40"/>
                    <a:pt x="605" y="40"/>
                  </a:cubicBezTo>
                  <a:cubicBezTo>
                    <a:pt x="605" y="42"/>
                    <a:pt x="605" y="42"/>
                    <a:pt x="605" y="42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603" y="37"/>
                    <a:pt x="606" y="34"/>
                    <a:pt x="608" y="33"/>
                  </a:cubicBezTo>
                  <a:cubicBezTo>
                    <a:pt x="610" y="31"/>
                    <a:pt x="612" y="25"/>
                    <a:pt x="610" y="22"/>
                  </a:cubicBezTo>
                  <a:cubicBezTo>
                    <a:pt x="609" y="21"/>
                    <a:pt x="605" y="26"/>
                    <a:pt x="604" y="28"/>
                  </a:cubicBezTo>
                  <a:cubicBezTo>
                    <a:pt x="604" y="30"/>
                    <a:pt x="599" y="32"/>
                    <a:pt x="599" y="32"/>
                  </a:cubicBezTo>
                  <a:cubicBezTo>
                    <a:pt x="599" y="32"/>
                    <a:pt x="601" y="29"/>
                    <a:pt x="602" y="28"/>
                  </a:cubicBezTo>
                  <a:cubicBezTo>
                    <a:pt x="603" y="27"/>
                    <a:pt x="606" y="21"/>
                    <a:pt x="606" y="21"/>
                  </a:cubicBezTo>
                  <a:cubicBezTo>
                    <a:pt x="602" y="21"/>
                    <a:pt x="602" y="21"/>
                    <a:pt x="602" y="21"/>
                  </a:cubicBezTo>
                  <a:cubicBezTo>
                    <a:pt x="601" y="21"/>
                    <a:pt x="598" y="25"/>
                    <a:pt x="598" y="25"/>
                  </a:cubicBezTo>
                  <a:cubicBezTo>
                    <a:pt x="598" y="25"/>
                    <a:pt x="598" y="22"/>
                    <a:pt x="599" y="21"/>
                  </a:cubicBezTo>
                  <a:cubicBezTo>
                    <a:pt x="599" y="19"/>
                    <a:pt x="604" y="19"/>
                    <a:pt x="608" y="18"/>
                  </a:cubicBezTo>
                  <a:cubicBezTo>
                    <a:pt x="613" y="17"/>
                    <a:pt x="612" y="5"/>
                    <a:pt x="612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5"/>
                    <a:pt x="604" y="8"/>
                    <a:pt x="603" y="6"/>
                  </a:cubicBezTo>
                  <a:cubicBezTo>
                    <a:pt x="601" y="6"/>
                    <a:pt x="604" y="2"/>
                    <a:pt x="602" y="1"/>
                  </a:cubicBezTo>
                  <a:cubicBezTo>
                    <a:pt x="600" y="0"/>
                    <a:pt x="598" y="5"/>
                    <a:pt x="596" y="5"/>
                  </a:cubicBezTo>
                  <a:cubicBezTo>
                    <a:pt x="593" y="6"/>
                    <a:pt x="591" y="1"/>
                    <a:pt x="587" y="2"/>
                  </a:cubicBezTo>
                  <a:cubicBezTo>
                    <a:pt x="584" y="4"/>
                    <a:pt x="591" y="11"/>
                    <a:pt x="589" y="11"/>
                  </a:cubicBezTo>
                  <a:cubicBezTo>
                    <a:pt x="587" y="12"/>
                    <a:pt x="585" y="9"/>
                    <a:pt x="581" y="8"/>
                  </a:cubicBezTo>
                  <a:cubicBezTo>
                    <a:pt x="577" y="8"/>
                    <a:pt x="584" y="13"/>
                    <a:pt x="584" y="13"/>
                  </a:cubicBezTo>
                  <a:cubicBezTo>
                    <a:pt x="581" y="14"/>
                    <a:pt x="581" y="14"/>
                    <a:pt x="581" y="14"/>
                  </a:cubicBezTo>
                  <a:cubicBezTo>
                    <a:pt x="583" y="17"/>
                    <a:pt x="583" y="17"/>
                    <a:pt x="583" y="17"/>
                  </a:cubicBezTo>
                  <a:cubicBezTo>
                    <a:pt x="586" y="17"/>
                    <a:pt x="586" y="17"/>
                    <a:pt x="586" y="17"/>
                  </a:cubicBezTo>
                  <a:cubicBezTo>
                    <a:pt x="593" y="21"/>
                    <a:pt x="593" y="21"/>
                    <a:pt x="593" y="21"/>
                  </a:cubicBezTo>
                  <a:cubicBezTo>
                    <a:pt x="586" y="22"/>
                    <a:pt x="586" y="22"/>
                    <a:pt x="586" y="22"/>
                  </a:cubicBezTo>
                  <a:cubicBezTo>
                    <a:pt x="587" y="27"/>
                    <a:pt x="587" y="27"/>
                    <a:pt x="587" y="27"/>
                  </a:cubicBezTo>
                  <a:cubicBezTo>
                    <a:pt x="583" y="27"/>
                    <a:pt x="583" y="27"/>
                    <a:pt x="583" y="27"/>
                  </a:cubicBezTo>
                  <a:cubicBezTo>
                    <a:pt x="583" y="30"/>
                    <a:pt x="583" y="30"/>
                    <a:pt x="583" y="30"/>
                  </a:cubicBezTo>
                  <a:cubicBezTo>
                    <a:pt x="585" y="31"/>
                    <a:pt x="585" y="31"/>
                    <a:pt x="585" y="31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7" y="36"/>
                    <a:pt x="587" y="36"/>
                    <a:pt x="587" y="36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87" y="45"/>
                    <a:pt x="587" y="45"/>
                    <a:pt x="587" y="45"/>
                  </a:cubicBezTo>
                  <a:cubicBezTo>
                    <a:pt x="580" y="45"/>
                    <a:pt x="580" y="45"/>
                    <a:pt x="580" y="45"/>
                  </a:cubicBezTo>
                  <a:cubicBezTo>
                    <a:pt x="576" y="55"/>
                    <a:pt x="576" y="55"/>
                    <a:pt x="576" y="55"/>
                  </a:cubicBezTo>
                  <a:cubicBezTo>
                    <a:pt x="574" y="35"/>
                    <a:pt x="574" y="35"/>
                    <a:pt x="574" y="35"/>
                  </a:cubicBezTo>
                  <a:cubicBezTo>
                    <a:pt x="569" y="37"/>
                    <a:pt x="569" y="37"/>
                    <a:pt x="569" y="37"/>
                  </a:cubicBezTo>
                  <a:cubicBezTo>
                    <a:pt x="575" y="26"/>
                    <a:pt x="575" y="26"/>
                    <a:pt x="575" y="26"/>
                  </a:cubicBezTo>
                  <a:cubicBezTo>
                    <a:pt x="573" y="24"/>
                    <a:pt x="573" y="24"/>
                    <a:pt x="573" y="24"/>
                  </a:cubicBezTo>
                  <a:cubicBezTo>
                    <a:pt x="573" y="24"/>
                    <a:pt x="574" y="17"/>
                    <a:pt x="569" y="17"/>
                  </a:cubicBezTo>
                  <a:cubicBezTo>
                    <a:pt x="564" y="18"/>
                    <a:pt x="564" y="32"/>
                    <a:pt x="564" y="32"/>
                  </a:cubicBezTo>
                  <a:cubicBezTo>
                    <a:pt x="560" y="33"/>
                    <a:pt x="560" y="33"/>
                    <a:pt x="560" y="33"/>
                  </a:cubicBezTo>
                  <a:cubicBezTo>
                    <a:pt x="560" y="33"/>
                    <a:pt x="561" y="41"/>
                    <a:pt x="558" y="45"/>
                  </a:cubicBezTo>
                  <a:cubicBezTo>
                    <a:pt x="556" y="50"/>
                    <a:pt x="550" y="60"/>
                    <a:pt x="550" y="60"/>
                  </a:cubicBezTo>
                  <a:cubicBezTo>
                    <a:pt x="550" y="60"/>
                    <a:pt x="555" y="62"/>
                    <a:pt x="554" y="65"/>
                  </a:cubicBezTo>
                  <a:cubicBezTo>
                    <a:pt x="553" y="68"/>
                    <a:pt x="551" y="73"/>
                    <a:pt x="551" y="73"/>
                  </a:cubicBezTo>
                  <a:cubicBezTo>
                    <a:pt x="549" y="78"/>
                    <a:pt x="549" y="78"/>
                    <a:pt x="549" y="78"/>
                  </a:cubicBezTo>
                  <a:cubicBezTo>
                    <a:pt x="546" y="74"/>
                    <a:pt x="546" y="74"/>
                    <a:pt x="546" y="74"/>
                  </a:cubicBezTo>
                  <a:cubicBezTo>
                    <a:pt x="544" y="77"/>
                    <a:pt x="544" y="77"/>
                    <a:pt x="544" y="77"/>
                  </a:cubicBezTo>
                  <a:cubicBezTo>
                    <a:pt x="541" y="71"/>
                    <a:pt x="541" y="71"/>
                    <a:pt x="541" y="71"/>
                  </a:cubicBezTo>
                  <a:cubicBezTo>
                    <a:pt x="547" y="55"/>
                    <a:pt x="547" y="55"/>
                    <a:pt x="547" y="55"/>
                  </a:cubicBezTo>
                  <a:cubicBezTo>
                    <a:pt x="542" y="55"/>
                    <a:pt x="542" y="55"/>
                    <a:pt x="542" y="55"/>
                  </a:cubicBezTo>
                  <a:cubicBezTo>
                    <a:pt x="541" y="52"/>
                    <a:pt x="541" y="52"/>
                    <a:pt x="541" y="52"/>
                  </a:cubicBezTo>
                  <a:cubicBezTo>
                    <a:pt x="553" y="34"/>
                    <a:pt x="553" y="34"/>
                    <a:pt x="553" y="34"/>
                  </a:cubicBezTo>
                  <a:cubicBezTo>
                    <a:pt x="551" y="32"/>
                    <a:pt x="551" y="32"/>
                    <a:pt x="551" y="32"/>
                  </a:cubicBezTo>
                  <a:cubicBezTo>
                    <a:pt x="551" y="32"/>
                    <a:pt x="556" y="25"/>
                    <a:pt x="554" y="24"/>
                  </a:cubicBezTo>
                  <a:cubicBezTo>
                    <a:pt x="552" y="22"/>
                    <a:pt x="546" y="29"/>
                    <a:pt x="546" y="29"/>
                  </a:cubicBezTo>
                  <a:cubicBezTo>
                    <a:pt x="546" y="22"/>
                    <a:pt x="546" y="22"/>
                    <a:pt x="546" y="22"/>
                  </a:cubicBezTo>
                  <a:cubicBezTo>
                    <a:pt x="540" y="22"/>
                    <a:pt x="540" y="22"/>
                    <a:pt x="540" y="22"/>
                  </a:cubicBezTo>
                  <a:cubicBezTo>
                    <a:pt x="542" y="26"/>
                    <a:pt x="542" y="26"/>
                    <a:pt x="542" y="26"/>
                  </a:cubicBezTo>
                  <a:cubicBezTo>
                    <a:pt x="541" y="31"/>
                    <a:pt x="541" y="31"/>
                    <a:pt x="541" y="31"/>
                  </a:cubicBezTo>
                  <a:cubicBezTo>
                    <a:pt x="537" y="26"/>
                    <a:pt x="537" y="26"/>
                    <a:pt x="537" y="26"/>
                  </a:cubicBezTo>
                  <a:cubicBezTo>
                    <a:pt x="534" y="29"/>
                    <a:pt x="534" y="29"/>
                    <a:pt x="534" y="29"/>
                  </a:cubicBezTo>
                  <a:cubicBezTo>
                    <a:pt x="535" y="24"/>
                    <a:pt x="535" y="24"/>
                    <a:pt x="535" y="24"/>
                  </a:cubicBezTo>
                  <a:cubicBezTo>
                    <a:pt x="534" y="22"/>
                    <a:pt x="534" y="22"/>
                    <a:pt x="534" y="22"/>
                  </a:cubicBezTo>
                  <a:cubicBezTo>
                    <a:pt x="532" y="26"/>
                    <a:pt x="532" y="26"/>
                    <a:pt x="532" y="26"/>
                  </a:cubicBezTo>
                  <a:cubicBezTo>
                    <a:pt x="525" y="21"/>
                    <a:pt x="525" y="21"/>
                    <a:pt x="525" y="21"/>
                  </a:cubicBezTo>
                  <a:cubicBezTo>
                    <a:pt x="523" y="27"/>
                    <a:pt x="523" y="27"/>
                    <a:pt x="523" y="27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6" y="31"/>
                    <a:pt x="526" y="31"/>
                    <a:pt x="526" y="31"/>
                  </a:cubicBezTo>
                  <a:cubicBezTo>
                    <a:pt x="526" y="35"/>
                    <a:pt x="526" y="35"/>
                    <a:pt x="526" y="35"/>
                  </a:cubicBezTo>
                  <a:cubicBezTo>
                    <a:pt x="523" y="34"/>
                    <a:pt x="523" y="34"/>
                    <a:pt x="523" y="3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9"/>
                    <a:pt x="519" y="39"/>
                    <a:pt x="519" y="39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46"/>
                    <a:pt x="532" y="46"/>
                    <a:pt x="532" y="46"/>
                  </a:cubicBezTo>
                  <a:cubicBezTo>
                    <a:pt x="532" y="48"/>
                    <a:pt x="532" y="48"/>
                    <a:pt x="532" y="48"/>
                  </a:cubicBezTo>
                  <a:cubicBezTo>
                    <a:pt x="532" y="48"/>
                    <a:pt x="530" y="46"/>
                    <a:pt x="527" y="45"/>
                  </a:cubicBezTo>
                  <a:cubicBezTo>
                    <a:pt x="525" y="43"/>
                    <a:pt x="521" y="43"/>
                    <a:pt x="521" y="43"/>
                  </a:cubicBezTo>
                  <a:cubicBezTo>
                    <a:pt x="520" y="53"/>
                    <a:pt x="520" y="53"/>
                    <a:pt x="520" y="53"/>
                  </a:cubicBezTo>
                  <a:cubicBezTo>
                    <a:pt x="522" y="52"/>
                    <a:pt x="522" y="52"/>
                    <a:pt x="522" y="52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25" y="58"/>
                    <a:pt x="522" y="57"/>
                    <a:pt x="519" y="56"/>
                  </a:cubicBezTo>
                  <a:cubicBezTo>
                    <a:pt x="515" y="56"/>
                    <a:pt x="514" y="59"/>
                    <a:pt x="514" y="59"/>
                  </a:cubicBezTo>
                  <a:cubicBezTo>
                    <a:pt x="505" y="75"/>
                    <a:pt x="505" y="75"/>
                    <a:pt x="505" y="75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4" y="78"/>
                    <a:pt x="504" y="78"/>
                    <a:pt x="504" y="78"/>
                  </a:cubicBezTo>
                  <a:cubicBezTo>
                    <a:pt x="508" y="83"/>
                    <a:pt x="508" y="83"/>
                    <a:pt x="508" y="83"/>
                  </a:cubicBezTo>
                  <a:cubicBezTo>
                    <a:pt x="505" y="85"/>
                    <a:pt x="505" y="85"/>
                    <a:pt x="505" y="85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04" y="92"/>
                    <a:pt x="504" y="92"/>
                    <a:pt x="504" y="92"/>
                  </a:cubicBezTo>
                  <a:cubicBezTo>
                    <a:pt x="499" y="83"/>
                    <a:pt x="499" y="83"/>
                    <a:pt x="499" y="83"/>
                  </a:cubicBezTo>
                  <a:cubicBezTo>
                    <a:pt x="486" y="91"/>
                    <a:pt x="486" y="91"/>
                    <a:pt x="486" y="91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6" y="89"/>
                    <a:pt x="497" y="83"/>
                    <a:pt x="498" y="79"/>
                  </a:cubicBezTo>
                  <a:cubicBezTo>
                    <a:pt x="499" y="76"/>
                    <a:pt x="489" y="78"/>
                    <a:pt x="489" y="78"/>
                  </a:cubicBezTo>
                  <a:cubicBezTo>
                    <a:pt x="489" y="78"/>
                    <a:pt x="486" y="75"/>
                    <a:pt x="484" y="78"/>
                  </a:cubicBezTo>
                  <a:cubicBezTo>
                    <a:pt x="481" y="81"/>
                    <a:pt x="487" y="84"/>
                    <a:pt x="487" y="84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1" y="76"/>
                    <a:pt x="476" y="76"/>
                  </a:cubicBezTo>
                  <a:cubicBezTo>
                    <a:pt x="472" y="76"/>
                    <a:pt x="472" y="82"/>
                    <a:pt x="472" y="82"/>
                  </a:cubicBezTo>
                  <a:cubicBezTo>
                    <a:pt x="465" y="77"/>
                    <a:pt x="465" y="77"/>
                    <a:pt x="465" y="77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464" y="80"/>
                    <a:pt x="460" y="79"/>
                    <a:pt x="458" y="82"/>
                  </a:cubicBezTo>
                  <a:cubicBezTo>
                    <a:pt x="456" y="87"/>
                    <a:pt x="465" y="87"/>
                    <a:pt x="465" y="87"/>
                  </a:cubicBezTo>
                  <a:cubicBezTo>
                    <a:pt x="462" y="90"/>
                    <a:pt x="462" y="90"/>
                    <a:pt x="462" y="90"/>
                  </a:cubicBezTo>
                  <a:cubicBezTo>
                    <a:pt x="472" y="92"/>
                    <a:pt x="472" y="92"/>
                    <a:pt x="472" y="92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3" y="94"/>
                    <a:pt x="473" y="94"/>
                    <a:pt x="473" y="94"/>
                  </a:cubicBezTo>
                  <a:cubicBezTo>
                    <a:pt x="474" y="95"/>
                    <a:pt x="474" y="95"/>
                    <a:pt x="474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7"/>
                    <a:pt x="478" y="97"/>
                    <a:pt x="478" y="97"/>
                  </a:cubicBezTo>
                  <a:cubicBezTo>
                    <a:pt x="475" y="97"/>
                    <a:pt x="475" y="97"/>
                    <a:pt x="475" y="97"/>
                  </a:cubicBezTo>
                  <a:cubicBezTo>
                    <a:pt x="478" y="103"/>
                    <a:pt x="478" y="103"/>
                    <a:pt x="478" y="103"/>
                  </a:cubicBezTo>
                  <a:cubicBezTo>
                    <a:pt x="478" y="106"/>
                    <a:pt x="478" y="106"/>
                    <a:pt x="478" y="106"/>
                  </a:cubicBezTo>
                  <a:cubicBezTo>
                    <a:pt x="478" y="106"/>
                    <a:pt x="484" y="110"/>
                    <a:pt x="482" y="111"/>
                  </a:cubicBezTo>
                  <a:cubicBezTo>
                    <a:pt x="479" y="112"/>
                    <a:pt x="474" y="103"/>
                    <a:pt x="474" y="103"/>
                  </a:cubicBezTo>
                  <a:cubicBezTo>
                    <a:pt x="469" y="100"/>
                    <a:pt x="469" y="100"/>
                    <a:pt x="469" y="100"/>
                  </a:cubicBezTo>
                  <a:cubicBezTo>
                    <a:pt x="469" y="100"/>
                    <a:pt x="465" y="94"/>
                    <a:pt x="460" y="94"/>
                  </a:cubicBezTo>
                  <a:cubicBezTo>
                    <a:pt x="457" y="94"/>
                    <a:pt x="459" y="100"/>
                    <a:pt x="459" y="100"/>
                  </a:cubicBezTo>
                  <a:cubicBezTo>
                    <a:pt x="461" y="104"/>
                    <a:pt x="461" y="104"/>
                    <a:pt x="461" y="104"/>
                  </a:cubicBezTo>
                  <a:cubicBezTo>
                    <a:pt x="458" y="106"/>
                    <a:pt x="458" y="106"/>
                    <a:pt x="458" y="106"/>
                  </a:cubicBezTo>
                  <a:cubicBezTo>
                    <a:pt x="456" y="111"/>
                    <a:pt x="456" y="111"/>
                    <a:pt x="456" y="111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57" y="102"/>
                    <a:pt x="457" y="102"/>
                    <a:pt x="457" y="102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1" y="106"/>
                    <a:pt x="451" y="106"/>
                    <a:pt x="451" y="106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448" y="124"/>
                    <a:pt x="448" y="124"/>
                    <a:pt x="448" y="124"/>
                  </a:cubicBezTo>
                  <a:cubicBezTo>
                    <a:pt x="452" y="129"/>
                    <a:pt x="452" y="129"/>
                    <a:pt x="452" y="129"/>
                  </a:cubicBezTo>
                  <a:cubicBezTo>
                    <a:pt x="444" y="126"/>
                    <a:pt x="444" y="126"/>
                    <a:pt x="444" y="126"/>
                  </a:cubicBezTo>
                  <a:cubicBezTo>
                    <a:pt x="442" y="140"/>
                    <a:pt x="442" y="140"/>
                    <a:pt x="442" y="140"/>
                  </a:cubicBezTo>
                  <a:cubicBezTo>
                    <a:pt x="440" y="140"/>
                    <a:pt x="440" y="140"/>
                    <a:pt x="440" y="140"/>
                  </a:cubicBezTo>
                  <a:cubicBezTo>
                    <a:pt x="436" y="147"/>
                    <a:pt x="436" y="147"/>
                    <a:pt x="436" y="147"/>
                  </a:cubicBezTo>
                  <a:cubicBezTo>
                    <a:pt x="434" y="144"/>
                    <a:pt x="434" y="144"/>
                    <a:pt x="434" y="144"/>
                  </a:cubicBezTo>
                  <a:cubicBezTo>
                    <a:pt x="439" y="138"/>
                    <a:pt x="439" y="138"/>
                    <a:pt x="439" y="138"/>
                  </a:cubicBezTo>
                  <a:cubicBezTo>
                    <a:pt x="441" y="129"/>
                    <a:pt x="441" y="129"/>
                    <a:pt x="441" y="129"/>
                  </a:cubicBezTo>
                  <a:cubicBezTo>
                    <a:pt x="440" y="128"/>
                    <a:pt x="440" y="128"/>
                    <a:pt x="440" y="128"/>
                  </a:cubicBezTo>
                  <a:cubicBezTo>
                    <a:pt x="443" y="125"/>
                    <a:pt x="443" y="125"/>
                    <a:pt x="443" y="125"/>
                  </a:cubicBezTo>
                  <a:cubicBezTo>
                    <a:pt x="441" y="120"/>
                    <a:pt x="441" y="120"/>
                    <a:pt x="441" y="120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09"/>
                    <a:pt x="439" y="102"/>
                    <a:pt x="439" y="102"/>
                  </a:cubicBezTo>
                  <a:cubicBezTo>
                    <a:pt x="434" y="106"/>
                    <a:pt x="434" y="106"/>
                    <a:pt x="434" y="106"/>
                  </a:cubicBezTo>
                  <a:cubicBezTo>
                    <a:pt x="434" y="106"/>
                    <a:pt x="435" y="112"/>
                    <a:pt x="432" y="115"/>
                  </a:cubicBezTo>
                  <a:cubicBezTo>
                    <a:pt x="428" y="118"/>
                    <a:pt x="431" y="124"/>
                    <a:pt x="431" y="124"/>
                  </a:cubicBezTo>
                  <a:cubicBezTo>
                    <a:pt x="434" y="126"/>
                    <a:pt x="434" y="126"/>
                    <a:pt x="434" y="126"/>
                  </a:cubicBezTo>
                  <a:cubicBezTo>
                    <a:pt x="429" y="128"/>
                    <a:pt x="429" y="128"/>
                    <a:pt x="429" y="128"/>
                  </a:cubicBezTo>
                  <a:cubicBezTo>
                    <a:pt x="429" y="137"/>
                    <a:pt x="429" y="137"/>
                    <a:pt x="429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7" y="124"/>
                    <a:pt x="427" y="124"/>
                    <a:pt x="427" y="124"/>
                  </a:cubicBezTo>
                  <a:cubicBezTo>
                    <a:pt x="426" y="124"/>
                    <a:pt x="426" y="124"/>
                    <a:pt x="426" y="124"/>
                  </a:cubicBezTo>
                  <a:cubicBezTo>
                    <a:pt x="426" y="113"/>
                    <a:pt x="426" y="113"/>
                    <a:pt x="426" y="113"/>
                  </a:cubicBezTo>
                  <a:cubicBezTo>
                    <a:pt x="426" y="113"/>
                    <a:pt x="421" y="115"/>
                    <a:pt x="413" y="119"/>
                  </a:cubicBezTo>
                  <a:cubicBezTo>
                    <a:pt x="405" y="121"/>
                    <a:pt x="410" y="132"/>
                    <a:pt x="410" y="132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3" y="132"/>
                    <a:pt x="413" y="134"/>
                    <a:pt x="412" y="137"/>
                  </a:cubicBezTo>
                  <a:cubicBezTo>
                    <a:pt x="411" y="139"/>
                    <a:pt x="416" y="142"/>
                    <a:pt x="420" y="142"/>
                  </a:cubicBezTo>
                  <a:cubicBezTo>
                    <a:pt x="424" y="143"/>
                    <a:pt x="424" y="150"/>
                    <a:pt x="424" y="150"/>
                  </a:cubicBezTo>
                  <a:cubicBezTo>
                    <a:pt x="427" y="151"/>
                    <a:pt x="427" y="151"/>
                    <a:pt x="427" y="151"/>
                  </a:cubicBezTo>
                  <a:cubicBezTo>
                    <a:pt x="425" y="152"/>
                    <a:pt x="425" y="152"/>
                    <a:pt x="425" y="152"/>
                  </a:cubicBezTo>
                  <a:cubicBezTo>
                    <a:pt x="425" y="152"/>
                    <a:pt x="421" y="150"/>
                    <a:pt x="421" y="147"/>
                  </a:cubicBezTo>
                  <a:cubicBezTo>
                    <a:pt x="421" y="144"/>
                    <a:pt x="416" y="144"/>
                    <a:pt x="412" y="143"/>
                  </a:cubicBezTo>
                  <a:cubicBezTo>
                    <a:pt x="410" y="143"/>
                    <a:pt x="407" y="134"/>
                    <a:pt x="407" y="134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9" y="136"/>
                    <a:pt x="400" y="140"/>
                    <a:pt x="402" y="143"/>
                  </a:cubicBezTo>
                  <a:cubicBezTo>
                    <a:pt x="405" y="146"/>
                    <a:pt x="409" y="147"/>
                    <a:pt x="409" y="147"/>
                  </a:cubicBezTo>
                  <a:cubicBezTo>
                    <a:pt x="409" y="147"/>
                    <a:pt x="405" y="148"/>
                    <a:pt x="402" y="146"/>
                  </a:cubicBezTo>
                  <a:cubicBezTo>
                    <a:pt x="399" y="145"/>
                    <a:pt x="394" y="138"/>
                    <a:pt x="394" y="138"/>
                  </a:cubicBezTo>
                  <a:cubicBezTo>
                    <a:pt x="390" y="139"/>
                    <a:pt x="390" y="139"/>
                    <a:pt x="390" y="139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92" y="159"/>
                    <a:pt x="392" y="159"/>
                    <a:pt x="392" y="159"/>
                  </a:cubicBezTo>
                  <a:cubicBezTo>
                    <a:pt x="380" y="160"/>
                    <a:pt x="380" y="160"/>
                    <a:pt x="380" y="160"/>
                  </a:cubicBezTo>
                  <a:cubicBezTo>
                    <a:pt x="384" y="165"/>
                    <a:pt x="384" y="165"/>
                    <a:pt x="384" y="165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84" y="174"/>
                    <a:pt x="384" y="174"/>
                    <a:pt x="384" y="174"/>
                  </a:cubicBezTo>
                  <a:cubicBezTo>
                    <a:pt x="387" y="176"/>
                    <a:pt x="387" y="176"/>
                    <a:pt x="387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0" y="181"/>
                    <a:pt x="380" y="181"/>
                    <a:pt x="380" y="181"/>
                  </a:cubicBezTo>
                  <a:cubicBezTo>
                    <a:pt x="385" y="183"/>
                    <a:pt x="385" y="183"/>
                    <a:pt x="385" y="183"/>
                  </a:cubicBezTo>
                  <a:cubicBezTo>
                    <a:pt x="377" y="183"/>
                    <a:pt x="377" y="183"/>
                    <a:pt x="377" y="183"/>
                  </a:cubicBezTo>
                  <a:cubicBezTo>
                    <a:pt x="371" y="184"/>
                    <a:pt x="377" y="187"/>
                    <a:pt x="377" y="187"/>
                  </a:cubicBezTo>
                  <a:cubicBezTo>
                    <a:pt x="382" y="189"/>
                    <a:pt x="382" y="189"/>
                    <a:pt x="382" y="189"/>
                  </a:cubicBezTo>
                  <a:cubicBezTo>
                    <a:pt x="382" y="189"/>
                    <a:pt x="375" y="187"/>
                    <a:pt x="372" y="188"/>
                  </a:cubicBezTo>
                  <a:cubicBezTo>
                    <a:pt x="370" y="188"/>
                    <a:pt x="371" y="190"/>
                    <a:pt x="371" y="190"/>
                  </a:cubicBezTo>
                  <a:cubicBezTo>
                    <a:pt x="375" y="191"/>
                    <a:pt x="375" y="191"/>
                    <a:pt x="375" y="191"/>
                  </a:cubicBezTo>
                  <a:cubicBezTo>
                    <a:pt x="374" y="195"/>
                    <a:pt x="374" y="195"/>
                    <a:pt x="374" y="195"/>
                  </a:cubicBezTo>
                  <a:cubicBezTo>
                    <a:pt x="374" y="192"/>
                    <a:pt x="374" y="192"/>
                    <a:pt x="374" y="192"/>
                  </a:cubicBezTo>
                  <a:cubicBezTo>
                    <a:pt x="370" y="191"/>
                    <a:pt x="370" y="191"/>
                    <a:pt x="370" y="191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91"/>
                    <a:pt x="367" y="191"/>
                    <a:pt x="367" y="191"/>
                  </a:cubicBezTo>
                  <a:cubicBezTo>
                    <a:pt x="367" y="191"/>
                    <a:pt x="366" y="192"/>
                    <a:pt x="361" y="192"/>
                  </a:cubicBezTo>
                  <a:cubicBezTo>
                    <a:pt x="357" y="192"/>
                    <a:pt x="357" y="200"/>
                    <a:pt x="357" y="200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68" y="203"/>
                    <a:pt x="369" y="205"/>
                    <a:pt x="372" y="205"/>
                  </a:cubicBezTo>
                  <a:cubicBezTo>
                    <a:pt x="375" y="205"/>
                    <a:pt x="382" y="199"/>
                    <a:pt x="382" y="199"/>
                  </a:cubicBezTo>
                  <a:cubicBezTo>
                    <a:pt x="380" y="203"/>
                    <a:pt x="380" y="203"/>
                    <a:pt x="380" y="203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76" y="207"/>
                    <a:pt x="376" y="207"/>
                    <a:pt x="376" y="207"/>
                  </a:cubicBezTo>
                  <a:cubicBezTo>
                    <a:pt x="376" y="213"/>
                    <a:pt x="376" y="213"/>
                    <a:pt x="376" y="213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4" y="209"/>
                    <a:pt x="374" y="209"/>
                    <a:pt x="374" y="209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211"/>
                    <a:pt x="364" y="208"/>
                    <a:pt x="361" y="208"/>
                  </a:cubicBezTo>
                  <a:cubicBezTo>
                    <a:pt x="358" y="207"/>
                    <a:pt x="353" y="209"/>
                    <a:pt x="351" y="213"/>
                  </a:cubicBezTo>
                  <a:cubicBezTo>
                    <a:pt x="348" y="215"/>
                    <a:pt x="355" y="215"/>
                    <a:pt x="358" y="216"/>
                  </a:cubicBezTo>
                  <a:cubicBezTo>
                    <a:pt x="362" y="217"/>
                    <a:pt x="361" y="221"/>
                    <a:pt x="361" y="221"/>
                  </a:cubicBezTo>
                  <a:cubicBezTo>
                    <a:pt x="364" y="223"/>
                    <a:pt x="364" y="223"/>
                    <a:pt x="364" y="223"/>
                  </a:cubicBezTo>
                  <a:cubicBezTo>
                    <a:pt x="363" y="224"/>
                    <a:pt x="363" y="224"/>
                    <a:pt x="363" y="224"/>
                  </a:cubicBezTo>
                  <a:cubicBezTo>
                    <a:pt x="363" y="224"/>
                    <a:pt x="359" y="221"/>
                    <a:pt x="357" y="219"/>
                  </a:cubicBezTo>
                  <a:cubicBezTo>
                    <a:pt x="355" y="217"/>
                    <a:pt x="348" y="216"/>
                    <a:pt x="348" y="216"/>
                  </a:cubicBezTo>
                  <a:cubicBezTo>
                    <a:pt x="347" y="218"/>
                    <a:pt x="347" y="218"/>
                    <a:pt x="347" y="218"/>
                  </a:cubicBezTo>
                  <a:cubicBezTo>
                    <a:pt x="353" y="219"/>
                    <a:pt x="353" y="219"/>
                    <a:pt x="353" y="219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52" y="223"/>
                    <a:pt x="352" y="223"/>
                    <a:pt x="352" y="223"/>
                  </a:cubicBezTo>
                  <a:cubicBezTo>
                    <a:pt x="355" y="222"/>
                    <a:pt x="355" y="222"/>
                    <a:pt x="355" y="222"/>
                  </a:cubicBezTo>
                  <a:cubicBezTo>
                    <a:pt x="358" y="223"/>
                    <a:pt x="358" y="223"/>
                    <a:pt x="358" y="223"/>
                  </a:cubicBezTo>
                  <a:cubicBezTo>
                    <a:pt x="351" y="226"/>
                    <a:pt x="351" y="226"/>
                    <a:pt x="351" y="226"/>
                  </a:cubicBezTo>
                  <a:cubicBezTo>
                    <a:pt x="352" y="230"/>
                    <a:pt x="352" y="230"/>
                    <a:pt x="352" y="230"/>
                  </a:cubicBezTo>
                  <a:cubicBezTo>
                    <a:pt x="352" y="230"/>
                    <a:pt x="354" y="229"/>
                    <a:pt x="356" y="231"/>
                  </a:cubicBezTo>
                  <a:cubicBezTo>
                    <a:pt x="357" y="233"/>
                    <a:pt x="352" y="236"/>
                    <a:pt x="348" y="235"/>
                  </a:cubicBezTo>
                  <a:cubicBezTo>
                    <a:pt x="345" y="233"/>
                    <a:pt x="346" y="221"/>
                    <a:pt x="346" y="221"/>
                  </a:cubicBezTo>
                  <a:cubicBezTo>
                    <a:pt x="343" y="221"/>
                    <a:pt x="343" y="221"/>
                    <a:pt x="343" y="221"/>
                  </a:cubicBezTo>
                  <a:cubicBezTo>
                    <a:pt x="338" y="230"/>
                    <a:pt x="338" y="230"/>
                    <a:pt x="338" y="230"/>
                  </a:cubicBezTo>
                  <a:cubicBezTo>
                    <a:pt x="337" y="224"/>
                    <a:pt x="337" y="224"/>
                    <a:pt x="337" y="224"/>
                  </a:cubicBezTo>
                  <a:cubicBezTo>
                    <a:pt x="335" y="224"/>
                    <a:pt x="335" y="224"/>
                    <a:pt x="335" y="224"/>
                  </a:cubicBezTo>
                  <a:cubicBezTo>
                    <a:pt x="334" y="229"/>
                    <a:pt x="334" y="229"/>
                    <a:pt x="334" y="229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27" y="235"/>
                    <a:pt x="327" y="235"/>
                    <a:pt x="327" y="235"/>
                  </a:cubicBezTo>
                  <a:cubicBezTo>
                    <a:pt x="329" y="238"/>
                    <a:pt x="329" y="238"/>
                    <a:pt x="329" y="238"/>
                  </a:cubicBezTo>
                  <a:cubicBezTo>
                    <a:pt x="331" y="237"/>
                    <a:pt x="331" y="237"/>
                    <a:pt x="331" y="237"/>
                  </a:cubicBezTo>
                  <a:cubicBezTo>
                    <a:pt x="331" y="234"/>
                    <a:pt x="331" y="234"/>
                    <a:pt x="331" y="234"/>
                  </a:cubicBezTo>
                  <a:cubicBezTo>
                    <a:pt x="335" y="232"/>
                    <a:pt x="335" y="232"/>
                    <a:pt x="335" y="232"/>
                  </a:cubicBezTo>
                  <a:cubicBezTo>
                    <a:pt x="337" y="234"/>
                    <a:pt x="337" y="234"/>
                    <a:pt x="337" y="234"/>
                  </a:cubicBezTo>
                  <a:cubicBezTo>
                    <a:pt x="333" y="237"/>
                    <a:pt x="333" y="237"/>
                    <a:pt x="333" y="237"/>
                  </a:cubicBezTo>
                  <a:cubicBezTo>
                    <a:pt x="335" y="238"/>
                    <a:pt x="335" y="238"/>
                    <a:pt x="335" y="238"/>
                  </a:cubicBezTo>
                  <a:cubicBezTo>
                    <a:pt x="335" y="238"/>
                    <a:pt x="339" y="238"/>
                    <a:pt x="341" y="239"/>
                  </a:cubicBezTo>
                  <a:cubicBezTo>
                    <a:pt x="343" y="239"/>
                    <a:pt x="340" y="236"/>
                    <a:pt x="340" y="234"/>
                  </a:cubicBezTo>
                  <a:cubicBezTo>
                    <a:pt x="340" y="233"/>
                    <a:pt x="344" y="234"/>
                    <a:pt x="345" y="236"/>
                  </a:cubicBezTo>
                  <a:cubicBezTo>
                    <a:pt x="346" y="238"/>
                    <a:pt x="344" y="242"/>
                    <a:pt x="343" y="242"/>
                  </a:cubicBezTo>
                  <a:cubicBezTo>
                    <a:pt x="341" y="244"/>
                    <a:pt x="342" y="242"/>
                    <a:pt x="339" y="240"/>
                  </a:cubicBezTo>
                  <a:cubicBezTo>
                    <a:pt x="336" y="239"/>
                    <a:pt x="334" y="244"/>
                    <a:pt x="330" y="244"/>
                  </a:cubicBezTo>
                  <a:cubicBezTo>
                    <a:pt x="327" y="244"/>
                    <a:pt x="322" y="245"/>
                    <a:pt x="322" y="245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2" y="248"/>
                    <a:pt x="322" y="248"/>
                    <a:pt x="322" y="248"/>
                  </a:cubicBezTo>
                  <a:cubicBezTo>
                    <a:pt x="318" y="248"/>
                    <a:pt x="318" y="248"/>
                    <a:pt x="318" y="248"/>
                  </a:cubicBezTo>
                  <a:cubicBezTo>
                    <a:pt x="315" y="252"/>
                    <a:pt x="315" y="252"/>
                    <a:pt x="315" y="252"/>
                  </a:cubicBezTo>
                  <a:cubicBezTo>
                    <a:pt x="321" y="253"/>
                    <a:pt x="321" y="253"/>
                    <a:pt x="321" y="253"/>
                  </a:cubicBezTo>
                  <a:cubicBezTo>
                    <a:pt x="315" y="256"/>
                    <a:pt x="315" y="256"/>
                    <a:pt x="315" y="256"/>
                  </a:cubicBezTo>
                  <a:cubicBezTo>
                    <a:pt x="315" y="256"/>
                    <a:pt x="318" y="260"/>
                    <a:pt x="322" y="258"/>
                  </a:cubicBezTo>
                  <a:cubicBezTo>
                    <a:pt x="327" y="256"/>
                    <a:pt x="331" y="249"/>
                    <a:pt x="331" y="249"/>
                  </a:cubicBezTo>
                  <a:cubicBezTo>
                    <a:pt x="342" y="256"/>
                    <a:pt x="342" y="256"/>
                    <a:pt x="342" y="256"/>
                  </a:cubicBezTo>
                  <a:cubicBezTo>
                    <a:pt x="334" y="253"/>
                    <a:pt x="334" y="253"/>
                    <a:pt x="334" y="253"/>
                  </a:cubicBezTo>
                  <a:cubicBezTo>
                    <a:pt x="331" y="254"/>
                    <a:pt x="331" y="254"/>
                    <a:pt x="331" y="254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29" y="256"/>
                    <a:pt x="329" y="256"/>
                    <a:pt x="329" y="256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0" y="263"/>
                    <a:pt x="330" y="263"/>
                    <a:pt x="330" y="263"/>
                  </a:cubicBezTo>
                  <a:cubicBezTo>
                    <a:pt x="328" y="267"/>
                    <a:pt x="328" y="267"/>
                    <a:pt x="328" y="267"/>
                  </a:cubicBezTo>
                  <a:cubicBezTo>
                    <a:pt x="329" y="269"/>
                    <a:pt x="335" y="267"/>
                    <a:pt x="335" y="267"/>
                  </a:cubicBezTo>
                  <a:cubicBezTo>
                    <a:pt x="339" y="265"/>
                    <a:pt x="339" y="265"/>
                    <a:pt x="339" y="265"/>
                  </a:cubicBezTo>
                  <a:cubicBezTo>
                    <a:pt x="336" y="274"/>
                    <a:pt x="336" y="274"/>
                    <a:pt x="336" y="274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7" y="278"/>
                    <a:pt x="337" y="278"/>
                    <a:pt x="337" y="278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1"/>
                    <a:pt x="339" y="281"/>
                    <a:pt x="337" y="280"/>
                  </a:cubicBezTo>
                  <a:cubicBezTo>
                    <a:pt x="335" y="280"/>
                    <a:pt x="333" y="271"/>
                    <a:pt x="331" y="270"/>
                  </a:cubicBezTo>
                  <a:cubicBezTo>
                    <a:pt x="329" y="270"/>
                    <a:pt x="327" y="271"/>
                    <a:pt x="327" y="271"/>
                  </a:cubicBezTo>
                  <a:cubicBezTo>
                    <a:pt x="327" y="271"/>
                    <a:pt x="325" y="267"/>
                    <a:pt x="322" y="266"/>
                  </a:cubicBezTo>
                  <a:cubicBezTo>
                    <a:pt x="319" y="266"/>
                    <a:pt x="313" y="273"/>
                    <a:pt x="313" y="273"/>
                  </a:cubicBezTo>
                  <a:cubicBezTo>
                    <a:pt x="321" y="274"/>
                    <a:pt x="321" y="274"/>
                    <a:pt x="321" y="274"/>
                  </a:cubicBezTo>
                  <a:cubicBezTo>
                    <a:pt x="321" y="274"/>
                    <a:pt x="318" y="276"/>
                    <a:pt x="314" y="276"/>
                  </a:cubicBezTo>
                  <a:cubicBezTo>
                    <a:pt x="312" y="276"/>
                    <a:pt x="313" y="279"/>
                    <a:pt x="312" y="281"/>
                  </a:cubicBezTo>
                  <a:cubicBezTo>
                    <a:pt x="310" y="283"/>
                    <a:pt x="306" y="285"/>
                    <a:pt x="306" y="285"/>
                  </a:cubicBezTo>
                  <a:cubicBezTo>
                    <a:pt x="317" y="285"/>
                    <a:pt x="317" y="285"/>
                    <a:pt x="317" y="285"/>
                  </a:cubicBezTo>
                  <a:cubicBezTo>
                    <a:pt x="322" y="285"/>
                    <a:pt x="327" y="282"/>
                    <a:pt x="327" y="282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35" y="285"/>
                    <a:pt x="335" y="285"/>
                    <a:pt x="335" y="285"/>
                  </a:cubicBezTo>
                  <a:cubicBezTo>
                    <a:pt x="334" y="295"/>
                    <a:pt x="334" y="295"/>
                    <a:pt x="334" y="295"/>
                  </a:cubicBezTo>
                  <a:cubicBezTo>
                    <a:pt x="331" y="290"/>
                    <a:pt x="331" y="290"/>
                    <a:pt x="331" y="290"/>
                  </a:cubicBezTo>
                  <a:cubicBezTo>
                    <a:pt x="323" y="287"/>
                    <a:pt x="323" y="287"/>
                    <a:pt x="323" y="287"/>
                  </a:cubicBezTo>
                  <a:cubicBezTo>
                    <a:pt x="318" y="294"/>
                    <a:pt x="318" y="294"/>
                    <a:pt x="318" y="294"/>
                  </a:cubicBezTo>
                  <a:cubicBezTo>
                    <a:pt x="321" y="287"/>
                    <a:pt x="321" y="287"/>
                    <a:pt x="321" y="287"/>
                  </a:cubicBezTo>
                  <a:cubicBezTo>
                    <a:pt x="308" y="288"/>
                    <a:pt x="308" y="288"/>
                    <a:pt x="308" y="288"/>
                  </a:cubicBezTo>
                  <a:cubicBezTo>
                    <a:pt x="303" y="302"/>
                    <a:pt x="303" y="302"/>
                    <a:pt x="303" y="302"/>
                  </a:cubicBezTo>
                  <a:cubicBezTo>
                    <a:pt x="297" y="301"/>
                    <a:pt x="297" y="301"/>
                    <a:pt x="297" y="301"/>
                  </a:cubicBezTo>
                  <a:cubicBezTo>
                    <a:pt x="296" y="304"/>
                    <a:pt x="296" y="304"/>
                    <a:pt x="296" y="304"/>
                  </a:cubicBezTo>
                  <a:cubicBezTo>
                    <a:pt x="296" y="304"/>
                    <a:pt x="295" y="303"/>
                    <a:pt x="290" y="305"/>
                  </a:cubicBezTo>
                  <a:cubicBezTo>
                    <a:pt x="284" y="308"/>
                    <a:pt x="284" y="311"/>
                    <a:pt x="284" y="311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286" y="316"/>
                    <a:pt x="286" y="316"/>
                    <a:pt x="286" y="316"/>
                  </a:cubicBezTo>
                  <a:cubicBezTo>
                    <a:pt x="281" y="317"/>
                    <a:pt x="281" y="317"/>
                    <a:pt x="281" y="317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79" y="321"/>
                    <a:pt x="279" y="321"/>
                    <a:pt x="279" y="321"/>
                  </a:cubicBezTo>
                  <a:cubicBezTo>
                    <a:pt x="276" y="321"/>
                    <a:pt x="276" y="321"/>
                    <a:pt x="276" y="321"/>
                  </a:cubicBezTo>
                  <a:cubicBezTo>
                    <a:pt x="282" y="327"/>
                    <a:pt x="282" y="327"/>
                    <a:pt x="282" y="327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75" y="331"/>
                    <a:pt x="275" y="331"/>
                    <a:pt x="275" y="331"/>
                  </a:cubicBezTo>
                  <a:cubicBezTo>
                    <a:pt x="277" y="333"/>
                    <a:pt x="277" y="333"/>
                    <a:pt x="277" y="333"/>
                  </a:cubicBezTo>
                  <a:cubicBezTo>
                    <a:pt x="281" y="332"/>
                    <a:pt x="281" y="332"/>
                    <a:pt x="281" y="332"/>
                  </a:cubicBezTo>
                  <a:cubicBezTo>
                    <a:pt x="287" y="335"/>
                    <a:pt x="287" y="335"/>
                    <a:pt x="287" y="335"/>
                  </a:cubicBezTo>
                  <a:cubicBezTo>
                    <a:pt x="287" y="335"/>
                    <a:pt x="282" y="334"/>
                    <a:pt x="279" y="335"/>
                  </a:cubicBezTo>
                  <a:cubicBezTo>
                    <a:pt x="276" y="336"/>
                    <a:pt x="278" y="339"/>
                    <a:pt x="278" y="339"/>
                  </a:cubicBezTo>
                  <a:cubicBezTo>
                    <a:pt x="275" y="339"/>
                    <a:pt x="275" y="339"/>
                    <a:pt x="275" y="339"/>
                  </a:cubicBezTo>
                  <a:cubicBezTo>
                    <a:pt x="275" y="335"/>
                    <a:pt x="275" y="335"/>
                    <a:pt x="275" y="335"/>
                  </a:cubicBezTo>
                  <a:cubicBezTo>
                    <a:pt x="271" y="334"/>
                    <a:pt x="271" y="334"/>
                    <a:pt x="271" y="334"/>
                  </a:cubicBezTo>
                  <a:cubicBezTo>
                    <a:pt x="270" y="336"/>
                    <a:pt x="270" y="336"/>
                    <a:pt x="270" y="336"/>
                  </a:cubicBezTo>
                  <a:cubicBezTo>
                    <a:pt x="273" y="340"/>
                    <a:pt x="273" y="340"/>
                    <a:pt x="273" y="340"/>
                  </a:cubicBezTo>
                  <a:cubicBezTo>
                    <a:pt x="273" y="340"/>
                    <a:pt x="270" y="346"/>
                    <a:pt x="272" y="348"/>
                  </a:cubicBezTo>
                  <a:cubicBezTo>
                    <a:pt x="275" y="350"/>
                    <a:pt x="284" y="347"/>
                    <a:pt x="284" y="348"/>
                  </a:cubicBezTo>
                  <a:cubicBezTo>
                    <a:pt x="284" y="349"/>
                    <a:pt x="275" y="350"/>
                    <a:pt x="275" y="350"/>
                  </a:cubicBezTo>
                  <a:cubicBezTo>
                    <a:pt x="271" y="356"/>
                    <a:pt x="271" y="356"/>
                    <a:pt x="271" y="35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85" y="351"/>
                    <a:pt x="285" y="351"/>
                    <a:pt x="285" y="351"/>
                  </a:cubicBezTo>
                  <a:cubicBezTo>
                    <a:pt x="287" y="351"/>
                    <a:pt x="287" y="351"/>
                    <a:pt x="287" y="351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0" y="353"/>
                    <a:pt x="290" y="353"/>
                    <a:pt x="290" y="353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285" y="360"/>
                    <a:pt x="285" y="360"/>
                    <a:pt x="285" y="360"/>
                  </a:cubicBezTo>
                  <a:cubicBezTo>
                    <a:pt x="285" y="360"/>
                    <a:pt x="286" y="355"/>
                    <a:pt x="285" y="353"/>
                  </a:cubicBezTo>
                  <a:cubicBezTo>
                    <a:pt x="282" y="351"/>
                    <a:pt x="277" y="356"/>
                    <a:pt x="275" y="357"/>
                  </a:cubicBezTo>
                  <a:cubicBezTo>
                    <a:pt x="273" y="359"/>
                    <a:pt x="263" y="360"/>
                    <a:pt x="262" y="363"/>
                  </a:cubicBezTo>
                  <a:cubicBezTo>
                    <a:pt x="260" y="366"/>
                    <a:pt x="269" y="364"/>
                    <a:pt x="269" y="364"/>
                  </a:cubicBezTo>
                  <a:cubicBezTo>
                    <a:pt x="268" y="371"/>
                    <a:pt x="268" y="371"/>
                    <a:pt x="268" y="371"/>
                  </a:cubicBezTo>
                  <a:cubicBezTo>
                    <a:pt x="274" y="375"/>
                    <a:pt x="274" y="375"/>
                    <a:pt x="274" y="375"/>
                  </a:cubicBezTo>
                  <a:cubicBezTo>
                    <a:pt x="274" y="375"/>
                    <a:pt x="262" y="372"/>
                    <a:pt x="261" y="375"/>
                  </a:cubicBezTo>
                  <a:cubicBezTo>
                    <a:pt x="259" y="378"/>
                    <a:pt x="261" y="381"/>
                    <a:pt x="261" y="381"/>
                  </a:cubicBezTo>
                  <a:cubicBezTo>
                    <a:pt x="259" y="381"/>
                    <a:pt x="259" y="381"/>
                    <a:pt x="259" y="381"/>
                  </a:cubicBezTo>
                  <a:cubicBezTo>
                    <a:pt x="257" y="383"/>
                    <a:pt x="257" y="383"/>
                    <a:pt x="257" y="383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7"/>
                    <a:pt x="256" y="386"/>
                    <a:pt x="253" y="389"/>
                  </a:cubicBezTo>
                  <a:cubicBezTo>
                    <a:pt x="249" y="391"/>
                    <a:pt x="254" y="398"/>
                    <a:pt x="254" y="398"/>
                  </a:cubicBezTo>
                  <a:cubicBezTo>
                    <a:pt x="258" y="399"/>
                    <a:pt x="258" y="399"/>
                    <a:pt x="258" y="399"/>
                  </a:cubicBezTo>
                  <a:cubicBezTo>
                    <a:pt x="259" y="405"/>
                    <a:pt x="259" y="405"/>
                    <a:pt x="259" y="405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49" y="396"/>
                    <a:pt x="249" y="396"/>
                    <a:pt x="249" y="396"/>
                  </a:cubicBezTo>
                  <a:cubicBezTo>
                    <a:pt x="247" y="404"/>
                    <a:pt x="247" y="404"/>
                    <a:pt x="247" y="404"/>
                  </a:cubicBezTo>
                  <a:cubicBezTo>
                    <a:pt x="252" y="404"/>
                    <a:pt x="252" y="404"/>
                    <a:pt x="252" y="404"/>
                  </a:cubicBezTo>
                  <a:cubicBezTo>
                    <a:pt x="252" y="404"/>
                    <a:pt x="248" y="406"/>
                    <a:pt x="246" y="409"/>
                  </a:cubicBezTo>
                  <a:cubicBezTo>
                    <a:pt x="244" y="411"/>
                    <a:pt x="246" y="416"/>
                    <a:pt x="246" y="416"/>
                  </a:cubicBezTo>
                  <a:cubicBezTo>
                    <a:pt x="241" y="418"/>
                    <a:pt x="241" y="418"/>
                    <a:pt x="241" y="418"/>
                  </a:cubicBezTo>
                  <a:cubicBezTo>
                    <a:pt x="243" y="420"/>
                    <a:pt x="243" y="420"/>
                    <a:pt x="243" y="420"/>
                  </a:cubicBezTo>
                  <a:cubicBezTo>
                    <a:pt x="248" y="416"/>
                    <a:pt x="248" y="416"/>
                    <a:pt x="248" y="416"/>
                  </a:cubicBezTo>
                  <a:cubicBezTo>
                    <a:pt x="248" y="413"/>
                    <a:pt x="248" y="413"/>
                    <a:pt x="248" y="413"/>
                  </a:cubicBezTo>
                  <a:cubicBezTo>
                    <a:pt x="253" y="411"/>
                    <a:pt x="253" y="411"/>
                    <a:pt x="253" y="411"/>
                  </a:cubicBezTo>
                  <a:cubicBezTo>
                    <a:pt x="249" y="415"/>
                    <a:pt x="249" y="415"/>
                    <a:pt x="249" y="415"/>
                  </a:cubicBezTo>
                  <a:cubicBezTo>
                    <a:pt x="254" y="419"/>
                    <a:pt x="254" y="419"/>
                    <a:pt x="254" y="419"/>
                  </a:cubicBezTo>
                  <a:cubicBezTo>
                    <a:pt x="253" y="423"/>
                    <a:pt x="253" y="423"/>
                    <a:pt x="253" y="423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1" y="414"/>
                    <a:pt x="271" y="414"/>
                    <a:pt x="271" y="414"/>
                  </a:cubicBezTo>
                  <a:cubicBezTo>
                    <a:pt x="256" y="427"/>
                    <a:pt x="256" y="427"/>
                    <a:pt x="256" y="427"/>
                  </a:cubicBezTo>
                  <a:cubicBezTo>
                    <a:pt x="252" y="428"/>
                    <a:pt x="252" y="428"/>
                    <a:pt x="252" y="428"/>
                  </a:cubicBezTo>
                  <a:cubicBezTo>
                    <a:pt x="249" y="421"/>
                    <a:pt x="249" y="421"/>
                    <a:pt x="249" y="421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43" y="424"/>
                    <a:pt x="243" y="424"/>
                    <a:pt x="243" y="424"/>
                  </a:cubicBezTo>
                  <a:cubicBezTo>
                    <a:pt x="243" y="424"/>
                    <a:pt x="239" y="424"/>
                    <a:pt x="239" y="426"/>
                  </a:cubicBezTo>
                  <a:cubicBezTo>
                    <a:pt x="239" y="427"/>
                    <a:pt x="235" y="435"/>
                    <a:pt x="231" y="435"/>
                  </a:cubicBezTo>
                  <a:cubicBezTo>
                    <a:pt x="228" y="436"/>
                    <a:pt x="222" y="440"/>
                    <a:pt x="222" y="440"/>
                  </a:cubicBezTo>
                  <a:cubicBezTo>
                    <a:pt x="224" y="442"/>
                    <a:pt x="224" y="442"/>
                    <a:pt x="224" y="442"/>
                  </a:cubicBezTo>
                  <a:cubicBezTo>
                    <a:pt x="224" y="442"/>
                    <a:pt x="216" y="446"/>
                    <a:pt x="221" y="450"/>
                  </a:cubicBezTo>
                  <a:cubicBezTo>
                    <a:pt x="224" y="452"/>
                    <a:pt x="231" y="441"/>
                    <a:pt x="231" y="441"/>
                  </a:cubicBezTo>
                  <a:cubicBezTo>
                    <a:pt x="242" y="436"/>
                    <a:pt x="242" y="436"/>
                    <a:pt x="242" y="436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8" y="446"/>
                    <a:pt x="232" y="447"/>
                    <a:pt x="228" y="450"/>
                  </a:cubicBezTo>
                  <a:cubicBezTo>
                    <a:pt x="223" y="452"/>
                    <a:pt x="226" y="457"/>
                    <a:pt x="226" y="457"/>
                  </a:cubicBezTo>
                  <a:cubicBezTo>
                    <a:pt x="223" y="458"/>
                    <a:pt x="223" y="458"/>
                    <a:pt x="223" y="458"/>
                  </a:cubicBezTo>
                  <a:cubicBezTo>
                    <a:pt x="219" y="455"/>
                    <a:pt x="219" y="455"/>
                    <a:pt x="219" y="455"/>
                  </a:cubicBezTo>
                  <a:cubicBezTo>
                    <a:pt x="215" y="457"/>
                    <a:pt x="215" y="457"/>
                    <a:pt x="215" y="457"/>
                  </a:cubicBezTo>
                  <a:cubicBezTo>
                    <a:pt x="215" y="457"/>
                    <a:pt x="219" y="463"/>
                    <a:pt x="221" y="465"/>
                  </a:cubicBezTo>
                  <a:cubicBezTo>
                    <a:pt x="222" y="467"/>
                    <a:pt x="231" y="459"/>
                    <a:pt x="231" y="459"/>
                  </a:cubicBezTo>
                  <a:cubicBezTo>
                    <a:pt x="226" y="468"/>
                    <a:pt x="226" y="468"/>
                    <a:pt x="226" y="468"/>
                  </a:cubicBezTo>
                  <a:cubicBezTo>
                    <a:pt x="221" y="471"/>
                    <a:pt x="221" y="471"/>
                    <a:pt x="221" y="471"/>
                  </a:cubicBezTo>
                  <a:cubicBezTo>
                    <a:pt x="213" y="459"/>
                    <a:pt x="213" y="459"/>
                    <a:pt x="213" y="459"/>
                  </a:cubicBezTo>
                  <a:cubicBezTo>
                    <a:pt x="204" y="467"/>
                    <a:pt x="204" y="467"/>
                    <a:pt x="204" y="467"/>
                  </a:cubicBezTo>
                  <a:cubicBezTo>
                    <a:pt x="207" y="470"/>
                    <a:pt x="207" y="470"/>
                    <a:pt x="207" y="470"/>
                  </a:cubicBezTo>
                  <a:cubicBezTo>
                    <a:pt x="200" y="468"/>
                    <a:pt x="200" y="468"/>
                    <a:pt x="200" y="468"/>
                  </a:cubicBezTo>
                  <a:cubicBezTo>
                    <a:pt x="198" y="471"/>
                    <a:pt x="198" y="471"/>
                    <a:pt x="198" y="471"/>
                  </a:cubicBezTo>
                  <a:cubicBezTo>
                    <a:pt x="203" y="474"/>
                    <a:pt x="203" y="474"/>
                    <a:pt x="203" y="474"/>
                  </a:cubicBezTo>
                  <a:cubicBezTo>
                    <a:pt x="198" y="475"/>
                    <a:pt x="198" y="475"/>
                    <a:pt x="198" y="475"/>
                  </a:cubicBezTo>
                  <a:cubicBezTo>
                    <a:pt x="198" y="475"/>
                    <a:pt x="189" y="485"/>
                    <a:pt x="188" y="486"/>
                  </a:cubicBezTo>
                  <a:cubicBezTo>
                    <a:pt x="188" y="487"/>
                    <a:pt x="191" y="490"/>
                    <a:pt x="191" y="490"/>
                  </a:cubicBezTo>
                  <a:cubicBezTo>
                    <a:pt x="184" y="489"/>
                    <a:pt x="184" y="489"/>
                    <a:pt x="184" y="489"/>
                  </a:cubicBezTo>
                  <a:cubicBezTo>
                    <a:pt x="182" y="498"/>
                    <a:pt x="182" y="498"/>
                    <a:pt x="182" y="498"/>
                  </a:cubicBezTo>
                  <a:cubicBezTo>
                    <a:pt x="182" y="498"/>
                    <a:pt x="188" y="498"/>
                    <a:pt x="188" y="500"/>
                  </a:cubicBezTo>
                  <a:cubicBezTo>
                    <a:pt x="188" y="502"/>
                    <a:pt x="179" y="504"/>
                    <a:pt x="174" y="505"/>
                  </a:cubicBezTo>
                  <a:cubicBezTo>
                    <a:pt x="169" y="507"/>
                    <a:pt x="169" y="517"/>
                    <a:pt x="169" y="517"/>
                  </a:cubicBezTo>
                  <a:cubicBezTo>
                    <a:pt x="169" y="517"/>
                    <a:pt x="184" y="509"/>
                    <a:pt x="183" y="514"/>
                  </a:cubicBezTo>
                  <a:cubicBezTo>
                    <a:pt x="183" y="518"/>
                    <a:pt x="176" y="517"/>
                    <a:pt x="176" y="517"/>
                  </a:cubicBezTo>
                  <a:cubicBezTo>
                    <a:pt x="177" y="520"/>
                    <a:pt x="177" y="520"/>
                    <a:pt x="177" y="520"/>
                  </a:cubicBezTo>
                  <a:cubicBezTo>
                    <a:pt x="182" y="522"/>
                    <a:pt x="182" y="522"/>
                    <a:pt x="182" y="52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181" y="529"/>
                    <a:pt x="181" y="529"/>
                    <a:pt x="181" y="529"/>
                  </a:cubicBezTo>
                  <a:cubicBezTo>
                    <a:pt x="198" y="520"/>
                    <a:pt x="198" y="520"/>
                    <a:pt x="198" y="520"/>
                  </a:cubicBezTo>
                  <a:cubicBezTo>
                    <a:pt x="198" y="520"/>
                    <a:pt x="202" y="517"/>
                    <a:pt x="203" y="516"/>
                  </a:cubicBezTo>
                  <a:cubicBezTo>
                    <a:pt x="205" y="515"/>
                    <a:pt x="206" y="513"/>
                    <a:pt x="209" y="512"/>
                  </a:cubicBezTo>
                  <a:cubicBezTo>
                    <a:pt x="211" y="512"/>
                    <a:pt x="213" y="508"/>
                    <a:pt x="213" y="505"/>
                  </a:cubicBezTo>
                  <a:cubicBezTo>
                    <a:pt x="213" y="502"/>
                    <a:pt x="202" y="507"/>
                    <a:pt x="202" y="507"/>
                  </a:cubicBezTo>
                  <a:cubicBezTo>
                    <a:pt x="202" y="507"/>
                    <a:pt x="209" y="502"/>
                    <a:pt x="212" y="500"/>
                  </a:cubicBezTo>
                  <a:cubicBezTo>
                    <a:pt x="214" y="499"/>
                    <a:pt x="215" y="494"/>
                    <a:pt x="221" y="494"/>
                  </a:cubicBezTo>
                  <a:cubicBezTo>
                    <a:pt x="225" y="494"/>
                    <a:pt x="226" y="498"/>
                    <a:pt x="226" y="498"/>
                  </a:cubicBezTo>
                  <a:cubicBezTo>
                    <a:pt x="215" y="503"/>
                    <a:pt x="215" y="503"/>
                    <a:pt x="215" y="503"/>
                  </a:cubicBezTo>
                  <a:cubicBezTo>
                    <a:pt x="214" y="506"/>
                    <a:pt x="214" y="506"/>
                    <a:pt x="214" y="506"/>
                  </a:cubicBezTo>
                  <a:cubicBezTo>
                    <a:pt x="214" y="506"/>
                    <a:pt x="223" y="506"/>
                    <a:pt x="224" y="509"/>
                  </a:cubicBezTo>
                  <a:cubicBezTo>
                    <a:pt x="224" y="513"/>
                    <a:pt x="214" y="515"/>
                    <a:pt x="211" y="516"/>
                  </a:cubicBezTo>
                  <a:cubicBezTo>
                    <a:pt x="208" y="516"/>
                    <a:pt x="203" y="521"/>
                    <a:pt x="202" y="524"/>
                  </a:cubicBezTo>
                  <a:cubicBezTo>
                    <a:pt x="202" y="528"/>
                    <a:pt x="206" y="522"/>
                    <a:pt x="208" y="523"/>
                  </a:cubicBezTo>
                  <a:cubicBezTo>
                    <a:pt x="209" y="525"/>
                    <a:pt x="206" y="526"/>
                    <a:pt x="205" y="528"/>
                  </a:cubicBezTo>
                  <a:cubicBezTo>
                    <a:pt x="203" y="530"/>
                    <a:pt x="208" y="531"/>
                    <a:pt x="208" y="531"/>
                  </a:cubicBezTo>
                  <a:cubicBezTo>
                    <a:pt x="205" y="533"/>
                    <a:pt x="205" y="533"/>
                    <a:pt x="205" y="533"/>
                  </a:cubicBezTo>
                  <a:cubicBezTo>
                    <a:pt x="205" y="533"/>
                    <a:pt x="194" y="530"/>
                    <a:pt x="188" y="532"/>
                  </a:cubicBezTo>
                  <a:cubicBezTo>
                    <a:pt x="181" y="534"/>
                    <a:pt x="187" y="539"/>
                    <a:pt x="187" y="539"/>
                  </a:cubicBezTo>
                  <a:cubicBezTo>
                    <a:pt x="180" y="538"/>
                    <a:pt x="180" y="538"/>
                    <a:pt x="180" y="538"/>
                  </a:cubicBezTo>
                  <a:cubicBezTo>
                    <a:pt x="175" y="540"/>
                    <a:pt x="175" y="540"/>
                    <a:pt x="175" y="540"/>
                  </a:cubicBezTo>
                  <a:cubicBezTo>
                    <a:pt x="180" y="532"/>
                    <a:pt x="180" y="532"/>
                    <a:pt x="180" y="532"/>
                  </a:cubicBezTo>
                  <a:cubicBezTo>
                    <a:pt x="175" y="518"/>
                    <a:pt x="175" y="518"/>
                    <a:pt x="175" y="518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6" y="523"/>
                    <a:pt x="166" y="523"/>
                    <a:pt x="166" y="523"/>
                  </a:cubicBezTo>
                  <a:cubicBezTo>
                    <a:pt x="158" y="526"/>
                    <a:pt x="158" y="526"/>
                    <a:pt x="158" y="526"/>
                  </a:cubicBezTo>
                  <a:cubicBezTo>
                    <a:pt x="157" y="530"/>
                    <a:pt x="157" y="530"/>
                    <a:pt x="157" y="530"/>
                  </a:cubicBezTo>
                  <a:cubicBezTo>
                    <a:pt x="164" y="531"/>
                    <a:pt x="164" y="531"/>
                    <a:pt x="164" y="531"/>
                  </a:cubicBezTo>
                  <a:cubicBezTo>
                    <a:pt x="157" y="532"/>
                    <a:pt x="157" y="532"/>
                    <a:pt x="157" y="532"/>
                  </a:cubicBezTo>
                  <a:cubicBezTo>
                    <a:pt x="156" y="536"/>
                    <a:pt x="156" y="536"/>
                    <a:pt x="156" y="536"/>
                  </a:cubicBezTo>
                  <a:cubicBezTo>
                    <a:pt x="162" y="537"/>
                    <a:pt x="162" y="537"/>
                    <a:pt x="162" y="537"/>
                  </a:cubicBezTo>
                  <a:cubicBezTo>
                    <a:pt x="150" y="539"/>
                    <a:pt x="150" y="539"/>
                    <a:pt x="150" y="539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47" y="534"/>
                    <a:pt x="147" y="534"/>
                    <a:pt x="147" y="534"/>
                  </a:cubicBezTo>
                  <a:cubicBezTo>
                    <a:pt x="145" y="532"/>
                    <a:pt x="145" y="532"/>
                    <a:pt x="145" y="532"/>
                  </a:cubicBezTo>
                  <a:cubicBezTo>
                    <a:pt x="141" y="534"/>
                    <a:pt x="141" y="534"/>
                    <a:pt x="141" y="534"/>
                  </a:cubicBezTo>
                  <a:cubicBezTo>
                    <a:pt x="145" y="538"/>
                    <a:pt x="145" y="538"/>
                    <a:pt x="145" y="538"/>
                  </a:cubicBezTo>
                  <a:cubicBezTo>
                    <a:pt x="138" y="538"/>
                    <a:pt x="138" y="538"/>
                    <a:pt x="138" y="538"/>
                  </a:cubicBezTo>
                  <a:cubicBezTo>
                    <a:pt x="134" y="541"/>
                    <a:pt x="134" y="541"/>
                    <a:pt x="134" y="541"/>
                  </a:cubicBezTo>
                  <a:cubicBezTo>
                    <a:pt x="139" y="547"/>
                    <a:pt x="139" y="547"/>
                    <a:pt x="139" y="547"/>
                  </a:cubicBezTo>
                  <a:cubicBezTo>
                    <a:pt x="143" y="548"/>
                    <a:pt x="143" y="548"/>
                    <a:pt x="143" y="548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5" y="552"/>
                    <a:pt x="135" y="552"/>
                    <a:pt x="135" y="552"/>
                  </a:cubicBezTo>
                  <a:cubicBezTo>
                    <a:pt x="126" y="551"/>
                    <a:pt x="126" y="551"/>
                    <a:pt x="126" y="551"/>
                  </a:cubicBezTo>
                  <a:cubicBezTo>
                    <a:pt x="126" y="555"/>
                    <a:pt x="126" y="555"/>
                    <a:pt x="126" y="555"/>
                  </a:cubicBezTo>
                  <a:cubicBezTo>
                    <a:pt x="132" y="563"/>
                    <a:pt x="132" y="563"/>
                    <a:pt x="132" y="563"/>
                  </a:cubicBezTo>
                  <a:cubicBezTo>
                    <a:pt x="138" y="561"/>
                    <a:pt x="138" y="561"/>
                    <a:pt x="138" y="561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2" y="566"/>
                    <a:pt x="132" y="566"/>
                    <a:pt x="132" y="566"/>
                  </a:cubicBezTo>
                  <a:cubicBezTo>
                    <a:pt x="137" y="568"/>
                    <a:pt x="137" y="568"/>
                    <a:pt x="137" y="568"/>
                  </a:cubicBezTo>
                  <a:cubicBezTo>
                    <a:pt x="135" y="569"/>
                    <a:pt x="135" y="569"/>
                    <a:pt x="135" y="569"/>
                  </a:cubicBezTo>
                  <a:cubicBezTo>
                    <a:pt x="130" y="567"/>
                    <a:pt x="130" y="567"/>
                    <a:pt x="130" y="567"/>
                  </a:cubicBezTo>
                  <a:cubicBezTo>
                    <a:pt x="129" y="561"/>
                    <a:pt x="129" y="561"/>
                    <a:pt x="129" y="561"/>
                  </a:cubicBezTo>
                  <a:cubicBezTo>
                    <a:pt x="123" y="552"/>
                    <a:pt x="123" y="552"/>
                    <a:pt x="123" y="552"/>
                  </a:cubicBezTo>
                  <a:cubicBezTo>
                    <a:pt x="114" y="557"/>
                    <a:pt x="114" y="557"/>
                    <a:pt x="114" y="557"/>
                  </a:cubicBezTo>
                  <a:cubicBezTo>
                    <a:pt x="116" y="558"/>
                    <a:pt x="116" y="558"/>
                    <a:pt x="116" y="558"/>
                  </a:cubicBezTo>
                  <a:cubicBezTo>
                    <a:pt x="118" y="558"/>
                    <a:pt x="118" y="558"/>
                    <a:pt x="118" y="558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32" y="577"/>
                    <a:pt x="132" y="577"/>
                    <a:pt x="132" y="577"/>
                  </a:cubicBezTo>
                  <a:cubicBezTo>
                    <a:pt x="133" y="579"/>
                    <a:pt x="133" y="579"/>
                    <a:pt x="133" y="579"/>
                  </a:cubicBezTo>
                  <a:cubicBezTo>
                    <a:pt x="122" y="571"/>
                    <a:pt x="122" y="571"/>
                    <a:pt x="122" y="571"/>
                  </a:cubicBezTo>
                  <a:cubicBezTo>
                    <a:pt x="122" y="562"/>
                    <a:pt x="122" y="562"/>
                    <a:pt x="122" y="562"/>
                  </a:cubicBezTo>
                  <a:cubicBezTo>
                    <a:pt x="113" y="562"/>
                    <a:pt x="113" y="562"/>
                    <a:pt x="113" y="562"/>
                  </a:cubicBezTo>
                  <a:cubicBezTo>
                    <a:pt x="111" y="565"/>
                    <a:pt x="111" y="565"/>
                    <a:pt x="111" y="565"/>
                  </a:cubicBezTo>
                  <a:cubicBezTo>
                    <a:pt x="112" y="560"/>
                    <a:pt x="112" y="560"/>
                    <a:pt x="112" y="560"/>
                  </a:cubicBezTo>
                  <a:cubicBezTo>
                    <a:pt x="108" y="560"/>
                    <a:pt x="108" y="560"/>
                    <a:pt x="108" y="560"/>
                  </a:cubicBezTo>
                  <a:cubicBezTo>
                    <a:pt x="107" y="563"/>
                    <a:pt x="107" y="563"/>
                    <a:pt x="107" y="563"/>
                  </a:cubicBezTo>
                  <a:cubicBezTo>
                    <a:pt x="101" y="564"/>
                    <a:pt x="101" y="564"/>
                    <a:pt x="101" y="564"/>
                  </a:cubicBezTo>
                  <a:cubicBezTo>
                    <a:pt x="96" y="557"/>
                    <a:pt x="96" y="557"/>
                    <a:pt x="96" y="557"/>
                  </a:cubicBezTo>
                  <a:cubicBezTo>
                    <a:pt x="96" y="557"/>
                    <a:pt x="92" y="557"/>
                    <a:pt x="85" y="562"/>
                  </a:cubicBezTo>
                  <a:cubicBezTo>
                    <a:pt x="80" y="567"/>
                    <a:pt x="93" y="567"/>
                    <a:pt x="94" y="569"/>
                  </a:cubicBezTo>
                  <a:cubicBezTo>
                    <a:pt x="94" y="571"/>
                    <a:pt x="91" y="570"/>
                    <a:pt x="88" y="570"/>
                  </a:cubicBezTo>
                  <a:cubicBezTo>
                    <a:pt x="83" y="571"/>
                    <a:pt x="87" y="577"/>
                    <a:pt x="87" y="577"/>
                  </a:cubicBezTo>
                  <a:cubicBezTo>
                    <a:pt x="87" y="577"/>
                    <a:pt x="104" y="571"/>
                    <a:pt x="105" y="573"/>
                  </a:cubicBezTo>
                  <a:cubicBezTo>
                    <a:pt x="106" y="575"/>
                    <a:pt x="99" y="575"/>
                    <a:pt x="99" y="575"/>
                  </a:cubicBezTo>
                  <a:cubicBezTo>
                    <a:pt x="99" y="578"/>
                    <a:pt x="99" y="578"/>
                    <a:pt x="99" y="578"/>
                  </a:cubicBezTo>
                  <a:cubicBezTo>
                    <a:pt x="99" y="578"/>
                    <a:pt x="108" y="575"/>
                    <a:pt x="113" y="573"/>
                  </a:cubicBezTo>
                  <a:cubicBezTo>
                    <a:pt x="118" y="573"/>
                    <a:pt x="122" y="579"/>
                    <a:pt x="122" y="579"/>
                  </a:cubicBezTo>
                  <a:cubicBezTo>
                    <a:pt x="122" y="579"/>
                    <a:pt x="117" y="576"/>
                    <a:pt x="114" y="575"/>
                  </a:cubicBezTo>
                  <a:cubicBezTo>
                    <a:pt x="112" y="575"/>
                    <a:pt x="104" y="578"/>
                    <a:pt x="104" y="578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2" y="581"/>
                    <a:pt x="102" y="581"/>
                    <a:pt x="102" y="581"/>
                  </a:cubicBezTo>
                  <a:cubicBezTo>
                    <a:pt x="100" y="582"/>
                    <a:pt x="100" y="582"/>
                    <a:pt x="100" y="582"/>
                  </a:cubicBezTo>
                  <a:cubicBezTo>
                    <a:pt x="102" y="586"/>
                    <a:pt x="102" y="586"/>
                    <a:pt x="102" y="586"/>
                  </a:cubicBezTo>
                  <a:cubicBezTo>
                    <a:pt x="108" y="586"/>
                    <a:pt x="108" y="586"/>
                    <a:pt x="108" y="586"/>
                  </a:cubicBezTo>
                  <a:cubicBezTo>
                    <a:pt x="104" y="591"/>
                    <a:pt x="104" y="591"/>
                    <a:pt x="104" y="591"/>
                  </a:cubicBezTo>
                  <a:cubicBezTo>
                    <a:pt x="96" y="584"/>
                    <a:pt x="96" y="584"/>
                    <a:pt x="96" y="584"/>
                  </a:cubicBezTo>
                  <a:cubicBezTo>
                    <a:pt x="92" y="582"/>
                    <a:pt x="92" y="582"/>
                    <a:pt x="92" y="582"/>
                  </a:cubicBezTo>
                  <a:cubicBezTo>
                    <a:pt x="92" y="585"/>
                    <a:pt x="92" y="585"/>
                    <a:pt x="92" y="585"/>
                  </a:cubicBezTo>
                  <a:cubicBezTo>
                    <a:pt x="92" y="585"/>
                    <a:pt x="90" y="581"/>
                    <a:pt x="87" y="580"/>
                  </a:cubicBezTo>
                  <a:cubicBezTo>
                    <a:pt x="83" y="579"/>
                    <a:pt x="83" y="583"/>
                    <a:pt x="83" y="583"/>
                  </a:cubicBezTo>
                  <a:cubicBezTo>
                    <a:pt x="83" y="583"/>
                    <a:pt x="81" y="581"/>
                    <a:pt x="80" y="580"/>
                  </a:cubicBezTo>
                  <a:cubicBezTo>
                    <a:pt x="78" y="580"/>
                    <a:pt x="74" y="583"/>
                    <a:pt x="74" y="583"/>
                  </a:cubicBezTo>
                  <a:cubicBezTo>
                    <a:pt x="74" y="583"/>
                    <a:pt x="72" y="582"/>
                    <a:pt x="69" y="581"/>
                  </a:cubicBezTo>
                  <a:cubicBezTo>
                    <a:pt x="66" y="581"/>
                    <a:pt x="65" y="584"/>
                    <a:pt x="63" y="587"/>
                  </a:cubicBezTo>
                  <a:cubicBezTo>
                    <a:pt x="62" y="589"/>
                    <a:pt x="74" y="586"/>
                    <a:pt x="74" y="586"/>
                  </a:cubicBezTo>
                  <a:cubicBezTo>
                    <a:pt x="74" y="586"/>
                    <a:pt x="82" y="592"/>
                    <a:pt x="84" y="594"/>
                  </a:cubicBezTo>
                  <a:cubicBezTo>
                    <a:pt x="85" y="595"/>
                    <a:pt x="84" y="600"/>
                    <a:pt x="84" y="600"/>
                  </a:cubicBezTo>
                  <a:cubicBezTo>
                    <a:pt x="87" y="603"/>
                    <a:pt x="87" y="603"/>
                    <a:pt x="87" y="603"/>
                  </a:cubicBezTo>
                  <a:cubicBezTo>
                    <a:pt x="92" y="604"/>
                    <a:pt x="92" y="604"/>
                    <a:pt x="92" y="604"/>
                  </a:cubicBezTo>
                  <a:cubicBezTo>
                    <a:pt x="94" y="603"/>
                    <a:pt x="94" y="603"/>
                    <a:pt x="94" y="603"/>
                  </a:cubicBezTo>
                  <a:cubicBezTo>
                    <a:pt x="93" y="605"/>
                    <a:pt x="93" y="605"/>
                    <a:pt x="93" y="605"/>
                  </a:cubicBezTo>
                  <a:cubicBezTo>
                    <a:pt x="85" y="605"/>
                    <a:pt x="85" y="605"/>
                    <a:pt x="85" y="605"/>
                  </a:cubicBezTo>
                  <a:cubicBezTo>
                    <a:pt x="87" y="608"/>
                    <a:pt x="87" y="608"/>
                    <a:pt x="87" y="608"/>
                  </a:cubicBezTo>
                  <a:cubicBezTo>
                    <a:pt x="83" y="614"/>
                    <a:pt x="83" y="614"/>
                    <a:pt x="83" y="614"/>
                  </a:cubicBezTo>
                  <a:cubicBezTo>
                    <a:pt x="85" y="616"/>
                    <a:pt x="85" y="616"/>
                    <a:pt x="85" y="616"/>
                  </a:cubicBezTo>
                  <a:cubicBezTo>
                    <a:pt x="80" y="615"/>
                    <a:pt x="80" y="615"/>
                    <a:pt x="80" y="615"/>
                  </a:cubicBezTo>
                  <a:cubicBezTo>
                    <a:pt x="84" y="607"/>
                    <a:pt x="84" y="607"/>
                    <a:pt x="84" y="607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82" y="594"/>
                    <a:pt x="82" y="594"/>
                    <a:pt x="82" y="594"/>
                  </a:cubicBezTo>
                  <a:cubicBezTo>
                    <a:pt x="73" y="593"/>
                    <a:pt x="73" y="593"/>
                    <a:pt x="73" y="593"/>
                  </a:cubicBezTo>
                  <a:cubicBezTo>
                    <a:pt x="73" y="597"/>
                    <a:pt x="73" y="597"/>
                    <a:pt x="73" y="597"/>
                  </a:cubicBezTo>
                  <a:cubicBezTo>
                    <a:pt x="69" y="595"/>
                    <a:pt x="69" y="595"/>
                    <a:pt x="69" y="595"/>
                  </a:cubicBezTo>
                  <a:cubicBezTo>
                    <a:pt x="66" y="595"/>
                    <a:pt x="66" y="595"/>
                    <a:pt x="66" y="595"/>
                  </a:cubicBezTo>
                  <a:cubicBezTo>
                    <a:pt x="72" y="611"/>
                    <a:pt x="72" y="611"/>
                    <a:pt x="72" y="611"/>
                  </a:cubicBezTo>
                  <a:cubicBezTo>
                    <a:pt x="71" y="613"/>
                    <a:pt x="71" y="613"/>
                    <a:pt x="71" y="613"/>
                  </a:cubicBezTo>
                  <a:cubicBezTo>
                    <a:pt x="68" y="607"/>
                    <a:pt x="68" y="607"/>
                    <a:pt x="68" y="607"/>
                  </a:cubicBezTo>
                  <a:cubicBezTo>
                    <a:pt x="65" y="602"/>
                    <a:pt x="65" y="602"/>
                    <a:pt x="65" y="602"/>
                  </a:cubicBezTo>
                  <a:cubicBezTo>
                    <a:pt x="65" y="602"/>
                    <a:pt x="66" y="598"/>
                    <a:pt x="63" y="597"/>
                  </a:cubicBezTo>
                  <a:cubicBezTo>
                    <a:pt x="61" y="596"/>
                    <a:pt x="52" y="603"/>
                    <a:pt x="52" y="603"/>
                  </a:cubicBezTo>
                  <a:cubicBezTo>
                    <a:pt x="56" y="607"/>
                    <a:pt x="56" y="607"/>
                    <a:pt x="56" y="607"/>
                  </a:cubicBezTo>
                  <a:cubicBezTo>
                    <a:pt x="50" y="607"/>
                    <a:pt x="50" y="607"/>
                    <a:pt x="50" y="607"/>
                  </a:cubicBezTo>
                  <a:cubicBezTo>
                    <a:pt x="50" y="607"/>
                    <a:pt x="52" y="608"/>
                    <a:pt x="55" y="610"/>
                  </a:cubicBezTo>
                  <a:cubicBezTo>
                    <a:pt x="57" y="613"/>
                    <a:pt x="61" y="616"/>
                    <a:pt x="61" y="616"/>
                  </a:cubicBezTo>
                  <a:cubicBezTo>
                    <a:pt x="55" y="615"/>
                    <a:pt x="55" y="615"/>
                    <a:pt x="55" y="615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8" y="617"/>
                    <a:pt x="48" y="617"/>
                    <a:pt x="48" y="617"/>
                  </a:cubicBezTo>
                  <a:cubicBezTo>
                    <a:pt x="51" y="610"/>
                    <a:pt x="51" y="610"/>
                    <a:pt x="51" y="610"/>
                  </a:cubicBezTo>
                  <a:cubicBezTo>
                    <a:pt x="51" y="610"/>
                    <a:pt x="50" y="608"/>
                    <a:pt x="46" y="608"/>
                  </a:cubicBezTo>
                  <a:cubicBezTo>
                    <a:pt x="42" y="608"/>
                    <a:pt x="43" y="612"/>
                    <a:pt x="43" y="612"/>
                  </a:cubicBezTo>
                  <a:cubicBezTo>
                    <a:pt x="43" y="612"/>
                    <a:pt x="40" y="608"/>
                    <a:pt x="38" y="608"/>
                  </a:cubicBezTo>
                  <a:cubicBezTo>
                    <a:pt x="34" y="608"/>
                    <a:pt x="33" y="612"/>
                    <a:pt x="33" y="612"/>
                  </a:cubicBezTo>
                  <a:cubicBezTo>
                    <a:pt x="39" y="615"/>
                    <a:pt x="39" y="615"/>
                    <a:pt x="39" y="615"/>
                  </a:cubicBezTo>
                  <a:cubicBezTo>
                    <a:pt x="38" y="616"/>
                    <a:pt x="38" y="616"/>
                    <a:pt x="38" y="616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32" y="609"/>
                    <a:pt x="32" y="609"/>
                    <a:pt x="32" y="609"/>
                  </a:cubicBezTo>
                  <a:cubicBezTo>
                    <a:pt x="28" y="605"/>
                    <a:pt x="28" y="605"/>
                    <a:pt x="28" y="605"/>
                  </a:cubicBezTo>
                  <a:cubicBezTo>
                    <a:pt x="25" y="609"/>
                    <a:pt x="25" y="609"/>
                    <a:pt x="25" y="609"/>
                  </a:cubicBezTo>
                  <a:cubicBezTo>
                    <a:pt x="26" y="611"/>
                    <a:pt x="26" y="611"/>
                    <a:pt x="26" y="611"/>
                  </a:cubicBezTo>
                  <a:cubicBezTo>
                    <a:pt x="26" y="611"/>
                    <a:pt x="32" y="616"/>
                    <a:pt x="32" y="618"/>
                  </a:cubicBezTo>
                  <a:cubicBezTo>
                    <a:pt x="31" y="621"/>
                    <a:pt x="25" y="620"/>
                    <a:pt x="25" y="624"/>
                  </a:cubicBezTo>
                  <a:cubicBezTo>
                    <a:pt x="25" y="627"/>
                    <a:pt x="34" y="623"/>
                    <a:pt x="34" y="623"/>
                  </a:cubicBezTo>
                  <a:cubicBezTo>
                    <a:pt x="50" y="627"/>
                    <a:pt x="50" y="627"/>
                    <a:pt x="50" y="627"/>
                  </a:cubicBezTo>
                  <a:cubicBezTo>
                    <a:pt x="49" y="628"/>
                    <a:pt x="49" y="628"/>
                    <a:pt x="49" y="628"/>
                  </a:cubicBezTo>
                  <a:cubicBezTo>
                    <a:pt x="64" y="632"/>
                    <a:pt x="64" y="632"/>
                    <a:pt x="64" y="632"/>
                  </a:cubicBezTo>
                  <a:cubicBezTo>
                    <a:pt x="71" y="629"/>
                    <a:pt x="71" y="629"/>
                    <a:pt x="71" y="629"/>
                  </a:cubicBezTo>
                  <a:cubicBezTo>
                    <a:pt x="78" y="631"/>
                    <a:pt x="78" y="631"/>
                    <a:pt x="78" y="631"/>
                  </a:cubicBezTo>
                  <a:cubicBezTo>
                    <a:pt x="78" y="632"/>
                    <a:pt x="78" y="632"/>
                    <a:pt x="78" y="632"/>
                  </a:cubicBezTo>
                  <a:cubicBezTo>
                    <a:pt x="72" y="631"/>
                    <a:pt x="72" y="631"/>
                    <a:pt x="72" y="631"/>
                  </a:cubicBezTo>
                  <a:cubicBezTo>
                    <a:pt x="65" y="633"/>
                    <a:pt x="65" y="633"/>
                    <a:pt x="65" y="633"/>
                  </a:cubicBezTo>
                  <a:cubicBezTo>
                    <a:pt x="56" y="631"/>
                    <a:pt x="56" y="631"/>
                    <a:pt x="56" y="631"/>
                  </a:cubicBezTo>
                  <a:cubicBezTo>
                    <a:pt x="55" y="633"/>
                    <a:pt x="55" y="633"/>
                    <a:pt x="55" y="633"/>
                  </a:cubicBezTo>
                  <a:cubicBezTo>
                    <a:pt x="55" y="633"/>
                    <a:pt x="42" y="626"/>
                    <a:pt x="35" y="626"/>
                  </a:cubicBezTo>
                  <a:cubicBezTo>
                    <a:pt x="28" y="626"/>
                    <a:pt x="29" y="629"/>
                    <a:pt x="29" y="629"/>
                  </a:cubicBezTo>
                  <a:cubicBezTo>
                    <a:pt x="29" y="629"/>
                    <a:pt x="28" y="629"/>
                    <a:pt x="25" y="631"/>
                  </a:cubicBezTo>
                  <a:cubicBezTo>
                    <a:pt x="23" y="632"/>
                    <a:pt x="25" y="635"/>
                    <a:pt x="25" y="635"/>
                  </a:cubicBezTo>
                  <a:cubicBezTo>
                    <a:pt x="25" y="635"/>
                    <a:pt x="19" y="634"/>
                    <a:pt x="17" y="638"/>
                  </a:cubicBezTo>
                  <a:cubicBezTo>
                    <a:pt x="16" y="641"/>
                    <a:pt x="19" y="642"/>
                    <a:pt x="19" y="642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2" y="646"/>
                    <a:pt x="32" y="646"/>
                    <a:pt x="32" y="646"/>
                  </a:cubicBezTo>
                  <a:cubicBezTo>
                    <a:pt x="26" y="644"/>
                    <a:pt x="26" y="644"/>
                    <a:pt x="26" y="644"/>
                  </a:cubicBezTo>
                  <a:cubicBezTo>
                    <a:pt x="24" y="646"/>
                    <a:pt x="24" y="646"/>
                    <a:pt x="24" y="646"/>
                  </a:cubicBezTo>
                  <a:cubicBezTo>
                    <a:pt x="28" y="648"/>
                    <a:pt x="28" y="648"/>
                    <a:pt x="28" y="648"/>
                  </a:cubicBezTo>
                  <a:cubicBezTo>
                    <a:pt x="23" y="648"/>
                    <a:pt x="23" y="648"/>
                    <a:pt x="23" y="648"/>
                  </a:cubicBezTo>
                  <a:cubicBezTo>
                    <a:pt x="23" y="650"/>
                    <a:pt x="23" y="650"/>
                    <a:pt x="23" y="650"/>
                  </a:cubicBezTo>
                  <a:cubicBezTo>
                    <a:pt x="32" y="652"/>
                    <a:pt x="32" y="652"/>
                    <a:pt x="32" y="652"/>
                  </a:cubicBezTo>
                  <a:cubicBezTo>
                    <a:pt x="17" y="655"/>
                    <a:pt x="17" y="655"/>
                    <a:pt x="17" y="655"/>
                  </a:cubicBezTo>
                  <a:cubicBezTo>
                    <a:pt x="17" y="657"/>
                    <a:pt x="17" y="657"/>
                    <a:pt x="17" y="657"/>
                  </a:cubicBezTo>
                  <a:cubicBezTo>
                    <a:pt x="20" y="657"/>
                    <a:pt x="20" y="657"/>
                    <a:pt x="20" y="657"/>
                  </a:cubicBezTo>
                  <a:cubicBezTo>
                    <a:pt x="20" y="660"/>
                    <a:pt x="20" y="660"/>
                    <a:pt x="20" y="660"/>
                  </a:cubicBezTo>
                  <a:cubicBezTo>
                    <a:pt x="30" y="660"/>
                    <a:pt x="30" y="660"/>
                    <a:pt x="30" y="660"/>
                  </a:cubicBezTo>
                  <a:cubicBezTo>
                    <a:pt x="17" y="663"/>
                    <a:pt x="17" y="663"/>
                    <a:pt x="17" y="663"/>
                  </a:cubicBezTo>
                  <a:cubicBezTo>
                    <a:pt x="15" y="667"/>
                    <a:pt x="15" y="667"/>
                    <a:pt x="15" y="667"/>
                  </a:cubicBezTo>
                  <a:cubicBezTo>
                    <a:pt x="22" y="670"/>
                    <a:pt x="22" y="670"/>
                    <a:pt x="22" y="670"/>
                  </a:cubicBezTo>
                  <a:cubicBezTo>
                    <a:pt x="18" y="670"/>
                    <a:pt x="18" y="670"/>
                    <a:pt x="18" y="670"/>
                  </a:cubicBezTo>
                  <a:cubicBezTo>
                    <a:pt x="23" y="675"/>
                    <a:pt x="23" y="675"/>
                    <a:pt x="23" y="675"/>
                  </a:cubicBezTo>
                  <a:cubicBezTo>
                    <a:pt x="26" y="675"/>
                    <a:pt x="26" y="675"/>
                    <a:pt x="26" y="675"/>
                  </a:cubicBezTo>
                  <a:cubicBezTo>
                    <a:pt x="28" y="677"/>
                    <a:pt x="28" y="677"/>
                    <a:pt x="28" y="677"/>
                  </a:cubicBezTo>
                  <a:cubicBezTo>
                    <a:pt x="48" y="672"/>
                    <a:pt x="48" y="672"/>
                    <a:pt x="48" y="672"/>
                  </a:cubicBezTo>
                  <a:cubicBezTo>
                    <a:pt x="46" y="675"/>
                    <a:pt x="46" y="675"/>
                    <a:pt x="46" y="675"/>
                  </a:cubicBezTo>
                  <a:cubicBezTo>
                    <a:pt x="55" y="674"/>
                    <a:pt x="55" y="674"/>
                    <a:pt x="55" y="674"/>
                  </a:cubicBezTo>
                  <a:cubicBezTo>
                    <a:pt x="55" y="674"/>
                    <a:pt x="56" y="677"/>
                    <a:pt x="61" y="677"/>
                  </a:cubicBezTo>
                  <a:cubicBezTo>
                    <a:pt x="65" y="677"/>
                    <a:pt x="63" y="668"/>
                    <a:pt x="63" y="668"/>
                  </a:cubicBezTo>
                  <a:cubicBezTo>
                    <a:pt x="66" y="667"/>
                    <a:pt x="66" y="667"/>
                    <a:pt x="66" y="667"/>
                  </a:cubicBezTo>
                  <a:cubicBezTo>
                    <a:pt x="71" y="661"/>
                    <a:pt x="71" y="661"/>
                    <a:pt x="71" y="661"/>
                  </a:cubicBezTo>
                  <a:cubicBezTo>
                    <a:pt x="72" y="662"/>
                    <a:pt x="72" y="662"/>
                    <a:pt x="72" y="662"/>
                  </a:cubicBezTo>
                  <a:cubicBezTo>
                    <a:pt x="67" y="670"/>
                    <a:pt x="67" y="670"/>
                    <a:pt x="67" y="670"/>
                  </a:cubicBezTo>
                  <a:cubicBezTo>
                    <a:pt x="69" y="674"/>
                    <a:pt x="69" y="674"/>
                    <a:pt x="69" y="674"/>
                  </a:cubicBezTo>
                  <a:cubicBezTo>
                    <a:pt x="79" y="675"/>
                    <a:pt x="79" y="675"/>
                    <a:pt x="79" y="675"/>
                  </a:cubicBezTo>
                  <a:cubicBezTo>
                    <a:pt x="83" y="671"/>
                    <a:pt x="83" y="671"/>
                    <a:pt x="83" y="671"/>
                  </a:cubicBezTo>
                  <a:cubicBezTo>
                    <a:pt x="83" y="675"/>
                    <a:pt x="83" y="675"/>
                    <a:pt x="83" y="675"/>
                  </a:cubicBezTo>
                  <a:cubicBezTo>
                    <a:pt x="76" y="677"/>
                    <a:pt x="76" y="677"/>
                    <a:pt x="76" y="677"/>
                  </a:cubicBezTo>
                  <a:cubicBezTo>
                    <a:pt x="78" y="679"/>
                    <a:pt x="78" y="679"/>
                    <a:pt x="78" y="679"/>
                  </a:cubicBezTo>
                  <a:cubicBezTo>
                    <a:pt x="90" y="675"/>
                    <a:pt x="90" y="675"/>
                    <a:pt x="90" y="675"/>
                  </a:cubicBezTo>
                  <a:cubicBezTo>
                    <a:pt x="89" y="668"/>
                    <a:pt x="89" y="668"/>
                    <a:pt x="89" y="668"/>
                  </a:cubicBezTo>
                  <a:cubicBezTo>
                    <a:pt x="89" y="668"/>
                    <a:pt x="91" y="664"/>
                    <a:pt x="93" y="661"/>
                  </a:cubicBezTo>
                  <a:cubicBezTo>
                    <a:pt x="94" y="659"/>
                    <a:pt x="98" y="656"/>
                    <a:pt x="98" y="656"/>
                  </a:cubicBezTo>
                  <a:cubicBezTo>
                    <a:pt x="99" y="658"/>
                    <a:pt x="99" y="658"/>
                    <a:pt x="99" y="658"/>
                  </a:cubicBezTo>
                  <a:cubicBezTo>
                    <a:pt x="99" y="658"/>
                    <a:pt x="97" y="660"/>
                    <a:pt x="95" y="662"/>
                  </a:cubicBezTo>
                  <a:cubicBezTo>
                    <a:pt x="93" y="663"/>
                    <a:pt x="90" y="668"/>
                    <a:pt x="90" y="668"/>
                  </a:cubicBezTo>
                  <a:cubicBezTo>
                    <a:pt x="92" y="671"/>
                    <a:pt x="92" y="671"/>
                    <a:pt x="92" y="671"/>
                  </a:cubicBezTo>
                  <a:cubicBezTo>
                    <a:pt x="93" y="675"/>
                    <a:pt x="93" y="675"/>
                    <a:pt x="93" y="675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98" y="676"/>
                    <a:pt x="98" y="676"/>
                    <a:pt x="98" y="676"/>
                  </a:cubicBezTo>
                  <a:cubicBezTo>
                    <a:pt x="96" y="676"/>
                    <a:pt x="96" y="676"/>
                    <a:pt x="96" y="676"/>
                  </a:cubicBezTo>
                  <a:cubicBezTo>
                    <a:pt x="92" y="677"/>
                    <a:pt x="92" y="677"/>
                    <a:pt x="92" y="677"/>
                  </a:cubicBezTo>
                  <a:cubicBezTo>
                    <a:pt x="92" y="680"/>
                    <a:pt x="92" y="680"/>
                    <a:pt x="92" y="680"/>
                  </a:cubicBezTo>
                  <a:cubicBezTo>
                    <a:pt x="88" y="678"/>
                    <a:pt x="88" y="678"/>
                    <a:pt x="88" y="678"/>
                  </a:cubicBezTo>
                  <a:cubicBezTo>
                    <a:pt x="80" y="680"/>
                    <a:pt x="80" y="680"/>
                    <a:pt x="80" y="680"/>
                  </a:cubicBezTo>
                  <a:cubicBezTo>
                    <a:pt x="80" y="686"/>
                    <a:pt x="80" y="686"/>
                    <a:pt x="80" y="686"/>
                  </a:cubicBezTo>
                  <a:cubicBezTo>
                    <a:pt x="82" y="691"/>
                    <a:pt x="82" y="691"/>
                    <a:pt x="82" y="691"/>
                  </a:cubicBezTo>
                  <a:cubicBezTo>
                    <a:pt x="79" y="688"/>
                    <a:pt x="79" y="688"/>
                    <a:pt x="79" y="688"/>
                  </a:cubicBezTo>
                  <a:cubicBezTo>
                    <a:pt x="76" y="690"/>
                    <a:pt x="76" y="690"/>
                    <a:pt x="76" y="690"/>
                  </a:cubicBezTo>
                  <a:cubicBezTo>
                    <a:pt x="78" y="686"/>
                    <a:pt x="78" y="686"/>
                    <a:pt x="78" y="686"/>
                  </a:cubicBezTo>
                  <a:cubicBezTo>
                    <a:pt x="77" y="681"/>
                    <a:pt x="77" y="681"/>
                    <a:pt x="77" y="68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4" y="678"/>
                    <a:pt x="74" y="678"/>
                    <a:pt x="74" y="678"/>
                  </a:cubicBezTo>
                  <a:cubicBezTo>
                    <a:pt x="74" y="678"/>
                    <a:pt x="67" y="676"/>
                    <a:pt x="66" y="675"/>
                  </a:cubicBezTo>
                  <a:cubicBezTo>
                    <a:pt x="65" y="675"/>
                    <a:pt x="64" y="679"/>
                    <a:pt x="64" y="679"/>
                  </a:cubicBezTo>
                  <a:cubicBezTo>
                    <a:pt x="56" y="680"/>
                    <a:pt x="56" y="680"/>
                    <a:pt x="56" y="680"/>
                  </a:cubicBezTo>
                  <a:cubicBezTo>
                    <a:pt x="56" y="678"/>
                    <a:pt x="56" y="678"/>
                    <a:pt x="56" y="678"/>
                  </a:cubicBezTo>
                  <a:cubicBezTo>
                    <a:pt x="42" y="676"/>
                    <a:pt x="42" y="676"/>
                    <a:pt x="42" y="676"/>
                  </a:cubicBezTo>
                  <a:cubicBezTo>
                    <a:pt x="41" y="678"/>
                    <a:pt x="41" y="678"/>
                    <a:pt x="41" y="678"/>
                  </a:cubicBezTo>
                  <a:cubicBezTo>
                    <a:pt x="39" y="676"/>
                    <a:pt x="39" y="676"/>
                    <a:pt x="39" y="676"/>
                  </a:cubicBezTo>
                  <a:cubicBezTo>
                    <a:pt x="33" y="678"/>
                    <a:pt x="33" y="678"/>
                    <a:pt x="33" y="678"/>
                  </a:cubicBezTo>
                  <a:cubicBezTo>
                    <a:pt x="31" y="681"/>
                    <a:pt x="31" y="681"/>
                    <a:pt x="31" y="681"/>
                  </a:cubicBezTo>
                  <a:cubicBezTo>
                    <a:pt x="24" y="680"/>
                    <a:pt x="24" y="680"/>
                    <a:pt x="24" y="680"/>
                  </a:cubicBezTo>
                  <a:cubicBezTo>
                    <a:pt x="24" y="680"/>
                    <a:pt x="23" y="678"/>
                    <a:pt x="19" y="678"/>
                  </a:cubicBezTo>
                  <a:cubicBezTo>
                    <a:pt x="16" y="678"/>
                    <a:pt x="15" y="682"/>
                    <a:pt x="15" y="682"/>
                  </a:cubicBezTo>
                  <a:cubicBezTo>
                    <a:pt x="18" y="686"/>
                    <a:pt x="18" y="686"/>
                    <a:pt x="18" y="686"/>
                  </a:cubicBezTo>
                  <a:cubicBezTo>
                    <a:pt x="14" y="687"/>
                    <a:pt x="14" y="687"/>
                    <a:pt x="14" y="687"/>
                  </a:cubicBezTo>
                  <a:cubicBezTo>
                    <a:pt x="14" y="687"/>
                    <a:pt x="14" y="692"/>
                    <a:pt x="18" y="693"/>
                  </a:cubicBezTo>
                  <a:cubicBezTo>
                    <a:pt x="22" y="695"/>
                    <a:pt x="24" y="691"/>
                    <a:pt x="24" y="691"/>
                  </a:cubicBezTo>
                  <a:cubicBezTo>
                    <a:pt x="28" y="691"/>
                    <a:pt x="28" y="691"/>
                    <a:pt x="28" y="691"/>
                  </a:cubicBezTo>
                  <a:cubicBezTo>
                    <a:pt x="27" y="692"/>
                    <a:pt x="27" y="692"/>
                    <a:pt x="27" y="692"/>
                  </a:cubicBezTo>
                  <a:cubicBezTo>
                    <a:pt x="27" y="692"/>
                    <a:pt x="23" y="692"/>
                    <a:pt x="22" y="697"/>
                  </a:cubicBezTo>
                  <a:cubicBezTo>
                    <a:pt x="20" y="703"/>
                    <a:pt x="27" y="704"/>
                    <a:pt x="27" y="704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7" y="707"/>
                    <a:pt x="27" y="707"/>
                    <a:pt x="27" y="707"/>
                  </a:cubicBezTo>
                  <a:cubicBezTo>
                    <a:pt x="30" y="707"/>
                    <a:pt x="30" y="707"/>
                    <a:pt x="30" y="707"/>
                  </a:cubicBezTo>
                  <a:cubicBezTo>
                    <a:pt x="30" y="707"/>
                    <a:pt x="29" y="705"/>
                    <a:pt x="29" y="703"/>
                  </a:cubicBezTo>
                  <a:cubicBezTo>
                    <a:pt x="29" y="702"/>
                    <a:pt x="32" y="701"/>
                    <a:pt x="32" y="701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8" y="704"/>
                    <a:pt x="36" y="708"/>
                    <a:pt x="35" y="711"/>
                  </a:cubicBezTo>
                  <a:cubicBezTo>
                    <a:pt x="34" y="714"/>
                    <a:pt x="34" y="719"/>
                    <a:pt x="34" y="719"/>
                  </a:cubicBezTo>
                  <a:cubicBezTo>
                    <a:pt x="25" y="720"/>
                    <a:pt x="25" y="720"/>
                    <a:pt x="25" y="720"/>
                  </a:cubicBezTo>
                  <a:cubicBezTo>
                    <a:pt x="25" y="720"/>
                    <a:pt x="24" y="713"/>
                    <a:pt x="19" y="714"/>
                  </a:cubicBezTo>
                  <a:cubicBezTo>
                    <a:pt x="15" y="715"/>
                    <a:pt x="19" y="723"/>
                    <a:pt x="19" y="723"/>
                  </a:cubicBezTo>
                  <a:cubicBezTo>
                    <a:pt x="19" y="723"/>
                    <a:pt x="15" y="723"/>
                    <a:pt x="15" y="727"/>
                  </a:cubicBezTo>
                  <a:cubicBezTo>
                    <a:pt x="15" y="731"/>
                    <a:pt x="18" y="730"/>
                    <a:pt x="18" y="730"/>
                  </a:cubicBezTo>
                  <a:cubicBezTo>
                    <a:pt x="17" y="733"/>
                    <a:pt x="17" y="733"/>
                    <a:pt x="17" y="733"/>
                  </a:cubicBezTo>
                  <a:cubicBezTo>
                    <a:pt x="22" y="738"/>
                    <a:pt x="22" y="738"/>
                    <a:pt x="22" y="738"/>
                  </a:cubicBezTo>
                  <a:cubicBezTo>
                    <a:pt x="26" y="735"/>
                    <a:pt x="26" y="735"/>
                    <a:pt x="26" y="735"/>
                  </a:cubicBezTo>
                  <a:cubicBezTo>
                    <a:pt x="29" y="727"/>
                    <a:pt x="29" y="727"/>
                    <a:pt x="29" y="727"/>
                  </a:cubicBezTo>
                  <a:cubicBezTo>
                    <a:pt x="27" y="734"/>
                    <a:pt x="27" y="734"/>
                    <a:pt x="27" y="734"/>
                  </a:cubicBezTo>
                  <a:cubicBezTo>
                    <a:pt x="27" y="738"/>
                    <a:pt x="27" y="738"/>
                    <a:pt x="27" y="738"/>
                  </a:cubicBezTo>
                  <a:cubicBezTo>
                    <a:pt x="32" y="738"/>
                    <a:pt x="32" y="738"/>
                    <a:pt x="32" y="738"/>
                  </a:cubicBezTo>
                  <a:cubicBezTo>
                    <a:pt x="33" y="739"/>
                    <a:pt x="31" y="743"/>
                    <a:pt x="31" y="743"/>
                  </a:cubicBezTo>
                  <a:cubicBezTo>
                    <a:pt x="32" y="744"/>
                    <a:pt x="32" y="744"/>
                    <a:pt x="32" y="744"/>
                  </a:cubicBezTo>
                  <a:cubicBezTo>
                    <a:pt x="30" y="744"/>
                    <a:pt x="30" y="744"/>
                    <a:pt x="30" y="744"/>
                  </a:cubicBezTo>
                  <a:cubicBezTo>
                    <a:pt x="30" y="746"/>
                    <a:pt x="30" y="746"/>
                    <a:pt x="30" y="746"/>
                  </a:cubicBezTo>
                  <a:cubicBezTo>
                    <a:pt x="34" y="750"/>
                    <a:pt x="34" y="750"/>
                    <a:pt x="34" y="750"/>
                  </a:cubicBezTo>
                  <a:cubicBezTo>
                    <a:pt x="38" y="745"/>
                    <a:pt x="38" y="745"/>
                    <a:pt x="38" y="745"/>
                  </a:cubicBezTo>
                  <a:cubicBezTo>
                    <a:pt x="38" y="738"/>
                    <a:pt x="38" y="738"/>
                    <a:pt x="38" y="738"/>
                  </a:cubicBezTo>
                  <a:cubicBezTo>
                    <a:pt x="40" y="737"/>
                    <a:pt x="40" y="737"/>
                    <a:pt x="40" y="737"/>
                  </a:cubicBezTo>
                  <a:cubicBezTo>
                    <a:pt x="42" y="731"/>
                    <a:pt x="42" y="731"/>
                    <a:pt x="42" y="731"/>
                  </a:cubicBezTo>
                  <a:cubicBezTo>
                    <a:pt x="42" y="731"/>
                    <a:pt x="45" y="734"/>
                    <a:pt x="47" y="731"/>
                  </a:cubicBezTo>
                  <a:cubicBezTo>
                    <a:pt x="48" y="730"/>
                    <a:pt x="47" y="726"/>
                    <a:pt x="47" y="726"/>
                  </a:cubicBezTo>
                  <a:cubicBezTo>
                    <a:pt x="47" y="726"/>
                    <a:pt x="49" y="725"/>
                    <a:pt x="55" y="723"/>
                  </a:cubicBezTo>
                  <a:cubicBezTo>
                    <a:pt x="59" y="720"/>
                    <a:pt x="64" y="720"/>
                    <a:pt x="64" y="720"/>
                  </a:cubicBezTo>
                  <a:cubicBezTo>
                    <a:pt x="64" y="722"/>
                    <a:pt x="64" y="722"/>
                    <a:pt x="64" y="722"/>
                  </a:cubicBezTo>
                  <a:cubicBezTo>
                    <a:pt x="71" y="719"/>
                    <a:pt x="71" y="719"/>
                    <a:pt x="71" y="719"/>
                  </a:cubicBezTo>
                  <a:cubicBezTo>
                    <a:pt x="72" y="715"/>
                    <a:pt x="72" y="715"/>
                    <a:pt x="72" y="715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3" y="719"/>
                    <a:pt x="73" y="719"/>
                    <a:pt x="73" y="719"/>
                  </a:cubicBezTo>
                  <a:cubicBezTo>
                    <a:pt x="77" y="720"/>
                    <a:pt x="77" y="720"/>
                    <a:pt x="77" y="720"/>
                  </a:cubicBezTo>
                  <a:cubicBezTo>
                    <a:pt x="77" y="720"/>
                    <a:pt x="68" y="721"/>
                    <a:pt x="65" y="726"/>
                  </a:cubicBezTo>
                  <a:cubicBezTo>
                    <a:pt x="62" y="731"/>
                    <a:pt x="63" y="735"/>
                    <a:pt x="62" y="738"/>
                  </a:cubicBezTo>
                  <a:cubicBezTo>
                    <a:pt x="62" y="740"/>
                    <a:pt x="58" y="743"/>
                    <a:pt x="58" y="743"/>
                  </a:cubicBezTo>
                  <a:cubicBezTo>
                    <a:pt x="62" y="726"/>
                    <a:pt x="62" y="726"/>
                    <a:pt x="62" y="726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62" y="723"/>
                    <a:pt x="58" y="724"/>
                    <a:pt x="56" y="726"/>
                  </a:cubicBezTo>
                  <a:cubicBezTo>
                    <a:pt x="52" y="727"/>
                    <a:pt x="47" y="735"/>
                    <a:pt x="47" y="735"/>
                  </a:cubicBezTo>
                  <a:cubicBezTo>
                    <a:pt x="47" y="735"/>
                    <a:pt x="44" y="736"/>
                    <a:pt x="44" y="739"/>
                  </a:cubicBezTo>
                  <a:cubicBezTo>
                    <a:pt x="45" y="742"/>
                    <a:pt x="50" y="740"/>
                    <a:pt x="48" y="742"/>
                  </a:cubicBezTo>
                  <a:cubicBezTo>
                    <a:pt x="47" y="743"/>
                    <a:pt x="43" y="743"/>
                    <a:pt x="41" y="745"/>
                  </a:cubicBezTo>
                  <a:cubicBezTo>
                    <a:pt x="39" y="747"/>
                    <a:pt x="39" y="752"/>
                    <a:pt x="39" y="752"/>
                  </a:cubicBezTo>
                  <a:cubicBezTo>
                    <a:pt x="32" y="752"/>
                    <a:pt x="32" y="752"/>
                    <a:pt x="32" y="752"/>
                  </a:cubicBezTo>
                  <a:cubicBezTo>
                    <a:pt x="28" y="757"/>
                    <a:pt x="28" y="757"/>
                    <a:pt x="28" y="757"/>
                  </a:cubicBezTo>
                  <a:cubicBezTo>
                    <a:pt x="33" y="762"/>
                    <a:pt x="33" y="762"/>
                    <a:pt x="33" y="762"/>
                  </a:cubicBezTo>
                  <a:cubicBezTo>
                    <a:pt x="39" y="759"/>
                    <a:pt x="39" y="759"/>
                    <a:pt x="39" y="759"/>
                  </a:cubicBezTo>
                  <a:cubicBezTo>
                    <a:pt x="38" y="764"/>
                    <a:pt x="38" y="764"/>
                    <a:pt x="38" y="764"/>
                  </a:cubicBezTo>
                  <a:cubicBezTo>
                    <a:pt x="40" y="765"/>
                    <a:pt x="40" y="765"/>
                    <a:pt x="40" y="765"/>
                  </a:cubicBezTo>
                  <a:cubicBezTo>
                    <a:pt x="46" y="760"/>
                    <a:pt x="46" y="760"/>
                    <a:pt x="46" y="760"/>
                  </a:cubicBezTo>
                  <a:cubicBezTo>
                    <a:pt x="42" y="766"/>
                    <a:pt x="42" y="766"/>
                    <a:pt x="42" y="766"/>
                  </a:cubicBezTo>
                  <a:cubicBezTo>
                    <a:pt x="44" y="768"/>
                    <a:pt x="44" y="768"/>
                    <a:pt x="44" y="768"/>
                  </a:cubicBezTo>
                  <a:cubicBezTo>
                    <a:pt x="34" y="765"/>
                    <a:pt x="34" y="765"/>
                    <a:pt x="34" y="765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72"/>
                    <a:pt x="34" y="772"/>
                    <a:pt x="34" y="772"/>
                  </a:cubicBezTo>
                  <a:cubicBezTo>
                    <a:pt x="26" y="768"/>
                    <a:pt x="26" y="768"/>
                    <a:pt x="26" y="768"/>
                  </a:cubicBezTo>
                  <a:cubicBezTo>
                    <a:pt x="23" y="770"/>
                    <a:pt x="23" y="770"/>
                    <a:pt x="23" y="770"/>
                  </a:cubicBezTo>
                  <a:cubicBezTo>
                    <a:pt x="20" y="778"/>
                    <a:pt x="20" y="778"/>
                    <a:pt x="20" y="778"/>
                  </a:cubicBezTo>
                  <a:cubicBezTo>
                    <a:pt x="18" y="780"/>
                    <a:pt x="18" y="780"/>
                    <a:pt x="18" y="780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9" y="767"/>
                    <a:pt x="19" y="767"/>
                    <a:pt x="19" y="767"/>
                  </a:cubicBezTo>
                  <a:cubicBezTo>
                    <a:pt x="18" y="771"/>
                    <a:pt x="18" y="771"/>
                    <a:pt x="18" y="771"/>
                  </a:cubicBezTo>
                  <a:cubicBezTo>
                    <a:pt x="15" y="771"/>
                    <a:pt x="15" y="771"/>
                    <a:pt x="15" y="771"/>
                  </a:cubicBezTo>
                  <a:cubicBezTo>
                    <a:pt x="10" y="780"/>
                    <a:pt x="10" y="780"/>
                    <a:pt x="10" y="780"/>
                  </a:cubicBezTo>
                  <a:cubicBezTo>
                    <a:pt x="13" y="793"/>
                    <a:pt x="13" y="793"/>
                    <a:pt x="13" y="793"/>
                  </a:cubicBezTo>
                  <a:cubicBezTo>
                    <a:pt x="14" y="792"/>
                    <a:pt x="14" y="792"/>
                    <a:pt x="14" y="792"/>
                  </a:cubicBezTo>
                  <a:cubicBezTo>
                    <a:pt x="14" y="800"/>
                    <a:pt x="14" y="800"/>
                    <a:pt x="14" y="800"/>
                  </a:cubicBezTo>
                  <a:cubicBezTo>
                    <a:pt x="17" y="800"/>
                    <a:pt x="17" y="800"/>
                    <a:pt x="17" y="800"/>
                  </a:cubicBezTo>
                  <a:cubicBezTo>
                    <a:pt x="17" y="793"/>
                    <a:pt x="17" y="793"/>
                    <a:pt x="17" y="793"/>
                  </a:cubicBezTo>
                  <a:cubicBezTo>
                    <a:pt x="22" y="792"/>
                    <a:pt x="22" y="792"/>
                    <a:pt x="22" y="792"/>
                  </a:cubicBezTo>
                  <a:cubicBezTo>
                    <a:pt x="22" y="789"/>
                    <a:pt x="22" y="789"/>
                    <a:pt x="22" y="789"/>
                  </a:cubicBezTo>
                  <a:cubicBezTo>
                    <a:pt x="25" y="791"/>
                    <a:pt x="25" y="791"/>
                    <a:pt x="25" y="791"/>
                  </a:cubicBezTo>
                  <a:cubicBezTo>
                    <a:pt x="23" y="794"/>
                    <a:pt x="23" y="794"/>
                    <a:pt x="23" y="794"/>
                  </a:cubicBezTo>
                  <a:cubicBezTo>
                    <a:pt x="24" y="796"/>
                    <a:pt x="24" y="796"/>
                    <a:pt x="24" y="796"/>
                  </a:cubicBezTo>
                  <a:cubicBezTo>
                    <a:pt x="32" y="788"/>
                    <a:pt x="32" y="788"/>
                    <a:pt x="32" y="788"/>
                  </a:cubicBezTo>
                  <a:cubicBezTo>
                    <a:pt x="30" y="784"/>
                    <a:pt x="30" y="784"/>
                    <a:pt x="30" y="784"/>
                  </a:cubicBezTo>
                  <a:cubicBezTo>
                    <a:pt x="26" y="785"/>
                    <a:pt x="26" y="785"/>
                    <a:pt x="26" y="785"/>
                  </a:cubicBezTo>
                  <a:cubicBezTo>
                    <a:pt x="31" y="782"/>
                    <a:pt x="31" y="782"/>
                    <a:pt x="31" y="782"/>
                  </a:cubicBezTo>
                  <a:cubicBezTo>
                    <a:pt x="32" y="778"/>
                    <a:pt x="32" y="778"/>
                    <a:pt x="32" y="778"/>
                  </a:cubicBezTo>
                  <a:cubicBezTo>
                    <a:pt x="34" y="783"/>
                    <a:pt x="34" y="783"/>
                    <a:pt x="34" y="783"/>
                  </a:cubicBezTo>
                  <a:cubicBezTo>
                    <a:pt x="39" y="784"/>
                    <a:pt x="39" y="784"/>
                    <a:pt x="39" y="784"/>
                  </a:cubicBezTo>
                  <a:cubicBezTo>
                    <a:pt x="35" y="785"/>
                    <a:pt x="35" y="785"/>
                    <a:pt x="35" y="785"/>
                  </a:cubicBezTo>
                  <a:cubicBezTo>
                    <a:pt x="36" y="788"/>
                    <a:pt x="36" y="788"/>
                    <a:pt x="36" y="788"/>
                  </a:cubicBezTo>
                  <a:cubicBezTo>
                    <a:pt x="41" y="786"/>
                    <a:pt x="41" y="786"/>
                    <a:pt x="41" y="786"/>
                  </a:cubicBezTo>
                  <a:cubicBezTo>
                    <a:pt x="43" y="780"/>
                    <a:pt x="43" y="780"/>
                    <a:pt x="43" y="780"/>
                  </a:cubicBezTo>
                  <a:cubicBezTo>
                    <a:pt x="45" y="778"/>
                    <a:pt x="45" y="778"/>
                    <a:pt x="45" y="778"/>
                  </a:cubicBezTo>
                  <a:cubicBezTo>
                    <a:pt x="47" y="773"/>
                    <a:pt x="47" y="773"/>
                    <a:pt x="47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7" y="780"/>
                    <a:pt x="47" y="780"/>
                    <a:pt x="47" y="780"/>
                  </a:cubicBezTo>
                  <a:cubicBezTo>
                    <a:pt x="52" y="777"/>
                    <a:pt x="52" y="777"/>
                    <a:pt x="52" y="777"/>
                  </a:cubicBezTo>
                  <a:cubicBezTo>
                    <a:pt x="52" y="778"/>
                    <a:pt x="52" y="778"/>
                    <a:pt x="52" y="778"/>
                  </a:cubicBezTo>
                  <a:cubicBezTo>
                    <a:pt x="45" y="782"/>
                    <a:pt x="45" y="782"/>
                    <a:pt x="45" y="782"/>
                  </a:cubicBezTo>
                  <a:cubicBezTo>
                    <a:pt x="44" y="788"/>
                    <a:pt x="44" y="788"/>
                    <a:pt x="44" y="788"/>
                  </a:cubicBezTo>
                  <a:cubicBezTo>
                    <a:pt x="38" y="790"/>
                    <a:pt x="38" y="790"/>
                    <a:pt x="38" y="790"/>
                  </a:cubicBezTo>
                  <a:cubicBezTo>
                    <a:pt x="40" y="792"/>
                    <a:pt x="40" y="792"/>
                    <a:pt x="40" y="792"/>
                  </a:cubicBezTo>
                  <a:cubicBezTo>
                    <a:pt x="40" y="792"/>
                    <a:pt x="41" y="790"/>
                    <a:pt x="44" y="791"/>
                  </a:cubicBezTo>
                  <a:cubicBezTo>
                    <a:pt x="46" y="792"/>
                    <a:pt x="41" y="796"/>
                    <a:pt x="41" y="796"/>
                  </a:cubicBezTo>
                  <a:cubicBezTo>
                    <a:pt x="49" y="793"/>
                    <a:pt x="49" y="793"/>
                    <a:pt x="49" y="793"/>
                  </a:cubicBezTo>
                  <a:cubicBezTo>
                    <a:pt x="49" y="793"/>
                    <a:pt x="42" y="797"/>
                    <a:pt x="41" y="798"/>
                  </a:cubicBezTo>
                  <a:cubicBezTo>
                    <a:pt x="39" y="799"/>
                    <a:pt x="36" y="803"/>
                    <a:pt x="36" y="803"/>
                  </a:cubicBezTo>
                  <a:cubicBezTo>
                    <a:pt x="38" y="805"/>
                    <a:pt x="38" y="805"/>
                    <a:pt x="38" y="805"/>
                  </a:cubicBezTo>
                  <a:cubicBezTo>
                    <a:pt x="31" y="807"/>
                    <a:pt x="31" y="807"/>
                    <a:pt x="31" y="807"/>
                  </a:cubicBezTo>
                  <a:cubicBezTo>
                    <a:pt x="34" y="813"/>
                    <a:pt x="34" y="813"/>
                    <a:pt x="34" y="813"/>
                  </a:cubicBezTo>
                  <a:cubicBezTo>
                    <a:pt x="35" y="817"/>
                    <a:pt x="35" y="817"/>
                    <a:pt x="35" y="817"/>
                  </a:cubicBezTo>
                  <a:cubicBezTo>
                    <a:pt x="43" y="813"/>
                    <a:pt x="43" y="813"/>
                    <a:pt x="43" y="813"/>
                  </a:cubicBezTo>
                  <a:cubicBezTo>
                    <a:pt x="50" y="814"/>
                    <a:pt x="50" y="814"/>
                    <a:pt x="50" y="814"/>
                  </a:cubicBezTo>
                  <a:cubicBezTo>
                    <a:pt x="44" y="815"/>
                    <a:pt x="44" y="815"/>
                    <a:pt x="44" y="815"/>
                  </a:cubicBezTo>
                  <a:cubicBezTo>
                    <a:pt x="38" y="819"/>
                    <a:pt x="38" y="819"/>
                    <a:pt x="38" y="819"/>
                  </a:cubicBezTo>
                  <a:cubicBezTo>
                    <a:pt x="38" y="822"/>
                    <a:pt x="38" y="822"/>
                    <a:pt x="38" y="822"/>
                  </a:cubicBezTo>
                  <a:cubicBezTo>
                    <a:pt x="30" y="816"/>
                    <a:pt x="30" y="816"/>
                    <a:pt x="30" y="816"/>
                  </a:cubicBezTo>
                  <a:cubicBezTo>
                    <a:pt x="25" y="820"/>
                    <a:pt x="25" y="820"/>
                    <a:pt x="25" y="820"/>
                  </a:cubicBezTo>
                  <a:cubicBezTo>
                    <a:pt x="25" y="814"/>
                    <a:pt x="25" y="814"/>
                    <a:pt x="25" y="814"/>
                  </a:cubicBezTo>
                  <a:cubicBezTo>
                    <a:pt x="19" y="812"/>
                    <a:pt x="19" y="812"/>
                    <a:pt x="19" y="812"/>
                  </a:cubicBezTo>
                  <a:cubicBezTo>
                    <a:pt x="20" y="820"/>
                    <a:pt x="20" y="820"/>
                    <a:pt x="20" y="820"/>
                  </a:cubicBezTo>
                  <a:cubicBezTo>
                    <a:pt x="18" y="821"/>
                    <a:pt x="18" y="821"/>
                    <a:pt x="18" y="821"/>
                  </a:cubicBezTo>
                  <a:cubicBezTo>
                    <a:pt x="17" y="824"/>
                    <a:pt x="17" y="824"/>
                    <a:pt x="17" y="824"/>
                  </a:cubicBezTo>
                  <a:cubicBezTo>
                    <a:pt x="14" y="829"/>
                    <a:pt x="14" y="829"/>
                    <a:pt x="14" y="829"/>
                  </a:cubicBezTo>
                  <a:cubicBezTo>
                    <a:pt x="14" y="829"/>
                    <a:pt x="18" y="841"/>
                    <a:pt x="23" y="844"/>
                  </a:cubicBezTo>
                  <a:cubicBezTo>
                    <a:pt x="26" y="847"/>
                    <a:pt x="29" y="849"/>
                    <a:pt x="31" y="853"/>
                  </a:cubicBezTo>
                  <a:cubicBezTo>
                    <a:pt x="33" y="857"/>
                    <a:pt x="49" y="863"/>
                    <a:pt x="49" y="863"/>
                  </a:cubicBezTo>
                  <a:cubicBezTo>
                    <a:pt x="50" y="866"/>
                    <a:pt x="50" y="866"/>
                    <a:pt x="50" y="866"/>
                  </a:cubicBezTo>
                  <a:cubicBezTo>
                    <a:pt x="53" y="862"/>
                    <a:pt x="53" y="862"/>
                    <a:pt x="53" y="862"/>
                  </a:cubicBezTo>
                  <a:cubicBezTo>
                    <a:pt x="58" y="865"/>
                    <a:pt x="58" y="865"/>
                    <a:pt x="58" y="865"/>
                  </a:cubicBezTo>
                  <a:cubicBezTo>
                    <a:pt x="48" y="872"/>
                    <a:pt x="48" y="872"/>
                    <a:pt x="48" y="872"/>
                  </a:cubicBezTo>
                  <a:cubicBezTo>
                    <a:pt x="50" y="876"/>
                    <a:pt x="50" y="876"/>
                    <a:pt x="50" y="876"/>
                  </a:cubicBezTo>
                  <a:cubicBezTo>
                    <a:pt x="58" y="876"/>
                    <a:pt x="58" y="876"/>
                    <a:pt x="58" y="876"/>
                  </a:cubicBezTo>
                  <a:cubicBezTo>
                    <a:pt x="56" y="873"/>
                    <a:pt x="56" y="873"/>
                    <a:pt x="56" y="873"/>
                  </a:cubicBezTo>
                  <a:cubicBezTo>
                    <a:pt x="60" y="871"/>
                    <a:pt x="60" y="871"/>
                    <a:pt x="60" y="871"/>
                  </a:cubicBezTo>
                  <a:cubicBezTo>
                    <a:pt x="65" y="873"/>
                    <a:pt x="65" y="873"/>
                    <a:pt x="65" y="873"/>
                  </a:cubicBezTo>
                  <a:cubicBezTo>
                    <a:pt x="60" y="875"/>
                    <a:pt x="60" y="875"/>
                    <a:pt x="60" y="875"/>
                  </a:cubicBezTo>
                  <a:cubicBezTo>
                    <a:pt x="64" y="879"/>
                    <a:pt x="64" y="879"/>
                    <a:pt x="64" y="879"/>
                  </a:cubicBezTo>
                  <a:cubicBezTo>
                    <a:pt x="68" y="877"/>
                    <a:pt x="68" y="877"/>
                    <a:pt x="68" y="877"/>
                  </a:cubicBezTo>
                  <a:cubicBezTo>
                    <a:pt x="68" y="877"/>
                    <a:pt x="74" y="880"/>
                    <a:pt x="80" y="880"/>
                  </a:cubicBezTo>
                  <a:cubicBezTo>
                    <a:pt x="85" y="880"/>
                    <a:pt x="88" y="878"/>
                    <a:pt x="92" y="877"/>
                  </a:cubicBezTo>
                  <a:cubicBezTo>
                    <a:pt x="96" y="876"/>
                    <a:pt x="101" y="870"/>
                    <a:pt x="101" y="870"/>
                  </a:cubicBezTo>
                  <a:cubicBezTo>
                    <a:pt x="101" y="877"/>
                    <a:pt x="101" y="877"/>
                    <a:pt x="101" y="877"/>
                  </a:cubicBezTo>
                  <a:cubicBezTo>
                    <a:pt x="124" y="857"/>
                    <a:pt x="124" y="857"/>
                    <a:pt x="124" y="857"/>
                  </a:cubicBezTo>
                  <a:cubicBezTo>
                    <a:pt x="124" y="853"/>
                    <a:pt x="124" y="853"/>
                    <a:pt x="124" y="853"/>
                  </a:cubicBezTo>
                  <a:cubicBezTo>
                    <a:pt x="142" y="839"/>
                    <a:pt x="142" y="839"/>
                    <a:pt x="142" y="839"/>
                  </a:cubicBezTo>
                  <a:cubicBezTo>
                    <a:pt x="141" y="835"/>
                    <a:pt x="141" y="835"/>
                    <a:pt x="141" y="835"/>
                  </a:cubicBezTo>
                  <a:cubicBezTo>
                    <a:pt x="145" y="836"/>
                    <a:pt x="145" y="836"/>
                    <a:pt x="145" y="836"/>
                  </a:cubicBezTo>
                  <a:cubicBezTo>
                    <a:pt x="150" y="830"/>
                    <a:pt x="150" y="830"/>
                    <a:pt x="150" y="830"/>
                  </a:cubicBezTo>
                  <a:cubicBezTo>
                    <a:pt x="146" y="828"/>
                    <a:pt x="146" y="828"/>
                    <a:pt x="146" y="828"/>
                  </a:cubicBezTo>
                  <a:cubicBezTo>
                    <a:pt x="161" y="817"/>
                    <a:pt x="161" y="817"/>
                    <a:pt x="161" y="817"/>
                  </a:cubicBezTo>
                  <a:cubicBezTo>
                    <a:pt x="156" y="810"/>
                    <a:pt x="156" y="810"/>
                    <a:pt x="156" y="810"/>
                  </a:cubicBezTo>
                  <a:cubicBezTo>
                    <a:pt x="159" y="812"/>
                    <a:pt x="159" y="812"/>
                    <a:pt x="159" y="812"/>
                  </a:cubicBezTo>
                  <a:cubicBezTo>
                    <a:pt x="167" y="821"/>
                    <a:pt x="167" y="821"/>
                    <a:pt x="167" y="821"/>
                  </a:cubicBezTo>
                  <a:cubicBezTo>
                    <a:pt x="180" y="817"/>
                    <a:pt x="180" y="817"/>
                    <a:pt x="180" y="817"/>
                  </a:cubicBezTo>
                  <a:cubicBezTo>
                    <a:pt x="181" y="805"/>
                    <a:pt x="181" y="805"/>
                    <a:pt x="181" y="805"/>
                  </a:cubicBezTo>
                  <a:cubicBezTo>
                    <a:pt x="184" y="808"/>
                    <a:pt x="184" y="808"/>
                    <a:pt x="184" y="808"/>
                  </a:cubicBezTo>
                  <a:cubicBezTo>
                    <a:pt x="188" y="806"/>
                    <a:pt x="188" y="806"/>
                    <a:pt x="188" y="806"/>
                  </a:cubicBezTo>
                  <a:cubicBezTo>
                    <a:pt x="186" y="803"/>
                    <a:pt x="186" y="803"/>
                    <a:pt x="186" y="803"/>
                  </a:cubicBezTo>
                  <a:cubicBezTo>
                    <a:pt x="189" y="803"/>
                    <a:pt x="189" y="803"/>
                    <a:pt x="189" y="803"/>
                  </a:cubicBezTo>
                  <a:cubicBezTo>
                    <a:pt x="188" y="791"/>
                    <a:pt x="188" y="791"/>
                    <a:pt x="188" y="791"/>
                  </a:cubicBezTo>
                  <a:cubicBezTo>
                    <a:pt x="182" y="789"/>
                    <a:pt x="182" y="789"/>
                    <a:pt x="182" y="789"/>
                  </a:cubicBezTo>
                  <a:cubicBezTo>
                    <a:pt x="179" y="782"/>
                    <a:pt x="179" y="782"/>
                    <a:pt x="179" y="782"/>
                  </a:cubicBezTo>
                  <a:cubicBezTo>
                    <a:pt x="183" y="785"/>
                    <a:pt x="183" y="785"/>
                    <a:pt x="183" y="785"/>
                  </a:cubicBezTo>
                  <a:cubicBezTo>
                    <a:pt x="183" y="776"/>
                    <a:pt x="183" y="776"/>
                    <a:pt x="183" y="776"/>
                  </a:cubicBezTo>
                  <a:cubicBezTo>
                    <a:pt x="178" y="771"/>
                    <a:pt x="178" y="771"/>
                    <a:pt x="178" y="771"/>
                  </a:cubicBezTo>
                  <a:cubicBezTo>
                    <a:pt x="181" y="770"/>
                    <a:pt x="181" y="770"/>
                    <a:pt x="181" y="770"/>
                  </a:cubicBezTo>
                  <a:cubicBezTo>
                    <a:pt x="186" y="773"/>
                    <a:pt x="186" y="773"/>
                    <a:pt x="186" y="773"/>
                  </a:cubicBezTo>
                  <a:cubicBezTo>
                    <a:pt x="186" y="785"/>
                    <a:pt x="186" y="785"/>
                    <a:pt x="186" y="785"/>
                  </a:cubicBezTo>
                  <a:cubicBezTo>
                    <a:pt x="186" y="785"/>
                    <a:pt x="191" y="784"/>
                    <a:pt x="192" y="781"/>
                  </a:cubicBezTo>
                  <a:cubicBezTo>
                    <a:pt x="192" y="776"/>
                    <a:pt x="189" y="773"/>
                    <a:pt x="189" y="773"/>
                  </a:cubicBezTo>
                  <a:cubicBezTo>
                    <a:pt x="189" y="773"/>
                    <a:pt x="189" y="767"/>
                    <a:pt x="190" y="762"/>
                  </a:cubicBezTo>
                  <a:cubicBezTo>
                    <a:pt x="190" y="758"/>
                    <a:pt x="197" y="759"/>
                    <a:pt x="199" y="762"/>
                  </a:cubicBezTo>
                  <a:cubicBezTo>
                    <a:pt x="200" y="765"/>
                    <a:pt x="197" y="769"/>
                    <a:pt x="197" y="769"/>
                  </a:cubicBezTo>
                  <a:cubicBezTo>
                    <a:pt x="195" y="764"/>
                    <a:pt x="195" y="764"/>
                    <a:pt x="195" y="764"/>
                  </a:cubicBezTo>
                  <a:cubicBezTo>
                    <a:pt x="193" y="769"/>
                    <a:pt x="193" y="769"/>
                    <a:pt x="193" y="769"/>
                  </a:cubicBezTo>
                  <a:cubicBezTo>
                    <a:pt x="194" y="776"/>
                    <a:pt x="194" y="776"/>
                    <a:pt x="194" y="776"/>
                  </a:cubicBezTo>
                  <a:cubicBezTo>
                    <a:pt x="194" y="788"/>
                    <a:pt x="194" y="788"/>
                    <a:pt x="194" y="788"/>
                  </a:cubicBezTo>
                  <a:cubicBezTo>
                    <a:pt x="192" y="789"/>
                    <a:pt x="192" y="789"/>
                    <a:pt x="192" y="789"/>
                  </a:cubicBezTo>
                  <a:cubicBezTo>
                    <a:pt x="195" y="800"/>
                    <a:pt x="195" y="800"/>
                    <a:pt x="195" y="800"/>
                  </a:cubicBezTo>
                  <a:cubicBezTo>
                    <a:pt x="198" y="798"/>
                    <a:pt x="198" y="798"/>
                    <a:pt x="198" y="798"/>
                  </a:cubicBezTo>
                  <a:cubicBezTo>
                    <a:pt x="199" y="809"/>
                    <a:pt x="199" y="809"/>
                    <a:pt x="199" y="809"/>
                  </a:cubicBezTo>
                  <a:cubicBezTo>
                    <a:pt x="208" y="810"/>
                    <a:pt x="208" y="810"/>
                    <a:pt x="208" y="810"/>
                  </a:cubicBezTo>
                  <a:cubicBezTo>
                    <a:pt x="211" y="808"/>
                    <a:pt x="211" y="808"/>
                    <a:pt x="211" y="808"/>
                  </a:cubicBezTo>
                  <a:cubicBezTo>
                    <a:pt x="212" y="814"/>
                    <a:pt x="212" y="814"/>
                    <a:pt x="212" y="814"/>
                  </a:cubicBezTo>
                  <a:cubicBezTo>
                    <a:pt x="212" y="814"/>
                    <a:pt x="220" y="809"/>
                    <a:pt x="221" y="814"/>
                  </a:cubicBezTo>
                  <a:cubicBezTo>
                    <a:pt x="222" y="819"/>
                    <a:pt x="219" y="828"/>
                    <a:pt x="223" y="828"/>
                  </a:cubicBezTo>
                  <a:cubicBezTo>
                    <a:pt x="227" y="828"/>
                    <a:pt x="228" y="822"/>
                    <a:pt x="230" y="815"/>
                  </a:cubicBezTo>
                  <a:cubicBezTo>
                    <a:pt x="232" y="808"/>
                    <a:pt x="236" y="800"/>
                    <a:pt x="236" y="800"/>
                  </a:cubicBezTo>
                  <a:cubicBezTo>
                    <a:pt x="236" y="800"/>
                    <a:pt x="227" y="782"/>
                    <a:pt x="230" y="780"/>
                  </a:cubicBezTo>
                  <a:cubicBezTo>
                    <a:pt x="232" y="776"/>
                    <a:pt x="238" y="777"/>
                    <a:pt x="238" y="773"/>
                  </a:cubicBezTo>
                  <a:cubicBezTo>
                    <a:pt x="239" y="768"/>
                    <a:pt x="232" y="767"/>
                    <a:pt x="237" y="764"/>
                  </a:cubicBezTo>
                  <a:cubicBezTo>
                    <a:pt x="241" y="760"/>
                    <a:pt x="252" y="766"/>
                    <a:pt x="256" y="754"/>
                  </a:cubicBezTo>
                  <a:cubicBezTo>
                    <a:pt x="259" y="741"/>
                    <a:pt x="255" y="738"/>
                    <a:pt x="256" y="734"/>
                  </a:cubicBezTo>
                  <a:cubicBezTo>
                    <a:pt x="257" y="729"/>
                    <a:pt x="265" y="733"/>
                    <a:pt x="262" y="725"/>
                  </a:cubicBezTo>
                  <a:cubicBezTo>
                    <a:pt x="260" y="718"/>
                    <a:pt x="254" y="704"/>
                    <a:pt x="254" y="704"/>
                  </a:cubicBezTo>
                  <a:cubicBezTo>
                    <a:pt x="252" y="695"/>
                    <a:pt x="252" y="695"/>
                    <a:pt x="252" y="695"/>
                  </a:cubicBezTo>
                  <a:cubicBezTo>
                    <a:pt x="247" y="689"/>
                    <a:pt x="247" y="689"/>
                    <a:pt x="247" y="689"/>
                  </a:cubicBezTo>
                  <a:cubicBezTo>
                    <a:pt x="256" y="686"/>
                    <a:pt x="256" y="686"/>
                    <a:pt x="256" y="686"/>
                  </a:cubicBezTo>
                  <a:cubicBezTo>
                    <a:pt x="256" y="686"/>
                    <a:pt x="264" y="692"/>
                    <a:pt x="266" y="680"/>
                  </a:cubicBezTo>
                  <a:cubicBezTo>
                    <a:pt x="270" y="668"/>
                    <a:pt x="269" y="664"/>
                    <a:pt x="265" y="660"/>
                  </a:cubicBezTo>
                  <a:cubicBezTo>
                    <a:pt x="261" y="657"/>
                    <a:pt x="256" y="654"/>
                    <a:pt x="256" y="654"/>
                  </a:cubicBezTo>
                  <a:cubicBezTo>
                    <a:pt x="246" y="644"/>
                    <a:pt x="246" y="644"/>
                    <a:pt x="246" y="644"/>
                  </a:cubicBezTo>
                  <a:cubicBezTo>
                    <a:pt x="252" y="609"/>
                    <a:pt x="252" y="609"/>
                    <a:pt x="252" y="609"/>
                  </a:cubicBezTo>
                  <a:cubicBezTo>
                    <a:pt x="244" y="586"/>
                    <a:pt x="244" y="586"/>
                    <a:pt x="244" y="586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4" y="567"/>
                    <a:pt x="244" y="567"/>
                    <a:pt x="244" y="567"/>
                  </a:cubicBezTo>
                  <a:cubicBezTo>
                    <a:pt x="248" y="561"/>
                    <a:pt x="248" y="561"/>
                    <a:pt x="248" y="561"/>
                  </a:cubicBezTo>
                  <a:cubicBezTo>
                    <a:pt x="241" y="542"/>
                    <a:pt x="241" y="542"/>
                    <a:pt x="241" y="542"/>
                  </a:cubicBezTo>
                  <a:cubicBezTo>
                    <a:pt x="249" y="531"/>
                    <a:pt x="249" y="531"/>
                    <a:pt x="249" y="531"/>
                  </a:cubicBezTo>
                  <a:cubicBezTo>
                    <a:pt x="246" y="522"/>
                    <a:pt x="246" y="522"/>
                    <a:pt x="246" y="522"/>
                  </a:cubicBezTo>
                  <a:cubicBezTo>
                    <a:pt x="246" y="522"/>
                    <a:pt x="258" y="494"/>
                    <a:pt x="270" y="491"/>
                  </a:cubicBezTo>
                  <a:cubicBezTo>
                    <a:pt x="280" y="488"/>
                    <a:pt x="300" y="494"/>
                    <a:pt x="300" y="494"/>
                  </a:cubicBezTo>
                  <a:cubicBezTo>
                    <a:pt x="305" y="482"/>
                    <a:pt x="305" y="482"/>
                    <a:pt x="305" y="48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309" y="425"/>
                    <a:pt x="309" y="425"/>
                    <a:pt x="309" y="425"/>
                  </a:cubicBezTo>
                  <a:cubicBezTo>
                    <a:pt x="310" y="415"/>
                    <a:pt x="310" y="415"/>
                    <a:pt x="310" y="415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3" y="390"/>
                    <a:pt x="313" y="390"/>
                    <a:pt x="313" y="390"/>
                  </a:cubicBezTo>
                  <a:cubicBezTo>
                    <a:pt x="315" y="378"/>
                    <a:pt x="315" y="378"/>
                    <a:pt x="315" y="378"/>
                  </a:cubicBezTo>
                  <a:cubicBezTo>
                    <a:pt x="311" y="358"/>
                    <a:pt x="311" y="358"/>
                    <a:pt x="311" y="358"/>
                  </a:cubicBezTo>
                  <a:cubicBezTo>
                    <a:pt x="324" y="356"/>
                    <a:pt x="324" y="356"/>
                    <a:pt x="324" y="356"/>
                  </a:cubicBezTo>
                  <a:cubicBezTo>
                    <a:pt x="337" y="346"/>
                    <a:pt x="337" y="346"/>
                    <a:pt x="337" y="346"/>
                  </a:cubicBezTo>
                  <a:cubicBezTo>
                    <a:pt x="334" y="333"/>
                    <a:pt x="334" y="333"/>
                    <a:pt x="334" y="333"/>
                  </a:cubicBezTo>
                  <a:cubicBezTo>
                    <a:pt x="334" y="333"/>
                    <a:pt x="339" y="332"/>
                    <a:pt x="341" y="326"/>
                  </a:cubicBezTo>
                  <a:cubicBezTo>
                    <a:pt x="343" y="319"/>
                    <a:pt x="341" y="314"/>
                    <a:pt x="347" y="308"/>
                  </a:cubicBezTo>
                  <a:cubicBezTo>
                    <a:pt x="355" y="300"/>
                    <a:pt x="361" y="298"/>
                    <a:pt x="359" y="292"/>
                  </a:cubicBezTo>
                  <a:cubicBezTo>
                    <a:pt x="358" y="284"/>
                    <a:pt x="351" y="273"/>
                    <a:pt x="351" y="273"/>
                  </a:cubicBezTo>
                  <a:cubicBezTo>
                    <a:pt x="351" y="266"/>
                    <a:pt x="351" y="266"/>
                    <a:pt x="351" y="266"/>
                  </a:cubicBezTo>
                  <a:cubicBezTo>
                    <a:pt x="351" y="266"/>
                    <a:pt x="359" y="268"/>
                    <a:pt x="360" y="263"/>
                  </a:cubicBezTo>
                  <a:cubicBezTo>
                    <a:pt x="360" y="258"/>
                    <a:pt x="364" y="241"/>
                    <a:pt x="364" y="241"/>
                  </a:cubicBezTo>
                  <a:cubicBezTo>
                    <a:pt x="378" y="226"/>
                    <a:pt x="378" y="226"/>
                    <a:pt x="378" y="226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4" y="234"/>
                    <a:pt x="397" y="223"/>
                    <a:pt x="399" y="218"/>
                  </a:cubicBezTo>
                  <a:cubicBezTo>
                    <a:pt x="400" y="213"/>
                    <a:pt x="397" y="198"/>
                    <a:pt x="397" y="198"/>
                  </a:cubicBezTo>
                  <a:cubicBezTo>
                    <a:pt x="405" y="193"/>
                    <a:pt x="405" y="193"/>
                    <a:pt x="405" y="193"/>
                  </a:cubicBezTo>
                  <a:cubicBezTo>
                    <a:pt x="409" y="198"/>
                    <a:pt x="409" y="198"/>
                    <a:pt x="409" y="198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43" y="205"/>
                    <a:pt x="443" y="205"/>
                    <a:pt x="443" y="205"/>
                  </a:cubicBezTo>
                  <a:cubicBezTo>
                    <a:pt x="450" y="195"/>
                    <a:pt x="450" y="195"/>
                    <a:pt x="450" y="195"/>
                  </a:cubicBezTo>
                  <a:cubicBezTo>
                    <a:pt x="442" y="191"/>
                    <a:pt x="442" y="191"/>
                    <a:pt x="442" y="191"/>
                  </a:cubicBezTo>
                  <a:cubicBezTo>
                    <a:pt x="442" y="191"/>
                    <a:pt x="450" y="182"/>
                    <a:pt x="449" y="174"/>
                  </a:cubicBezTo>
                  <a:cubicBezTo>
                    <a:pt x="448" y="168"/>
                    <a:pt x="441" y="159"/>
                    <a:pt x="441" y="159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5" y="154"/>
                    <a:pt x="455" y="154"/>
                    <a:pt x="455" y="154"/>
                  </a:cubicBezTo>
                  <a:cubicBezTo>
                    <a:pt x="455" y="154"/>
                    <a:pt x="464" y="159"/>
                    <a:pt x="466" y="157"/>
                  </a:cubicBezTo>
                  <a:cubicBezTo>
                    <a:pt x="467" y="155"/>
                    <a:pt x="459" y="148"/>
                    <a:pt x="465" y="144"/>
                  </a:cubicBezTo>
                  <a:cubicBezTo>
                    <a:pt x="469" y="139"/>
                    <a:pt x="478" y="142"/>
                    <a:pt x="478" y="142"/>
                  </a:cubicBezTo>
                  <a:cubicBezTo>
                    <a:pt x="478" y="142"/>
                    <a:pt x="485" y="152"/>
                    <a:pt x="490" y="157"/>
                  </a:cubicBezTo>
                  <a:cubicBezTo>
                    <a:pt x="497" y="163"/>
                    <a:pt x="499" y="172"/>
                    <a:pt x="499" y="172"/>
                  </a:cubicBezTo>
                  <a:cubicBezTo>
                    <a:pt x="504" y="171"/>
                    <a:pt x="504" y="171"/>
                    <a:pt x="504" y="171"/>
                  </a:cubicBezTo>
                  <a:cubicBezTo>
                    <a:pt x="515" y="171"/>
                    <a:pt x="515" y="171"/>
                    <a:pt x="515" y="171"/>
                  </a:cubicBezTo>
                  <a:cubicBezTo>
                    <a:pt x="522" y="175"/>
                    <a:pt x="522" y="175"/>
                    <a:pt x="522" y="175"/>
                  </a:cubicBezTo>
                  <a:cubicBezTo>
                    <a:pt x="531" y="169"/>
                    <a:pt x="531" y="169"/>
                    <a:pt x="531" y="169"/>
                  </a:cubicBezTo>
                  <a:cubicBezTo>
                    <a:pt x="531" y="169"/>
                    <a:pt x="533" y="161"/>
                    <a:pt x="539" y="161"/>
                  </a:cubicBezTo>
                  <a:cubicBezTo>
                    <a:pt x="544" y="161"/>
                    <a:pt x="546" y="166"/>
                    <a:pt x="546" y="166"/>
                  </a:cubicBezTo>
                  <a:cubicBezTo>
                    <a:pt x="558" y="167"/>
                    <a:pt x="558" y="167"/>
                    <a:pt x="558" y="167"/>
                  </a:cubicBezTo>
                  <a:cubicBezTo>
                    <a:pt x="565" y="174"/>
                    <a:pt x="565" y="174"/>
                    <a:pt x="565" y="174"/>
                  </a:cubicBezTo>
                  <a:cubicBezTo>
                    <a:pt x="565" y="174"/>
                    <a:pt x="567" y="161"/>
                    <a:pt x="570" y="157"/>
                  </a:cubicBezTo>
                  <a:cubicBezTo>
                    <a:pt x="572" y="154"/>
                    <a:pt x="575" y="150"/>
                    <a:pt x="575" y="144"/>
                  </a:cubicBezTo>
                  <a:cubicBezTo>
                    <a:pt x="574" y="139"/>
                    <a:pt x="572" y="130"/>
                    <a:pt x="572" y="130"/>
                  </a:cubicBezTo>
                  <a:cubicBezTo>
                    <a:pt x="574" y="97"/>
                    <a:pt x="574" y="97"/>
                    <a:pt x="574" y="97"/>
                  </a:cubicBezTo>
                  <a:cubicBezTo>
                    <a:pt x="577" y="93"/>
                    <a:pt x="577" y="93"/>
                    <a:pt x="577" y="93"/>
                  </a:cubicBezTo>
                  <a:cubicBezTo>
                    <a:pt x="577" y="93"/>
                    <a:pt x="576" y="81"/>
                    <a:pt x="582" y="79"/>
                  </a:cubicBezTo>
                  <a:cubicBezTo>
                    <a:pt x="588" y="76"/>
                    <a:pt x="595" y="78"/>
                    <a:pt x="595" y="78"/>
                  </a:cubicBezTo>
                  <a:cubicBezTo>
                    <a:pt x="595" y="78"/>
                    <a:pt x="604" y="66"/>
                    <a:pt x="610" y="65"/>
                  </a:cubicBezTo>
                  <a:cubicBezTo>
                    <a:pt x="616" y="64"/>
                    <a:pt x="625" y="77"/>
                    <a:pt x="625" y="77"/>
                  </a:cubicBezTo>
                  <a:cubicBezTo>
                    <a:pt x="648" y="80"/>
                    <a:pt x="648" y="80"/>
                    <a:pt x="648" y="80"/>
                  </a:cubicBezTo>
                  <a:cubicBezTo>
                    <a:pt x="655" y="91"/>
                    <a:pt x="655" y="91"/>
                    <a:pt x="655" y="91"/>
                  </a:cubicBezTo>
                  <a:cubicBezTo>
                    <a:pt x="655" y="91"/>
                    <a:pt x="647" y="105"/>
                    <a:pt x="647" y="110"/>
                  </a:cubicBezTo>
                  <a:cubicBezTo>
                    <a:pt x="647" y="116"/>
                    <a:pt x="650" y="121"/>
                    <a:pt x="650" y="121"/>
                  </a:cubicBezTo>
                  <a:cubicBezTo>
                    <a:pt x="650" y="121"/>
                    <a:pt x="654" y="125"/>
                    <a:pt x="656" y="123"/>
                  </a:cubicBezTo>
                  <a:cubicBezTo>
                    <a:pt x="659" y="121"/>
                    <a:pt x="658" y="107"/>
                    <a:pt x="658" y="107"/>
                  </a:cubicBezTo>
                  <a:cubicBezTo>
                    <a:pt x="658" y="107"/>
                    <a:pt x="655" y="108"/>
                    <a:pt x="656" y="105"/>
                  </a:cubicBezTo>
                  <a:cubicBezTo>
                    <a:pt x="657" y="102"/>
                    <a:pt x="661" y="102"/>
                    <a:pt x="663" y="100"/>
                  </a:cubicBezTo>
                  <a:cubicBezTo>
                    <a:pt x="666" y="98"/>
                    <a:pt x="665" y="93"/>
                    <a:pt x="666" y="93"/>
                  </a:cubicBezTo>
                  <a:cubicBezTo>
                    <a:pt x="668" y="92"/>
                    <a:pt x="674" y="94"/>
                    <a:pt x="674" y="90"/>
                  </a:cubicBezTo>
                  <a:cubicBezTo>
                    <a:pt x="674" y="85"/>
                    <a:pt x="669" y="78"/>
                    <a:pt x="669" y="78"/>
                  </a:cubicBezTo>
                  <a:cubicBezTo>
                    <a:pt x="669" y="78"/>
                    <a:pt x="673" y="78"/>
                    <a:pt x="675" y="79"/>
                  </a:cubicBezTo>
                  <a:cubicBezTo>
                    <a:pt x="678" y="79"/>
                    <a:pt x="685" y="87"/>
                    <a:pt x="687" y="80"/>
                  </a:cubicBezTo>
                  <a:cubicBezTo>
                    <a:pt x="690" y="74"/>
                    <a:pt x="685" y="71"/>
                    <a:pt x="685" y="71"/>
                  </a:cubicBezTo>
                  <a:close/>
                  <a:moveTo>
                    <a:pt x="8" y="787"/>
                  </a:moveTo>
                  <a:cubicBezTo>
                    <a:pt x="8" y="787"/>
                    <a:pt x="7" y="793"/>
                    <a:pt x="8" y="794"/>
                  </a:cubicBezTo>
                  <a:cubicBezTo>
                    <a:pt x="9" y="796"/>
                    <a:pt x="6" y="800"/>
                    <a:pt x="6" y="800"/>
                  </a:cubicBezTo>
                  <a:cubicBezTo>
                    <a:pt x="9" y="800"/>
                    <a:pt x="9" y="800"/>
                    <a:pt x="9" y="800"/>
                  </a:cubicBezTo>
                  <a:cubicBezTo>
                    <a:pt x="11" y="798"/>
                    <a:pt x="11" y="798"/>
                    <a:pt x="11" y="798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0" y="785"/>
                    <a:pt x="10" y="785"/>
                    <a:pt x="10" y="785"/>
                  </a:cubicBezTo>
                  <a:lnTo>
                    <a:pt x="8" y="787"/>
                  </a:lnTo>
                  <a:close/>
                  <a:moveTo>
                    <a:pt x="27" y="805"/>
                  </a:moveTo>
                  <a:cubicBezTo>
                    <a:pt x="18" y="803"/>
                    <a:pt x="18" y="803"/>
                    <a:pt x="18" y="803"/>
                  </a:cubicBezTo>
                  <a:cubicBezTo>
                    <a:pt x="26" y="808"/>
                    <a:pt x="26" y="808"/>
                    <a:pt x="26" y="808"/>
                  </a:cubicBezTo>
                  <a:lnTo>
                    <a:pt x="27" y="805"/>
                  </a:lnTo>
                  <a:close/>
                  <a:moveTo>
                    <a:pt x="36" y="794"/>
                  </a:moveTo>
                  <a:cubicBezTo>
                    <a:pt x="32" y="794"/>
                    <a:pt x="32" y="794"/>
                    <a:pt x="32" y="794"/>
                  </a:cubicBezTo>
                  <a:cubicBezTo>
                    <a:pt x="30" y="799"/>
                    <a:pt x="30" y="799"/>
                    <a:pt x="30" y="799"/>
                  </a:cubicBezTo>
                  <a:cubicBezTo>
                    <a:pt x="38" y="798"/>
                    <a:pt x="38" y="798"/>
                    <a:pt x="38" y="798"/>
                  </a:cubicBezTo>
                  <a:lnTo>
                    <a:pt x="36" y="794"/>
                  </a:lnTo>
                  <a:close/>
                  <a:moveTo>
                    <a:pt x="16" y="750"/>
                  </a:moveTo>
                  <a:cubicBezTo>
                    <a:pt x="16" y="753"/>
                    <a:pt x="16" y="753"/>
                    <a:pt x="16" y="753"/>
                  </a:cubicBezTo>
                  <a:cubicBezTo>
                    <a:pt x="14" y="754"/>
                    <a:pt x="14" y="754"/>
                    <a:pt x="14" y="754"/>
                  </a:cubicBezTo>
                  <a:cubicBezTo>
                    <a:pt x="14" y="754"/>
                    <a:pt x="16" y="762"/>
                    <a:pt x="20" y="762"/>
                  </a:cubicBezTo>
                  <a:cubicBezTo>
                    <a:pt x="26" y="762"/>
                    <a:pt x="22" y="753"/>
                    <a:pt x="22" y="753"/>
                  </a:cubicBezTo>
                  <a:cubicBezTo>
                    <a:pt x="17" y="750"/>
                    <a:pt x="17" y="750"/>
                    <a:pt x="17" y="750"/>
                  </a:cubicBezTo>
                  <a:lnTo>
                    <a:pt x="16" y="750"/>
                  </a:lnTo>
                  <a:close/>
                  <a:moveTo>
                    <a:pt x="15" y="768"/>
                  </a:moveTo>
                  <a:cubicBezTo>
                    <a:pt x="17" y="766"/>
                    <a:pt x="17" y="766"/>
                    <a:pt x="17" y="766"/>
                  </a:cubicBezTo>
                  <a:cubicBezTo>
                    <a:pt x="15" y="762"/>
                    <a:pt x="15" y="762"/>
                    <a:pt x="15" y="762"/>
                  </a:cubicBezTo>
                  <a:cubicBezTo>
                    <a:pt x="15" y="758"/>
                    <a:pt x="15" y="758"/>
                    <a:pt x="15" y="758"/>
                  </a:cubicBezTo>
                  <a:cubicBezTo>
                    <a:pt x="11" y="756"/>
                    <a:pt x="11" y="756"/>
                    <a:pt x="11" y="756"/>
                  </a:cubicBezTo>
                  <a:cubicBezTo>
                    <a:pt x="11" y="757"/>
                    <a:pt x="11" y="757"/>
                    <a:pt x="11" y="757"/>
                  </a:cubicBezTo>
                  <a:cubicBezTo>
                    <a:pt x="11" y="757"/>
                    <a:pt x="10" y="758"/>
                    <a:pt x="9" y="760"/>
                  </a:cubicBezTo>
                  <a:cubicBezTo>
                    <a:pt x="8" y="762"/>
                    <a:pt x="12" y="764"/>
                    <a:pt x="12" y="764"/>
                  </a:cubicBezTo>
                  <a:cubicBezTo>
                    <a:pt x="9" y="767"/>
                    <a:pt x="9" y="767"/>
                    <a:pt x="9" y="767"/>
                  </a:cubicBezTo>
                  <a:cubicBezTo>
                    <a:pt x="9" y="773"/>
                    <a:pt x="9" y="773"/>
                    <a:pt x="9" y="773"/>
                  </a:cubicBezTo>
                  <a:cubicBezTo>
                    <a:pt x="13" y="772"/>
                    <a:pt x="13" y="772"/>
                    <a:pt x="13" y="772"/>
                  </a:cubicBezTo>
                  <a:cubicBezTo>
                    <a:pt x="10" y="767"/>
                    <a:pt x="10" y="767"/>
                    <a:pt x="10" y="767"/>
                  </a:cubicBezTo>
                  <a:cubicBezTo>
                    <a:pt x="14" y="764"/>
                    <a:pt x="14" y="764"/>
                    <a:pt x="14" y="764"/>
                  </a:cubicBezTo>
                  <a:cubicBezTo>
                    <a:pt x="15" y="764"/>
                    <a:pt x="15" y="764"/>
                    <a:pt x="15" y="764"/>
                  </a:cubicBezTo>
                  <a:cubicBezTo>
                    <a:pt x="14" y="766"/>
                    <a:pt x="14" y="766"/>
                    <a:pt x="14" y="766"/>
                  </a:cubicBezTo>
                  <a:lnTo>
                    <a:pt x="15" y="768"/>
                  </a:lnTo>
                  <a:close/>
                  <a:moveTo>
                    <a:pt x="29" y="766"/>
                  </a:moveTo>
                  <a:cubicBezTo>
                    <a:pt x="33" y="764"/>
                    <a:pt x="33" y="764"/>
                    <a:pt x="33" y="764"/>
                  </a:cubicBezTo>
                  <a:cubicBezTo>
                    <a:pt x="27" y="759"/>
                    <a:pt x="27" y="759"/>
                    <a:pt x="27" y="759"/>
                  </a:cubicBezTo>
                  <a:cubicBezTo>
                    <a:pt x="25" y="761"/>
                    <a:pt x="25" y="761"/>
                    <a:pt x="25" y="761"/>
                  </a:cubicBezTo>
                  <a:lnTo>
                    <a:pt x="29" y="766"/>
                  </a:lnTo>
                  <a:close/>
                  <a:moveTo>
                    <a:pt x="28" y="743"/>
                  </a:moveTo>
                  <a:cubicBezTo>
                    <a:pt x="23" y="744"/>
                    <a:pt x="23" y="744"/>
                    <a:pt x="23" y="744"/>
                  </a:cubicBezTo>
                  <a:cubicBezTo>
                    <a:pt x="23" y="747"/>
                    <a:pt x="23" y="747"/>
                    <a:pt x="23" y="747"/>
                  </a:cubicBezTo>
                  <a:cubicBezTo>
                    <a:pt x="20" y="749"/>
                    <a:pt x="20" y="749"/>
                    <a:pt x="20" y="749"/>
                  </a:cubicBezTo>
                  <a:cubicBezTo>
                    <a:pt x="23" y="751"/>
                    <a:pt x="23" y="751"/>
                    <a:pt x="23" y="751"/>
                  </a:cubicBezTo>
                  <a:cubicBezTo>
                    <a:pt x="25" y="754"/>
                    <a:pt x="25" y="754"/>
                    <a:pt x="25" y="754"/>
                  </a:cubicBezTo>
                  <a:cubicBezTo>
                    <a:pt x="27" y="754"/>
                    <a:pt x="27" y="754"/>
                    <a:pt x="27" y="754"/>
                  </a:cubicBezTo>
                  <a:cubicBezTo>
                    <a:pt x="27" y="751"/>
                    <a:pt x="27" y="751"/>
                    <a:pt x="27" y="751"/>
                  </a:cubicBezTo>
                  <a:cubicBezTo>
                    <a:pt x="29" y="749"/>
                    <a:pt x="29" y="749"/>
                    <a:pt x="29" y="749"/>
                  </a:cubicBezTo>
                  <a:lnTo>
                    <a:pt x="28" y="743"/>
                  </a:lnTo>
                  <a:close/>
                  <a:moveTo>
                    <a:pt x="19" y="743"/>
                  </a:moveTo>
                  <a:cubicBezTo>
                    <a:pt x="16" y="746"/>
                    <a:pt x="19" y="747"/>
                    <a:pt x="20" y="746"/>
                  </a:cubicBezTo>
                  <a:cubicBezTo>
                    <a:pt x="23" y="744"/>
                    <a:pt x="22" y="740"/>
                    <a:pt x="19" y="743"/>
                  </a:cubicBezTo>
                  <a:close/>
                  <a:moveTo>
                    <a:pt x="10" y="738"/>
                  </a:moveTo>
                  <a:cubicBezTo>
                    <a:pt x="11" y="740"/>
                    <a:pt x="11" y="740"/>
                    <a:pt x="11" y="740"/>
                  </a:cubicBezTo>
                  <a:cubicBezTo>
                    <a:pt x="12" y="740"/>
                    <a:pt x="12" y="740"/>
                    <a:pt x="12" y="740"/>
                  </a:cubicBezTo>
                  <a:cubicBezTo>
                    <a:pt x="14" y="743"/>
                    <a:pt x="14" y="743"/>
                    <a:pt x="14" y="743"/>
                  </a:cubicBezTo>
                  <a:cubicBezTo>
                    <a:pt x="12" y="745"/>
                    <a:pt x="12" y="745"/>
                    <a:pt x="12" y="745"/>
                  </a:cubicBezTo>
                  <a:cubicBezTo>
                    <a:pt x="15" y="746"/>
                    <a:pt x="15" y="746"/>
                    <a:pt x="15" y="746"/>
                  </a:cubicBezTo>
                  <a:cubicBezTo>
                    <a:pt x="16" y="742"/>
                    <a:pt x="16" y="742"/>
                    <a:pt x="16" y="742"/>
                  </a:cubicBezTo>
                  <a:cubicBezTo>
                    <a:pt x="12" y="737"/>
                    <a:pt x="12" y="737"/>
                    <a:pt x="12" y="737"/>
                  </a:cubicBezTo>
                  <a:lnTo>
                    <a:pt x="10" y="738"/>
                  </a:lnTo>
                  <a:close/>
                  <a:moveTo>
                    <a:pt x="13" y="749"/>
                  </a:moveTo>
                  <a:cubicBezTo>
                    <a:pt x="11" y="746"/>
                    <a:pt x="11" y="746"/>
                    <a:pt x="11" y="746"/>
                  </a:cubicBezTo>
                  <a:cubicBezTo>
                    <a:pt x="8" y="749"/>
                    <a:pt x="8" y="749"/>
                    <a:pt x="8" y="749"/>
                  </a:cubicBezTo>
                  <a:cubicBezTo>
                    <a:pt x="9" y="751"/>
                    <a:pt x="9" y="751"/>
                    <a:pt x="9" y="751"/>
                  </a:cubicBezTo>
                  <a:lnTo>
                    <a:pt x="13" y="749"/>
                  </a:lnTo>
                  <a:close/>
                  <a:moveTo>
                    <a:pt x="41" y="738"/>
                  </a:moveTo>
                  <a:cubicBezTo>
                    <a:pt x="39" y="740"/>
                    <a:pt x="39" y="740"/>
                    <a:pt x="39" y="740"/>
                  </a:cubicBezTo>
                  <a:cubicBezTo>
                    <a:pt x="40" y="744"/>
                    <a:pt x="40" y="744"/>
                    <a:pt x="40" y="744"/>
                  </a:cubicBezTo>
                  <a:cubicBezTo>
                    <a:pt x="43" y="741"/>
                    <a:pt x="43" y="741"/>
                    <a:pt x="43" y="741"/>
                  </a:cubicBezTo>
                  <a:lnTo>
                    <a:pt x="41" y="738"/>
                  </a:lnTo>
                  <a:close/>
                  <a:moveTo>
                    <a:pt x="9" y="733"/>
                  </a:moveTo>
                  <a:cubicBezTo>
                    <a:pt x="11" y="734"/>
                    <a:pt x="13" y="734"/>
                    <a:pt x="13" y="734"/>
                  </a:cubicBezTo>
                  <a:cubicBezTo>
                    <a:pt x="11" y="729"/>
                    <a:pt x="11" y="729"/>
                    <a:pt x="11" y="729"/>
                  </a:cubicBezTo>
                  <a:cubicBezTo>
                    <a:pt x="13" y="727"/>
                    <a:pt x="13" y="727"/>
                    <a:pt x="13" y="727"/>
                  </a:cubicBezTo>
                  <a:cubicBezTo>
                    <a:pt x="10" y="719"/>
                    <a:pt x="10" y="719"/>
                    <a:pt x="10" y="719"/>
                  </a:cubicBezTo>
                  <a:cubicBezTo>
                    <a:pt x="9" y="722"/>
                    <a:pt x="9" y="722"/>
                    <a:pt x="9" y="722"/>
                  </a:cubicBezTo>
                  <a:cubicBezTo>
                    <a:pt x="11" y="726"/>
                    <a:pt x="11" y="726"/>
                    <a:pt x="11" y="726"/>
                  </a:cubicBezTo>
                  <a:cubicBezTo>
                    <a:pt x="7" y="727"/>
                    <a:pt x="7" y="727"/>
                    <a:pt x="7" y="727"/>
                  </a:cubicBezTo>
                  <a:cubicBezTo>
                    <a:pt x="7" y="727"/>
                    <a:pt x="7" y="731"/>
                    <a:pt x="9" y="733"/>
                  </a:cubicBezTo>
                  <a:close/>
                  <a:moveTo>
                    <a:pt x="16" y="715"/>
                  </a:moveTo>
                  <a:cubicBezTo>
                    <a:pt x="10" y="711"/>
                    <a:pt x="10" y="711"/>
                    <a:pt x="10" y="711"/>
                  </a:cubicBezTo>
                  <a:cubicBezTo>
                    <a:pt x="9" y="712"/>
                    <a:pt x="9" y="712"/>
                    <a:pt x="9" y="712"/>
                  </a:cubicBezTo>
                  <a:cubicBezTo>
                    <a:pt x="12" y="714"/>
                    <a:pt x="12" y="714"/>
                    <a:pt x="12" y="714"/>
                  </a:cubicBezTo>
                  <a:cubicBezTo>
                    <a:pt x="12" y="718"/>
                    <a:pt x="12" y="718"/>
                    <a:pt x="12" y="718"/>
                  </a:cubicBezTo>
                  <a:cubicBezTo>
                    <a:pt x="14" y="721"/>
                    <a:pt x="14" y="721"/>
                    <a:pt x="14" y="721"/>
                  </a:cubicBezTo>
                  <a:cubicBezTo>
                    <a:pt x="17" y="721"/>
                    <a:pt x="17" y="721"/>
                    <a:pt x="17" y="721"/>
                  </a:cubicBezTo>
                  <a:lnTo>
                    <a:pt x="16" y="715"/>
                  </a:lnTo>
                  <a:close/>
                  <a:moveTo>
                    <a:pt x="24" y="713"/>
                  </a:moveTo>
                  <a:cubicBezTo>
                    <a:pt x="28" y="719"/>
                    <a:pt x="28" y="719"/>
                    <a:pt x="28" y="719"/>
                  </a:cubicBezTo>
                  <a:cubicBezTo>
                    <a:pt x="32" y="717"/>
                    <a:pt x="32" y="717"/>
                    <a:pt x="32" y="717"/>
                  </a:cubicBezTo>
                  <a:cubicBezTo>
                    <a:pt x="34" y="706"/>
                    <a:pt x="34" y="706"/>
                    <a:pt x="34" y="706"/>
                  </a:cubicBezTo>
                  <a:cubicBezTo>
                    <a:pt x="33" y="705"/>
                    <a:pt x="33" y="705"/>
                    <a:pt x="33" y="705"/>
                  </a:cubicBezTo>
                  <a:cubicBezTo>
                    <a:pt x="29" y="710"/>
                    <a:pt x="29" y="710"/>
                    <a:pt x="29" y="710"/>
                  </a:cubicBezTo>
                  <a:cubicBezTo>
                    <a:pt x="29" y="710"/>
                    <a:pt x="28" y="710"/>
                    <a:pt x="26" y="711"/>
                  </a:cubicBezTo>
                  <a:cubicBezTo>
                    <a:pt x="24" y="711"/>
                    <a:pt x="24" y="713"/>
                    <a:pt x="24" y="713"/>
                  </a:cubicBezTo>
                  <a:close/>
                  <a:moveTo>
                    <a:pt x="22" y="703"/>
                  </a:moveTo>
                  <a:cubicBezTo>
                    <a:pt x="13" y="694"/>
                    <a:pt x="13" y="694"/>
                    <a:pt x="13" y="694"/>
                  </a:cubicBezTo>
                  <a:cubicBezTo>
                    <a:pt x="12" y="695"/>
                    <a:pt x="12" y="695"/>
                    <a:pt x="12" y="695"/>
                  </a:cubicBezTo>
                  <a:cubicBezTo>
                    <a:pt x="18" y="703"/>
                    <a:pt x="18" y="703"/>
                    <a:pt x="18" y="703"/>
                  </a:cubicBezTo>
                  <a:cubicBezTo>
                    <a:pt x="17" y="705"/>
                    <a:pt x="17" y="705"/>
                    <a:pt x="17" y="705"/>
                  </a:cubicBezTo>
                  <a:cubicBezTo>
                    <a:pt x="15" y="704"/>
                    <a:pt x="15" y="704"/>
                    <a:pt x="15" y="704"/>
                  </a:cubicBezTo>
                  <a:cubicBezTo>
                    <a:pt x="20" y="711"/>
                    <a:pt x="20" y="711"/>
                    <a:pt x="20" y="711"/>
                  </a:cubicBezTo>
                  <a:cubicBezTo>
                    <a:pt x="23" y="711"/>
                    <a:pt x="25" y="708"/>
                    <a:pt x="25" y="708"/>
                  </a:cubicBezTo>
                  <a:cubicBezTo>
                    <a:pt x="23" y="705"/>
                    <a:pt x="23" y="705"/>
                    <a:pt x="23" y="705"/>
                  </a:cubicBezTo>
                  <a:lnTo>
                    <a:pt x="22" y="703"/>
                  </a:lnTo>
                  <a:close/>
                  <a:moveTo>
                    <a:pt x="9" y="699"/>
                  </a:moveTo>
                  <a:cubicBezTo>
                    <a:pt x="8" y="699"/>
                    <a:pt x="8" y="699"/>
                    <a:pt x="8" y="699"/>
                  </a:cubicBezTo>
                  <a:cubicBezTo>
                    <a:pt x="8" y="699"/>
                    <a:pt x="10" y="703"/>
                    <a:pt x="11" y="704"/>
                  </a:cubicBezTo>
                  <a:cubicBezTo>
                    <a:pt x="12" y="705"/>
                    <a:pt x="14" y="707"/>
                    <a:pt x="14" y="707"/>
                  </a:cubicBezTo>
                  <a:cubicBezTo>
                    <a:pt x="14" y="707"/>
                    <a:pt x="15" y="705"/>
                    <a:pt x="13" y="703"/>
                  </a:cubicBezTo>
                  <a:cubicBezTo>
                    <a:pt x="12" y="701"/>
                    <a:pt x="9" y="699"/>
                    <a:pt x="9" y="699"/>
                  </a:cubicBezTo>
                  <a:close/>
                  <a:moveTo>
                    <a:pt x="10" y="707"/>
                  </a:moveTo>
                  <a:cubicBezTo>
                    <a:pt x="9" y="707"/>
                    <a:pt x="10" y="709"/>
                    <a:pt x="11" y="710"/>
                  </a:cubicBezTo>
                  <a:cubicBezTo>
                    <a:pt x="12" y="710"/>
                    <a:pt x="16" y="712"/>
                    <a:pt x="16" y="712"/>
                  </a:cubicBezTo>
                  <a:cubicBezTo>
                    <a:pt x="16" y="710"/>
                    <a:pt x="16" y="710"/>
                    <a:pt x="16" y="710"/>
                  </a:cubicBezTo>
                  <a:cubicBezTo>
                    <a:pt x="16" y="710"/>
                    <a:pt x="11" y="707"/>
                    <a:pt x="10" y="707"/>
                  </a:cubicBezTo>
                  <a:close/>
                  <a:moveTo>
                    <a:pt x="9" y="693"/>
                  </a:moveTo>
                  <a:cubicBezTo>
                    <a:pt x="7" y="695"/>
                    <a:pt x="7" y="695"/>
                    <a:pt x="7" y="695"/>
                  </a:cubicBezTo>
                  <a:cubicBezTo>
                    <a:pt x="11" y="698"/>
                    <a:pt x="11" y="698"/>
                    <a:pt x="11" y="698"/>
                  </a:cubicBezTo>
                  <a:lnTo>
                    <a:pt x="9" y="693"/>
                  </a:lnTo>
                  <a:close/>
                  <a:moveTo>
                    <a:pt x="10" y="692"/>
                  </a:moveTo>
                  <a:cubicBezTo>
                    <a:pt x="9" y="687"/>
                    <a:pt x="9" y="687"/>
                    <a:pt x="9" y="687"/>
                  </a:cubicBezTo>
                  <a:cubicBezTo>
                    <a:pt x="7" y="689"/>
                    <a:pt x="7" y="689"/>
                    <a:pt x="7" y="689"/>
                  </a:cubicBezTo>
                  <a:lnTo>
                    <a:pt x="10" y="692"/>
                  </a:lnTo>
                  <a:close/>
                  <a:moveTo>
                    <a:pt x="9" y="678"/>
                  </a:moveTo>
                  <a:cubicBezTo>
                    <a:pt x="11" y="676"/>
                    <a:pt x="11" y="676"/>
                    <a:pt x="11" y="676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15" y="676"/>
                    <a:pt x="15" y="674"/>
                  </a:cubicBezTo>
                  <a:cubicBezTo>
                    <a:pt x="15" y="671"/>
                    <a:pt x="12" y="670"/>
                    <a:pt x="12" y="670"/>
                  </a:cubicBezTo>
                  <a:cubicBezTo>
                    <a:pt x="10" y="671"/>
                    <a:pt x="10" y="671"/>
                    <a:pt x="10" y="671"/>
                  </a:cubicBezTo>
                  <a:cubicBezTo>
                    <a:pt x="10" y="671"/>
                    <a:pt x="8" y="675"/>
                    <a:pt x="9" y="678"/>
                  </a:cubicBezTo>
                  <a:close/>
                  <a:moveTo>
                    <a:pt x="6" y="680"/>
                  </a:moveTo>
                  <a:cubicBezTo>
                    <a:pt x="7" y="680"/>
                    <a:pt x="7" y="680"/>
                    <a:pt x="7" y="680"/>
                  </a:cubicBezTo>
                  <a:cubicBezTo>
                    <a:pt x="8" y="676"/>
                    <a:pt x="8" y="676"/>
                    <a:pt x="8" y="676"/>
                  </a:cubicBezTo>
                  <a:cubicBezTo>
                    <a:pt x="7" y="676"/>
                    <a:pt x="7" y="676"/>
                    <a:pt x="7" y="676"/>
                  </a:cubicBezTo>
                  <a:lnTo>
                    <a:pt x="6" y="680"/>
                  </a:lnTo>
                  <a:close/>
                  <a:moveTo>
                    <a:pt x="3" y="678"/>
                  </a:moveTo>
                  <a:cubicBezTo>
                    <a:pt x="0" y="678"/>
                    <a:pt x="1" y="681"/>
                    <a:pt x="2" y="681"/>
                  </a:cubicBezTo>
                  <a:cubicBezTo>
                    <a:pt x="4" y="682"/>
                    <a:pt x="7" y="677"/>
                    <a:pt x="3" y="678"/>
                  </a:cubicBezTo>
                  <a:close/>
                  <a:moveTo>
                    <a:pt x="7" y="661"/>
                  </a:moveTo>
                  <a:cubicBezTo>
                    <a:pt x="3" y="661"/>
                    <a:pt x="4" y="663"/>
                    <a:pt x="6" y="663"/>
                  </a:cubicBezTo>
                  <a:cubicBezTo>
                    <a:pt x="9" y="663"/>
                    <a:pt x="10" y="662"/>
                    <a:pt x="7" y="661"/>
                  </a:cubicBezTo>
                  <a:close/>
                  <a:moveTo>
                    <a:pt x="17" y="658"/>
                  </a:moveTo>
                  <a:cubicBezTo>
                    <a:pt x="14" y="657"/>
                    <a:pt x="14" y="657"/>
                    <a:pt x="14" y="657"/>
                  </a:cubicBezTo>
                  <a:cubicBezTo>
                    <a:pt x="11" y="660"/>
                    <a:pt x="11" y="660"/>
                    <a:pt x="11" y="660"/>
                  </a:cubicBezTo>
                  <a:cubicBezTo>
                    <a:pt x="13" y="662"/>
                    <a:pt x="13" y="662"/>
                    <a:pt x="13" y="662"/>
                  </a:cubicBezTo>
                  <a:lnTo>
                    <a:pt x="17" y="658"/>
                  </a:lnTo>
                  <a:close/>
                  <a:moveTo>
                    <a:pt x="18" y="649"/>
                  </a:moveTo>
                  <a:cubicBezTo>
                    <a:pt x="14" y="646"/>
                    <a:pt x="14" y="646"/>
                    <a:pt x="14" y="646"/>
                  </a:cubicBezTo>
                  <a:cubicBezTo>
                    <a:pt x="15" y="650"/>
                    <a:pt x="15" y="650"/>
                    <a:pt x="15" y="650"/>
                  </a:cubicBezTo>
                  <a:lnTo>
                    <a:pt x="18" y="649"/>
                  </a:lnTo>
                  <a:close/>
                  <a:moveTo>
                    <a:pt x="22" y="643"/>
                  </a:moveTo>
                  <a:cubicBezTo>
                    <a:pt x="17" y="645"/>
                    <a:pt x="17" y="645"/>
                    <a:pt x="17" y="645"/>
                  </a:cubicBezTo>
                  <a:cubicBezTo>
                    <a:pt x="22" y="647"/>
                    <a:pt x="22" y="647"/>
                    <a:pt x="22" y="647"/>
                  </a:cubicBezTo>
                  <a:lnTo>
                    <a:pt x="22" y="643"/>
                  </a:lnTo>
                  <a:close/>
                  <a:moveTo>
                    <a:pt x="14" y="639"/>
                  </a:moveTo>
                  <a:cubicBezTo>
                    <a:pt x="14" y="635"/>
                    <a:pt x="11" y="635"/>
                    <a:pt x="12" y="638"/>
                  </a:cubicBezTo>
                  <a:cubicBezTo>
                    <a:pt x="12" y="641"/>
                    <a:pt x="14" y="641"/>
                    <a:pt x="14" y="639"/>
                  </a:cubicBezTo>
                  <a:close/>
                  <a:moveTo>
                    <a:pt x="15" y="632"/>
                  </a:moveTo>
                  <a:cubicBezTo>
                    <a:pt x="24" y="629"/>
                    <a:pt x="24" y="629"/>
                    <a:pt x="24" y="629"/>
                  </a:cubicBezTo>
                  <a:cubicBezTo>
                    <a:pt x="25" y="626"/>
                    <a:pt x="25" y="626"/>
                    <a:pt x="25" y="626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15" y="623"/>
                    <a:pt x="15" y="623"/>
                    <a:pt x="15" y="623"/>
                  </a:cubicBezTo>
                  <a:cubicBezTo>
                    <a:pt x="15" y="626"/>
                    <a:pt x="15" y="626"/>
                    <a:pt x="15" y="626"/>
                  </a:cubicBezTo>
                  <a:cubicBezTo>
                    <a:pt x="12" y="627"/>
                    <a:pt x="12" y="627"/>
                    <a:pt x="12" y="627"/>
                  </a:cubicBezTo>
                  <a:cubicBezTo>
                    <a:pt x="16" y="628"/>
                    <a:pt x="16" y="628"/>
                    <a:pt x="16" y="628"/>
                  </a:cubicBezTo>
                  <a:lnTo>
                    <a:pt x="15" y="632"/>
                  </a:lnTo>
                  <a:close/>
                  <a:moveTo>
                    <a:pt x="12" y="630"/>
                  </a:moveTo>
                  <a:cubicBezTo>
                    <a:pt x="13" y="632"/>
                    <a:pt x="13" y="632"/>
                    <a:pt x="13" y="632"/>
                  </a:cubicBezTo>
                  <a:cubicBezTo>
                    <a:pt x="14" y="633"/>
                    <a:pt x="14" y="633"/>
                    <a:pt x="14" y="633"/>
                  </a:cubicBezTo>
                  <a:cubicBezTo>
                    <a:pt x="14" y="629"/>
                    <a:pt x="14" y="629"/>
                    <a:pt x="14" y="629"/>
                  </a:cubicBezTo>
                  <a:lnTo>
                    <a:pt x="12" y="630"/>
                  </a:lnTo>
                  <a:close/>
                  <a:moveTo>
                    <a:pt x="20" y="618"/>
                  </a:moveTo>
                  <a:cubicBezTo>
                    <a:pt x="22" y="619"/>
                    <a:pt x="22" y="623"/>
                    <a:pt x="22" y="623"/>
                  </a:cubicBezTo>
                  <a:cubicBezTo>
                    <a:pt x="25" y="623"/>
                    <a:pt x="25" y="623"/>
                    <a:pt x="25" y="623"/>
                  </a:cubicBezTo>
                  <a:cubicBezTo>
                    <a:pt x="25" y="616"/>
                    <a:pt x="25" y="616"/>
                    <a:pt x="25" y="616"/>
                  </a:cubicBezTo>
                  <a:cubicBezTo>
                    <a:pt x="20" y="615"/>
                    <a:pt x="20" y="615"/>
                    <a:pt x="20" y="615"/>
                  </a:cubicBezTo>
                  <a:cubicBezTo>
                    <a:pt x="20" y="615"/>
                    <a:pt x="18" y="617"/>
                    <a:pt x="20" y="618"/>
                  </a:cubicBezTo>
                  <a:close/>
                  <a:moveTo>
                    <a:pt x="36" y="604"/>
                  </a:moveTo>
                  <a:cubicBezTo>
                    <a:pt x="36" y="601"/>
                    <a:pt x="36" y="601"/>
                    <a:pt x="36" y="601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4"/>
                    <a:pt x="34" y="604"/>
                    <a:pt x="34" y="604"/>
                  </a:cubicBezTo>
                  <a:lnTo>
                    <a:pt x="36" y="604"/>
                  </a:lnTo>
                  <a:close/>
                  <a:moveTo>
                    <a:pt x="45" y="607"/>
                  </a:moveTo>
                  <a:cubicBezTo>
                    <a:pt x="48" y="605"/>
                    <a:pt x="48" y="601"/>
                    <a:pt x="44" y="600"/>
                  </a:cubicBezTo>
                  <a:cubicBezTo>
                    <a:pt x="40" y="598"/>
                    <a:pt x="40" y="603"/>
                    <a:pt x="40" y="603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7"/>
                    <a:pt x="42" y="608"/>
                    <a:pt x="45" y="607"/>
                  </a:cubicBezTo>
                  <a:close/>
                  <a:moveTo>
                    <a:pt x="42" y="598"/>
                  </a:moveTo>
                  <a:cubicBezTo>
                    <a:pt x="45" y="598"/>
                    <a:pt x="45" y="598"/>
                    <a:pt x="45" y="598"/>
                  </a:cubicBezTo>
                  <a:cubicBezTo>
                    <a:pt x="46" y="596"/>
                    <a:pt x="46" y="596"/>
                    <a:pt x="46" y="596"/>
                  </a:cubicBezTo>
                  <a:cubicBezTo>
                    <a:pt x="43" y="593"/>
                    <a:pt x="43" y="593"/>
                    <a:pt x="43" y="593"/>
                  </a:cubicBezTo>
                  <a:cubicBezTo>
                    <a:pt x="41" y="593"/>
                    <a:pt x="41" y="593"/>
                    <a:pt x="41" y="593"/>
                  </a:cubicBezTo>
                  <a:cubicBezTo>
                    <a:pt x="42" y="596"/>
                    <a:pt x="42" y="596"/>
                    <a:pt x="42" y="596"/>
                  </a:cubicBezTo>
                  <a:lnTo>
                    <a:pt x="42" y="598"/>
                  </a:lnTo>
                  <a:close/>
                  <a:moveTo>
                    <a:pt x="53" y="593"/>
                  </a:moveTo>
                  <a:cubicBezTo>
                    <a:pt x="49" y="594"/>
                    <a:pt x="49" y="594"/>
                    <a:pt x="49" y="594"/>
                  </a:cubicBezTo>
                  <a:cubicBezTo>
                    <a:pt x="49" y="603"/>
                    <a:pt x="49" y="603"/>
                    <a:pt x="49" y="603"/>
                  </a:cubicBezTo>
                  <a:cubicBezTo>
                    <a:pt x="57" y="598"/>
                    <a:pt x="57" y="598"/>
                    <a:pt x="57" y="598"/>
                  </a:cubicBezTo>
                  <a:lnTo>
                    <a:pt x="53" y="593"/>
                  </a:lnTo>
                  <a:close/>
                  <a:moveTo>
                    <a:pt x="57" y="593"/>
                  </a:moveTo>
                  <a:cubicBezTo>
                    <a:pt x="60" y="596"/>
                    <a:pt x="60" y="596"/>
                    <a:pt x="60" y="596"/>
                  </a:cubicBezTo>
                  <a:cubicBezTo>
                    <a:pt x="65" y="594"/>
                    <a:pt x="65" y="594"/>
                    <a:pt x="65" y="594"/>
                  </a:cubicBezTo>
                  <a:cubicBezTo>
                    <a:pt x="61" y="592"/>
                    <a:pt x="61" y="592"/>
                    <a:pt x="61" y="592"/>
                  </a:cubicBezTo>
                  <a:lnTo>
                    <a:pt x="57" y="593"/>
                  </a:lnTo>
                  <a:close/>
                  <a:moveTo>
                    <a:pt x="55" y="587"/>
                  </a:moveTo>
                  <a:cubicBezTo>
                    <a:pt x="51" y="591"/>
                    <a:pt x="51" y="591"/>
                    <a:pt x="51" y="591"/>
                  </a:cubicBezTo>
                  <a:cubicBezTo>
                    <a:pt x="58" y="591"/>
                    <a:pt x="58" y="591"/>
                    <a:pt x="58" y="591"/>
                  </a:cubicBezTo>
                  <a:lnTo>
                    <a:pt x="55" y="587"/>
                  </a:lnTo>
                  <a:close/>
                  <a:moveTo>
                    <a:pt x="57" y="586"/>
                  </a:moveTo>
                  <a:cubicBezTo>
                    <a:pt x="59" y="586"/>
                    <a:pt x="61" y="581"/>
                    <a:pt x="58" y="582"/>
                  </a:cubicBezTo>
                  <a:cubicBezTo>
                    <a:pt x="55" y="583"/>
                    <a:pt x="56" y="586"/>
                    <a:pt x="57" y="586"/>
                  </a:cubicBezTo>
                  <a:close/>
                  <a:moveTo>
                    <a:pt x="63" y="580"/>
                  </a:moveTo>
                  <a:cubicBezTo>
                    <a:pt x="59" y="579"/>
                    <a:pt x="59" y="579"/>
                    <a:pt x="59" y="579"/>
                  </a:cubicBezTo>
                  <a:cubicBezTo>
                    <a:pt x="62" y="582"/>
                    <a:pt x="62" y="582"/>
                    <a:pt x="62" y="582"/>
                  </a:cubicBezTo>
                  <a:lnTo>
                    <a:pt x="63" y="580"/>
                  </a:lnTo>
                  <a:close/>
                  <a:moveTo>
                    <a:pt x="63" y="577"/>
                  </a:moveTo>
                  <a:cubicBezTo>
                    <a:pt x="62" y="578"/>
                    <a:pt x="62" y="578"/>
                    <a:pt x="62" y="578"/>
                  </a:cubicBezTo>
                  <a:cubicBezTo>
                    <a:pt x="65" y="580"/>
                    <a:pt x="65" y="580"/>
                    <a:pt x="65" y="580"/>
                  </a:cubicBezTo>
                  <a:lnTo>
                    <a:pt x="63" y="577"/>
                  </a:lnTo>
                  <a:close/>
                  <a:moveTo>
                    <a:pt x="71" y="575"/>
                  </a:moveTo>
                  <a:cubicBezTo>
                    <a:pt x="71" y="571"/>
                    <a:pt x="71" y="571"/>
                    <a:pt x="71" y="571"/>
                  </a:cubicBezTo>
                  <a:cubicBezTo>
                    <a:pt x="69" y="571"/>
                    <a:pt x="69" y="571"/>
                    <a:pt x="69" y="571"/>
                  </a:cubicBezTo>
                  <a:cubicBezTo>
                    <a:pt x="69" y="575"/>
                    <a:pt x="69" y="575"/>
                    <a:pt x="69" y="575"/>
                  </a:cubicBezTo>
                  <a:lnTo>
                    <a:pt x="71" y="575"/>
                  </a:lnTo>
                  <a:close/>
                  <a:moveTo>
                    <a:pt x="80" y="578"/>
                  </a:moveTo>
                  <a:cubicBezTo>
                    <a:pt x="85" y="576"/>
                    <a:pt x="85" y="575"/>
                    <a:pt x="82" y="575"/>
                  </a:cubicBezTo>
                  <a:cubicBezTo>
                    <a:pt x="78" y="573"/>
                    <a:pt x="77" y="576"/>
                    <a:pt x="77" y="577"/>
                  </a:cubicBezTo>
                  <a:cubicBezTo>
                    <a:pt x="77" y="578"/>
                    <a:pt x="80" y="578"/>
                    <a:pt x="80" y="578"/>
                  </a:cubicBezTo>
                  <a:close/>
                  <a:moveTo>
                    <a:pt x="87" y="568"/>
                  </a:moveTo>
                  <a:cubicBezTo>
                    <a:pt x="82" y="567"/>
                    <a:pt x="82" y="567"/>
                    <a:pt x="82" y="567"/>
                  </a:cubicBezTo>
                  <a:cubicBezTo>
                    <a:pt x="80" y="568"/>
                    <a:pt x="80" y="568"/>
                    <a:pt x="80" y="568"/>
                  </a:cubicBezTo>
                  <a:cubicBezTo>
                    <a:pt x="83" y="571"/>
                    <a:pt x="83" y="571"/>
                    <a:pt x="83" y="571"/>
                  </a:cubicBezTo>
                  <a:lnTo>
                    <a:pt x="87" y="568"/>
                  </a:lnTo>
                  <a:close/>
                  <a:moveTo>
                    <a:pt x="110" y="557"/>
                  </a:moveTo>
                  <a:cubicBezTo>
                    <a:pt x="109" y="551"/>
                    <a:pt x="109" y="551"/>
                    <a:pt x="109" y="551"/>
                  </a:cubicBezTo>
                  <a:cubicBezTo>
                    <a:pt x="106" y="551"/>
                    <a:pt x="106" y="551"/>
                    <a:pt x="106" y="551"/>
                  </a:cubicBezTo>
                  <a:cubicBezTo>
                    <a:pt x="107" y="554"/>
                    <a:pt x="107" y="554"/>
                    <a:pt x="107" y="554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0" y="558"/>
                    <a:pt x="100" y="558"/>
                    <a:pt x="100" y="558"/>
                  </a:cubicBezTo>
                  <a:cubicBezTo>
                    <a:pt x="105" y="562"/>
                    <a:pt x="105" y="562"/>
                    <a:pt x="105" y="562"/>
                  </a:cubicBezTo>
                  <a:lnTo>
                    <a:pt x="110" y="557"/>
                  </a:lnTo>
                  <a:close/>
                  <a:moveTo>
                    <a:pt x="116" y="555"/>
                  </a:moveTo>
                  <a:cubicBezTo>
                    <a:pt x="116" y="552"/>
                    <a:pt x="116" y="552"/>
                    <a:pt x="116" y="552"/>
                  </a:cubicBezTo>
                  <a:cubicBezTo>
                    <a:pt x="111" y="553"/>
                    <a:pt x="111" y="553"/>
                    <a:pt x="111" y="553"/>
                  </a:cubicBezTo>
                  <a:cubicBezTo>
                    <a:pt x="112" y="557"/>
                    <a:pt x="112" y="557"/>
                    <a:pt x="112" y="557"/>
                  </a:cubicBezTo>
                  <a:lnTo>
                    <a:pt x="116" y="555"/>
                  </a:lnTo>
                  <a:close/>
                  <a:moveTo>
                    <a:pt x="113" y="548"/>
                  </a:moveTo>
                  <a:cubicBezTo>
                    <a:pt x="111" y="552"/>
                    <a:pt x="111" y="552"/>
                    <a:pt x="111" y="552"/>
                  </a:cubicBezTo>
                  <a:cubicBezTo>
                    <a:pt x="115" y="551"/>
                    <a:pt x="115" y="551"/>
                    <a:pt x="115" y="551"/>
                  </a:cubicBezTo>
                  <a:lnTo>
                    <a:pt x="113" y="548"/>
                  </a:lnTo>
                  <a:close/>
                  <a:moveTo>
                    <a:pt x="124" y="545"/>
                  </a:moveTo>
                  <a:cubicBezTo>
                    <a:pt x="117" y="545"/>
                    <a:pt x="121" y="549"/>
                    <a:pt x="123" y="549"/>
                  </a:cubicBezTo>
                  <a:cubicBezTo>
                    <a:pt x="126" y="550"/>
                    <a:pt x="130" y="545"/>
                    <a:pt x="124" y="545"/>
                  </a:cubicBezTo>
                  <a:close/>
                  <a:moveTo>
                    <a:pt x="135" y="547"/>
                  </a:moveTo>
                  <a:cubicBezTo>
                    <a:pt x="133" y="542"/>
                    <a:pt x="133" y="542"/>
                    <a:pt x="133" y="542"/>
                  </a:cubicBezTo>
                  <a:cubicBezTo>
                    <a:pt x="132" y="544"/>
                    <a:pt x="132" y="544"/>
                    <a:pt x="132" y="544"/>
                  </a:cubicBezTo>
                  <a:cubicBezTo>
                    <a:pt x="129" y="541"/>
                    <a:pt x="129" y="541"/>
                    <a:pt x="129" y="541"/>
                  </a:cubicBezTo>
                  <a:cubicBezTo>
                    <a:pt x="127" y="542"/>
                    <a:pt x="127" y="542"/>
                    <a:pt x="127" y="542"/>
                  </a:cubicBezTo>
                  <a:cubicBezTo>
                    <a:pt x="132" y="549"/>
                    <a:pt x="132" y="549"/>
                    <a:pt x="132" y="549"/>
                  </a:cubicBezTo>
                  <a:lnTo>
                    <a:pt x="135" y="547"/>
                  </a:lnTo>
                  <a:close/>
                  <a:moveTo>
                    <a:pt x="118" y="535"/>
                  </a:moveTo>
                  <a:cubicBezTo>
                    <a:pt x="123" y="537"/>
                    <a:pt x="123" y="537"/>
                    <a:pt x="123" y="537"/>
                  </a:cubicBezTo>
                  <a:cubicBezTo>
                    <a:pt x="127" y="536"/>
                    <a:pt x="127" y="536"/>
                    <a:pt x="127" y="536"/>
                  </a:cubicBezTo>
                  <a:cubicBezTo>
                    <a:pt x="127" y="536"/>
                    <a:pt x="127" y="529"/>
                    <a:pt x="123" y="530"/>
                  </a:cubicBezTo>
                  <a:cubicBezTo>
                    <a:pt x="117" y="530"/>
                    <a:pt x="115" y="531"/>
                    <a:pt x="115" y="531"/>
                  </a:cubicBezTo>
                  <a:cubicBezTo>
                    <a:pt x="116" y="535"/>
                    <a:pt x="116" y="535"/>
                    <a:pt x="116" y="535"/>
                  </a:cubicBezTo>
                  <a:lnTo>
                    <a:pt x="118" y="535"/>
                  </a:lnTo>
                  <a:close/>
                  <a:moveTo>
                    <a:pt x="138" y="522"/>
                  </a:moveTo>
                  <a:cubicBezTo>
                    <a:pt x="138" y="522"/>
                    <a:pt x="131" y="524"/>
                    <a:pt x="131" y="528"/>
                  </a:cubicBezTo>
                  <a:cubicBezTo>
                    <a:pt x="131" y="533"/>
                    <a:pt x="138" y="530"/>
                    <a:pt x="145" y="529"/>
                  </a:cubicBezTo>
                  <a:cubicBezTo>
                    <a:pt x="154" y="526"/>
                    <a:pt x="158" y="523"/>
                    <a:pt x="156" y="522"/>
                  </a:cubicBezTo>
                  <a:cubicBezTo>
                    <a:pt x="154" y="521"/>
                    <a:pt x="150" y="521"/>
                    <a:pt x="150" y="521"/>
                  </a:cubicBezTo>
                  <a:cubicBezTo>
                    <a:pt x="150" y="518"/>
                    <a:pt x="150" y="518"/>
                    <a:pt x="150" y="518"/>
                  </a:cubicBezTo>
                  <a:cubicBezTo>
                    <a:pt x="150" y="518"/>
                    <a:pt x="147" y="518"/>
                    <a:pt x="143" y="519"/>
                  </a:cubicBezTo>
                  <a:cubicBezTo>
                    <a:pt x="139" y="519"/>
                    <a:pt x="138" y="522"/>
                    <a:pt x="138" y="522"/>
                  </a:cubicBezTo>
                  <a:close/>
                  <a:moveTo>
                    <a:pt x="139" y="516"/>
                  </a:moveTo>
                  <a:cubicBezTo>
                    <a:pt x="147" y="514"/>
                    <a:pt x="147" y="514"/>
                    <a:pt x="147" y="514"/>
                  </a:cubicBezTo>
                  <a:cubicBezTo>
                    <a:pt x="146" y="508"/>
                    <a:pt x="146" y="508"/>
                    <a:pt x="146" y="508"/>
                  </a:cubicBezTo>
                  <a:cubicBezTo>
                    <a:pt x="146" y="508"/>
                    <a:pt x="142" y="513"/>
                    <a:pt x="139" y="513"/>
                  </a:cubicBezTo>
                  <a:cubicBezTo>
                    <a:pt x="137" y="514"/>
                    <a:pt x="131" y="515"/>
                    <a:pt x="131" y="515"/>
                  </a:cubicBezTo>
                  <a:cubicBezTo>
                    <a:pt x="132" y="516"/>
                    <a:pt x="132" y="516"/>
                    <a:pt x="132" y="516"/>
                  </a:cubicBezTo>
                  <a:lnTo>
                    <a:pt x="139" y="516"/>
                  </a:lnTo>
                  <a:close/>
                  <a:moveTo>
                    <a:pt x="159" y="517"/>
                  </a:moveTo>
                  <a:cubicBezTo>
                    <a:pt x="154" y="518"/>
                    <a:pt x="154" y="518"/>
                    <a:pt x="154" y="518"/>
                  </a:cubicBezTo>
                  <a:cubicBezTo>
                    <a:pt x="153" y="519"/>
                    <a:pt x="153" y="519"/>
                    <a:pt x="153" y="519"/>
                  </a:cubicBezTo>
                  <a:cubicBezTo>
                    <a:pt x="159" y="519"/>
                    <a:pt x="159" y="519"/>
                    <a:pt x="159" y="519"/>
                  </a:cubicBezTo>
                  <a:lnTo>
                    <a:pt x="159" y="517"/>
                  </a:lnTo>
                  <a:close/>
                  <a:moveTo>
                    <a:pt x="162" y="515"/>
                  </a:moveTo>
                  <a:cubicBezTo>
                    <a:pt x="162" y="521"/>
                    <a:pt x="162" y="521"/>
                    <a:pt x="162" y="521"/>
                  </a:cubicBezTo>
                  <a:cubicBezTo>
                    <a:pt x="166" y="519"/>
                    <a:pt x="166" y="519"/>
                    <a:pt x="166" y="519"/>
                  </a:cubicBezTo>
                  <a:lnTo>
                    <a:pt x="162" y="515"/>
                  </a:lnTo>
                  <a:close/>
                  <a:moveTo>
                    <a:pt x="235" y="425"/>
                  </a:moveTo>
                  <a:cubicBezTo>
                    <a:pt x="235" y="425"/>
                    <a:pt x="232" y="424"/>
                    <a:pt x="230" y="425"/>
                  </a:cubicBezTo>
                  <a:cubicBezTo>
                    <a:pt x="227" y="427"/>
                    <a:pt x="229" y="430"/>
                    <a:pt x="229" y="430"/>
                  </a:cubicBezTo>
                  <a:lnTo>
                    <a:pt x="235" y="425"/>
                  </a:lnTo>
                  <a:close/>
                  <a:moveTo>
                    <a:pt x="215" y="439"/>
                  </a:moveTo>
                  <a:cubicBezTo>
                    <a:pt x="216" y="439"/>
                    <a:pt x="214" y="441"/>
                    <a:pt x="214" y="441"/>
                  </a:cubicBezTo>
                  <a:cubicBezTo>
                    <a:pt x="216" y="443"/>
                    <a:pt x="216" y="443"/>
                    <a:pt x="216" y="443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9"/>
                    <a:pt x="220" y="434"/>
                    <a:pt x="214" y="435"/>
                  </a:cubicBezTo>
                  <a:cubicBezTo>
                    <a:pt x="210" y="436"/>
                    <a:pt x="207" y="440"/>
                    <a:pt x="207" y="440"/>
                  </a:cubicBezTo>
                  <a:cubicBezTo>
                    <a:pt x="210" y="442"/>
                    <a:pt x="210" y="442"/>
                    <a:pt x="210" y="442"/>
                  </a:cubicBezTo>
                  <a:cubicBezTo>
                    <a:pt x="210" y="442"/>
                    <a:pt x="214" y="438"/>
                    <a:pt x="215" y="439"/>
                  </a:cubicBezTo>
                  <a:close/>
                  <a:moveTo>
                    <a:pt x="239" y="396"/>
                  </a:moveTo>
                  <a:cubicBezTo>
                    <a:pt x="244" y="390"/>
                    <a:pt x="244" y="390"/>
                    <a:pt x="244" y="390"/>
                  </a:cubicBezTo>
                  <a:cubicBezTo>
                    <a:pt x="242" y="387"/>
                    <a:pt x="242" y="387"/>
                    <a:pt x="242" y="387"/>
                  </a:cubicBezTo>
                  <a:cubicBezTo>
                    <a:pt x="242" y="387"/>
                    <a:pt x="236" y="386"/>
                    <a:pt x="237" y="391"/>
                  </a:cubicBezTo>
                  <a:cubicBezTo>
                    <a:pt x="237" y="396"/>
                    <a:pt x="239" y="396"/>
                    <a:pt x="239" y="396"/>
                  </a:cubicBezTo>
                  <a:close/>
                  <a:moveTo>
                    <a:pt x="242" y="408"/>
                  </a:moveTo>
                  <a:cubicBezTo>
                    <a:pt x="244" y="408"/>
                    <a:pt x="244" y="408"/>
                    <a:pt x="244" y="408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4" y="402"/>
                    <a:pt x="244" y="402"/>
                    <a:pt x="244" y="402"/>
                  </a:cubicBezTo>
                  <a:lnTo>
                    <a:pt x="242" y="408"/>
                  </a:lnTo>
                  <a:close/>
                  <a:moveTo>
                    <a:pt x="259" y="367"/>
                  </a:moveTo>
                  <a:cubicBezTo>
                    <a:pt x="259" y="367"/>
                    <a:pt x="254" y="371"/>
                    <a:pt x="253" y="373"/>
                  </a:cubicBezTo>
                  <a:cubicBezTo>
                    <a:pt x="252" y="374"/>
                    <a:pt x="255" y="378"/>
                    <a:pt x="255" y="378"/>
                  </a:cubicBezTo>
                  <a:cubicBezTo>
                    <a:pt x="260" y="373"/>
                    <a:pt x="260" y="373"/>
                    <a:pt x="260" y="373"/>
                  </a:cubicBezTo>
                  <a:cubicBezTo>
                    <a:pt x="265" y="370"/>
                    <a:pt x="265" y="370"/>
                    <a:pt x="265" y="370"/>
                  </a:cubicBezTo>
                  <a:cubicBezTo>
                    <a:pt x="266" y="367"/>
                    <a:pt x="266" y="367"/>
                    <a:pt x="266" y="367"/>
                  </a:cubicBezTo>
                  <a:cubicBezTo>
                    <a:pt x="260" y="370"/>
                    <a:pt x="260" y="370"/>
                    <a:pt x="260" y="370"/>
                  </a:cubicBezTo>
                  <a:lnTo>
                    <a:pt x="259" y="367"/>
                  </a:lnTo>
                  <a:close/>
                  <a:moveTo>
                    <a:pt x="253" y="366"/>
                  </a:moveTo>
                  <a:cubicBezTo>
                    <a:pt x="259" y="363"/>
                    <a:pt x="259" y="363"/>
                    <a:pt x="259" y="363"/>
                  </a:cubicBezTo>
                  <a:cubicBezTo>
                    <a:pt x="260" y="360"/>
                    <a:pt x="260" y="360"/>
                    <a:pt x="260" y="360"/>
                  </a:cubicBezTo>
                  <a:cubicBezTo>
                    <a:pt x="258" y="359"/>
                    <a:pt x="258" y="359"/>
                    <a:pt x="258" y="359"/>
                  </a:cubicBezTo>
                  <a:cubicBezTo>
                    <a:pt x="260" y="357"/>
                    <a:pt x="260" y="357"/>
                    <a:pt x="260" y="357"/>
                  </a:cubicBezTo>
                  <a:cubicBezTo>
                    <a:pt x="259" y="353"/>
                    <a:pt x="259" y="353"/>
                    <a:pt x="259" y="353"/>
                  </a:cubicBezTo>
                  <a:cubicBezTo>
                    <a:pt x="255" y="356"/>
                    <a:pt x="255" y="356"/>
                    <a:pt x="255" y="356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2" y="363"/>
                    <a:pt x="252" y="363"/>
                    <a:pt x="252" y="363"/>
                  </a:cubicBezTo>
                  <a:lnTo>
                    <a:pt x="253" y="366"/>
                  </a:lnTo>
                  <a:close/>
                  <a:moveTo>
                    <a:pt x="263" y="349"/>
                  </a:moveTo>
                  <a:cubicBezTo>
                    <a:pt x="262" y="352"/>
                    <a:pt x="262" y="352"/>
                    <a:pt x="262" y="352"/>
                  </a:cubicBezTo>
                  <a:cubicBezTo>
                    <a:pt x="264" y="355"/>
                    <a:pt x="264" y="355"/>
                    <a:pt x="264" y="355"/>
                  </a:cubicBezTo>
                  <a:cubicBezTo>
                    <a:pt x="268" y="350"/>
                    <a:pt x="268" y="350"/>
                    <a:pt x="268" y="350"/>
                  </a:cubicBezTo>
                  <a:lnTo>
                    <a:pt x="263" y="349"/>
                  </a:lnTo>
                  <a:close/>
                  <a:moveTo>
                    <a:pt x="264" y="359"/>
                  </a:moveTo>
                  <a:cubicBezTo>
                    <a:pt x="265" y="357"/>
                    <a:pt x="265" y="357"/>
                    <a:pt x="265" y="357"/>
                  </a:cubicBezTo>
                  <a:cubicBezTo>
                    <a:pt x="262" y="357"/>
                    <a:pt x="262" y="357"/>
                    <a:pt x="262" y="357"/>
                  </a:cubicBezTo>
                  <a:lnTo>
                    <a:pt x="264" y="359"/>
                  </a:lnTo>
                  <a:close/>
                  <a:moveTo>
                    <a:pt x="266" y="343"/>
                  </a:moveTo>
                  <a:cubicBezTo>
                    <a:pt x="269" y="340"/>
                    <a:pt x="269" y="340"/>
                    <a:pt x="269" y="340"/>
                  </a:cubicBezTo>
                  <a:cubicBezTo>
                    <a:pt x="265" y="339"/>
                    <a:pt x="265" y="339"/>
                    <a:pt x="265" y="339"/>
                  </a:cubicBezTo>
                  <a:lnTo>
                    <a:pt x="266" y="343"/>
                  </a:lnTo>
                  <a:close/>
                  <a:moveTo>
                    <a:pt x="261" y="330"/>
                  </a:moveTo>
                  <a:cubicBezTo>
                    <a:pt x="258" y="329"/>
                    <a:pt x="258" y="329"/>
                    <a:pt x="258" y="329"/>
                  </a:cubicBezTo>
                  <a:cubicBezTo>
                    <a:pt x="257" y="333"/>
                    <a:pt x="257" y="333"/>
                    <a:pt x="257" y="333"/>
                  </a:cubicBezTo>
                  <a:cubicBezTo>
                    <a:pt x="260" y="332"/>
                    <a:pt x="260" y="332"/>
                    <a:pt x="260" y="332"/>
                  </a:cubicBezTo>
                  <a:lnTo>
                    <a:pt x="261" y="330"/>
                  </a:lnTo>
                  <a:close/>
                  <a:moveTo>
                    <a:pt x="272" y="351"/>
                  </a:moveTo>
                  <a:cubicBezTo>
                    <a:pt x="269" y="350"/>
                    <a:pt x="269" y="350"/>
                    <a:pt x="269" y="350"/>
                  </a:cubicBezTo>
                  <a:cubicBezTo>
                    <a:pt x="268" y="356"/>
                    <a:pt x="268" y="356"/>
                    <a:pt x="268" y="356"/>
                  </a:cubicBezTo>
                  <a:lnTo>
                    <a:pt x="272" y="351"/>
                  </a:lnTo>
                  <a:close/>
                  <a:moveTo>
                    <a:pt x="280" y="319"/>
                  </a:moveTo>
                  <a:cubicBezTo>
                    <a:pt x="278" y="317"/>
                    <a:pt x="278" y="317"/>
                    <a:pt x="278" y="317"/>
                  </a:cubicBezTo>
                  <a:cubicBezTo>
                    <a:pt x="276" y="320"/>
                    <a:pt x="276" y="320"/>
                    <a:pt x="276" y="320"/>
                  </a:cubicBezTo>
                  <a:lnTo>
                    <a:pt x="280" y="319"/>
                  </a:lnTo>
                  <a:close/>
                  <a:moveTo>
                    <a:pt x="284" y="313"/>
                  </a:moveTo>
                  <a:cubicBezTo>
                    <a:pt x="279" y="312"/>
                    <a:pt x="279" y="312"/>
                    <a:pt x="279" y="312"/>
                  </a:cubicBezTo>
                  <a:cubicBezTo>
                    <a:pt x="276" y="315"/>
                    <a:pt x="276" y="315"/>
                    <a:pt x="276" y="315"/>
                  </a:cubicBezTo>
                  <a:cubicBezTo>
                    <a:pt x="284" y="315"/>
                    <a:pt x="284" y="315"/>
                    <a:pt x="284" y="315"/>
                  </a:cubicBezTo>
                  <a:lnTo>
                    <a:pt x="284" y="313"/>
                  </a:lnTo>
                  <a:close/>
                  <a:moveTo>
                    <a:pt x="301" y="300"/>
                  </a:moveTo>
                  <a:cubicBezTo>
                    <a:pt x="304" y="290"/>
                    <a:pt x="304" y="290"/>
                    <a:pt x="304" y="290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1" y="294"/>
                    <a:pt x="301" y="294"/>
                    <a:pt x="301" y="294"/>
                  </a:cubicBezTo>
                  <a:cubicBezTo>
                    <a:pt x="297" y="292"/>
                    <a:pt x="297" y="292"/>
                    <a:pt x="297" y="292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300" y="298"/>
                    <a:pt x="300" y="298"/>
                    <a:pt x="300" y="298"/>
                  </a:cubicBezTo>
                  <a:cubicBezTo>
                    <a:pt x="300" y="300"/>
                    <a:pt x="300" y="300"/>
                    <a:pt x="300" y="300"/>
                  </a:cubicBezTo>
                  <a:lnTo>
                    <a:pt x="301" y="300"/>
                  </a:lnTo>
                  <a:close/>
                  <a:moveTo>
                    <a:pt x="305" y="276"/>
                  </a:moveTo>
                  <a:cubicBezTo>
                    <a:pt x="298" y="279"/>
                    <a:pt x="304" y="279"/>
                    <a:pt x="306" y="278"/>
                  </a:cubicBezTo>
                  <a:cubicBezTo>
                    <a:pt x="311" y="276"/>
                    <a:pt x="310" y="273"/>
                    <a:pt x="305" y="276"/>
                  </a:cubicBezTo>
                  <a:close/>
                  <a:moveTo>
                    <a:pt x="262" y="260"/>
                  </a:moveTo>
                  <a:cubicBezTo>
                    <a:pt x="260" y="266"/>
                    <a:pt x="260" y="266"/>
                    <a:pt x="260" y="266"/>
                  </a:cubicBezTo>
                  <a:cubicBezTo>
                    <a:pt x="265" y="263"/>
                    <a:pt x="265" y="263"/>
                    <a:pt x="265" y="263"/>
                  </a:cubicBezTo>
                  <a:lnTo>
                    <a:pt x="262" y="260"/>
                  </a:lnTo>
                  <a:close/>
                  <a:moveTo>
                    <a:pt x="320" y="244"/>
                  </a:moveTo>
                  <a:cubicBezTo>
                    <a:pt x="327" y="242"/>
                    <a:pt x="327" y="242"/>
                    <a:pt x="327" y="242"/>
                  </a:cubicBezTo>
                  <a:cubicBezTo>
                    <a:pt x="327" y="241"/>
                    <a:pt x="327" y="241"/>
                    <a:pt x="327" y="241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44"/>
                  </a:lnTo>
                  <a:close/>
                  <a:moveTo>
                    <a:pt x="323" y="236"/>
                  </a:moveTo>
                  <a:cubicBezTo>
                    <a:pt x="327" y="239"/>
                    <a:pt x="327" y="239"/>
                    <a:pt x="327" y="239"/>
                  </a:cubicBezTo>
                  <a:cubicBezTo>
                    <a:pt x="327" y="238"/>
                    <a:pt x="324" y="234"/>
                    <a:pt x="324" y="234"/>
                  </a:cubicBezTo>
                  <a:lnTo>
                    <a:pt x="323" y="236"/>
                  </a:lnTo>
                  <a:close/>
                  <a:moveTo>
                    <a:pt x="353" y="201"/>
                  </a:moveTo>
                  <a:cubicBezTo>
                    <a:pt x="346" y="195"/>
                    <a:pt x="347" y="207"/>
                    <a:pt x="347" y="207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45" y="210"/>
                    <a:pt x="345" y="210"/>
                    <a:pt x="345" y="210"/>
                  </a:cubicBezTo>
                  <a:cubicBezTo>
                    <a:pt x="351" y="208"/>
                    <a:pt x="351" y="208"/>
                    <a:pt x="351" y="208"/>
                  </a:cubicBezTo>
                  <a:cubicBezTo>
                    <a:pt x="351" y="208"/>
                    <a:pt x="358" y="206"/>
                    <a:pt x="353" y="201"/>
                  </a:cubicBezTo>
                  <a:close/>
                  <a:moveTo>
                    <a:pt x="343" y="217"/>
                  </a:moveTo>
                  <a:cubicBezTo>
                    <a:pt x="348" y="213"/>
                    <a:pt x="348" y="213"/>
                    <a:pt x="348" y="213"/>
                  </a:cubicBezTo>
                  <a:cubicBezTo>
                    <a:pt x="343" y="214"/>
                    <a:pt x="343" y="214"/>
                    <a:pt x="343" y="214"/>
                  </a:cubicBezTo>
                  <a:lnTo>
                    <a:pt x="343" y="217"/>
                  </a:lnTo>
                  <a:close/>
                  <a:moveTo>
                    <a:pt x="350" y="229"/>
                  </a:moveTo>
                  <a:cubicBezTo>
                    <a:pt x="348" y="232"/>
                    <a:pt x="348" y="232"/>
                    <a:pt x="348" y="232"/>
                  </a:cubicBezTo>
                  <a:cubicBezTo>
                    <a:pt x="354" y="232"/>
                    <a:pt x="354" y="232"/>
                    <a:pt x="354" y="232"/>
                  </a:cubicBezTo>
                  <a:lnTo>
                    <a:pt x="350" y="229"/>
                  </a:lnTo>
                  <a:close/>
                  <a:moveTo>
                    <a:pt x="265" y="251"/>
                  </a:moveTo>
                  <a:cubicBezTo>
                    <a:pt x="265" y="251"/>
                    <a:pt x="270" y="250"/>
                    <a:pt x="271" y="247"/>
                  </a:cubicBezTo>
                  <a:cubicBezTo>
                    <a:pt x="271" y="245"/>
                    <a:pt x="270" y="242"/>
                    <a:pt x="271" y="242"/>
                  </a:cubicBezTo>
                  <a:cubicBezTo>
                    <a:pt x="272" y="242"/>
                    <a:pt x="275" y="238"/>
                    <a:pt x="275" y="238"/>
                  </a:cubicBezTo>
                  <a:cubicBezTo>
                    <a:pt x="275" y="238"/>
                    <a:pt x="281" y="237"/>
                    <a:pt x="281" y="232"/>
                  </a:cubicBezTo>
                  <a:cubicBezTo>
                    <a:pt x="281" y="226"/>
                    <a:pt x="278" y="227"/>
                    <a:pt x="278" y="227"/>
                  </a:cubicBezTo>
                  <a:cubicBezTo>
                    <a:pt x="274" y="235"/>
                    <a:pt x="274" y="235"/>
                    <a:pt x="274" y="235"/>
                  </a:cubicBezTo>
                  <a:cubicBezTo>
                    <a:pt x="272" y="232"/>
                    <a:pt x="272" y="232"/>
                    <a:pt x="272" y="232"/>
                  </a:cubicBezTo>
                  <a:cubicBezTo>
                    <a:pt x="272" y="232"/>
                    <a:pt x="266" y="239"/>
                    <a:pt x="266" y="242"/>
                  </a:cubicBezTo>
                  <a:cubicBezTo>
                    <a:pt x="265" y="245"/>
                    <a:pt x="266" y="247"/>
                    <a:pt x="266" y="248"/>
                  </a:cubicBezTo>
                  <a:cubicBezTo>
                    <a:pt x="266" y="249"/>
                    <a:pt x="264" y="250"/>
                    <a:pt x="265" y="251"/>
                  </a:cubicBezTo>
                  <a:close/>
                  <a:moveTo>
                    <a:pt x="282" y="233"/>
                  </a:moveTo>
                  <a:cubicBezTo>
                    <a:pt x="282" y="233"/>
                    <a:pt x="287" y="233"/>
                    <a:pt x="289" y="232"/>
                  </a:cubicBezTo>
                  <a:cubicBezTo>
                    <a:pt x="292" y="231"/>
                    <a:pt x="290" y="226"/>
                    <a:pt x="290" y="226"/>
                  </a:cubicBezTo>
                  <a:cubicBezTo>
                    <a:pt x="290" y="226"/>
                    <a:pt x="297" y="222"/>
                    <a:pt x="301" y="221"/>
                  </a:cubicBezTo>
                  <a:cubicBezTo>
                    <a:pt x="303" y="220"/>
                    <a:pt x="298" y="215"/>
                    <a:pt x="296" y="215"/>
                  </a:cubicBezTo>
                  <a:cubicBezTo>
                    <a:pt x="293" y="215"/>
                    <a:pt x="298" y="219"/>
                    <a:pt x="296" y="220"/>
                  </a:cubicBezTo>
                  <a:cubicBezTo>
                    <a:pt x="294" y="221"/>
                    <a:pt x="292" y="215"/>
                    <a:pt x="292" y="215"/>
                  </a:cubicBezTo>
                  <a:cubicBezTo>
                    <a:pt x="288" y="219"/>
                    <a:pt x="288" y="219"/>
                    <a:pt x="288" y="219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85" y="223"/>
                    <a:pt x="285" y="223"/>
                    <a:pt x="285" y="223"/>
                  </a:cubicBezTo>
                  <a:cubicBezTo>
                    <a:pt x="282" y="224"/>
                    <a:pt x="282" y="224"/>
                    <a:pt x="282" y="224"/>
                  </a:cubicBezTo>
                  <a:cubicBezTo>
                    <a:pt x="282" y="227"/>
                    <a:pt x="282" y="227"/>
                    <a:pt x="282" y="227"/>
                  </a:cubicBezTo>
                  <a:cubicBezTo>
                    <a:pt x="284" y="229"/>
                    <a:pt x="284" y="229"/>
                    <a:pt x="284" y="229"/>
                  </a:cubicBezTo>
                  <a:lnTo>
                    <a:pt x="282" y="233"/>
                  </a:lnTo>
                  <a:close/>
                  <a:moveTo>
                    <a:pt x="303" y="221"/>
                  </a:moveTo>
                  <a:cubicBezTo>
                    <a:pt x="303" y="223"/>
                    <a:pt x="301" y="226"/>
                    <a:pt x="301" y="226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11" y="216"/>
                    <a:pt x="311" y="216"/>
                    <a:pt x="311" y="216"/>
                  </a:cubicBezTo>
                  <a:cubicBezTo>
                    <a:pt x="313" y="220"/>
                    <a:pt x="313" y="220"/>
                    <a:pt x="313" y="220"/>
                  </a:cubicBezTo>
                  <a:cubicBezTo>
                    <a:pt x="322" y="207"/>
                    <a:pt x="322" y="207"/>
                    <a:pt x="322" y="207"/>
                  </a:cubicBezTo>
                  <a:cubicBezTo>
                    <a:pt x="322" y="207"/>
                    <a:pt x="317" y="208"/>
                    <a:pt x="317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05" y="213"/>
                    <a:pt x="305" y="213"/>
                    <a:pt x="305" y="213"/>
                  </a:cubicBezTo>
                  <a:cubicBezTo>
                    <a:pt x="306" y="217"/>
                    <a:pt x="306" y="217"/>
                    <a:pt x="306" y="217"/>
                  </a:cubicBezTo>
                  <a:cubicBezTo>
                    <a:pt x="303" y="216"/>
                    <a:pt x="303" y="216"/>
                    <a:pt x="303" y="216"/>
                  </a:cubicBezTo>
                  <a:cubicBezTo>
                    <a:pt x="303" y="216"/>
                    <a:pt x="304" y="219"/>
                    <a:pt x="303" y="221"/>
                  </a:cubicBezTo>
                  <a:close/>
                  <a:moveTo>
                    <a:pt x="362" y="187"/>
                  </a:moveTo>
                  <a:cubicBezTo>
                    <a:pt x="362" y="187"/>
                    <a:pt x="366" y="187"/>
                    <a:pt x="367" y="186"/>
                  </a:cubicBezTo>
                  <a:cubicBezTo>
                    <a:pt x="369" y="186"/>
                    <a:pt x="372" y="184"/>
                    <a:pt x="372" y="184"/>
                  </a:cubicBezTo>
                  <a:cubicBezTo>
                    <a:pt x="367" y="178"/>
                    <a:pt x="367" y="178"/>
                    <a:pt x="367" y="178"/>
                  </a:cubicBezTo>
                  <a:lnTo>
                    <a:pt x="362" y="187"/>
                  </a:lnTo>
                  <a:close/>
                  <a:moveTo>
                    <a:pt x="378" y="177"/>
                  </a:moveTo>
                  <a:cubicBezTo>
                    <a:pt x="377" y="175"/>
                    <a:pt x="376" y="174"/>
                    <a:pt x="374" y="174"/>
                  </a:cubicBezTo>
                  <a:cubicBezTo>
                    <a:pt x="371" y="173"/>
                    <a:pt x="369" y="175"/>
                    <a:pt x="369" y="175"/>
                  </a:cubicBezTo>
                  <a:cubicBezTo>
                    <a:pt x="369" y="175"/>
                    <a:pt x="370" y="182"/>
                    <a:pt x="373" y="182"/>
                  </a:cubicBezTo>
                  <a:cubicBezTo>
                    <a:pt x="375" y="183"/>
                    <a:pt x="379" y="178"/>
                    <a:pt x="378" y="177"/>
                  </a:cubicBezTo>
                  <a:close/>
                  <a:moveTo>
                    <a:pt x="352" y="177"/>
                  </a:moveTo>
                  <a:cubicBezTo>
                    <a:pt x="355" y="179"/>
                    <a:pt x="357" y="179"/>
                    <a:pt x="357" y="179"/>
                  </a:cubicBezTo>
                  <a:cubicBezTo>
                    <a:pt x="357" y="174"/>
                    <a:pt x="357" y="174"/>
                    <a:pt x="357" y="174"/>
                  </a:cubicBezTo>
                  <a:cubicBezTo>
                    <a:pt x="350" y="171"/>
                    <a:pt x="350" y="171"/>
                    <a:pt x="350" y="171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50" y="177"/>
                    <a:pt x="352" y="177"/>
                  </a:cubicBezTo>
                  <a:close/>
                  <a:moveTo>
                    <a:pt x="348" y="178"/>
                  </a:moveTo>
                  <a:cubicBezTo>
                    <a:pt x="344" y="183"/>
                    <a:pt x="344" y="183"/>
                    <a:pt x="344" y="183"/>
                  </a:cubicBezTo>
                  <a:cubicBezTo>
                    <a:pt x="348" y="188"/>
                    <a:pt x="348" y="188"/>
                    <a:pt x="348" y="188"/>
                  </a:cubicBezTo>
                  <a:cubicBezTo>
                    <a:pt x="344" y="189"/>
                    <a:pt x="344" y="189"/>
                    <a:pt x="344" y="189"/>
                  </a:cubicBezTo>
                  <a:cubicBezTo>
                    <a:pt x="337" y="201"/>
                    <a:pt x="337" y="201"/>
                    <a:pt x="337" y="201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2" y="177"/>
                    <a:pt x="338" y="175"/>
                  </a:cubicBezTo>
                  <a:cubicBezTo>
                    <a:pt x="333" y="173"/>
                    <a:pt x="333" y="185"/>
                    <a:pt x="333" y="185"/>
                  </a:cubicBezTo>
                  <a:cubicBezTo>
                    <a:pt x="330" y="186"/>
                    <a:pt x="330" y="186"/>
                    <a:pt x="330" y="186"/>
                  </a:cubicBezTo>
                  <a:cubicBezTo>
                    <a:pt x="331" y="197"/>
                    <a:pt x="331" y="197"/>
                    <a:pt x="331" y="197"/>
                  </a:cubicBezTo>
                  <a:cubicBezTo>
                    <a:pt x="324" y="202"/>
                    <a:pt x="324" y="202"/>
                    <a:pt x="324" y="202"/>
                  </a:cubicBezTo>
                  <a:cubicBezTo>
                    <a:pt x="325" y="206"/>
                    <a:pt x="325" y="206"/>
                    <a:pt x="325" y="206"/>
                  </a:cubicBezTo>
                  <a:cubicBezTo>
                    <a:pt x="319" y="218"/>
                    <a:pt x="319" y="218"/>
                    <a:pt x="319" y="218"/>
                  </a:cubicBezTo>
                  <a:cubicBezTo>
                    <a:pt x="322" y="218"/>
                    <a:pt x="322" y="218"/>
                    <a:pt x="322" y="218"/>
                  </a:cubicBezTo>
                  <a:cubicBezTo>
                    <a:pt x="331" y="208"/>
                    <a:pt x="331" y="208"/>
                    <a:pt x="331" y="208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35" y="215"/>
                    <a:pt x="335" y="215"/>
                    <a:pt x="335" y="215"/>
                  </a:cubicBezTo>
                  <a:cubicBezTo>
                    <a:pt x="336" y="215"/>
                    <a:pt x="337" y="209"/>
                    <a:pt x="337" y="209"/>
                  </a:cubicBezTo>
                  <a:cubicBezTo>
                    <a:pt x="340" y="211"/>
                    <a:pt x="340" y="211"/>
                    <a:pt x="340" y="211"/>
                  </a:cubicBezTo>
                  <a:cubicBezTo>
                    <a:pt x="340" y="211"/>
                    <a:pt x="345" y="202"/>
                    <a:pt x="346" y="200"/>
                  </a:cubicBezTo>
                  <a:cubicBezTo>
                    <a:pt x="347" y="198"/>
                    <a:pt x="354" y="198"/>
                    <a:pt x="354" y="198"/>
                  </a:cubicBezTo>
                  <a:cubicBezTo>
                    <a:pt x="354" y="198"/>
                    <a:pt x="357" y="193"/>
                    <a:pt x="358" y="188"/>
                  </a:cubicBezTo>
                  <a:cubicBezTo>
                    <a:pt x="359" y="184"/>
                    <a:pt x="348" y="178"/>
                    <a:pt x="348" y="178"/>
                  </a:cubicBezTo>
                  <a:close/>
                  <a:moveTo>
                    <a:pt x="330" y="179"/>
                  </a:moveTo>
                  <a:cubicBezTo>
                    <a:pt x="330" y="174"/>
                    <a:pt x="330" y="174"/>
                    <a:pt x="330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43" y="162"/>
                    <a:pt x="343" y="162"/>
                    <a:pt x="343" y="162"/>
                  </a:cubicBezTo>
                  <a:cubicBezTo>
                    <a:pt x="343" y="162"/>
                    <a:pt x="351" y="146"/>
                    <a:pt x="341" y="155"/>
                  </a:cubicBezTo>
                  <a:cubicBezTo>
                    <a:pt x="331" y="162"/>
                    <a:pt x="326" y="174"/>
                    <a:pt x="327" y="177"/>
                  </a:cubicBezTo>
                  <a:cubicBezTo>
                    <a:pt x="328" y="181"/>
                    <a:pt x="330" y="179"/>
                    <a:pt x="330" y="179"/>
                  </a:cubicBezTo>
                  <a:close/>
                  <a:moveTo>
                    <a:pt x="312" y="197"/>
                  </a:moveTo>
                  <a:cubicBezTo>
                    <a:pt x="315" y="194"/>
                    <a:pt x="319" y="192"/>
                    <a:pt x="319" y="192"/>
                  </a:cubicBezTo>
                  <a:cubicBezTo>
                    <a:pt x="313" y="199"/>
                    <a:pt x="313" y="199"/>
                    <a:pt x="313" y="199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27" y="191"/>
                    <a:pt x="327" y="191"/>
                    <a:pt x="327" y="191"/>
                  </a:cubicBezTo>
                  <a:cubicBezTo>
                    <a:pt x="325" y="187"/>
                    <a:pt x="325" y="187"/>
                    <a:pt x="325" y="187"/>
                  </a:cubicBezTo>
                  <a:cubicBezTo>
                    <a:pt x="327" y="185"/>
                    <a:pt x="327" y="185"/>
                    <a:pt x="327" y="185"/>
                  </a:cubicBezTo>
                  <a:cubicBezTo>
                    <a:pt x="322" y="171"/>
                    <a:pt x="322" y="171"/>
                    <a:pt x="322" y="171"/>
                  </a:cubicBezTo>
                  <a:cubicBezTo>
                    <a:pt x="315" y="172"/>
                    <a:pt x="315" y="172"/>
                    <a:pt x="315" y="172"/>
                  </a:cubicBezTo>
                  <a:cubicBezTo>
                    <a:pt x="320" y="183"/>
                    <a:pt x="320" y="183"/>
                    <a:pt x="320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7" y="188"/>
                    <a:pt x="317" y="188"/>
                    <a:pt x="317" y="188"/>
                  </a:cubicBezTo>
                  <a:cubicBezTo>
                    <a:pt x="309" y="186"/>
                    <a:pt x="309" y="186"/>
                    <a:pt x="309" y="186"/>
                  </a:cubicBezTo>
                  <a:cubicBezTo>
                    <a:pt x="309" y="186"/>
                    <a:pt x="306" y="191"/>
                    <a:pt x="305" y="194"/>
                  </a:cubicBezTo>
                  <a:cubicBezTo>
                    <a:pt x="303" y="199"/>
                    <a:pt x="308" y="198"/>
                    <a:pt x="312" y="197"/>
                  </a:cubicBezTo>
                  <a:close/>
                  <a:moveTo>
                    <a:pt x="309" y="186"/>
                  </a:moveTo>
                  <a:cubicBezTo>
                    <a:pt x="309" y="186"/>
                    <a:pt x="309" y="186"/>
                    <a:pt x="309" y="186"/>
                  </a:cubicBezTo>
                  <a:moveTo>
                    <a:pt x="313" y="206"/>
                  </a:moveTo>
                  <a:cubicBezTo>
                    <a:pt x="322" y="206"/>
                    <a:pt x="319" y="202"/>
                    <a:pt x="313" y="202"/>
                  </a:cubicBezTo>
                  <a:cubicBezTo>
                    <a:pt x="307" y="202"/>
                    <a:pt x="306" y="206"/>
                    <a:pt x="313" y="206"/>
                  </a:cubicBezTo>
                  <a:close/>
                  <a:moveTo>
                    <a:pt x="361" y="157"/>
                  </a:moveTo>
                  <a:cubicBezTo>
                    <a:pt x="367" y="159"/>
                    <a:pt x="367" y="159"/>
                    <a:pt x="367" y="159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62" y="168"/>
                    <a:pt x="368" y="170"/>
                    <a:pt x="371" y="168"/>
                  </a:cubicBezTo>
                  <a:cubicBezTo>
                    <a:pt x="376" y="157"/>
                    <a:pt x="376" y="157"/>
                    <a:pt x="376" y="157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9" y="144"/>
                    <a:pt x="389" y="144"/>
                    <a:pt x="389" y="144"/>
                  </a:cubicBezTo>
                  <a:cubicBezTo>
                    <a:pt x="389" y="144"/>
                    <a:pt x="391" y="135"/>
                    <a:pt x="384" y="132"/>
                  </a:cubicBezTo>
                  <a:cubicBezTo>
                    <a:pt x="376" y="129"/>
                    <a:pt x="370" y="139"/>
                    <a:pt x="370" y="139"/>
                  </a:cubicBezTo>
                  <a:cubicBezTo>
                    <a:pt x="375" y="145"/>
                    <a:pt x="375" y="145"/>
                    <a:pt x="375" y="145"/>
                  </a:cubicBezTo>
                  <a:cubicBezTo>
                    <a:pt x="371" y="143"/>
                    <a:pt x="371" y="143"/>
                    <a:pt x="371" y="143"/>
                  </a:cubicBezTo>
                  <a:cubicBezTo>
                    <a:pt x="371" y="143"/>
                    <a:pt x="362" y="144"/>
                    <a:pt x="362" y="145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7" y="152"/>
                    <a:pt x="367" y="152"/>
                    <a:pt x="367" y="152"/>
                  </a:cubicBezTo>
                  <a:cubicBezTo>
                    <a:pt x="360" y="155"/>
                    <a:pt x="360" y="155"/>
                    <a:pt x="360" y="155"/>
                  </a:cubicBezTo>
                  <a:lnTo>
                    <a:pt x="361" y="157"/>
                  </a:lnTo>
                  <a:close/>
                  <a:moveTo>
                    <a:pt x="401" y="132"/>
                  </a:moveTo>
                  <a:cubicBezTo>
                    <a:pt x="406" y="130"/>
                    <a:pt x="406" y="127"/>
                    <a:pt x="406" y="127"/>
                  </a:cubicBezTo>
                  <a:cubicBezTo>
                    <a:pt x="404" y="127"/>
                    <a:pt x="404" y="127"/>
                    <a:pt x="404" y="127"/>
                  </a:cubicBezTo>
                  <a:cubicBezTo>
                    <a:pt x="404" y="127"/>
                    <a:pt x="405" y="121"/>
                    <a:pt x="407" y="120"/>
                  </a:cubicBezTo>
                  <a:cubicBezTo>
                    <a:pt x="408" y="119"/>
                    <a:pt x="410" y="118"/>
                    <a:pt x="410" y="118"/>
                  </a:cubicBezTo>
                  <a:cubicBezTo>
                    <a:pt x="410" y="118"/>
                    <a:pt x="408" y="111"/>
                    <a:pt x="403" y="112"/>
                  </a:cubicBezTo>
                  <a:cubicBezTo>
                    <a:pt x="399" y="112"/>
                    <a:pt x="401" y="119"/>
                    <a:pt x="401" y="119"/>
                  </a:cubicBezTo>
                  <a:cubicBezTo>
                    <a:pt x="397" y="118"/>
                    <a:pt x="397" y="118"/>
                    <a:pt x="397" y="118"/>
                  </a:cubicBezTo>
                  <a:cubicBezTo>
                    <a:pt x="393" y="121"/>
                    <a:pt x="393" y="121"/>
                    <a:pt x="393" y="121"/>
                  </a:cubicBezTo>
                  <a:cubicBezTo>
                    <a:pt x="394" y="124"/>
                    <a:pt x="394" y="124"/>
                    <a:pt x="394" y="124"/>
                  </a:cubicBezTo>
                  <a:cubicBezTo>
                    <a:pt x="390" y="123"/>
                    <a:pt x="390" y="123"/>
                    <a:pt x="390" y="123"/>
                  </a:cubicBezTo>
                  <a:cubicBezTo>
                    <a:pt x="389" y="126"/>
                    <a:pt x="389" y="126"/>
                    <a:pt x="389" y="126"/>
                  </a:cubicBezTo>
                  <a:cubicBezTo>
                    <a:pt x="390" y="129"/>
                    <a:pt x="390" y="129"/>
                    <a:pt x="390" y="129"/>
                  </a:cubicBezTo>
                  <a:cubicBezTo>
                    <a:pt x="388" y="128"/>
                    <a:pt x="388" y="128"/>
                    <a:pt x="388" y="128"/>
                  </a:cubicBezTo>
                  <a:cubicBezTo>
                    <a:pt x="388" y="132"/>
                    <a:pt x="388" y="132"/>
                    <a:pt x="388" y="132"/>
                  </a:cubicBezTo>
                  <a:cubicBezTo>
                    <a:pt x="388" y="132"/>
                    <a:pt x="395" y="134"/>
                    <a:pt x="401" y="132"/>
                  </a:cubicBezTo>
                  <a:close/>
                  <a:moveTo>
                    <a:pt x="408" y="111"/>
                  </a:moveTo>
                  <a:cubicBezTo>
                    <a:pt x="410" y="112"/>
                    <a:pt x="411" y="112"/>
                    <a:pt x="411" y="112"/>
                  </a:cubicBezTo>
                  <a:cubicBezTo>
                    <a:pt x="412" y="115"/>
                    <a:pt x="412" y="115"/>
                    <a:pt x="412" y="115"/>
                  </a:cubicBezTo>
                  <a:cubicBezTo>
                    <a:pt x="412" y="115"/>
                    <a:pt x="420" y="113"/>
                    <a:pt x="420" y="109"/>
                  </a:cubicBezTo>
                  <a:cubicBezTo>
                    <a:pt x="420" y="106"/>
                    <a:pt x="420" y="106"/>
                    <a:pt x="420" y="106"/>
                  </a:cubicBezTo>
                  <a:cubicBezTo>
                    <a:pt x="420" y="106"/>
                    <a:pt x="426" y="104"/>
                    <a:pt x="424" y="102"/>
                  </a:cubicBezTo>
                  <a:cubicBezTo>
                    <a:pt x="423" y="99"/>
                    <a:pt x="418" y="100"/>
                    <a:pt x="418" y="100"/>
                  </a:cubicBezTo>
                  <a:cubicBezTo>
                    <a:pt x="418" y="100"/>
                    <a:pt x="416" y="96"/>
                    <a:pt x="411" y="97"/>
                  </a:cubicBezTo>
                  <a:cubicBezTo>
                    <a:pt x="408" y="98"/>
                    <a:pt x="403" y="106"/>
                    <a:pt x="403" y="106"/>
                  </a:cubicBezTo>
                  <a:cubicBezTo>
                    <a:pt x="403" y="106"/>
                    <a:pt x="406" y="110"/>
                    <a:pt x="408" y="111"/>
                  </a:cubicBezTo>
                  <a:close/>
                  <a:moveTo>
                    <a:pt x="424" y="106"/>
                  </a:moveTo>
                  <a:cubicBezTo>
                    <a:pt x="421" y="111"/>
                    <a:pt x="421" y="111"/>
                    <a:pt x="421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33" y="100"/>
                    <a:pt x="433" y="100"/>
                    <a:pt x="433" y="100"/>
                  </a:cubicBezTo>
                  <a:cubicBezTo>
                    <a:pt x="429" y="100"/>
                    <a:pt x="429" y="100"/>
                    <a:pt x="429" y="100"/>
                  </a:cubicBezTo>
                  <a:lnTo>
                    <a:pt x="424" y="106"/>
                  </a:lnTo>
                  <a:close/>
                  <a:moveTo>
                    <a:pt x="426" y="97"/>
                  </a:moveTo>
                  <a:cubicBezTo>
                    <a:pt x="433" y="98"/>
                    <a:pt x="434" y="97"/>
                    <a:pt x="433" y="93"/>
                  </a:cubicBezTo>
                  <a:cubicBezTo>
                    <a:pt x="431" y="90"/>
                    <a:pt x="427" y="87"/>
                    <a:pt x="427" y="87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2" y="83"/>
                    <a:pt x="422" y="83"/>
                    <a:pt x="422" y="83"/>
                  </a:cubicBezTo>
                  <a:cubicBezTo>
                    <a:pt x="420" y="87"/>
                    <a:pt x="420" y="87"/>
                    <a:pt x="420" y="87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4" y="94"/>
                    <a:pt x="422" y="96"/>
                    <a:pt x="426" y="97"/>
                  </a:cubicBezTo>
                  <a:close/>
                  <a:moveTo>
                    <a:pt x="421" y="95"/>
                  </a:moveTo>
                  <a:cubicBezTo>
                    <a:pt x="417" y="91"/>
                    <a:pt x="417" y="91"/>
                    <a:pt x="417" y="91"/>
                  </a:cubicBezTo>
                  <a:cubicBezTo>
                    <a:pt x="417" y="94"/>
                    <a:pt x="417" y="94"/>
                    <a:pt x="417" y="94"/>
                  </a:cubicBezTo>
                  <a:lnTo>
                    <a:pt x="421" y="95"/>
                  </a:lnTo>
                  <a:close/>
                  <a:moveTo>
                    <a:pt x="413" y="95"/>
                  </a:moveTo>
                  <a:cubicBezTo>
                    <a:pt x="415" y="87"/>
                    <a:pt x="415" y="87"/>
                    <a:pt x="415" y="87"/>
                  </a:cubicBezTo>
                  <a:cubicBezTo>
                    <a:pt x="409" y="84"/>
                    <a:pt x="409" y="84"/>
                    <a:pt x="409" y="84"/>
                  </a:cubicBezTo>
                  <a:cubicBezTo>
                    <a:pt x="409" y="95"/>
                    <a:pt x="409" y="95"/>
                    <a:pt x="409" y="95"/>
                  </a:cubicBezTo>
                  <a:lnTo>
                    <a:pt x="413" y="95"/>
                  </a:lnTo>
                  <a:close/>
                  <a:moveTo>
                    <a:pt x="407" y="97"/>
                  </a:moveTo>
                  <a:cubicBezTo>
                    <a:pt x="403" y="94"/>
                    <a:pt x="403" y="94"/>
                    <a:pt x="403" y="94"/>
                  </a:cubicBezTo>
                  <a:cubicBezTo>
                    <a:pt x="403" y="98"/>
                    <a:pt x="403" y="98"/>
                    <a:pt x="403" y="98"/>
                  </a:cubicBezTo>
                  <a:cubicBezTo>
                    <a:pt x="397" y="96"/>
                    <a:pt x="397" y="96"/>
                    <a:pt x="397" y="96"/>
                  </a:cubicBezTo>
                  <a:cubicBezTo>
                    <a:pt x="400" y="103"/>
                    <a:pt x="400" y="103"/>
                    <a:pt x="400" y="103"/>
                  </a:cubicBezTo>
                  <a:lnTo>
                    <a:pt x="407" y="97"/>
                  </a:lnTo>
                  <a:close/>
                  <a:moveTo>
                    <a:pt x="443" y="96"/>
                  </a:moveTo>
                  <a:cubicBezTo>
                    <a:pt x="449" y="97"/>
                    <a:pt x="452" y="90"/>
                    <a:pt x="449" y="84"/>
                  </a:cubicBezTo>
                  <a:cubicBezTo>
                    <a:pt x="446" y="79"/>
                    <a:pt x="441" y="83"/>
                    <a:pt x="440" y="90"/>
                  </a:cubicBezTo>
                  <a:cubicBezTo>
                    <a:pt x="439" y="95"/>
                    <a:pt x="443" y="96"/>
                    <a:pt x="443" y="96"/>
                  </a:cubicBezTo>
                  <a:close/>
                  <a:moveTo>
                    <a:pt x="455" y="99"/>
                  </a:moveTo>
                  <a:cubicBezTo>
                    <a:pt x="451" y="96"/>
                    <a:pt x="451" y="96"/>
                    <a:pt x="451" y="96"/>
                  </a:cubicBezTo>
                  <a:cubicBezTo>
                    <a:pt x="451" y="96"/>
                    <a:pt x="449" y="99"/>
                    <a:pt x="448" y="100"/>
                  </a:cubicBezTo>
                  <a:lnTo>
                    <a:pt x="455" y="99"/>
                  </a:lnTo>
                  <a:close/>
                  <a:moveTo>
                    <a:pt x="445" y="105"/>
                  </a:moveTo>
                  <a:cubicBezTo>
                    <a:pt x="444" y="111"/>
                    <a:pt x="444" y="111"/>
                    <a:pt x="444" y="111"/>
                  </a:cubicBezTo>
                  <a:cubicBezTo>
                    <a:pt x="449" y="109"/>
                    <a:pt x="449" y="109"/>
                    <a:pt x="449" y="109"/>
                  </a:cubicBezTo>
                  <a:cubicBezTo>
                    <a:pt x="448" y="104"/>
                    <a:pt x="448" y="104"/>
                    <a:pt x="448" y="104"/>
                  </a:cubicBezTo>
                  <a:lnTo>
                    <a:pt x="445" y="105"/>
                  </a:lnTo>
                  <a:close/>
                  <a:moveTo>
                    <a:pt x="474" y="58"/>
                  </a:moveTo>
                  <a:cubicBezTo>
                    <a:pt x="479" y="58"/>
                    <a:pt x="479" y="58"/>
                    <a:pt x="479" y="58"/>
                  </a:cubicBezTo>
                  <a:cubicBezTo>
                    <a:pt x="476" y="63"/>
                    <a:pt x="476" y="63"/>
                    <a:pt x="476" y="63"/>
                  </a:cubicBezTo>
                  <a:cubicBezTo>
                    <a:pt x="478" y="65"/>
                    <a:pt x="484" y="64"/>
                    <a:pt x="492" y="60"/>
                  </a:cubicBezTo>
                  <a:cubicBezTo>
                    <a:pt x="500" y="56"/>
                    <a:pt x="497" y="50"/>
                    <a:pt x="497" y="50"/>
                  </a:cubicBezTo>
                  <a:cubicBezTo>
                    <a:pt x="504" y="41"/>
                    <a:pt x="504" y="41"/>
                    <a:pt x="504" y="41"/>
                  </a:cubicBezTo>
                  <a:cubicBezTo>
                    <a:pt x="500" y="36"/>
                    <a:pt x="500" y="36"/>
                    <a:pt x="500" y="36"/>
                  </a:cubicBezTo>
                  <a:cubicBezTo>
                    <a:pt x="492" y="40"/>
                    <a:pt x="492" y="40"/>
                    <a:pt x="492" y="40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88" y="44"/>
                    <a:pt x="488" y="44"/>
                    <a:pt x="488" y="44"/>
                  </a:cubicBezTo>
                  <a:cubicBezTo>
                    <a:pt x="486" y="46"/>
                    <a:pt x="486" y="46"/>
                    <a:pt x="486" y="46"/>
                  </a:cubicBezTo>
                  <a:cubicBezTo>
                    <a:pt x="490" y="52"/>
                    <a:pt x="490" y="52"/>
                    <a:pt x="490" y="52"/>
                  </a:cubicBezTo>
                  <a:cubicBezTo>
                    <a:pt x="483" y="48"/>
                    <a:pt x="483" y="48"/>
                    <a:pt x="483" y="48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79" y="53"/>
                    <a:pt x="479" y="53"/>
                    <a:pt x="479" y="53"/>
                  </a:cubicBezTo>
                  <a:cubicBezTo>
                    <a:pt x="472" y="55"/>
                    <a:pt x="472" y="55"/>
                    <a:pt x="472" y="55"/>
                  </a:cubicBezTo>
                  <a:lnTo>
                    <a:pt x="474" y="58"/>
                  </a:lnTo>
                  <a:close/>
                  <a:moveTo>
                    <a:pt x="484" y="73"/>
                  </a:moveTo>
                  <a:cubicBezTo>
                    <a:pt x="484" y="76"/>
                    <a:pt x="489" y="76"/>
                    <a:pt x="489" y="76"/>
                  </a:cubicBezTo>
                  <a:cubicBezTo>
                    <a:pt x="489" y="76"/>
                    <a:pt x="498" y="77"/>
                    <a:pt x="497" y="73"/>
                  </a:cubicBezTo>
                  <a:cubicBezTo>
                    <a:pt x="497" y="68"/>
                    <a:pt x="482" y="66"/>
                    <a:pt x="484" y="73"/>
                  </a:cubicBezTo>
                  <a:close/>
                  <a:moveTo>
                    <a:pt x="503" y="55"/>
                  </a:moveTo>
                  <a:cubicBezTo>
                    <a:pt x="501" y="59"/>
                    <a:pt x="501" y="59"/>
                    <a:pt x="501" y="59"/>
                  </a:cubicBezTo>
                  <a:cubicBezTo>
                    <a:pt x="499" y="57"/>
                    <a:pt x="499" y="57"/>
                    <a:pt x="499" y="57"/>
                  </a:cubicBezTo>
                  <a:cubicBezTo>
                    <a:pt x="493" y="66"/>
                    <a:pt x="493" y="66"/>
                    <a:pt x="493" y="66"/>
                  </a:cubicBezTo>
                  <a:cubicBezTo>
                    <a:pt x="499" y="68"/>
                    <a:pt x="499" y="68"/>
                    <a:pt x="499" y="68"/>
                  </a:cubicBezTo>
                  <a:cubicBezTo>
                    <a:pt x="500" y="66"/>
                    <a:pt x="500" y="66"/>
                    <a:pt x="500" y="66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4" y="72"/>
                    <a:pt x="504" y="72"/>
                    <a:pt x="504" y="72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05" y="48"/>
                    <a:pt x="505" y="48"/>
                    <a:pt x="505" y="48"/>
                  </a:cubicBezTo>
                  <a:cubicBezTo>
                    <a:pt x="501" y="50"/>
                    <a:pt x="501" y="50"/>
                    <a:pt x="501" y="50"/>
                  </a:cubicBezTo>
                  <a:lnTo>
                    <a:pt x="503" y="55"/>
                  </a:lnTo>
                  <a:close/>
                  <a:moveTo>
                    <a:pt x="514" y="56"/>
                  </a:moveTo>
                  <a:cubicBezTo>
                    <a:pt x="517" y="56"/>
                    <a:pt x="521" y="48"/>
                    <a:pt x="516" y="43"/>
                  </a:cubicBezTo>
                  <a:cubicBezTo>
                    <a:pt x="509" y="37"/>
                    <a:pt x="505" y="43"/>
                    <a:pt x="508" y="50"/>
                  </a:cubicBezTo>
                  <a:cubicBezTo>
                    <a:pt x="508" y="50"/>
                    <a:pt x="510" y="56"/>
                    <a:pt x="514" y="56"/>
                  </a:cubicBezTo>
                  <a:close/>
                  <a:moveTo>
                    <a:pt x="513" y="22"/>
                  </a:moveTo>
                  <a:cubicBezTo>
                    <a:pt x="506" y="22"/>
                    <a:pt x="511" y="30"/>
                    <a:pt x="511" y="30"/>
                  </a:cubicBezTo>
                  <a:cubicBezTo>
                    <a:pt x="517" y="29"/>
                    <a:pt x="518" y="22"/>
                    <a:pt x="513" y="22"/>
                  </a:cubicBezTo>
                  <a:close/>
                  <a:moveTo>
                    <a:pt x="528" y="14"/>
                  </a:moveTo>
                  <a:cubicBezTo>
                    <a:pt x="523" y="17"/>
                    <a:pt x="523" y="17"/>
                    <a:pt x="523" y="17"/>
                  </a:cubicBezTo>
                  <a:cubicBezTo>
                    <a:pt x="531" y="19"/>
                    <a:pt x="531" y="19"/>
                    <a:pt x="531" y="19"/>
                  </a:cubicBezTo>
                  <a:lnTo>
                    <a:pt x="528" y="14"/>
                  </a:lnTo>
                  <a:close/>
                  <a:moveTo>
                    <a:pt x="538" y="19"/>
                  </a:moveTo>
                  <a:cubicBezTo>
                    <a:pt x="539" y="19"/>
                    <a:pt x="541" y="17"/>
                    <a:pt x="541" y="17"/>
                  </a:cubicBezTo>
                  <a:cubicBezTo>
                    <a:pt x="541" y="20"/>
                    <a:pt x="541" y="20"/>
                    <a:pt x="541" y="20"/>
                  </a:cubicBezTo>
                  <a:cubicBezTo>
                    <a:pt x="548" y="22"/>
                    <a:pt x="548" y="22"/>
                    <a:pt x="548" y="22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559" y="12"/>
                    <a:pt x="559" y="12"/>
                    <a:pt x="559" y="12"/>
                  </a:cubicBezTo>
                  <a:cubicBezTo>
                    <a:pt x="553" y="16"/>
                    <a:pt x="553" y="16"/>
                    <a:pt x="553" y="16"/>
                  </a:cubicBezTo>
                  <a:cubicBezTo>
                    <a:pt x="550" y="14"/>
                    <a:pt x="550" y="14"/>
                    <a:pt x="550" y="14"/>
                  </a:cubicBezTo>
                  <a:cubicBezTo>
                    <a:pt x="555" y="10"/>
                    <a:pt x="555" y="10"/>
                    <a:pt x="555" y="10"/>
                  </a:cubicBezTo>
                  <a:cubicBezTo>
                    <a:pt x="552" y="6"/>
                    <a:pt x="552" y="6"/>
                    <a:pt x="552" y="6"/>
                  </a:cubicBezTo>
                  <a:cubicBezTo>
                    <a:pt x="550" y="10"/>
                    <a:pt x="550" y="10"/>
                    <a:pt x="550" y="10"/>
                  </a:cubicBezTo>
                  <a:cubicBezTo>
                    <a:pt x="548" y="5"/>
                    <a:pt x="548" y="5"/>
                    <a:pt x="548" y="5"/>
                  </a:cubicBezTo>
                  <a:cubicBezTo>
                    <a:pt x="544" y="8"/>
                    <a:pt x="544" y="8"/>
                    <a:pt x="544" y="8"/>
                  </a:cubicBezTo>
                  <a:cubicBezTo>
                    <a:pt x="546" y="12"/>
                    <a:pt x="546" y="12"/>
                    <a:pt x="546" y="12"/>
                  </a:cubicBezTo>
                  <a:cubicBezTo>
                    <a:pt x="537" y="14"/>
                    <a:pt x="537" y="14"/>
                    <a:pt x="537" y="14"/>
                  </a:cubicBezTo>
                  <a:lnTo>
                    <a:pt x="538" y="19"/>
                  </a:lnTo>
                  <a:close/>
                  <a:moveTo>
                    <a:pt x="658" y="62"/>
                  </a:moveTo>
                  <a:cubicBezTo>
                    <a:pt x="659" y="72"/>
                    <a:pt x="659" y="72"/>
                    <a:pt x="659" y="72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2" y="60"/>
                    <a:pt x="662" y="60"/>
                    <a:pt x="662" y="60"/>
                  </a:cubicBezTo>
                  <a:lnTo>
                    <a:pt x="658" y="6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Es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671E315-3C47-824F-A5A3-69AB71AF8C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9465" y="2996422"/>
              <a:ext cx="513227" cy="326749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Weiß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8C100FD-BEE3-1C42-8D88-5EE56446FF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3604" y="3489846"/>
              <a:ext cx="871330" cy="788819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Let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165B0C-0C09-8A4A-9C6B-43FD4A0558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8112" y="3255510"/>
              <a:ext cx="636995" cy="359755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Moldawien" descr="© INSCALE GmbH, 05.05.2010&#10;http://www.presentationload.com/">
              <a:extLst>
                <a:ext uri="{FF2B5EF4-FFF2-40B4-BE49-F238E27FC236}">
                  <a16:creationId xmlns:a16="http://schemas.microsoft.com/office/drawing/2014/main" id="{49A541BA-EE10-0C4F-96B4-A95A88D331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3924" y="4656571"/>
              <a:ext cx="429064" cy="448867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7" name="Fin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D681938-DCF9-3D4F-9FBD-19B7F7E68B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65919" y="1417135"/>
              <a:ext cx="912587" cy="1608991"/>
            </a:xfrm>
            <a:custGeom>
              <a:avLst/>
              <a:gdLst/>
              <a:ahLst/>
              <a:cxnLst>
                <a:cxn ang="0">
                  <a:pos x="318" y="380"/>
                </a:cxn>
                <a:cxn ang="0">
                  <a:pos x="302" y="312"/>
                </a:cxn>
                <a:cxn ang="0">
                  <a:pos x="283" y="281"/>
                </a:cxn>
                <a:cxn ang="0">
                  <a:pos x="264" y="225"/>
                </a:cxn>
                <a:cxn ang="0">
                  <a:pos x="205" y="113"/>
                </a:cxn>
                <a:cxn ang="0">
                  <a:pos x="202" y="27"/>
                </a:cxn>
                <a:cxn ang="0">
                  <a:pos x="124" y="29"/>
                </a:cxn>
                <a:cxn ang="0">
                  <a:pos x="105" y="103"/>
                </a:cxn>
                <a:cxn ang="0">
                  <a:pos x="51" y="107"/>
                </a:cxn>
                <a:cxn ang="0">
                  <a:pos x="2" y="90"/>
                </a:cxn>
                <a:cxn ang="0">
                  <a:pos x="23" y="108"/>
                </a:cxn>
                <a:cxn ang="0">
                  <a:pos x="63" y="131"/>
                </a:cxn>
                <a:cxn ang="0">
                  <a:pos x="86" y="186"/>
                </a:cxn>
                <a:cxn ang="0">
                  <a:pos x="106" y="229"/>
                </a:cxn>
                <a:cxn ang="0">
                  <a:pos x="116" y="275"/>
                </a:cxn>
                <a:cxn ang="0">
                  <a:pos x="147" y="294"/>
                </a:cxn>
                <a:cxn ang="0">
                  <a:pos x="163" y="331"/>
                </a:cxn>
                <a:cxn ang="0">
                  <a:pos x="147" y="355"/>
                </a:cxn>
                <a:cxn ang="0">
                  <a:pos x="131" y="401"/>
                </a:cxn>
                <a:cxn ang="0">
                  <a:pos x="108" y="414"/>
                </a:cxn>
                <a:cxn ang="0">
                  <a:pos x="111" y="430"/>
                </a:cxn>
                <a:cxn ang="0">
                  <a:pos x="96" y="438"/>
                </a:cxn>
                <a:cxn ang="0">
                  <a:pos x="80" y="462"/>
                </a:cxn>
                <a:cxn ang="0">
                  <a:pos x="77" y="486"/>
                </a:cxn>
                <a:cxn ang="0">
                  <a:pos x="80" y="523"/>
                </a:cxn>
                <a:cxn ang="0">
                  <a:pos x="91" y="559"/>
                </a:cxn>
                <a:cxn ang="0">
                  <a:pos x="93" y="572"/>
                </a:cxn>
                <a:cxn ang="0">
                  <a:pos x="95" y="598"/>
                </a:cxn>
                <a:cxn ang="0">
                  <a:pos x="95" y="613"/>
                </a:cxn>
                <a:cxn ang="0">
                  <a:pos x="104" y="635"/>
                </a:cxn>
                <a:cxn ang="0">
                  <a:pos x="118" y="635"/>
                </a:cxn>
                <a:cxn ang="0">
                  <a:pos x="144" y="645"/>
                </a:cxn>
                <a:cxn ang="0">
                  <a:pos x="157" y="656"/>
                </a:cxn>
                <a:cxn ang="0">
                  <a:pos x="161" y="666"/>
                </a:cxn>
                <a:cxn ang="0">
                  <a:pos x="189" y="654"/>
                </a:cxn>
                <a:cxn ang="0">
                  <a:pos x="206" y="645"/>
                </a:cxn>
                <a:cxn ang="0">
                  <a:pos x="248" y="626"/>
                </a:cxn>
                <a:cxn ang="0">
                  <a:pos x="260" y="617"/>
                </a:cxn>
                <a:cxn ang="0">
                  <a:pos x="293" y="603"/>
                </a:cxn>
                <a:cxn ang="0">
                  <a:pos x="328" y="554"/>
                </a:cxn>
                <a:cxn ang="0">
                  <a:pos x="382" y="418"/>
                </a:cxn>
                <a:cxn ang="0">
                  <a:pos x="60" y="653"/>
                </a:cxn>
                <a:cxn ang="0">
                  <a:pos x="45" y="651"/>
                </a:cxn>
                <a:cxn ang="0">
                  <a:pos x="50" y="670"/>
                </a:cxn>
                <a:cxn ang="0">
                  <a:pos x="39" y="658"/>
                </a:cxn>
                <a:cxn ang="0">
                  <a:pos x="55" y="670"/>
                </a:cxn>
                <a:cxn ang="0">
                  <a:pos x="107" y="657"/>
                </a:cxn>
                <a:cxn ang="0">
                  <a:pos x="113" y="654"/>
                </a:cxn>
                <a:cxn ang="0">
                  <a:pos x="148" y="643"/>
                </a:cxn>
                <a:cxn ang="0">
                  <a:pos x="136" y="655"/>
                </a:cxn>
                <a:cxn ang="0">
                  <a:pos x="147" y="649"/>
                </a:cxn>
                <a:cxn ang="0">
                  <a:pos x="112" y="643"/>
                </a:cxn>
                <a:cxn ang="0">
                  <a:pos x="99" y="634"/>
                </a:cxn>
                <a:cxn ang="0">
                  <a:pos x="94" y="628"/>
                </a:cxn>
                <a:cxn ang="0">
                  <a:pos x="175" y="667"/>
                </a:cxn>
                <a:cxn ang="0">
                  <a:pos x="62" y="461"/>
                </a:cxn>
                <a:cxn ang="0">
                  <a:pos x="72" y="456"/>
                </a:cxn>
                <a:cxn ang="0">
                  <a:pos x="157" y="329"/>
                </a:cxn>
                <a:cxn ang="0">
                  <a:pos x="153" y="336"/>
                </a:cxn>
                <a:cxn ang="0">
                  <a:pos x="243" y="631"/>
                </a:cxn>
                <a:cxn ang="0">
                  <a:pos x="265" y="614"/>
                </a:cxn>
              </a:cxnLst>
              <a:rect l="0" t="0" r="r" b="b"/>
              <a:pathLst>
                <a:path w="382" h="674">
                  <a:moveTo>
                    <a:pt x="382" y="418"/>
                  </a:moveTo>
                  <a:cubicBezTo>
                    <a:pt x="381" y="412"/>
                    <a:pt x="369" y="412"/>
                    <a:pt x="369" y="412"/>
                  </a:cubicBezTo>
                  <a:cubicBezTo>
                    <a:pt x="366" y="404"/>
                    <a:pt x="366" y="404"/>
                    <a:pt x="366" y="404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39" y="394"/>
                    <a:pt x="339" y="394"/>
                    <a:pt x="339" y="394"/>
                  </a:cubicBezTo>
                  <a:cubicBezTo>
                    <a:pt x="318" y="380"/>
                    <a:pt x="318" y="380"/>
                    <a:pt x="318" y="380"/>
                  </a:cubicBezTo>
                  <a:cubicBezTo>
                    <a:pt x="327" y="374"/>
                    <a:pt x="327" y="374"/>
                    <a:pt x="327" y="374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26" y="370"/>
                    <a:pt x="331" y="355"/>
                    <a:pt x="327" y="346"/>
                  </a:cubicBezTo>
                  <a:cubicBezTo>
                    <a:pt x="323" y="338"/>
                    <a:pt x="313" y="344"/>
                    <a:pt x="308" y="335"/>
                  </a:cubicBezTo>
                  <a:cubicBezTo>
                    <a:pt x="301" y="326"/>
                    <a:pt x="307" y="320"/>
                    <a:pt x="307" y="320"/>
                  </a:cubicBezTo>
                  <a:cubicBezTo>
                    <a:pt x="302" y="312"/>
                    <a:pt x="302" y="312"/>
                    <a:pt x="302" y="312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285" y="301"/>
                    <a:pt x="285" y="301"/>
                    <a:pt x="285" y="301"/>
                  </a:cubicBezTo>
                  <a:cubicBezTo>
                    <a:pt x="292" y="296"/>
                    <a:pt x="292" y="296"/>
                    <a:pt x="292" y="296"/>
                  </a:cubicBezTo>
                  <a:cubicBezTo>
                    <a:pt x="291" y="291"/>
                    <a:pt x="291" y="291"/>
                    <a:pt x="291" y="291"/>
                  </a:cubicBezTo>
                  <a:cubicBezTo>
                    <a:pt x="280" y="293"/>
                    <a:pt x="280" y="293"/>
                    <a:pt x="280" y="293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0" y="272"/>
                    <a:pt x="280" y="272"/>
                    <a:pt x="280" y="272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8" y="259"/>
                    <a:pt x="288" y="259"/>
                    <a:pt x="288" y="259"/>
                  </a:cubicBezTo>
                  <a:cubicBezTo>
                    <a:pt x="288" y="259"/>
                    <a:pt x="286" y="249"/>
                    <a:pt x="281" y="240"/>
                  </a:cubicBezTo>
                  <a:cubicBezTo>
                    <a:pt x="277" y="232"/>
                    <a:pt x="264" y="225"/>
                    <a:pt x="264" y="225"/>
                  </a:cubicBezTo>
                  <a:cubicBezTo>
                    <a:pt x="261" y="223"/>
                    <a:pt x="262" y="214"/>
                    <a:pt x="254" y="208"/>
                  </a:cubicBezTo>
                  <a:cubicBezTo>
                    <a:pt x="248" y="204"/>
                    <a:pt x="237" y="187"/>
                    <a:pt x="237" y="187"/>
                  </a:cubicBezTo>
                  <a:cubicBezTo>
                    <a:pt x="237" y="187"/>
                    <a:pt x="252" y="152"/>
                    <a:pt x="251" y="142"/>
                  </a:cubicBezTo>
                  <a:cubicBezTo>
                    <a:pt x="250" y="133"/>
                    <a:pt x="238" y="133"/>
                    <a:pt x="238" y="133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05" y="113"/>
                    <a:pt x="205" y="113"/>
                    <a:pt x="205" y="113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9" y="70"/>
                    <a:pt x="199" y="70"/>
                    <a:pt x="199" y="70"/>
                  </a:cubicBezTo>
                  <a:cubicBezTo>
                    <a:pt x="188" y="68"/>
                    <a:pt x="188" y="68"/>
                    <a:pt x="188" y="68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197" y="57"/>
                    <a:pt x="194" y="52"/>
                    <a:pt x="194" y="46"/>
                  </a:cubicBezTo>
                  <a:cubicBezTo>
                    <a:pt x="194" y="41"/>
                    <a:pt x="202" y="27"/>
                    <a:pt x="202" y="27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13"/>
                    <a:pt x="163" y="0"/>
                    <a:pt x="157" y="1"/>
                  </a:cubicBezTo>
                  <a:cubicBezTo>
                    <a:pt x="151" y="2"/>
                    <a:pt x="142" y="14"/>
                    <a:pt x="142" y="14"/>
                  </a:cubicBezTo>
                  <a:cubicBezTo>
                    <a:pt x="142" y="14"/>
                    <a:pt x="135" y="12"/>
                    <a:pt x="129" y="15"/>
                  </a:cubicBezTo>
                  <a:cubicBezTo>
                    <a:pt x="123" y="17"/>
                    <a:pt x="124" y="29"/>
                    <a:pt x="124" y="29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1" y="75"/>
                    <a:pt x="122" y="80"/>
                  </a:cubicBezTo>
                  <a:cubicBezTo>
                    <a:pt x="122" y="86"/>
                    <a:pt x="119" y="90"/>
                    <a:pt x="117" y="93"/>
                  </a:cubicBezTo>
                  <a:cubicBezTo>
                    <a:pt x="114" y="97"/>
                    <a:pt x="112" y="110"/>
                    <a:pt x="112" y="110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1" y="97"/>
                    <a:pt x="86" y="97"/>
                  </a:cubicBezTo>
                  <a:cubicBezTo>
                    <a:pt x="80" y="97"/>
                    <a:pt x="78" y="105"/>
                    <a:pt x="78" y="105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4" y="99"/>
                    <a:pt x="37" y="93"/>
                  </a:cubicBezTo>
                  <a:cubicBezTo>
                    <a:pt x="32" y="88"/>
                    <a:pt x="25" y="78"/>
                    <a:pt x="25" y="78"/>
                  </a:cubicBezTo>
                  <a:cubicBezTo>
                    <a:pt x="25" y="78"/>
                    <a:pt x="16" y="75"/>
                    <a:pt x="12" y="80"/>
                  </a:cubicBezTo>
                  <a:cubicBezTo>
                    <a:pt x="6" y="84"/>
                    <a:pt x="14" y="91"/>
                    <a:pt x="13" y="93"/>
                  </a:cubicBezTo>
                  <a:cubicBezTo>
                    <a:pt x="11" y="95"/>
                    <a:pt x="2" y="90"/>
                    <a:pt x="2" y="9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53" y="126"/>
                    <a:pt x="63" y="131"/>
                  </a:cubicBezTo>
                  <a:cubicBezTo>
                    <a:pt x="72" y="136"/>
                    <a:pt x="73" y="146"/>
                    <a:pt x="73" y="146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86" y="152"/>
                    <a:pt x="88" y="155"/>
                  </a:cubicBezTo>
                  <a:cubicBezTo>
                    <a:pt x="90" y="158"/>
                    <a:pt x="85" y="158"/>
                    <a:pt x="84" y="162"/>
                  </a:cubicBezTo>
                  <a:cubicBezTo>
                    <a:pt x="83" y="167"/>
                    <a:pt x="85" y="170"/>
                    <a:pt x="86" y="174"/>
                  </a:cubicBezTo>
                  <a:cubicBezTo>
                    <a:pt x="88" y="180"/>
                    <a:pt x="86" y="186"/>
                    <a:pt x="86" y="186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95" y="197"/>
                    <a:pt x="94" y="199"/>
                    <a:pt x="94" y="204"/>
                  </a:cubicBezTo>
                  <a:cubicBezTo>
                    <a:pt x="94" y="210"/>
                    <a:pt x="103" y="215"/>
                    <a:pt x="105" y="218"/>
                  </a:cubicBezTo>
                  <a:cubicBezTo>
                    <a:pt x="107" y="222"/>
                    <a:pt x="106" y="229"/>
                    <a:pt x="106" y="229"/>
                  </a:cubicBezTo>
                  <a:cubicBezTo>
                    <a:pt x="106" y="229"/>
                    <a:pt x="108" y="233"/>
                    <a:pt x="110" y="237"/>
                  </a:cubicBezTo>
                  <a:cubicBezTo>
                    <a:pt x="111" y="240"/>
                    <a:pt x="106" y="243"/>
                    <a:pt x="103" y="248"/>
                  </a:cubicBezTo>
                  <a:cubicBezTo>
                    <a:pt x="101" y="252"/>
                    <a:pt x="106" y="253"/>
                    <a:pt x="106" y="253"/>
                  </a:cubicBezTo>
                  <a:cubicBezTo>
                    <a:pt x="106" y="253"/>
                    <a:pt x="106" y="254"/>
                    <a:pt x="105" y="260"/>
                  </a:cubicBezTo>
                  <a:cubicBezTo>
                    <a:pt x="105" y="264"/>
                    <a:pt x="112" y="265"/>
                    <a:pt x="114" y="266"/>
                  </a:cubicBezTo>
                  <a:cubicBezTo>
                    <a:pt x="116" y="268"/>
                    <a:pt x="115" y="271"/>
                    <a:pt x="116" y="275"/>
                  </a:cubicBezTo>
                  <a:cubicBezTo>
                    <a:pt x="117" y="279"/>
                    <a:pt x="122" y="281"/>
                    <a:pt x="122" y="281"/>
                  </a:cubicBezTo>
                  <a:cubicBezTo>
                    <a:pt x="123" y="288"/>
                    <a:pt x="123" y="288"/>
                    <a:pt x="123" y="288"/>
                  </a:cubicBezTo>
                  <a:cubicBezTo>
                    <a:pt x="128" y="286"/>
                    <a:pt x="128" y="286"/>
                    <a:pt x="128" y="286"/>
                  </a:cubicBezTo>
                  <a:cubicBezTo>
                    <a:pt x="139" y="293"/>
                    <a:pt x="139" y="293"/>
                    <a:pt x="139" y="293"/>
                  </a:cubicBezTo>
                  <a:cubicBezTo>
                    <a:pt x="139" y="295"/>
                    <a:pt x="139" y="295"/>
                    <a:pt x="139" y="295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54" y="297"/>
                    <a:pt x="154" y="297"/>
                    <a:pt x="154" y="297"/>
                  </a:cubicBezTo>
                  <a:cubicBezTo>
                    <a:pt x="154" y="297"/>
                    <a:pt x="159" y="301"/>
                    <a:pt x="162" y="308"/>
                  </a:cubicBezTo>
                  <a:cubicBezTo>
                    <a:pt x="166" y="314"/>
                    <a:pt x="162" y="324"/>
                    <a:pt x="162" y="324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2" y="334"/>
                    <a:pt x="162" y="334"/>
                    <a:pt x="162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7" y="342"/>
                    <a:pt x="160" y="340"/>
                    <a:pt x="154" y="341"/>
                  </a:cubicBezTo>
                  <a:cubicBezTo>
                    <a:pt x="150" y="342"/>
                    <a:pt x="147" y="346"/>
                    <a:pt x="147" y="346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66"/>
                    <a:pt x="145" y="366"/>
                    <a:pt x="145" y="366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37" y="376"/>
                    <a:pt x="137" y="376"/>
                    <a:pt x="137" y="376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1" y="401"/>
                    <a:pt x="131" y="401"/>
                    <a:pt x="131" y="401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409"/>
                    <a:pt x="124" y="409"/>
                    <a:pt x="124" y="409"/>
                  </a:cubicBezTo>
                  <a:cubicBezTo>
                    <a:pt x="117" y="413"/>
                    <a:pt x="117" y="413"/>
                    <a:pt x="117" y="413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2" y="413"/>
                    <a:pt x="112" y="413"/>
                    <a:pt x="112" y="413"/>
                  </a:cubicBezTo>
                  <a:cubicBezTo>
                    <a:pt x="108" y="414"/>
                    <a:pt x="108" y="414"/>
                    <a:pt x="108" y="414"/>
                  </a:cubicBezTo>
                  <a:cubicBezTo>
                    <a:pt x="108" y="417"/>
                    <a:pt x="108" y="417"/>
                    <a:pt x="108" y="417"/>
                  </a:cubicBezTo>
                  <a:cubicBezTo>
                    <a:pt x="106" y="418"/>
                    <a:pt x="106" y="418"/>
                    <a:pt x="106" y="418"/>
                  </a:cubicBezTo>
                  <a:cubicBezTo>
                    <a:pt x="105" y="421"/>
                    <a:pt x="105" y="421"/>
                    <a:pt x="105" y="421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3" y="422"/>
                    <a:pt x="113" y="422"/>
                    <a:pt x="113" y="422"/>
                  </a:cubicBezTo>
                  <a:cubicBezTo>
                    <a:pt x="111" y="430"/>
                    <a:pt x="111" y="430"/>
                    <a:pt x="111" y="430"/>
                  </a:cubicBezTo>
                  <a:cubicBezTo>
                    <a:pt x="111" y="430"/>
                    <a:pt x="107" y="426"/>
                    <a:pt x="104" y="428"/>
                  </a:cubicBezTo>
                  <a:cubicBezTo>
                    <a:pt x="100" y="430"/>
                    <a:pt x="102" y="436"/>
                    <a:pt x="102" y="436"/>
                  </a:cubicBezTo>
                  <a:cubicBezTo>
                    <a:pt x="102" y="439"/>
                    <a:pt x="102" y="439"/>
                    <a:pt x="102" y="439"/>
                  </a:cubicBezTo>
                  <a:cubicBezTo>
                    <a:pt x="101" y="441"/>
                    <a:pt x="100" y="442"/>
                    <a:pt x="100" y="442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6" y="438"/>
                    <a:pt x="96" y="438"/>
                    <a:pt x="96" y="438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444"/>
                    <a:pt x="99" y="455"/>
                    <a:pt x="98" y="457"/>
                  </a:cubicBezTo>
                  <a:cubicBezTo>
                    <a:pt x="97" y="460"/>
                    <a:pt x="91" y="458"/>
                    <a:pt x="89" y="458"/>
                  </a:cubicBezTo>
                  <a:cubicBezTo>
                    <a:pt x="82" y="458"/>
                    <a:pt x="82" y="458"/>
                    <a:pt x="82" y="458"/>
                  </a:cubicBezTo>
                  <a:cubicBezTo>
                    <a:pt x="82" y="458"/>
                    <a:pt x="82" y="462"/>
                    <a:pt x="80" y="462"/>
                  </a:cubicBezTo>
                  <a:cubicBezTo>
                    <a:pt x="79" y="462"/>
                    <a:pt x="77" y="459"/>
                    <a:pt x="77" y="459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83" y="475"/>
                    <a:pt x="83" y="475"/>
                    <a:pt x="83" y="475"/>
                  </a:cubicBezTo>
                  <a:cubicBezTo>
                    <a:pt x="77" y="474"/>
                    <a:pt x="77" y="474"/>
                    <a:pt x="77" y="474"/>
                  </a:cubicBezTo>
                  <a:cubicBezTo>
                    <a:pt x="75" y="482"/>
                    <a:pt x="75" y="482"/>
                    <a:pt x="75" y="482"/>
                  </a:cubicBezTo>
                  <a:cubicBezTo>
                    <a:pt x="75" y="482"/>
                    <a:pt x="77" y="484"/>
                    <a:pt x="77" y="486"/>
                  </a:cubicBezTo>
                  <a:cubicBezTo>
                    <a:pt x="77" y="487"/>
                    <a:pt x="72" y="487"/>
                    <a:pt x="72" y="487"/>
                  </a:cubicBezTo>
                  <a:cubicBezTo>
                    <a:pt x="69" y="492"/>
                    <a:pt x="69" y="492"/>
                    <a:pt x="69" y="492"/>
                  </a:cubicBezTo>
                  <a:cubicBezTo>
                    <a:pt x="68" y="504"/>
                    <a:pt x="68" y="504"/>
                    <a:pt x="68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72" y="504"/>
                    <a:pt x="69" y="508"/>
                    <a:pt x="70" y="513"/>
                  </a:cubicBezTo>
                  <a:cubicBezTo>
                    <a:pt x="70" y="517"/>
                    <a:pt x="78" y="519"/>
                    <a:pt x="80" y="523"/>
                  </a:cubicBezTo>
                  <a:cubicBezTo>
                    <a:pt x="83" y="528"/>
                    <a:pt x="80" y="534"/>
                    <a:pt x="80" y="534"/>
                  </a:cubicBezTo>
                  <a:cubicBezTo>
                    <a:pt x="80" y="543"/>
                    <a:pt x="80" y="543"/>
                    <a:pt x="80" y="543"/>
                  </a:cubicBezTo>
                  <a:cubicBezTo>
                    <a:pt x="83" y="546"/>
                    <a:pt x="83" y="546"/>
                    <a:pt x="83" y="546"/>
                  </a:cubicBezTo>
                  <a:cubicBezTo>
                    <a:pt x="86" y="544"/>
                    <a:pt x="86" y="544"/>
                    <a:pt x="86" y="544"/>
                  </a:cubicBezTo>
                  <a:cubicBezTo>
                    <a:pt x="86" y="544"/>
                    <a:pt x="86" y="550"/>
                    <a:pt x="87" y="552"/>
                  </a:cubicBezTo>
                  <a:cubicBezTo>
                    <a:pt x="88" y="555"/>
                    <a:pt x="91" y="559"/>
                    <a:pt x="91" y="559"/>
                  </a:cubicBezTo>
                  <a:cubicBezTo>
                    <a:pt x="90" y="561"/>
                    <a:pt x="90" y="561"/>
                    <a:pt x="90" y="561"/>
                  </a:cubicBezTo>
                  <a:cubicBezTo>
                    <a:pt x="94" y="562"/>
                    <a:pt x="94" y="562"/>
                    <a:pt x="94" y="562"/>
                  </a:cubicBezTo>
                  <a:cubicBezTo>
                    <a:pt x="95" y="567"/>
                    <a:pt x="95" y="567"/>
                    <a:pt x="95" y="567"/>
                  </a:cubicBezTo>
                  <a:cubicBezTo>
                    <a:pt x="90" y="566"/>
                    <a:pt x="90" y="566"/>
                    <a:pt x="90" y="566"/>
                  </a:cubicBezTo>
                  <a:cubicBezTo>
                    <a:pt x="90" y="569"/>
                    <a:pt x="90" y="569"/>
                    <a:pt x="90" y="569"/>
                  </a:cubicBezTo>
                  <a:cubicBezTo>
                    <a:pt x="93" y="572"/>
                    <a:pt x="93" y="572"/>
                    <a:pt x="93" y="572"/>
                  </a:cubicBezTo>
                  <a:cubicBezTo>
                    <a:pt x="89" y="572"/>
                    <a:pt x="89" y="572"/>
                    <a:pt x="89" y="572"/>
                  </a:cubicBezTo>
                  <a:cubicBezTo>
                    <a:pt x="93" y="577"/>
                    <a:pt x="93" y="577"/>
                    <a:pt x="93" y="577"/>
                  </a:cubicBezTo>
                  <a:cubicBezTo>
                    <a:pt x="90" y="578"/>
                    <a:pt x="90" y="578"/>
                    <a:pt x="90" y="578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5" y="584"/>
                    <a:pt x="96" y="588"/>
                    <a:pt x="94" y="591"/>
                  </a:cubicBezTo>
                  <a:cubicBezTo>
                    <a:pt x="91" y="593"/>
                    <a:pt x="95" y="598"/>
                    <a:pt x="95" y="598"/>
                  </a:cubicBezTo>
                  <a:cubicBezTo>
                    <a:pt x="95" y="598"/>
                    <a:pt x="90" y="599"/>
                    <a:pt x="90" y="603"/>
                  </a:cubicBezTo>
                  <a:cubicBezTo>
                    <a:pt x="91" y="607"/>
                    <a:pt x="94" y="610"/>
                    <a:pt x="94" y="610"/>
                  </a:cubicBezTo>
                  <a:cubicBezTo>
                    <a:pt x="91" y="610"/>
                    <a:pt x="91" y="610"/>
                    <a:pt x="91" y="610"/>
                  </a:cubicBezTo>
                  <a:cubicBezTo>
                    <a:pt x="88" y="607"/>
                    <a:pt x="88" y="607"/>
                    <a:pt x="88" y="607"/>
                  </a:cubicBezTo>
                  <a:cubicBezTo>
                    <a:pt x="87" y="613"/>
                    <a:pt x="87" y="613"/>
                    <a:pt x="87" y="613"/>
                  </a:cubicBezTo>
                  <a:cubicBezTo>
                    <a:pt x="95" y="613"/>
                    <a:pt x="95" y="613"/>
                    <a:pt x="95" y="613"/>
                  </a:cubicBezTo>
                  <a:cubicBezTo>
                    <a:pt x="93" y="614"/>
                    <a:pt x="93" y="614"/>
                    <a:pt x="93" y="614"/>
                  </a:cubicBezTo>
                  <a:cubicBezTo>
                    <a:pt x="94" y="619"/>
                    <a:pt x="94" y="619"/>
                    <a:pt x="94" y="619"/>
                  </a:cubicBezTo>
                  <a:cubicBezTo>
                    <a:pt x="97" y="622"/>
                    <a:pt x="97" y="622"/>
                    <a:pt x="97" y="622"/>
                  </a:cubicBezTo>
                  <a:cubicBezTo>
                    <a:pt x="97" y="622"/>
                    <a:pt x="95" y="624"/>
                    <a:pt x="97" y="628"/>
                  </a:cubicBezTo>
                  <a:cubicBezTo>
                    <a:pt x="99" y="632"/>
                    <a:pt x="101" y="632"/>
                    <a:pt x="101" y="632"/>
                  </a:cubicBezTo>
                  <a:cubicBezTo>
                    <a:pt x="104" y="635"/>
                    <a:pt x="104" y="635"/>
                    <a:pt x="104" y="635"/>
                  </a:cubicBezTo>
                  <a:cubicBezTo>
                    <a:pt x="104" y="630"/>
                    <a:pt x="104" y="630"/>
                    <a:pt x="104" y="630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35"/>
                    <a:pt x="110" y="635"/>
                    <a:pt x="110" y="635"/>
                  </a:cubicBezTo>
                  <a:cubicBezTo>
                    <a:pt x="112" y="635"/>
                    <a:pt x="112" y="635"/>
                    <a:pt x="112" y="635"/>
                  </a:cubicBezTo>
                  <a:cubicBezTo>
                    <a:pt x="113" y="631"/>
                    <a:pt x="113" y="631"/>
                    <a:pt x="113" y="631"/>
                  </a:cubicBezTo>
                  <a:cubicBezTo>
                    <a:pt x="118" y="635"/>
                    <a:pt x="118" y="635"/>
                    <a:pt x="118" y="635"/>
                  </a:cubicBezTo>
                  <a:cubicBezTo>
                    <a:pt x="124" y="635"/>
                    <a:pt x="124" y="635"/>
                    <a:pt x="124" y="635"/>
                  </a:cubicBezTo>
                  <a:cubicBezTo>
                    <a:pt x="131" y="638"/>
                    <a:pt x="131" y="638"/>
                    <a:pt x="131" y="638"/>
                  </a:cubicBezTo>
                  <a:cubicBezTo>
                    <a:pt x="137" y="638"/>
                    <a:pt x="137" y="638"/>
                    <a:pt x="137" y="638"/>
                  </a:cubicBezTo>
                  <a:cubicBezTo>
                    <a:pt x="135" y="646"/>
                    <a:pt x="135" y="646"/>
                    <a:pt x="135" y="646"/>
                  </a:cubicBezTo>
                  <a:cubicBezTo>
                    <a:pt x="137" y="648"/>
                    <a:pt x="137" y="648"/>
                    <a:pt x="137" y="648"/>
                  </a:cubicBezTo>
                  <a:cubicBezTo>
                    <a:pt x="144" y="645"/>
                    <a:pt x="144" y="645"/>
                    <a:pt x="144" y="645"/>
                  </a:cubicBezTo>
                  <a:cubicBezTo>
                    <a:pt x="151" y="639"/>
                    <a:pt x="151" y="639"/>
                    <a:pt x="151" y="639"/>
                  </a:cubicBezTo>
                  <a:cubicBezTo>
                    <a:pt x="152" y="640"/>
                    <a:pt x="152" y="640"/>
                    <a:pt x="152" y="640"/>
                  </a:cubicBezTo>
                  <a:cubicBezTo>
                    <a:pt x="149" y="649"/>
                    <a:pt x="149" y="649"/>
                    <a:pt x="149" y="649"/>
                  </a:cubicBezTo>
                  <a:cubicBezTo>
                    <a:pt x="154" y="653"/>
                    <a:pt x="154" y="653"/>
                    <a:pt x="154" y="653"/>
                  </a:cubicBezTo>
                  <a:cubicBezTo>
                    <a:pt x="153" y="657"/>
                    <a:pt x="153" y="657"/>
                    <a:pt x="153" y="657"/>
                  </a:cubicBezTo>
                  <a:cubicBezTo>
                    <a:pt x="157" y="656"/>
                    <a:pt x="157" y="656"/>
                    <a:pt x="157" y="656"/>
                  </a:cubicBezTo>
                  <a:cubicBezTo>
                    <a:pt x="157" y="658"/>
                    <a:pt x="157" y="658"/>
                    <a:pt x="157" y="658"/>
                  </a:cubicBezTo>
                  <a:cubicBezTo>
                    <a:pt x="150" y="664"/>
                    <a:pt x="150" y="664"/>
                    <a:pt x="150" y="664"/>
                  </a:cubicBezTo>
                  <a:cubicBezTo>
                    <a:pt x="151" y="666"/>
                    <a:pt x="151" y="666"/>
                    <a:pt x="151" y="666"/>
                  </a:cubicBezTo>
                  <a:cubicBezTo>
                    <a:pt x="156" y="666"/>
                    <a:pt x="156" y="666"/>
                    <a:pt x="156" y="666"/>
                  </a:cubicBezTo>
                  <a:cubicBezTo>
                    <a:pt x="159" y="662"/>
                    <a:pt x="159" y="662"/>
                    <a:pt x="159" y="662"/>
                  </a:cubicBezTo>
                  <a:cubicBezTo>
                    <a:pt x="159" y="662"/>
                    <a:pt x="161" y="664"/>
                    <a:pt x="161" y="666"/>
                  </a:cubicBezTo>
                  <a:cubicBezTo>
                    <a:pt x="162" y="669"/>
                    <a:pt x="152" y="674"/>
                    <a:pt x="152" y="674"/>
                  </a:cubicBezTo>
                  <a:cubicBezTo>
                    <a:pt x="163" y="671"/>
                    <a:pt x="163" y="671"/>
                    <a:pt x="163" y="671"/>
                  </a:cubicBezTo>
                  <a:cubicBezTo>
                    <a:pt x="171" y="655"/>
                    <a:pt x="171" y="655"/>
                    <a:pt x="171" y="655"/>
                  </a:cubicBezTo>
                  <a:cubicBezTo>
                    <a:pt x="169" y="663"/>
                    <a:pt x="169" y="663"/>
                    <a:pt x="169" y="663"/>
                  </a:cubicBezTo>
                  <a:cubicBezTo>
                    <a:pt x="181" y="660"/>
                    <a:pt x="181" y="660"/>
                    <a:pt x="181" y="660"/>
                  </a:cubicBezTo>
                  <a:cubicBezTo>
                    <a:pt x="189" y="654"/>
                    <a:pt x="189" y="654"/>
                    <a:pt x="189" y="654"/>
                  </a:cubicBezTo>
                  <a:cubicBezTo>
                    <a:pt x="192" y="654"/>
                    <a:pt x="192" y="654"/>
                    <a:pt x="192" y="654"/>
                  </a:cubicBezTo>
                  <a:cubicBezTo>
                    <a:pt x="198" y="649"/>
                    <a:pt x="198" y="649"/>
                    <a:pt x="198" y="649"/>
                  </a:cubicBezTo>
                  <a:cubicBezTo>
                    <a:pt x="201" y="650"/>
                    <a:pt x="201" y="650"/>
                    <a:pt x="201" y="650"/>
                  </a:cubicBezTo>
                  <a:cubicBezTo>
                    <a:pt x="203" y="655"/>
                    <a:pt x="203" y="655"/>
                    <a:pt x="203" y="655"/>
                  </a:cubicBezTo>
                  <a:cubicBezTo>
                    <a:pt x="206" y="653"/>
                    <a:pt x="206" y="653"/>
                    <a:pt x="206" y="653"/>
                  </a:cubicBezTo>
                  <a:cubicBezTo>
                    <a:pt x="206" y="645"/>
                    <a:pt x="206" y="645"/>
                    <a:pt x="206" y="645"/>
                  </a:cubicBezTo>
                  <a:cubicBezTo>
                    <a:pt x="221" y="638"/>
                    <a:pt x="221" y="638"/>
                    <a:pt x="221" y="638"/>
                  </a:cubicBezTo>
                  <a:cubicBezTo>
                    <a:pt x="222" y="635"/>
                    <a:pt x="222" y="635"/>
                    <a:pt x="222" y="635"/>
                  </a:cubicBezTo>
                  <a:cubicBezTo>
                    <a:pt x="235" y="629"/>
                    <a:pt x="235" y="629"/>
                    <a:pt x="235" y="629"/>
                  </a:cubicBezTo>
                  <a:cubicBezTo>
                    <a:pt x="235" y="622"/>
                    <a:pt x="235" y="622"/>
                    <a:pt x="235" y="622"/>
                  </a:cubicBezTo>
                  <a:cubicBezTo>
                    <a:pt x="235" y="622"/>
                    <a:pt x="237" y="628"/>
                    <a:pt x="241" y="628"/>
                  </a:cubicBezTo>
                  <a:cubicBezTo>
                    <a:pt x="244" y="628"/>
                    <a:pt x="248" y="626"/>
                    <a:pt x="248" y="626"/>
                  </a:cubicBezTo>
                  <a:cubicBezTo>
                    <a:pt x="245" y="624"/>
                    <a:pt x="245" y="624"/>
                    <a:pt x="245" y="624"/>
                  </a:cubicBezTo>
                  <a:cubicBezTo>
                    <a:pt x="246" y="620"/>
                    <a:pt x="246" y="620"/>
                    <a:pt x="246" y="620"/>
                  </a:cubicBezTo>
                  <a:cubicBezTo>
                    <a:pt x="251" y="624"/>
                    <a:pt x="251" y="624"/>
                    <a:pt x="251" y="624"/>
                  </a:cubicBezTo>
                  <a:cubicBezTo>
                    <a:pt x="251" y="622"/>
                    <a:pt x="251" y="622"/>
                    <a:pt x="251" y="622"/>
                  </a:cubicBezTo>
                  <a:cubicBezTo>
                    <a:pt x="245" y="613"/>
                    <a:pt x="245" y="613"/>
                    <a:pt x="245" y="613"/>
                  </a:cubicBezTo>
                  <a:cubicBezTo>
                    <a:pt x="245" y="613"/>
                    <a:pt x="254" y="619"/>
                    <a:pt x="260" y="617"/>
                  </a:cubicBezTo>
                  <a:cubicBezTo>
                    <a:pt x="264" y="614"/>
                    <a:pt x="262" y="611"/>
                    <a:pt x="262" y="611"/>
                  </a:cubicBezTo>
                  <a:cubicBezTo>
                    <a:pt x="268" y="610"/>
                    <a:pt x="268" y="610"/>
                    <a:pt x="268" y="610"/>
                  </a:cubicBezTo>
                  <a:cubicBezTo>
                    <a:pt x="273" y="608"/>
                    <a:pt x="273" y="608"/>
                    <a:pt x="273" y="608"/>
                  </a:cubicBezTo>
                  <a:cubicBezTo>
                    <a:pt x="279" y="608"/>
                    <a:pt x="279" y="608"/>
                    <a:pt x="279" y="608"/>
                  </a:cubicBezTo>
                  <a:cubicBezTo>
                    <a:pt x="283" y="602"/>
                    <a:pt x="283" y="602"/>
                    <a:pt x="283" y="602"/>
                  </a:cubicBezTo>
                  <a:cubicBezTo>
                    <a:pt x="293" y="603"/>
                    <a:pt x="293" y="603"/>
                    <a:pt x="293" y="603"/>
                  </a:cubicBezTo>
                  <a:cubicBezTo>
                    <a:pt x="304" y="598"/>
                    <a:pt x="304" y="598"/>
                    <a:pt x="304" y="598"/>
                  </a:cubicBezTo>
                  <a:cubicBezTo>
                    <a:pt x="304" y="597"/>
                    <a:pt x="304" y="597"/>
                    <a:pt x="304" y="597"/>
                  </a:cubicBezTo>
                  <a:cubicBezTo>
                    <a:pt x="312" y="581"/>
                    <a:pt x="312" y="581"/>
                    <a:pt x="312" y="581"/>
                  </a:cubicBezTo>
                  <a:cubicBezTo>
                    <a:pt x="323" y="566"/>
                    <a:pt x="323" y="566"/>
                    <a:pt x="323" y="566"/>
                  </a:cubicBezTo>
                  <a:cubicBezTo>
                    <a:pt x="327" y="563"/>
                    <a:pt x="327" y="563"/>
                    <a:pt x="327" y="563"/>
                  </a:cubicBezTo>
                  <a:cubicBezTo>
                    <a:pt x="328" y="554"/>
                    <a:pt x="328" y="554"/>
                    <a:pt x="328" y="554"/>
                  </a:cubicBezTo>
                  <a:cubicBezTo>
                    <a:pt x="341" y="540"/>
                    <a:pt x="341" y="540"/>
                    <a:pt x="341" y="540"/>
                  </a:cubicBezTo>
                  <a:cubicBezTo>
                    <a:pt x="341" y="540"/>
                    <a:pt x="346" y="527"/>
                    <a:pt x="349" y="521"/>
                  </a:cubicBezTo>
                  <a:cubicBezTo>
                    <a:pt x="352" y="516"/>
                    <a:pt x="360" y="496"/>
                    <a:pt x="363" y="485"/>
                  </a:cubicBezTo>
                  <a:cubicBezTo>
                    <a:pt x="366" y="473"/>
                    <a:pt x="375" y="460"/>
                    <a:pt x="375" y="460"/>
                  </a:cubicBezTo>
                  <a:cubicBezTo>
                    <a:pt x="375" y="460"/>
                    <a:pt x="377" y="456"/>
                    <a:pt x="378" y="452"/>
                  </a:cubicBezTo>
                  <a:cubicBezTo>
                    <a:pt x="380" y="448"/>
                    <a:pt x="382" y="424"/>
                    <a:pt x="382" y="418"/>
                  </a:cubicBezTo>
                  <a:close/>
                  <a:moveTo>
                    <a:pt x="52" y="662"/>
                  </a:moveTo>
                  <a:cubicBezTo>
                    <a:pt x="52" y="658"/>
                    <a:pt x="52" y="658"/>
                    <a:pt x="52" y="658"/>
                  </a:cubicBezTo>
                  <a:cubicBezTo>
                    <a:pt x="54" y="657"/>
                    <a:pt x="54" y="657"/>
                    <a:pt x="54" y="657"/>
                  </a:cubicBezTo>
                  <a:cubicBezTo>
                    <a:pt x="54" y="657"/>
                    <a:pt x="54" y="659"/>
                    <a:pt x="55" y="661"/>
                  </a:cubicBezTo>
                  <a:cubicBezTo>
                    <a:pt x="56" y="662"/>
                    <a:pt x="61" y="660"/>
                    <a:pt x="61" y="660"/>
                  </a:cubicBezTo>
                  <a:cubicBezTo>
                    <a:pt x="60" y="653"/>
                    <a:pt x="60" y="653"/>
                    <a:pt x="60" y="653"/>
                  </a:cubicBezTo>
                  <a:cubicBezTo>
                    <a:pt x="55" y="653"/>
                    <a:pt x="55" y="653"/>
                    <a:pt x="55" y="653"/>
                  </a:cubicBezTo>
                  <a:cubicBezTo>
                    <a:pt x="55" y="650"/>
                    <a:pt x="55" y="650"/>
                    <a:pt x="55" y="650"/>
                  </a:cubicBezTo>
                  <a:cubicBezTo>
                    <a:pt x="51" y="651"/>
                    <a:pt x="51" y="651"/>
                    <a:pt x="51" y="651"/>
                  </a:cubicBezTo>
                  <a:cubicBezTo>
                    <a:pt x="51" y="651"/>
                    <a:pt x="50" y="649"/>
                    <a:pt x="50" y="647"/>
                  </a:cubicBezTo>
                  <a:cubicBezTo>
                    <a:pt x="50" y="646"/>
                    <a:pt x="47" y="644"/>
                    <a:pt x="45" y="648"/>
                  </a:cubicBezTo>
                  <a:cubicBezTo>
                    <a:pt x="45" y="651"/>
                    <a:pt x="45" y="651"/>
                    <a:pt x="45" y="651"/>
                  </a:cubicBezTo>
                  <a:cubicBezTo>
                    <a:pt x="48" y="657"/>
                    <a:pt x="48" y="657"/>
                    <a:pt x="48" y="657"/>
                  </a:cubicBezTo>
                  <a:cubicBezTo>
                    <a:pt x="45" y="659"/>
                    <a:pt x="45" y="659"/>
                    <a:pt x="45" y="659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1" y="658"/>
                    <a:pt x="41" y="658"/>
                    <a:pt x="41" y="658"/>
                  </a:cubicBezTo>
                  <a:cubicBezTo>
                    <a:pt x="46" y="669"/>
                    <a:pt x="46" y="669"/>
                    <a:pt x="46" y="669"/>
                  </a:cubicBezTo>
                  <a:cubicBezTo>
                    <a:pt x="50" y="670"/>
                    <a:pt x="50" y="670"/>
                    <a:pt x="50" y="670"/>
                  </a:cubicBezTo>
                  <a:cubicBezTo>
                    <a:pt x="54" y="666"/>
                    <a:pt x="54" y="666"/>
                    <a:pt x="54" y="666"/>
                  </a:cubicBezTo>
                  <a:cubicBezTo>
                    <a:pt x="54" y="662"/>
                    <a:pt x="54" y="662"/>
                    <a:pt x="54" y="662"/>
                  </a:cubicBezTo>
                  <a:lnTo>
                    <a:pt x="52" y="662"/>
                  </a:lnTo>
                  <a:close/>
                  <a:moveTo>
                    <a:pt x="37" y="666"/>
                  </a:moveTo>
                  <a:cubicBezTo>
                    <a:pt x="41" y="664"/>
                    <a:pt x="41" y="664"/>
                    <a:pt x="41" y="664"/>
                  </a:cubicBezTo>
                  <a:cubicBezTo>
                    <a:pt x="39" y="658"/>
                    <a:pt x="39" y="658"/>
                    <a:pt x="39" y="658"/>
                  </a:cubicBezTo>
                  <a:lnTo>
                    <a:pt x="37" y="666"/>
                  </a:lnTo>
                  <a:close/>
                  <a:moveTo>
                    <a:pt x="55" y="670"/>
                  </a:moveTo>
                  <a:cubicBezTo>
                    <a:pt x="61" y="674"/>
                    <a:pt x="61" y="674"/>
                    <a:pt x="61" y="674"/>
                  </a:cubicBezTo>
                  <a:cubicBezTo>
                    <a:pt x="63" y="671"/>
                    <a:pt x="63" y="671"/>
                    <a:pt x="63" y="671"/>
                  </a:cubicBezTo>
                  <a:cubicBezTo>
                    <a:pt x="56" y="667"/>
                    <a:pt x="56" y="667"/>
                    <a:pt x="56" y="667"/>
                  </a:cubicBezTo>
                  <a:lnTo>
                    <a:pt x="55" y="670"/>
                  </a:lnTo>
                  <a:close/>
                  <a:moveTo>
                    <a:pt x="63" y="663"/>
                  </a:moveTo>
                  <a:cubicBezTo>
                    <a:pt x="61" y="664"/>
                    <a:pt x="61" y="667"/>
                    <a:pt x="64" y="667"/>
                  </a:cubicBezTo>
                  <a:cubicBezTo>
                    <a:pt x="66" y="666"/>
                    <a:pt x="66" y="662"/>
                    <a:pt x="63" y="663"/>
                  </a:cubicBezTo>
                  <a:close/>
                  <a:moveTo>
                    <a:pt x="107" y="657"/>
                  </a:moveTo>
                  <a:cubicBezTo>
                    <a:pt x="104" y="657"/>
                    <a:pt x="100" y="662"/>
                    <a:pt x="106" y="661"/>
                  </a:cubicBezTo>
                  <a:cubicBezTo>
                    <a:pt x="106" y="661"/>
                    <a:pt x="111" y="657"/>
                    <a:pt x="107" y="657"/>
                  </a:cubicBezTo>
                  <a:close/>
                  <a:moveTo>
                    <a:pt x="113" y="654"/>
                  </a:moveTo>
                  <a:cubicBezTo>
                    <a:pt x="111" y="655"/>
                    <a:pt x="112" y="657"/>
                    <a:pt x="112" y="657"/>
                  </a:cubicBezTo>
                  <a:cubicBezTo>
                    <a:pt x="110" y="659"/>
                    <a:pt x="110" y="659"/>
                    <a:pt x="110" y="659"/>
                  </a:cubicBezTo>
                  <a:cubicBezTo>
                    <a:pt x="111" y="660"/>
                    <a:pt x="111" y="660"/>
                    <a:pt x="111" y="660"/>
                  </a:cubicBezTo>
                  <a:cubicBezTo>
                    <a:pt x="117" y="655"/>
                    <a:pt x="117" y="655"/>
                    <a:pt x="117" y="655"/>
                  </a:cubicBezTo>
                  <a:cubicBezTo>
                    <a:pt x="117" y="655"/>
                    <a:pt x="115" y="653"/>
                    <a:pt x="113" y="654"/>
                  </a:cubicBezTo>
                  <a:close/>
                  <a:moveTo>
                    <a:pt x="119" y="654"/>
                  </a:moveTo>
                  <a:cubicBezTo>
                    <a:pt x="120" y="657"/>
                    <a:pt x="120" y="657"/>
                    <a:pt x="120" y="657"/>
                  </a:cubicBezTo>
                  <a:cubicBezTo>
                    <a:pt x="122" y="656"/>
                    <a:pt x="122" y="656"/>
                    <a:pt x="122" y="656"/>
                  </a:cubicBezTo>
                  <a:cubicBezTo>
                    <a:pt x="122" y="654"/>
                    <a:pt x="122" y="654"/>
                    <a:pt x="122" y="654"/>
                  </a:cubicBezTo>
                  <a:lnTo>
                    <a:pt x="119" y="654"/>
                  </a:lnTo>
                  <a:close/>
                  <a:moveTo>
                    <a:pt x="148" y="643"/>
                  </a:moveTo>
                  <a:cubicBezTo>
                    <a:pt x="146" y="647"/>
                    <a:pt x="146" y="647"/>
                    <a:pt x="146" y="647"/>
                  </a:cubicBezTo>
                  <a:cubicBezTo>
                    <a:pt x="142" y="648"/>
                    <a:pt x="142" y="648"/>
                    <a:pt x="142" y="648"/>
                  </a:cubicBezTo>
                  <a:cubicBezTo>
                    <a:pt x="139" y="650"/>
                    <a:pt x="139" y="650"/>
                    <a:pt x="139" y="650"/>
                  </a:cubicBezTo>
                  <a:cubicBezTo>
                    <a:pt x="134" y="651"/>
                    <a:pt x="134" y="651"/>
                    <a:pt x="134" y="651"/>
                  </a:cubicBezTo>
                  <a:cubicBezTo>
                    <a:pt x="133" y="655"/>
                    <a:pt x="133" y="655"/>
                    <a:pt x="133" y="655"/>
                  </a:cubicBezTo>
                  <a:cubicBezTo>
                    <a:pt x="136" y="655"/>
                    <a:pt x="136" y="655"/>
                    <a:pt x="136" y="655"/>
                  </a:cubicBezTo>
                  <a:cubicBezTo>
                    <a:pt x="133" y="659"/>
                    <a:pt x="133" y="659"/>
                    <a:pt x="133" y="659"/>
                  </a:cubicBezTo>
                  <a:cubicBezTo>
                    <a:pt x="133" y="664"/>
                    <a:pt x="133" y="664"/>
                    <a:pt x="133" y="664"/>
                  </a:cubicBezTo>
                  <a:cubicBezTo>
                    <a:pt x="139" y="661"/>
                    <a:pt x="139" y="661"/>
                    <a:pt x="139" y="661"/>
                  </a:cubicBezTo>
                  <a:cubicBezTo>
                    <a:pt x="145" y="661"/>
                    <a:pt x="145" y="661"/>
                    <a:pt x="145" y="661"/>
                  </a:cubicBezTo>
                  <a:cubicBezTo>
                    <a:pt x="149" y="654"/>
                    <a:pt x="149" y="654"/>
                    <a:pt x="149" y="654"/>
                  </a:cubicBezTo>
                  <a:cubicBezTo>
                    <a:pt x="147" y="649"/>
                    <a:pt x="147" y="649"/>
                    <a:pt x="147" y="649"/>
                  </a:cubicBezTo>
                  <a:cubicBezTo>
                    <a:pt x="149" y="644"/>
                    <a:pt x="149" y="644"/>
                    <a:pt x="149" y="644"/>
                  </a:cubicBezTo>
                  <a:lnTo>
                    <a:pt x="148" y="643"/>
                  </a:lnTo>
                  <a:close/>
                  <a:moveTo>
                    <a:pt x="111" y="639"/>
                  </a:moveTo>
                  <a:cubicBezTo>
                    <a:pt x="112" y="640"/>
                    <a:pt x="112" y="640"/>
                    <a:pt x="112" y="640"/>
                  </a:cubicBezTo>
                  <a:cubicBezTo>
                    <a:pt x="110" y="643"/>
                    <a:pt x="110" y="643"/>
                    <a:pt x="110" y="643"/>
                  </a:cubicBezTo>
                  <a:cubicBezTo>
                    <a:pt x="112" y="643"/>
                    <a:pt x="112" y="643"/>
                    <a:pt x="112" y="643"/>
                  </a:cubicBezTo>
                  <a:cubicBezTo>
                    <a:pt x="114" y="642"/>
                    <a:pt x="114" y="642"/>
                    <a:pt x="114" y="642"/>
                  </a:cubicBezTo>
                  <a:cubicBezTo>
                    <a:pt x="117" y="644"/>
                    <a:pt x="117" y="644"/>
                    <a:pt x="117" y="644"/>
                  </a:cubicBezTo>
                  <a:cubicBezTo>
                    <a:pt x="118" y="641"/>
                    <a:pt x="118" y="641"/>
                    <a:pt x="118" y="641"/>
                  </a:cubicBezTo>
                  <a:cubicBezTo>
                    <a:pt x="113" y="638"/>
                    <a:pt x="113" y="638"/>
                    <a:pt x="113" y="638"/>
                  </a:cubicBezTo>
                  <a:lnTo>
                    <a:pt x="111" y="639"/>
                  </a:lnTo>
                  <a:close/>
                  <a:moveTo>
                    <a:pt x="99" y="634"/>
                  </a:moveTo>
                  <a:cubicBezTo>
                    <a:pt x="95" y="631"/>
                    <a:pt x="94" y="630"/>
                    <a:pt x="95" y="632"/>
                  </a:cubicBezTo>
                  <a:cubicBezTo>
                    <a:pt x="97" y="637"/>
                    <a:pt x="97" y="637"/>
                    <a:pt x="97" y="637"/>
                  </a:cubicBezTo>
                  <a:cubicBezTo>
                    <a:pt x="102" y="637"/>
                    <a:pt x="102" y="637"/>
                    <a:pt x="99" y="634"/>
                  </a:cubicBezTo>
                  <a:close/>
                  <a:moveTo>
                    <a:pt x="90" y="628"/>
                  </a:moveTo>
                  <a:cubicBezTo>
                    <a:pt x="93" y="631"/>
                    <a:pt x="93" y="631"/>
                    <a:pt x="93" y="631"/>
                  </a:cubicBezTo>
                  <a:cubicBezTo>
                    <a:pt x="94" y="628"/>
                    <a:pt x="94" y="628"/>
                    <a:pt x="94" y="628"/>
                  </a:cubicBezTo>
                  <a:cubicBezTo>
                    <a:pt x="91" y="627"/>
                    <a:pt x="91" y="627"/>
                    <a:pt x="91" y="627"/>
                  </a:cubicBezTo>
                  <a:lnTo>
                    <a:pt x="90" y="628"/>
                  </a:lnTo>
                  <a:close/>
                  <a:moveTo>
                    <a:pt x="175" y="667"/>
                  </a:moveTo>
                  <a:cubicBezTo>
                    <a:pt x="175" y="664"/>
                    <a:pt x="175" y="664"/>
                    <a:pt x="175" y="664"/>
                  </a:cubicBezTo>
                  <a:cubicBezTo>
                    <a:pt x="170" y="666"/>
                    <a:pt x="170" y="666"/>
                    <a:pt x="170" y="666"/>
                  </a:cubicBezTo>
                  <a:lnTo>
                    <a:pt x="175" y="667"/>
                  </a:lnTo>
                  <a:close/>
                  <a:moveTo>
                    <a:pt x="74" y="466"/>
                  </a:moveTo>
                  <a:cubicBezTo>
                    <a:pt x="72" y="462"/>
                    <a:pt x="72" y="462"/>
                    <a:pt x="72" y="462"/>
                  </a:cubicBezTo>
                  <a:cubicBezTo>
                    <a:pt x="72" y="462"/>
                    <a:pt x="69" y="464"/>
                    <a:pt x="68" y="464"/>
                  </a:cubicBezTo>
                  <a:cubicBezTo>
                    <a:pt x="66" y="464"/>
                    <a:pt x="67" y="461"/>
                    <a:pt x="67" y="461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6" y="468"/>
                    <a:pt x="66" y="468"/>
                    <a:pt x="66" y="468"/>
                  </a:cubicBezTo>
                  <a:cubicBezTo>
                    <a:pt x="71" y="469"/>
                    <a:pt x="74" y="466"/>
                    <a:pt x="74" y="466"/>
                  </a:cubicBezTo>
                  <a:close/>
                  <a:moveTo>
                    <a:pt x="72" y="456"/>
                  </a:moveTo>
                  <a:cubicBezTo>
                    <a:pt x="67" y="457"/>
                    <a:pt x="67" y="457"/>
                    <a:pt x="67" y="457"/>
                  </a:cubicBezTo>
                  <a:cubicBezTo>
                    <a:pt x="70" y="460"/>
                    <a:pt x="70" y="460"/>
                    <a:pt x="70" y="460"/>
                  </a:cubicBezTo>
                  <a:lnTo>
                    <a:pt x="72" y="456"/>
                  </a:lnTo>
                  <a:close/>
                  <a:moveTo>
                    <a:pt x="93" y="452"/>
                  </a:moveTo>
                  <a:cubicBezTo>
                    <a:pt x="90" y="456"/>
                    <a:pt x="90" y="456"/>
                    <a:pt x="90" y="456"/>
                  </a:cubicBezTo>
                  <a:cubicBezTo>
                    <a:pt x="94" y="456"/>
                    <a:pt x="94" y="456"/>
                    <a:pt x="94" y="456"/>
                  </a:cubicBezTo>
                  <a:cubicBezTo>
                    <a:pt x="97" y="454"/>
                    <a:pt x="97" y="454"/>
                    <a:pt x="97" y="454"/>
                  </a:cubicBezTo>
                  <a:lnTo>
                    <a:pt x="93" y="452"/>
                  </a:lnTo>
                  <a:close/>
                  <a:moveTo>
                    <a:pt x="157" y="329"/>
                  </a:moveTo>
                  <a:cubicBezTo>
                    <a:pt x="153" y="331"/>
                    <a:pt x="153" y="331"/>
                    <a:pt x="153" y="331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45" y="331"/>
                    <a:pt x="145" y="331"/>
                    <a:pt x="145" y="331"/>
                  </a:cubicBezTo>
                  <a:cubicBezTo>
                    <a:pt x="145" y="335"/>
                    <a:pt x="145" y="335"/>
                    <a:pt x="145" y="335"/>
                  </a:cubicBezTo>
                  <a:cubicBezTo>
                    <a:pt x="145" y="336"/>
                    <a:pt x="147" y="338"/>
                    <a:pt x="147" y="338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52" y="332"/>
                    <a:pt x="152" y="332"/>
                    <a:pt x="152" y="332"/>
                  </a:cubicBezTo>
                  <a:cubicBezTo>
                    <a:pt x="157" y="331"/>
                    <a:pt x="157" y="331"/>
                    <a:pt x="157" y="331"/>
                  </a:cubicBezTo>
                  <a:lnTo>
                    <a:pt x="157" y="329"/>
                  </a:lnTo>
                  <a:close/>
                  <a:moveTo>
                    <a:pt x="244" y="634"/>
                  </a:moveTo>
                  <a:cubicBezTo>
                    <a:pt x="247" y="630"/>
                    <a:pt x="247" y="630"/>
                    <a:pt x="247" y="630"/>
                  </a:cubicBezTo>
                  <a:cubicBezTo>
                    <a:pt x="243" y="631"/>
                    <a:pt x="243" y="631"/>
                    <a:pt x="243" y="631"/>
                  </a:cubicBezTo>
                  <a:lnTo>
                    <a:pt x="244" y="634"/>
                  </a:lnTo>
                  <a:close/>
                  <a:moveTo>
                    <a:pt x="260" y="618"/>
                  </a:moveTo>
                  <a:cubicBezTo>
                    <a:pt x="265" y="619"/>
                    <a:pt x="265" y="619"/>
                    <a:pt x="265" y="619"/>
                  </a:cubicBezTo>
                  <a:cubicBezTo>
                    <a:pt x="263" y="616"/>
                    <a:pt x="263" y="616"/>
                    <a:pt x="263" y="616"/>
                  </a:cubicBezTo>
                  <a:lnTo>
                    <a:pt x="260" y="618"/>
                  </a:lnTo>
                  <a:close/>
                  <a:moveTo>
                    <a:pt x="265" y="614"/>
                  </a:moveTo>
                  <a:cubicBezTo>
                    <a:pt x="267" y="617"/>
                    <a:pt x="267" y="617"/>
                    <a:pt x="267" y="617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0" y="613"/>
                    <a:pt x="270" y="613"/>
                    <a:pt x="270" y="613"/>
                  </a:cubicBezTo>
                  <a:lnTo>
                    <a:pt x="265" y="6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Bulgarien" descr="© INSCALE GmbH, 05.05.2010&#10;http://www.presentationload.com/">
              <a:extLst>
                <a:ext uri="{FF2B5EF4-FFF2-40B4-BE49-F238E27FC236}">
                  <a16:creationId xmlns:a16="http://schemas.microsoft.com/office/drawing/2014/main" id="{FFD8B23C-3580-D242-BC2F-EAD95064FB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9023" y="5331521"/>
              <a:ext cx="717858" cy="521478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9" name="Griech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E9E8D4A-2346-0D4F-BF18-89022210D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16437" y="5724279"/>
              <a:ext cx="1150222" cy="1079262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56AD95A7-9F61-E443-A7E4-A416134BA3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30303" y="3909008"/>
              <a:ext cx="1807022" cy="1227784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I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9B613DB-BDAB-E74A-9F2D-354F7F8AC6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4193" y="1559056"/>
              <a:ext cx="679902" cy="561084"/>
            </a:xfrm>
            <a:custGeom>
              <a:avLst/>
              <a:gdLst/>
              <a:ahLst/>
              <a:cxnLst>
                <a:cxn ang="0">
                  <a:pos x="273" y="136"/>
                </a:cxn>
                <a:cxn ang="0">
                  <a:pos x="262" y="113"/>
                </a:cxn>
                <a:cxn ang="0">
                  <a:pos x="268" y="98"/>
                </a:cxn>
                <a:cxn ang="0">
                  <a:pos x="252" y="81"/>
                </a:cxn>
                <a:cxn ang="0">
                  <a:pos x="229" y="89"/>
                </a:cxn>
                <a:cxn ang="0">
                  <a:pos x="206" y="89"/>
                </a:cxn>
                <a:cxn ang="0">
                  <a:pos x="189" y="71"/>
                </a:cxn>
                <a:cxn ang="0">
                  <a:pos x="178" y="102"/>
                </a:cxn>
                <a:cxn ang="0">
                  <a:pos x="177" y="75"/>
                </a:cxn>
                <a:cxn ang="0">
                  <a:pos x="170" y="63"/>
                </a:cxn>
                <a:cxn ang="0">
                  <a:pos x="144" y="81"/>
                </a:cxn>
                <a:cxn ang="0">
                  <a:pos x="141" y="52"/>
                </a:cxn>
                <a:cxn ang="0">
                  <a:pos x="133" y="54"/>
                </a:cxn>
                <a:cxn ang="0">
                  <a:pos x="115" y="81"/>
                </a:cxn>
                <a:cxn ang="0">
                  <a:pos x="110" y="75"/>
                </a:cxn>
                <a:cxn ang="0">
                  <a:pos x="95" y="81"/>
                </a:cxn>
                <a:cxn ang="0">
                  <a:pos x="90" y="75"/>
                </a:cxn>
                <a:cxn ang="0">
                  <a:pos x="92" y="54"/>
                </a:cxn>
                <a:cxn ang="0">
                  <a:pos x="109" y="44"/>
                </a:cxn>
                <a:cxn ang="0">
                  <a:pos x="104" y="23"/>
                </a:cxn>
                <a:cxn ang="0">
                  <a:pos x="97" y="10"/>
                </a:cxn>
                <a:cxn ang="0">
                  <a:pos x="81" y="5"/>
                </a:cxn>
                <a:cxn ang="0">
                  <a:pos x="88" y="13"/>
                </a:cxn>
                <a:cxn ang="0">
                  <a:pos x="87" y="29"/>
                </a:cxn>
                <a:cxn ang="0">
                  <a:pos x="79" y="32"/>
                </a:cxn>
                <a:cxn ang="0">
                  <a:pos x="73" y="27"/>
                </a:cxn>
                <a:cxn ang="0">
                  <a:pos x="71" y="13"/>
                </a:cxn>
                <a:cxn ang="0">
                  <a:pos x="53" y="22"/>
                </a:cxn>
                <a:cxn ang="0">
                  <a:pos x="57" y="38"/>
                </a:cxn>
                <a:cxn ang="0">
                  <a:pos x="38" y="23"/>
                </a:cxn>
                <a:cxn ang="0">
                  <a:pos x="30" y="36"/>
                </a:cxn>
                <a:cxn ang="0">
                  <a:pos x="30" y="49"/>
                </a:cxn>
                <a:cxn ang="0">
                  <a:pos x="60" y="50"/>
                </a:cxn>
                <a:cxn ang="0">
                  <a:pos x="72" y="64"/>
                </a:cxn>
                <a:cxn ang="0">
                  <a:pos x="72" y="75"/>
                </a:cxn>
                <a:cxn ang="0">
                  <a:pos x="69" y="87"/>
                </a:cxn>
                <a:cxn ang="0">
                  <a:pos x="45" y="87"/>
                </a:cxn>
                <a:cxn ang="0">
                  <a:pos x="31" y="83"/>
                </a:cxn>
                <a:cxn ang="0">
                  <a:pos x="4" y="84"/>
                </a:cxn>
                <a:cxn ang="0">
                  <a:pos x="34" y="97"/>
                </a:cxn>
                <a:cxn ang="0">
                  <a:pos x="36" y="117"/>
                </a:cxn>
                <a:cxn ang="0">
                  <a:pos x="48" y="121"/>
                </a:cxn>
                <a:cxn ang="0">
                  <a:pos x="36" y="132"/>
                </a:cxn>
                <a:cxn ang="0">
                  <a:pos x="36" y="141"/>
                </a:cxn>
                <a:cxn ang="0">
                  <a:pos x="14" y="149"/>
                </a:cxn>
                <a:cxn ang="0">
                  <a:pos x="0" y="154"/>
                </a:cxn>
                <a:cxn ang="0">
                  <a:pos x="28" y="168"/>
                </a:cxn>
                <a:cxn ang="0">
                  <a:pos x="45" y="177"/>
                </a:cxn>
                <a:cxn ang="0">
                  <a:pos x="55" y="194"/>
                </a:cxn>
                <a:cxn ang="0">
                  <a:pos x="79" y="224"/>
                </a:cxn>
                <a:cxn ang="0">
                  <a:pos x="123" y="221"/>
                </a:cxn>
                <a:cxn ang="0">
                  <a:pos x="155" y="227"/>
                </a:cxn>
                <a:cxn ang="0">
                  <a:pos x="195" y="217"/>
                </a:cxn>
                <a:cxn ang="0">
                  <a:pos x="212" y="218"/>
                </a:cxn>
                <a:cxn ang="0">
                  <a:pos x="240" y="207"/>
                </a:cxn>
                <a:cxn ang="0">
                  <a:pos x="243" y="194"/>
                </a:cxn>
                <a:cxn ang="0">
                  <a:pos x="258" y="190"/>
                </a:cxn>
                <a:cxn ang="0">
                  <a:pos x="263" y="183"/>
                </a:cxn>
                <a:cxn ang="0">
                  <a:pos x="272" y="183"/>
                </a:cxn>
                <a:cxn ang="0">
                  <a:pos x="278" y="173"/>
                </a:cxn>
                <a:cxn ang="0">
                  <a:pos x="284" y="155"/>
                </a:cxn>
                <a:cxn ang="0">
                  <a:pos x="50" y="205"/>
                </a:cxn>
              </a:cxnLst>
              <a:rect l="0" t="0" r="r" b="b"/>
              <a:pathLst>
                <a:path w="285" h="235">
                  <a:moveTo>
                    <a:pt x="284" y="155"/>
                  </a:moveTo>
                  <a:cubicBezTo>
                    <a:pt x="280" y="156"/>
                    <a:pt x="280" y="156"/>
                    <a:pt x="280" y="156"/>
                  </a:cubicBezTo>
                  <a:cubicBezTo>
                    <a:pt x="280" y="153"/>
                    <a:pt x="280" y="153"/>
                    <a:pt x="280" y="153"/>
                  </a:cubicBezTo>
                  <a:cubicBezTo>
                    <a:pt x="279" y="153"/>
                    <a:pt x="279" y="153"/>
                    <a:pt x="279" y="153"/>
                  </a:cubicBezTo>
                  <a:cubicBezTo>
                    <a:pt x="281" y="150"/>
                    <a:pt x="281" y="150"/>
                    <a:pt x="281" y="150"/>
                  </a:cubicBezTo>
                  <a:cubicBezTo>
                    <a:pt x="280" y="149"/>
                    <a:pt x="280" y="149"/>
                    <a:pt x="280" y="149"/>
                  </a:cubicBezTo>
                  <a:cubicBezTo>
                    <a:pt x="280" y="149"/>
                    <a:pt x="275" y="147"/>
                    <a:pt x="272" y="143"/>
                  </a:cubicBezTo>
                  <a:cubicBezTo>
                    <a:pt x="270" y="139"/>
                    <a:pt x="273" y="136"/>
                    <a:pt x="273" y="136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59" y="130"/>
                    <a:pt x="259" y="130"/>
                    <a:pt x="259" y="130"/>
                  </a:cubicBezTo>
                  <a:cubicBezTo>
                    <a:pt x="259" y="130"/>
                    <a:pt x="260" y="128"/>
                    <a:pt x="262" y="128"/>
                  </a:cubicBezTo>
                  <a:cubicBezTo>
                    <a:pt x="264" y="127"/>
                    <a:pt x="265" y="127"/>
                    <a:pt x="269" y="124"/>
                  </a:cubicBezTo>
                  <a:cubicBezTo>
                    <a:pt x="273" y="122"/>
                    <a:pt x="272" y="116"/>
                    <a:pt x="271" y="115"/>
                  </a:cubicBezTo>
                  <a:cubicBezTo>
                    <a:pt x="270" y="113"/>
                    <a:pt x="268" y="115"/>
                    <a:pt x="265" y="115"/>
                  </a:cubicBezTo>
                  <a:cubicBezTo>
                    <a:pt x="264" y="115"/>
                    <a:pt x="262" y="113"/>
                    <a:pt x="262" y="113"/>
                  </a:cubicBezTo>
                  <a:cubicBezTo>
                    <a:pt x="262" y="113"/>
                    <a:pt x="263" y="112"/>
                    <a:pt x="263" y="110"/>
                  </a:cubicBezTo>
                  <a:cubicBezTo>
                    <a:pt x="263" y="108"/>
                    <a:pt x="260" y="107"/>
                    <a:pt x="260" y="107"/>
                  </a:cubicBezTo>
                  <a:cubicBezTo>
                    <a:pt x="260" y="107"/>
                    <a:pt x="269" y="106"/>
                    <a:pt x="270" y="105"/>
                  </a:cubicBezTo>
                  <a:cubicBezTo>
                    <a:pt x="271" y="102"/>
                    <a:pt x="271" y="99"/>
                    <a:pt x="271" y="99"/>
                  </a:cubicBezTo>
                  <a:cubicBezTo>
                    <a:pt x="284" y="97"/>
                    <a:pt x="284" y="97"/>
                    <a:pt x="284" y="97"/>
                  </a:cubicBezTo>
                  <a:cubicBezTo>
                    <a:pt x="284" y="97"/>
                    <a:pt x="280" y="96"/>
                    <a:pt x="278" y="96"/>
                  </a:cubicBezTo>
                  <a:cubicBezTo>
                    <a:pt x="277" y="95"/>
                    <a:pt x="279" y="94"/>
                    <a:pt x="276" y="93"/>
                  </a:cubicBezTo>
                  <a:cubicBezTo>
                    <a:pt x="274" y="92"/>
                    <a:pt x="270" y="97"/>
                    <a:pt x="268" y="98"/>
                  </a:cubicBezTo>
                  <a:cubicBezTo>
                    <a:pt x="264" y="99"/>
                    <a:pt x="265" y="96"/>
                    <a:pt x="262" y="97"/>
                  </a:cubicBezTo>
                  <a:cubicBezTo>
                    <a:pt x="258" y="97"/>
                    <a:pt x="259" y="101"/>
                    <a:pt x="258" y="102"/>
                  </a:cubicBezTo>
                  <a:cubicBezTo>
                    <a:pt x="257" y="102"/>
                    <a:pt x="256" y="99"/>
                    <a:pt x="256" y="97"/>
                  </a:cubicBezTo>
                  <a:cubicBezTo>
                    <a:pt x="255" y="96"/>
                    <a:pt x="253" y="95"/>
                    <a:pt x="253" y="95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92"/>
                    <a:pt x="255" y="90"/>
                    <a:pt x="256" y="86"/>
                  </a:cubicBezTo>
                  <a:cubicBezTo>
                    <a:pt x="258" y="84"/>
                    <a:pt x="252" y="81"/>
                    <a:pt x="252" y="81"/>
                  </a:cubicBezTo>
                  <a:cubicBezTo>
                    <a:pt x="252" y="81"/>
                    <a:pt x="255" y="79"/>
                    <a:pt x="253" y="74"/>
                  </a:cubicBezTo>
                  <a:cubicBezTo>
                    <a:pt x="251" y="69"/>
                    <a:pt x="245" y="74"/>
                    <a:pt x="245" y="74"/>
                  </a:cubicBezTo>
                  <a:cubicBezTo>
                    <a:pt x="245" y="74"/>
                    <a:pt x="242" y="69"/>
                    <a:pt x="240" y="69"/>
                  </a:cubicBezTo>
                  <a:cubicBezTo>
                    <a:pt x="238" y="69"/>
                    <a:pt x="238" y="75"/>
                    <a:pt x="238" y="77"/>
                  </a:cubicBezTo>
                  <a:cubicBezTo>
                    <a:pt x="238" y="79"/>
                    <a:pt x="236" y="80"/>
                    <a:pt x="236" y="80"/>
                  </a:cubicBezTo>
                  <a:cubicBezTo>
                    <a:pt x="236" y="80"/>
                    <a:pt x="236" y="86"/>
                    <a:pt x="235" y="89"/>
                  </a:cubicBezTo>
                  <a:cubicBezTo>
                    <a:pt x="232" y="90"/>
                    <a:pt x="230" y="90"/>
                    <a:pt x="230" y="90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6" y="89"/>
                    <a:pt x="226" y="89"/>
                    <a:pt x="226" y="89"/>
                  </a:cubicBezTo>
                  <a:cubicBezTo>
                    <a:pt x="226" y="89"/>
                    <a:pt x="224" y="90"/>
                    <a:pt x="223" y="91"/>
                  </a:cubicBezTo>
                  <a:cubicBezTo>
                    <a:pt x="222" y="91"/>
                    <a:pt x="219" y="89"/>
                    <a:pt x="219" y="89"/>
                  </a:cubicBezTo>
                  <a:cubicBezTo>
                    <a:pt x="220" y="84"/>
                    <a:pt x="220" y="84"/>
                    <a:pt x="220" y="84"/>
                  </a:cubicBezTo>
                  <a:cubicBezTo>
                    <a:pt x="220" y="84"/>
                    <a:pt x="217" y="81"/>
                    <a:pt x="214" y="82"/>
                  </a:cubicBezTo>
                  <a:cubicBezTo>
                    <a:pt x="210" y="82"/>
                    <a:pt x="210" y="84"/>
                    <a:pt x="210" y="86"/>
                  </a:cubicBezTo>
                  <a:cubicBezTo>
                    <a:pt x="209" y="87"/>
                    <a:pt x="206" y="87"/>
                    <a:pt x="206" y="87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3"/>
                    <a:pt x="202" y="91"/>
                    <a:pt x="199" y="90"/>
                  </a:cubicBezTo>
                  <a:cubicBezTo>
                    <a:pt x="198" y="89"/>
                    <a:pt x="197" y="90"/>
                    <a:pt x="197" y="90"/>
                  </a:cubicBezTo>
                  <a:cubicBezTo>
                    <a:pt x="196" y="80"/>
                    <a:pt x="196" y="80"/>
                    <a:pt x="196" y="80"/>
                  </a:cubicBezTo>
                  <a:cubicBezTo>
                    <a:pt x="195" y="79"/>
                    <a:pt x="195" y="79"/>
                    <a:pt x="195" y="79"/>
                  </a:cubicBezTo>
                  <a:cubicBezTo>
                    <a:pt x="195" y="76"/>
                    <a:pt x="195" y="76"/>
                    <a:pt x="195" y="76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4" y="71"/>
                    <a:pt x="183" y="78"/>
                  </a:cubicBezTo>
                  <a:cubicBezTo>
                    <a:pt x="181" y="84"/>
                    <a:pt x="183" y="85"/>
                    <a:pt x="183" y="8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1" y="87"/>
                    <a:pt x="181" y="87"/>
                    <a:pt x="181" y="87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93"/>
                    <a:pt x="182" y="93"/>
                    <a:pt x="182" y="93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7" y="98"/>
                    <a:pt x="177" y="98"/>
                    <a:pt x="177" y="98"/>
                  </a:cubicBezTo>
                  <a:cubicBezTo>
                    <a:pt x="177" y="98"/>
                    <a:pt x="177" y="96"/>
                    <a:pt x="178" y="95"/>
                  </a:cubicBezTo>
                  <a:cubicBezTo>
                    <a:pt x="179" y="94"/>
                    <a:pt x="179" y="92"/>
                    <a:pt x="179" y="92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83"/>
                    <a:pt x="175" y="81"/>
                    <a:pt x="175" y="80"/>
                  </a:cubicBezTo>
                  <a:cubicBezTo>
                    <a:pt x="175" y="78"/>
                    <a:pt x="177" y="77"/>
                    <a:pt x="177" y="75"/>
                  </a:cubicBezTo>
                  <a:cubicBezTo>
                    <a:pt x="178" y="74"/>
                    <a:pt x="177" y="71"/>
                    <a:pt x="177" y="71"/>
                  </a:cubicBezTo>
                  <a:cubicBezTo>
                    <a:pt x="178" y="69"/>
                    <a:pt x="178" y="69"/>
                    <a:pt x="178" y="69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5" y="67"/>
                    <a:pt x="175" y="67"/>
                    <a:pt x="175" y="67"/>
                  </a:cubicBezTo>
                  <a:cubicBezTo>
                    <a:pt x="176" y="65"/>
                    <a:pt x="176" y="65"/>
                    <a:pt x="176" y="65"/>
                  </a:cubicBezTo>
                  <a:cubicBezTo>
                    <a:pt x="175" y="64"/>
                    <a:pt x="175" y="64"/>
                    <a:pt x="175" y="64"/>
                  </a:cubicBezTo>
                  <a:cubicBezTo>
                    <a:pt x="172" y="66"/>
                    <a:pt x="172" y="66"/>
                    <a:pt x="172" y="66"/>
                  </a:cubicBezTo>
                  <a:cubicBezTo>
                    <a:pt x="172" y="66"/>
                    <a:pt x="173" y="63"/>
                    <a:pt x="170" y="63"/>
                  </a:cubicBezTo>
                  <a:cubicBezTo>
                    <a:pt x="167" y="62"/>
                    <a:pt x="166" y="66"/>
                    <a:pt x="164" y="66"/>
                  </a:cubicBezTo>
                  <a:cubicBezTo>
                    <a:pt x="162" y="67"/>
                    <a:pt x="161" y="65"/>
                    <a:pt x="159" y="64"/>
                  </a:cubicBezTo>
                  <a:cubicBezTo>
                    <a:pt x="156" y="64"/>
                    <a:pt x="155" y="67"/>
                    <a:pt x="155" y="68"/>
                  </a:cubicBezTo>
                  <a:cubicBezTo>
                    <a:pt x="154" y="69"/>
                    <a:pt x="153" y="68"/>
                    <a:pt x="150" y="70"/>
                  </a:cubicBezTo>
                  <a:cubicBezTo>
                    <a:pt x="149" y="73"/>
                    <a:pt x="151" y="76"/>
                    <a:pt x="150" y="79"/>
                  </a:cubicBezTo>
                  <a:cubicBezTo>
                    <a:pt x="149" y="82"/>
                    <a:pt x="145" y="83"/>
                    <a:pt x="145" y="83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3" y="75"/>
                    <a:pt x="143" y="73"/>
                  </a:cubicBezTo>
                  <a:cubicBezTo>
                    <a:pt x="144" y="71"/>
                    <a:pt x="141" y="69"/>
                    <a:pt x="141" y="69"/>
                  </a:cubicBezTo>
                  <a:cubicBezTo>
                    <a:pt x="141" y="69"/>
                    <a:pt x="141" y="66"/>
                    <a:pt x="142" y="64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2" y="59"/>
                    <a:pt x="143" y="57"/>
                    <a:pt x="143" y="54"/>
                  </a:cubicBezTo>
                  <a:cubicBezTo>
                    <a:pt x="143" y="53"/>
                    <a:pt x="141" y="52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8" y="52"/>
                    <a:pt x="138" y="52"/>
                    <a:pt x="138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0" y="63"/>
                    <a:pt x="128" y="66"/>
                  </a:cubicBezTo>
                  <a:cubicBezTo>
                    <a:pt x="126" y="70"/>
                    <a:pt x="126" y="76"/>
                    <a:pt x="126" y="76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4" y="85"/>
                    <a:pt x="112" y="85"/>
                  </a:cubicBezTo>
                  <a:cubicBezTo>
                    <a:pt x="110" y="84"/>
                    <a:pt x="113" y="79"/>
                    <a:pt x="11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4" y="75"/>
                    <a:pt x="102" y="77"/>
                    <a:pt x="102" y="77"/>
                  </a:cubicBezTo>
                  <a:cubicBezTo>
                    <a:pt x="102" y="77"/>
                    <a:pt x="101" y="78"/>
                    <a:pt x="100" y="80"/>
                  </a:cubicBezTo>
                  <a:cubicBezTo>
                    <a:pt x="99" y="82"/>
                    <a:pt x="98" y="89"/>
                    <a:pt x="98" y="89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6"/>
                    <a:pt x="92" y="89"/>
                    <a:pt x="91" y="90"/>
                  </a:cubicBezTo>
                  <a:cubicBezTo>
                    <a:pt x="90" y="91"/>
                    <a:pt x="90" y="95"/>
                    <a:pt x="90" y="95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97"/>
                    <a:pt x="88" y="92"/>
                    <a:pt x="89" y="89"/>
                  </a:cubicBezTo>
                  <a:cubicBezTo>
                    <a:pt x="89" y="85"/>
                    <a:pt x="93" y="82"/>
                    <a:pt x="93" y="82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2" y="64"/>
                    <a:pt x="91" y="62"/>
                  </a:cubicBezTo>
                  <a:cubicBezTo>
                    <a:pt x="90" y="60"/>
                    <a:pt x="91" y="60"/>
                    <a:pt x="92" y="59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9"/>
                    <a:pt x="94" y="60"/>
                  </a:cubicBezTo>
                  <a:cubicBezTo>
                    <a:pt x="94" y="62"/>
                    <a:pt x="97" y="62"/>
                    <a:pt x="98" y="62"/>
                  </a:cubicBezTo>
                  <a:cubicBezTo>
                    <a:pt x="100" y="62"/>
                    <a:pt x="99" y="59"/>
                    <a:pt x="99" y="59"/>
                  </a:cubicBezTo>
                  <a:cubicBezTo>
                    <a:pt x="99" y="59"/>
                    <a:pt x="101" y="60"/>
                    <a:pt x="107" y="54"/>
                  </a:cubicBezTo>
                  <a:cubicBezTo>
                    <a:pt x="112" y="49"/>
                    <a:pt x="101" y="47"/>
                    <a:pt x="102" y="46"/>
                  </a:cubicBezTo>
                  <a:cubicBezTo>
                    <a:pt x="102" y="44"/>
                    <a:pt x="109" y="46"/>
                    <a:pt x="109" y="46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37"/>
                    <a:pt x="105" y="35"/>
                    <a:pt x="106" y="33"/>
                  </a:cubicBezTo>
                  <a:cubicBezTo>
                    <a:pt x="107" y="30"/>
                    <a:pt x="104" y="30"/>
                    <a:pt x="102" y="28"/>
                  </a:cubicBezTo>
                  <a:cubicBezTo>
                    <a:pt x="101" y="26"/>
                    <a:pt x="104" y="23"/>
                    <a:pt x="104" y="23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9" y="17"/>
                    <a:pt x="100" y="16"/>
                  </a:cubicBezTo>
                  <a:cubicBezTo>
                    <a:pt x="102" y="14"/>
                    <a:pt x="98" y="12"/>
                    <a:pt x="98" y="12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3" y="5"/>
                    <a:pt x="81" y="5"/>
                  </a:cubicBezTo>
                  <a:cubicBezTo>
                    <a:pt x="80" y="6"/>
                    <a:pt x="79" y="3"/>
                    <a:pt x="79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7" y="6"/>
                    <a:pt x="80" y="8"/>
                  </a:cubicBezTo>
                  <a:cubicBezTo>
                    <a:pt x="83" y="11"/>
                    <a:pt x="87" y="8"/>
                    <a:pt x="87" y="8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2" y="19"/>
                    <a:pt x="91" y="18"/>
                  </a:cubicBezTo>
                  <a:cubicBezTo>
                    <a:pt x="89" y="17"/>
                    <a:pt x="87" y="17"/>
                    <a:pt x="85" y="15"/>
                  </a:cubicBezTo>
                  <a:cubicBezTo>
                    <a:pt x="84" y="13"/>
                    <a:pt x="81" y="13"/>
                    <a:pt x="79" y="14"/>
                  </a:cubicBezTo>
                  <a:cubicBezTo>
                    <a:pt x="76" y="16"/>
                    <a:pt x="81" y="22"/>
                    <a:pt x="82" y="23"/>
                  </a:cubicBezTo>
                  <a:cubicBezTo>
                    <a:pt x="83" y="24"/>
                    <a:pt x="87" y="29"/>
                    <a:pt x="87" y="29"/>
                  </a:cubicBezTo>
                  <a:cubicBezTo>
                    <a:pt x="87" y="29"/>
                    <a:pt x="84" y="30"/>
                    <a:pt x="83" y="31"/>
                  </a:cubicBezTo>
                  <a:cubicBezTo>
                    <a:pt x="82" y="32"/>
                    <a:pt x="83" y="34"/>
                    <a:pt x="82" y="37"/>
                  </a:cubicBezTo>
                  <a:cubicBezTo>
                    <a:pt x="82" y="41"/>
                    <a:pt x="78" y="43"/>
                    <a:pt x="78" y="43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80" y="38"/>
                    <a:pt x="80" y="34"/>
                  </a:cubicBezTo>
                  <a:cubicBezTo>
                    <a:pt x="80" y="31"/>
                    <a:pt x="75" y="38"/>
                    <a:pt x="75" y="38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69" y="22"/>
                    <a:pt x="68" y="21"/>
                  </a:cubicBezTo>
                  <a:cubicBezTo>
                    <a:pt x="68" y="20"/>
                    <a:pt x="72" y="19"/>
                    <a:pt x="72" y="19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68" y="10"/>
                    <a:pt x="64" y="10"/>
                  </a:cubicBezTo>
                  <a:cubicBezTo>
                    <a:pt x="60" y="11"/>
                    <a:pt x="65" y="14"/>
                    <a:pt x="65" y="14"/>
                  </a:cubicBezTo>
                  <a:cubicBezTo>
                    <a:pt x="65" y="14"/>
                    <a:pt x="63" y="13"/>
                    <a:pt x="61" y="13"/>
                  </a:cubicBezTo>
                  <a:cubicBezTo>
                    <a:pt x="60" y="13"/>
                    <a:pt x="59" y="13"/>
                    <a:pt x="61" y="16"/>
                  </a:cubicBezTo>
                  <a:cubicBezTo>
                    <a:pt x="62" y="20"/>
                    <a:pt x="63" y="21"/>
                    <a:pt x="62" y="21"/>
                  </a:cubicBezTo>
                  <a:cubicBezTo>
                    <a:pt x="61" y="22"/>
                    <a:pt x="60" y="20"/>
                    <a:pt x="59" y="18"/>
                  </a:cubicBezTo>
                  <a:cubicBezTo>
                    <a:pt x="58" y="15"/>
                    <a:pt x="56" y="13"/>
                    <a:pt x="53" y="14"/>
                  </a:cubicBezTo>
                  <a:cubicBezTo>
                    <a:pt x="50" y="16"/>
                    <a:pt x="53" y="21"/>
                    <a:pt x="53" y="22"/>
                  </a:cubicBezTo>
                  <a:cubicBezTo>
                    <a:pt x="55" y="24"/>
                    <a:pt x="52" y="24"/>
                    <a:pt x="52" y="24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0" y="23"/>
                    <a:pt x="47" y="21"/>
                  </a:cubicBezTo>
                  <a:cubicBezTo>
                    <a:pt x="45" y="20"/>
                    <a:pt x="45" y="29"/>
                    <a:pt x="48" y="32"/>
                  </a:cubicBezTo>
                  <a:cubicBezTo>
                    <a:pt x="51" y="36"/>
                    <a:pt x="58" y="36"/>
                    <a:pt x="58" y="36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5" y="41"/>
                    <a:pt x="46" y="37"/>
                  </a:cubicBezTo>
                  <a:cubicBezTo>
                    <a:pt x="46" y="34"/>
                    <a:pt x="38" y="23"/>
                    <a:pt x="38" y="23"/>
                  </a:cubicBezTo>
                  <a:cubicBezTo>
                    <a:pt x="38" y="23"/>
                    <a:pt x="35" y="26"/>
                    <a:pt x="35" y="29"/>
                  </a:cubicBezTo>
                  <a:cubicBezTo>
                    <a:pt x="35" y="32"/>
                    <a:pt x="38" y="37"/>
                    <a:pt x="38" y="3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41"/>
                    <a:pt x="36" y="43"/>
                    <a:pt x="36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3"/>
                    <a:pt x="32" y="39"/>
                    <a:pt x="32" y="38"/>
                  </a:cubicBezTo>
                  <a:cubicBezTo>
                    <a:pt x="32" y="37"/>
                    <a:pt x="30" y="38"/>
                    <a:pt x="30" y="36"/>
                  </a:cubicBezTo>
                  <a:cubicBezTo>
                    <a:pt x="30" y="34"/>
                    <a:pt x="30" y="31"/>
                    <a:pt x="27" y="30"/>
                  </a:cubicBezTo>
                  <a:cubicBezTo>
                    <a:pt x="24" y="29"/>
                    <a:pt x="23" y="33"/>
                    <a:pt x="22" y="34"/>
                  </a:cubicBezTo>
                  <a:cubicBezTo>
                    <a:pt x="20" y="35"/>
                    <a:pt x="18" y="35"/>
                    <a:pt x="17" y="36"/>
                  </a:cubicBezTo>
                  <a:cubicBezTo>
                    <a:pt x="16" y="37"/>
                    <a:pt x="19" y="37"/>
                    <a:pt x="23" y="38"/>
                  </a:cubicBezTo>
                  <a:cubicBezTo>
                    <a:pt x="25" y="38"/>
                    <a:pt x="25" y="41"/>
                    <a:pt x="26" y="42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6" y="48"/>
                    <a:pt x="30" y="49"/>
                  </a:cubicBezTo>
                  <a:cubicBezTo>
                    <a:pt x="33" y="51"/>
                    <a:pt x="36" y="48"/>
                    <a:pt x="41" y="49"/>
                  </a:cubicBezTo>
                  <a:cubicBezTo>
                    <a:pt x="45" y="50"/>
                    <a:pt x="46" y="52"/>
                    <a:pt x="48" y="52"/>
                  </a:cubicBezTo>
                  <a:cubicBezTo>
                    <a:pt x="49" y="52"/>
                    <a:pt x="51" y="48"/>
                    <a:pt x="51" y="48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6" y="66"/>
                    <a:pt x="77" y="68"/>
                  </a:cubicBezTo>
                  <a:cubicBezTo>
                    <a:pt x="78" y="70"/>
                    <a:pt x="77" y="71"/>
                    <a:pt x="77" y="7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64" y="75"/>
                    <a:pt x="58" y="76"/>
                  </a:cubicBezTo>
                  <a:cubicBezTo>
                    <a:pt x="50" y="76"/>
                    <a:pt x="56" y="79"/>
                    <a:pt x="56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8" y="86"/>
                    <a:pt x="60" y="85"/>
                    <a:pt x="60" y="85"/>
                  </a:cubicBezTo>
                  <a:cubicBezTo>
                    <a:pt x="60" y="85"/>
                    <a:pt x="61" y="90"/>
                    <a:pt x="62" y="90"/>
                  </a:cubicBezTo>
                  <a:cubicBezTo>
                    <a:pt x="64" y="90"/>
                    <a:pt x="69" y="87"/>
                    <a:pt x="69" y="87"/>
                  </a:cubicBezTo>
                  <a:cubicBezTo>
                    <a:pt x="69" y="87"/>
                    <a:pt x="72" y="86"/>
                    <a:pt x="73" y="89"/>
                  </a:cubicBezTo>
                  <a:cubicBezTo>
                    <a:pt x="74" y="92"/>
                    <a:pt x="66" y="93"/>
                    <a:pt x="66" y="93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0" y="96"/>
                    <a:pt x="59" y="92"/>
                    <a:pt x="59" y="92"/>
                  </a:cubicBezTo>
                  <a:cubicBezTo>
                    <a:pt x="59" y="92"/>
                    <a:pt x="58" y="91"/>
                    <a:pt x="57" y="92"/>
                  </a:cubicBezTo>
                  <a:cubicBezTo>
                    <a:pt x="55" y="92"/>
                    <a:pt x="55" y="89"/>
                    <a:pt x="51" y="86"/>
                  </a:cubicBezTo>
                  <a:cubicBezTo>
                    <a:pt x="48" y="84"/>
                    <a:pt x="45" y="87"/>
                    <a:pt x="45" y="87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0" y="85"/>
                    <a:pt x="38" y="85"/>
                  </a:cubicBezTo>
                  <a:cubicBezTo>
                    <a:pt x="36" y="85"/>
                    <a:pt x="36" y="84"/>
                    <a:pt x="35" y="82"/>
                  </a:cubicBezTo>
                  <a:cubicBezTo>
                    <a:pt x="34" y="81"/>
                    <a:pt x="33" y="83"/>
                    <a:pt x="31" y="85"/>
                  </a:cubicBezTo>
                  <a:cubicBezTo>
                    <a:pt x="29" y="87"/>
                    <a:pt x="30" y="83"/>
                    <a:pt x="31" y="83"/>
                  </a:cubicBezTo>
                  <a:cubicBezTo>
                    <a:pt x="32" y="82"/>
                    <a:pt x="32" y="80"/>
                    <a:pt x="30" y="80"/>
                  </a:cubicBezTo>
                  <a:cubicBezTo>
                    <a:pt x="28" y="79"/>
                    <a:pt x="28" y="83"/>
                    <a:pt x="26" y="83"/>
                  </a:cubicBezTo>
                  <a:cubicBezTo>
                    <a:pt x="24" y="83"/>
                    <a:pt x="25" y="81"/>
                    <a:pt x="25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16" y="81"/>
                    <a:pt x="14" y="81"/>
                  </a:cubicBezTo>
                  <a:cubicBezTo>
                    <a:pt x="12" y="80"/>
                    <a:pt x="13" y="76"/>
                    <a:pt x="9" y="76"/>
                  </a:cubicBezTo>
                  <a:cubicBezTo>
                    <a:pt x="4" y="76"/>
                    <a:pt x="3" y="81"/>
                    <a:pt x="4" y="84"/>
                  </a:cubicBezTo>
                  <a:cubicBezTo>
                    <a:pt x="4" y="89"/>
                    <a:pt x="8" y="90"/>
                    <a:pt x="10" y="90"/>
                  </a:cubicBezTo>
                  <a:cubicBezTo>
                    <a:pt x="12" y="90"/>
                    <a:pt x="11" y="87"/>
                    <a:pt x="13" y="86"/>
                  </a:cubicBezTo>
                  <a:cubicBezTo>
                    <a:pt x="15" y="86"/>
                    <a:pt x="16" y="89"/>
                    <a:pt x="17" y="90"/>
                  </a:cubicBezTo>
                  <a:cubicBezTo>
                    <a:pt x="18" y="90"/>
                    <a:pt x="19" y="89"/>
                    <a:pt x="19" y="89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3" y="98"/>
                    <a:pt x="33" y="97"/>
                    <a:pt x="34" y="97"/>
                  </a:cubicBezTo>
                  <a:cubicBezTo>
                    <a:pt x="36" y="98"/>
                    <a:pt x="35" y="99"/>
                    <a:pt x="36" y="100"/>
                  </a:cubicBezTo>
                  <a:cubicBezTo>
                    <a:pt x="38" y="101"/>
                    <a:pt x="40" y="99"/>
                    <a:pt x="41" y="100"/>
                  </a:cubicBezTo>
                  <a:cubicBezTo>
                    <a:pt x="43" y="102"/>
                    <a:pt x="41" y="103"/>
                    <a:pt x="41" y="103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36" y="122"/>
                    <a:pt x="36" y="124"/>
                    <a:pt x="39" y="124"/>
                  </a:cubicBezTo>
                  <a:cubicBezTo>
                    <a:pt x="40" y="124"/>
                    <a:pt x="42" y="122"/>
                    <a:pt x="42" y="122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8" y="125"/>
                    <a:pt x="48" y="125"/>
                    <a:pt x="48" y="125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2" y="125"/>
                    <a:pt x="38" y="128"/>
                    <a:pt x="38" y="128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3" y="134"/>
                    <a:pt x="33" y="134"/>
                    <a:pt x="33" y="134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3" y="136"/>
                    <a:pt x="45" y="133"/>
                    <a:pt x="49" y="136"/>
                  </a:cubicBezTo>
                  <a:cubicBezTo>
                    <a:pt x="52" y="137"/>
                    <a:pt x="50" y="140"/>
                    <a:pt x="50" y="140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7" y="137"/>
                    <a:pt x="44" y="138"/>
                    <a:pt x="41" y="138"/>
                  </a:cubicBezTo>
                  <a:cubicBezTo>
                    <a:pt x="38" y="138"/>
                    <a:pt x="36" y="138"/>
                    <a:pt x="36" y="141"/>
                  </a:cubicBezTo>
                  <a:cubicBezTo>
                    <a:pt x="35" y="143"/>
                    <a:pt x="38" y="147"/>
                    <a:pt x="38" y="147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27" y="146"/>
                    <a:pt x="27" y="146"/>
                    <a:pt x="27" y="146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0"/>
                    <a:pt x="22" y="149"/>
                    <a:pt x="19" y="149"/>
                  </a:cubicBezTo>
                  <a:cubicBezTo>
                    <a:pt x="17" y="148"/>
                    <a:pt x="15" y="149"/>
                    <a:pt x="14" y="149"/>
                  </a:cubicBezTo>
                  <a:cubicBezTo>
                    <a:pt x="12" y="149"/>
                    <a:pt x="10" y="147"/>
                    <a:pt x="10" y="147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9" y="140"/>
                    <a:pt x="9" y="140"/>
                    <a:pt x="9" y="140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2" y="159"/>
                    <a:pt x="13" y="160"/>
                  </a:cubicBezTo>
                  <a:cubicBezTo>
                    <a:pt x="14" y="161"/>
                    <a:pt x="19" y="163"/>
                    <a:pt x="19" y="163"/>
                  </a:cubicBezTo>
                  <a:cubicBezTo>
                    <a:pt x="19" y="163"/>
                    <a:pt x="24" y="163"/>
                    <a:pt x="26" y="164"/>
                  </a:cubicBezTo>
                  <a:cubicBezTo>
                    <a:pt x="28" y="165"/>
                    <a:pt x="28" y="168"/>
                    <a:pt x="28" y="168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42" y="165"/>
                    <a:pt x="44" y="166"/>
                  </a:cubicBezTo>
                  <a:cubicBezTo>
                    <a:pt x="46" y="168"/>
                    <a:pt x="41" y="169"/>
                    <a:pt x="41" y="169"/>
                  </a:cubicBezTo>
                  <a:cubicBezTo>
                    <a:pt x="41" y="169"/>
                    <a:pt x="42" y="170"/>
                    <a:pt x="43" y="172"/>
                  </a:cubicBezTo>
                  <a:cubicBezTo>
                    <a:pt x="43" y="174"/>
                    <a:pt x="43" y="175"/>
                    <a:pt x="45" y="177"/>
                  </a:cubicBezTo>
                  <a:cubicBezTo>
                    <a:pt x="47" y="178"/>
                    <a:pt x="47" y="181"/>
                    <a:pt x="47" y="181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1" y="183"/>
                    <a:pt x="50" y="183"/>
                  </a:cubicBezTo>
                  <a:cubicBezTo>
                    <a:pt x="49" y="184"/>
                    <a:pt x="49" y="184"/>
                    <a:pt x="49" y="184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1" y="189"/>
                    <a:pt x="51" y="189"/>
                    <a:pt x="51" y="189"/>
                  </a:cubicBezTo>
                  <a:cubicBezTo>
                    <a:pt x="51" y="194"/>
                    <a:pt x="51" y="194"/>
                    <a:pt x="51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53" y="196"/>
                    <a:pt x="53" y="196"/>
                    <a:pt x="53" y="196"/>
                  </a:cubicBezTo>
                  <a:cubicBezTo>
                    <a:pt x="53" y="196"/>
                    <a:pt x="55" y="202"/>
                    <a:pt x="56" y="204"/>
                  </a:cubicBezTo>
                  <a:cubicBezTo>
                    <a:pt x="58" y="206"/>
                    <a:pt x="60" y="205"/>
                    <a:pt x="61" y="205"/>
                  </a:cubicBezTo>
                  <a:cubicBezTo>
                    <a:pt x="62" y="205"/>
                    <a:pt x="64" y="208"/>
                    <a:pt x="65" y="208"/>
                  </a:cubicBezTo>
                  <a:cubicBezTo>
                    <a:pt x="66" y="209"/>
                    <a:pt x="67" y="208"/>
                    <a:pt x="67" y="208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7" y="211"/>
                    <a:pt x="72" y="216"/>
                    <a:pt x="74" y="218"/>
                  </a:cubicBezTo>
                  <a:cubicBezTo>
                    <a:pt x="76" y="220"/>
                    <a:pt x="79" y="224"/>
                    <a:pt x="79" y="224"/>
                  </a:cubicBezTo>
                  <a:cubicBezTo>
                    <a:pt x="79" y="224"/>
                    <a:pt x="83" y="224"/>
                    <a:pt x="85" y="226"/>
                  </a:cubicBezTo>
                  <a:cubicBezTo>
                    <a:pt x="89" y="229"/>
                    <a:pt x="91" y="229"/>
                    <a:pt x="91" y="229"/>
                  </a:cubicBezTo>
                  <a:cubicBezTo>
                    <a:pt x="91" y="229"/>
                    <a:pt x="99" y="232"/>
                    <a:pt x="106" y="233"/>
                  </a:cubicBezTo>
                  <a:cubicBezTo>
                    <a:pt x="112" y="235"/>
                    <a:pt x="118" y="227"/>
                    <a:pt x="118" y="227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0" y="224"/>
                    <a:pt x="120" y="224"/>
                    <a:pt x="120" y="224"/>
                  </a:cubicBezTo>
                  <a:cubicBezTo>
                    <a:pt x="120" y="224"/>
                    <a:pt x="120" y="221"/>
                    <a:pt x="123" y="221"/>
                  </a:cubicBezTo>
                  <a:cubicBezTo>
                    <a:pt x="127" y="221"/>
                    <a:pt x="126" y="224"/>
                    <a:pt x="126" y="224"/>
                  </a:cubicBezTo>
                  <a:cubicBezTo>
                    <a:pt x="133" y="223"/>
                    <a:pt x="133" y="223"/>
                    <a:pt x="133" y="223"/>
                  </a:cubicBezTo>
                  <a:cubicBezTo>
                    <a:pt x="133" y="225"/>
                    <a:pt x="133" y="225"/>
                    <a:pt x="133" y="225"/>
                  </a:cubicBezTo>
                  <a:cubicBezTo>
                    <a:pt x="142" y="225"/>
                    <a:pt x="142" y="225"/>
                    <a:pt x="142" y="225"/>
                  </a:cubicBezTo>
                  <a:cubicBezTo>
                    <a:pt x="144" y="225"/>
                    <a:pt x="148" y="228"/>
                    <a:pt x="148" y="228"/>
                  </a:cubicBezTo>
                  <a:cubicBezTo>
                    <a:pt x="153" y="224"/>
                    <a:pt x="153" y="224"/>
                    <a:pt x="153" y="224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61" y="226"/>
                    <a:pt x="161" y="226"/>
                    <a:pt x="161" y="22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9"/>
                    <a:pt x="172" y="222"/>
                    <a:pt x="177" y="220"/>
                  </a:cubicBezTo>
                  <a:cubicBezTo>
                    <a:pt x="181" y="219"/>
                    <a:pt x="193" y="218"/>
                    <a:pt x="193" y="218"/>
                  </a:cubicBezTo>
                  <a:cubicBezTo>
                    <a:pt x="192" y="216"/>
                    <a:pt x="192" y="216"/>
                    <a:pt x="192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195" y="217"/>
                    <a:pt x="195" y="217"/>
                    <a:pt x="195" y="217"/>
                  </a:cubicBezTo>
                  <a:cubicBezTo>
                    <a:pt x="200" y="217"/>
                    <a:pt x="200" y="217"/>
                    <a:pt x="200" y="217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7" y="219"/>
                    <a:pt x="207" y="219"/>
                    <a:pt x="207" y="219"/>
                  </a:cubicBezTo>
                  <a:cubicBezTo>
                    <a:pt x="203" y="216"/>
                    <a:pt x="203" y="216"/>
                    <a:pt x="203" y="216"/>
                  </a:cubicBezTo>
                  <a:cubicBezTo>
                    <a:pt x="206" y="211"/>
                    <a:pt x="206" y="211"/>
                    <a:pt x="206" y="211"/>
                  </a:cubicBezTo>
                  <a:cubicBezTo>
                    <a:pt x="206" y="211"/>
                    <a:pt x="207" y="215"/>
                    <a:pt x="209" y="216"/>
                  </a:cubicBezTo>
                  <a:cubicBezTo>
                    <a:pt x="210" y="217"/>
                    <a:pt x="208" y="218"/>
                    <a:pt x="208" y="218"/>
                  </a:cubicBezTo>
                  <a:cubicBezTo>
                    <a:pt x="208" y="218"/>
                    <a:pt x="210" y="217"/>
                    <a:pt x="212" y="218"/>
                  </a:cubicBezTo>
                  <a:cubicBezTo>
                    <a:pt x="213" y="219"/>
                    <a:pt x="212" y="222"/>
                    <a:pt x="212" y="222"/>
                  </a:cubicBezTo>
                  <a:cubicBezTo>
                    <a:pt x="214" y="222"/>
                    <a:pt x="214" y="222"/>
                    <a:pt x="214" y="222"/>
                  </a:cubicBezTo>
                  <a:cubicBezTo>
                    <a:pt x="216" y="221"/>
                    <a:pt x="216" y="219"/>
                    <a:pt x="216" y="219"/>
                  </a:cubicBezTo>
                  <a:cubicBezTo>
                    <a:pt x="216" y="219"/>
                    <a:pt x="221" y="218"/>
                    <a:pt x="223" y="217"/>
                  </a:cubicBezTo>
                  <a:cubicBezTo>
                    <a:pt x="225" y="216"/>
                    <a:pt x="226" y="212"/>
                    <a:pt x="228" y="213"/>
                  </a:cubicBezTo>
                  <a:cubicBezTo>
                    <a:pt x="229" y="213"/>
                    <a:pt x="227" y="216"/>
                    <a:pt x="227" y="216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40" y="207"/>
                    <a:pt x="240" y="207"/>
                    <a:pt x="240" y="207"/>
                  </a:cubicBezTo>
                  <a:cubicBezTo>
                    <a:pt x="236" y="208"/>
                    <a:pt x="236" y="208"/>
                    <a:pt x="236" y="208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3" y="206"/>
                    <a:pt x="243" y="206"/>
                    <a:pt x="243" y="206"/>
                  </a:cubicBezTo>
                  <a:cubicBezTo>
                    <a:pt x="245" y="204"/>
                    <a:pt x="245" y="204"/>
                    <a:pt x="245" y="204"/>
                  </a:cubicBezTo>
                  <a:cubicBezTo>
                    <a:pt x="243" y="201"/>
                    <a:pt x="243" y="201"/>
                    <a:pt x="243" y="201"/>
                  </a:cubicBezTo>
                  <a:cubicBezTo>
                    <a:pt x="243" y="201"/>
                    <a:pt x="242" y="193"/>
                    <a:pt x="243" y="194"/>
                  </a:cubicBezTo>
                  <a:cubicBezTo>
                    <a:pt x="244" y="194"/>
                    <a:pt x="244" y="199"/>
                    <a:pt x="245" y="201"/>
                  </a:cubicBezTo>
                  <a:cubicBezTo>
                    <a:pt x="245" y="204"/>
                    <a:pt x="254" y="202"/>
                    <a:pt x="254" y="202"/>
                  </a:cubicBezTo>
                  <a:cubicBezTo>
                    <a:pt x="254" y="200"/>
                    <a:pt x="254" y="200"/>
                    <a:pt x="254" y="200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258" y="195"/>
                    <a:pt x="258" y="195"/>
                    <a:pt x="258" y="195"/>
                  </a:cubicBezTo>
                  <a:cubicBezTo>
                    <a:pt x="262" y="197"/>
                    <a:pt x="262" y="197"/>
                    <a:pt x="262" y="197"/>
                  </a:cubicBezTo>
                  <a:cubicBezTo>
                    <a:pt x="264" y="195"/>
                    <a:pt x="264" y="195"/>
                    <a:pt x="264" y="195"/>
                  </a:cubicBezTo>
                  <a:cubicBezTo>
                    <a:pt x="258" y="190"/>
                    <a:pt x="258" y="190"/>
                    <a:pt x="258" y="190"/>
                  </a:cubicBezTo>
                  <a:cubicBezTo>
                    <a:pt x="259" y="189"/>
                    <a:pt x="261" y="191"/>
                    <a:pt x="262" y="192"/>
                  </a:cubicBezTo>
                  <a:cubicBezTo>
                    <a:pt x="263" y="193"/>
                    <a:pt x="268" y="193"/>
                    <a:pt x="268" y="193"/>
                  </a:cubicBezTo>
                  <a:cubicBezTo>
                    <a:pt x="268" y="191"/>
                    <a:pt x="268" y="191"/>
                    <a:pt x="268" y="191"/>
                  </a:cubicBezTo>
                  <a:cubicBezTo>
                    <a:pt x="268" y="191"/>
                    <a:pt x="265" y="191"/>
                    <a:pt x="264" y="190"/>
                  </a:cubicBezTo>
                  <a:cubicBezTo>
                    <a:pt x="263" y="190"/>
                    <a:pt x="264" y="189"/>
                    <a:pt x="263" y="187"/>
                  </a:cubicBezTo>
                  <a:cubicBezTo>
                    <a:pt x="263" y="186"/>
                    <a:pt x="257" y="181"/>
                    <a:pt x="257" y="181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63" y="183"/>
                    <a:pt x="263" y="183"/>
                    <a:pt x="263" y="183"/>
                  </a:cubicBezTo>
                  <a:cubicBezTo>
                    <a:pt x="263" y="183"/>
                    <a:pt x="265" y="189"/>
                    <a:pt x="269" y="190"/>
                  </a:cubicBezTo>
                  <a:cubicBezTo>
                    <a:pt x="273" y="191"/>
                    <a:pt x="273" y="187"/>
                    <a:pt x="273" y="187"/>
                  </a:cubicBezTo>
                  <a:cubicBezTo>
                    <a:pt x="276" y="187"/>
                    <a:pt x="276" y="187"/>
                    <a:pt x="276" y="187"/>
                  </a:cubicBezTo>
                  <a:cubicBezTo>
                    <a:pt x="276" y="184"/>
                    <a:pt x="276" y="184"/>
                    <a:pt x="276" y="184"/>
                  </a:cubicBezTo>
                  <a:cubicBezTo>
                    <a:pt x="278" y="181"/>
                    <a:pt x="278" y="181"/>
                    <a:pt x="278" y="181"/>
                  </a:cubicBezTo>
                  <a:cubicBezTo>
                    <a:pt x="277" y="180"/>
                    <a:pt x="277" y="180"/>
                    <a:pt x="277" y="180"/>
                  </a:cubicBezTo>
                  <a:cubicBezTo>
                    <a:pt x="273" y="184"/>
                    <a:pt x="273" y="184"/>
                    <a:pt x="273" y="184"/>
                  </a:cubicBezTo>
                  <a:cubicBezTo>
                    <a:pt x="272" y="183"/>
                    <a:pt x="272" y="183"/>
                    <a:pt x="272" y="183"/>
                  </a:cubicBezTo>
                  <a:cubicBezTo>
                    <a:pt x="273" y="181"/>
                    <a:pt x="273" y="181"/>
                    <a:pt x="273" y="181"/>
                  </a:cubicBezTo>
                  <a:cubicBezTo>
                    <a:pt x="272" y="180"/>
                    <a:pt x="272" y="180"/>
                    <a:pt x="272" y="180"/>
                  </a:cubicBezTo>
                  <a:cubicBezTo>
                    <a:pt x="276" y="178"/>
                    <a:pt x="276" y="178"/>
                    <a:pt x="276" y="178"/>
                  </a:cubicBezTo>
                  <a:cubicBezTo>
                    <a:pt x="276" y="177"/>
                    <a:pt x="276" y="177"/>
                    <a:pt x="276" y="177"/>
                  </a:cubicBezTo>
                  <a:cubicBezTo>
                    <a:pt x="271" y="177"/>
                    <a:pt x="271" y="177"/>
                    <a:pt x="271" y="177"/>
                  </a:cubicBezTo>
                  <a:cubicBezTo>
                    <a:pt x="269" y="174"/>
                    <a:pt x="269" y="174"/>
                    <a:pt x="269" y="174"/>
                  </a:cubicBezTo>
                  <a:cubicBezTo>
                    <a:pt x="274" y="175"/>
                    <a:pt x="274" y="175"/>
                    <a:pt x="274" y="175"/>
                  </a:cubicBezTo>
                  <a:cubicBezTo>
                    <a:pt x="274" y="175"/>
                    <a:pt x="278" y="176"/>
                    <a:pt x="278" y="173"/>
                  </a:cubicBezTo>
                  <a:cubicBezTo>
                    <a:pt x="279" y="170"/>
                    <a:pt x="269" y="170"/>
                    <a:pt x="269" y="170"/>
                  </a:cubicBezTo>
                  <a:cubicBezTo>
                    <a:pt x="268" y="169"/>
                    <a:pt x="268" y="169"/>
                    <a:pt x="268" y="169"/>
                  </a:cubicBezTo>
                  <a:cubicBezTo>
                    <a:pt x="274" y="169"/>
                    <a:pt x="274" y="169"/>
                    <a:pt x="274" y="169"/>
                  </a:cubicBezTo>
                  <a:cubicBezTo>
                    <a:pt x="276" y="169"/>
                    <a:pt x="275" y="165"/>
                    <a:pt x="275" y="165"/>
                  </a:cubicBezTo>
                  <a:cubicBezTo>
                    <a:pt x="275" y="165"/>
                    <a:pt x="277" y="166"/>
                    <a:pt x="279" y="166"/>
                  </a:cubicBezTo>
                  <a:cubicBezTo>
                    <a:pt x="281" y="166"/>
                    <a:pt x="281" y="162"/>
                    <a:pt x="281" y="162"/>
                  </a:cubicBezTo>
                  <a:cubicBezTo>
                    <a:pt x="284" y="160"/>
                    <a:pt x="284" y="160"/>
                    <a:pt x="284" y="160"/>
                  </a:cubicBezTo>
                  <a:cubicBezTo>
                    <a:pt x="285" y="160"/>
                    <a:pt x="284" y="155"/>
                    <a:pt x="284" y="155"/>
                  </a:cubicBezTo>
                  <a:close/>
                  <a:moveTo>
                    <a:pt x="61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1" y="51"/>
                  </a:lnTo>
                  <a:close/>
                  <a:moveTo>
                    <a:pt x="48" y="210"/>
                  </a:moveTo>
                  <a:cubicBezTo>
                    <a:pt x="52" y="208"/>
                    <a:pt x="52" y="208"/>
                    <a:pt x="52" y="208"/>
                  </a:cubicBezTo>
                  <a:cubicBezTo>
                    <a:pt x="50" y="205"/>
                    <a:pt x="50" y="205"/>
                    <a:pt x="50" y="205"/>
                  </a:cubicBezTo>
                  <a:lnTo>
                    <a:pt x="48" y="210"/>
                  </a:lnTo>
                  <a:close/>
                  <a:moveTo>
                    <a:pt x="122" y="222"/>
                  </a:moveTo>
                  <a:cubicBezTo>
                    <a:pt x="122" y="222"/>
                    <a:pt x="121" y="225"/>
                    <a:pt x="124" y="224"/>
                  </a:cubicBezTo>
                  <a:cubicBezTo>
                    <a:pt x="126" y="224"/>
                    <a:pt x="125" y="221"/>
                    <a:pt x="122" y="2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Färöer" descr="© INSCALE GmbH, 05.05.2010&#10;http://www.presentationload.com/">
              <a:extLst>
                <a:ext uri="{FF2B5EF4-FFF2-40B4-BE49-F238E27FC236}">
                  <a16:creationId xmlns:a16="http://schemas.microsoft.com/office/drawing/2014/main" id="{C77D21BE-99F6-E342-B64C-CD873B8C1C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13677" y="2531052"/>
              <a:ext cx="123768" cy="146871"/>
            </a:xfrm>
            <a:custGeom>
              <a:avLst/>
              <a:gdLst/>
              <a:ahLst/>
              <a:cxnLst>
                <a:cxn ang="0">
                  <a:pos x="7" y="13"/>
                </a:cxn>
                <a:cxn ang="0">
                  <a:pos x="0" y="11"/>
                </a:cxn>
                <a:cxn ang="0">
                  <a:pos x="32" y="30"/>
                </a:cxn>
                <a:cxn ang="0">
                  <a:pos x="29" y="30"/>
                </a:cxn>
                <a:cxn ang="0">
                  <a:pos x="21" y="22"/>
                </a:cxn>
                <a:cxn ang="0">
                  <a:pos x="21" y="26"/>
                </a:cxn>
                <a:cxn ang="0">
                  <a:pos x="19" y="40"/>
                </a:cxn>
                <a:cxn ang="0">
                  <a:pos x="21" y="37"/>
                </a:cxn>
                <a:cxn ang="0">
                  <a:pos x="20" y="30"/>
                </a:cxn>
                <a:cxn ang="0">
                  <a:pos x="23" y="34"/>
                </a:cxn>
                <a:cxn ang="0">
                  <a:pos x="28" y="36"/>
                </a:cxn>
                <a:cxn ang="0">
                  <a:pos x="20" y="30"/>
                </a:cxn>
                <a:cxn ang="0">
                  <a:pos x="19" y="16"/>
                </a:cxn>
                <a:cxn ang="0">
                  <a:pos x="14" y="13"/>
                </a:cxn>
                <a:cxn ang="0">
                  <a:pos x="10" y="11"/>
                </a:cxn>
                <a:cxn ang="0">
                  <a:pos x="11" y="17"/>
                </a:cxn>
                <a:cxn ang="0">
                  <a:pos x="27" y="21"/>
                </a:cxn>
                <a:cxn ang="0">
                  <a:pos x="23" y="11"/>
                </a:cxn>
                <a:cxn ang="0">
                  <a:pos x="19" y="6"/>
                </a:cxn>
                <a:cxn ang="0">
                  <a:pos x="22" y="16"/>
                </a:cxn>
                <a:cxn ang="0">
                  <a:pos x="27" y="30"/>
                </a:cxn>
                <a:cxn ang="0">
                  <a:pos x="27" y="21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4" y="14"/>
                </a:cxn>
                <a:cxn ang="0">
                  <a:pos x="32" y="9"/>
                </a:cxn>
                <a:cxn ang="0">
                  <a:pos x="28" y="6"/>
                </a:cxn>
                <a:cxn ang="0">
                  <a:pos x="29" y="2"/>
                </a:cxn>
                <a:cxn ang="0">
                  <a:pos x="24" y="10"/>
                </a:cxn>
                <a:cxn ang="0">
                  <a:pos x="31" y="14"/>
                </a:cxn>
                <a:cxn ang="0">
                  <a:pos x="30" y="20"/>
                </a:cxn>
                <a:cxn ang="0">
                  <a:pos x="35" y="18"/>
                </a:cxn>
                <a:cxn ang="0">
                  <a:pos x="31" y="14"/>
                </a:cxn>
                <a:cxn ang="0">
                  <a:pos x="38" y="10"/>
                </a:cxn>
                <a:cxn ang="0">
                  <a:pos x="37" y="14"/>
                </a:cxn>
                <a:cxn ang="0">
                  <a:pos x="42" y="13"/>
                </a:cxn>
                <a:cxn ang="0">
                  <a:pos x="38" y="5"/>
                </a:cxn>
                <a:cxn ang="0">
                  <a:pos x="44" y="9"/>
                </a:cxn>
                <a:cxn ang="0">
                  <a:pos x="42" y="1"/>
                </a:cxn>
                <a:cxn ang="0">
                  <a:pos x="38" y="1"/>
                </a:cxn>
                <a:cxn ang="0">
                  <a:pos x="36" y="8"/>
                </a:cxn>
                <a:cxn ang="0">
                  <a:pos x="38" y="1"/>
                </a:cxn>
                <a:cxn ang="0">
                  <a:pos x="32" y="2"/>
                </a:cxn>
                <a:cxn ang="0">
                  <a:pos x="34" y="2"/>
                </a:cxn>
                <a:cxn ang="0">
                  <a:pos x="45" y="14"/>
                </a:cxn>
                <a:cxn ang="0">
                  <a:pos x="47" y="11"/>
                </a:cxn>
                <a:cxn ang="0">
                  <a:pos x="48" y="9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16" y="49"/>
                </a:cxn>
                <a:cxn ang="0">
                  <a:pos x="14" y="45"/>
                </a:cxn>
                <a:cxn ang="0">
                  <a:pos x="13" y="55"/>
                </a:cxn>
                <a:cxn ang="0">
                  <a:pos x="18" y="62"/>
                </a:cxn>
                <a:cxn ang="0">
                  <a:pos x="17" y="57"/>
                </a:cxn>
                <a:cxn ang="0">
                  <a:pos x="19" y="53"/>
                </a:cxn>
              </a:cxnLst>
              <a:rect l="0" t="0" r="r" b="b"/>
              <a:pathLst>
                <a:path w="51" h="62">
                  <a:moveTo>
                    <a:pt x="0" y="11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1"/>
                  </a:lnTo>
                  <a:close/>
                  <a:moveTo>
                    <a:pt x="29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30"/>
                  </a:lnTo>
                  <a:close/>
                  <a:moveTo>
                    <a:pt x="22" y="27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2" y="27"/>
                  </a:lnTo>
                  <a:close/>
                  <a:moveTo>
                    <a:pt x="19" y="40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7"/>
                    <a:pt x="21" y="37"/>
                    <a:pt x="21" y="37"/>
                  </a:cubicBezTo>
                  <a:lnTo>
                    <a:pt x="19" y="40"/>
                  </a:lnTo>
                  <a:close/>
                  <a:moveTo>
                    <a:pt x="20" y="30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7" y="34"/>
                    <a:pt x="24" y="32"/>
                  </a:cubicBezTo>
                  <a:cubicBezTo>
                    <a:pt x="23" y="31"/>
                    <a:pt x="20" y="30"/>
                    <a:pt x="20" y="30"/>
                  </a:cubicBezTo>
                  <a:close/>
                  <a:moveTo>
                    <a:pt x="15" y="20"/>
                  </a:moveTo>
                  <a:cubicBezTo>
                    <a:pt x="18" y="19"/>
                    <a:pt x="19" y="16"/>
                    <a:pt x="19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2" y="13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2" y="20"/>
                    <a:pt x="15" y="20"/>
                  </a:cubicBezTo>
                  <a:close/>
                  <a:moveTo>
                    <a:pt x="27" y="21"/>
                  </a:moveTo>
                  <a:cubicBezTo>
                    <a:pt x="27" y="21"/>
                    <a:pt x="28" y="19"/>
                    <a:pt x="27" y="18"/>
                  </a:cubicBezTo>
                  <a:cubicBezTo>
                    <a:pt x="26" y="17"/>
                    <a:pt x="23" y="11"/>
                    <a:pt x="23" y="11"/>
                  </a:cubicBezTo>
                  <a:cubicBezTo>
                    <a:pt x="23" y="11"/>
                    <a:pt x="23" y="3"/>
                    <a:pt x="21" y="3"/>
                  </a:cubicBezTo>
                  <a:cubicBezTo>
                    <a:pt x="20" y="3"/>
                    <a:pt x="19" y="6"/>
                    <a:pt x="19" y="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4"/>
                    <a:pt x="22" y="13"/>
                    <a:pt x="22" y="16"/>
                  </a:cubicBezTo>
                  <a:cubicBezTo>
                    <a:pt x="22" y="19"/>
                    <a:pt x="23" y="25"/>
                    <a:pt x="24" y="26"/>
                  </a:cubicBezTo>
                  <a:cubicBezTo>
                    <a:pt x="26" y="26"/>
                    <a:pt x="27" y="30"/>
                    <a:pt x="27" y="30"/>
                  </a:cubicBezTo>
                  <a:cubicBezTo>
                    <a:pt x="27" y="30"/>
                    <a:pt x="29" y="26"/>
                    <a:pt x="29" y="24"/>
                  </a:cubicBezTo>
                  <a:cubicBezTo>
                    <a:pt x="28" y="22"/>
                    <a:pt x="27" y="21"/>
                    <a:pt x="27" y="21"/>
                  </a:cubicBezTo>
                  <a:close/>
                  <a:moveTo>
                    <a:pt x="28" y="13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28" y="13"/>
                  </a:lnTo>
                  <a:close/>
                  <a:moveTo>
                    <a:pt x="31" y="14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1" y="14"/>
                  </a:lnTo>
                  <a:close/>
                  <a:moveTo>
                    <a:pt x="38" y="5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9" y="5"/>
                    <a:pt x="39" y="5"/>
                    <a:pt x="39" y="5"/>
                  </a:cubicBezTo>
                  <a:lnTo>
                    <a:pt x="38" y="5"/>
                  </a:lnTo>
                  <a:close/>
                  <a:moveTo>
                    <a:pt x="43" y="8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1"/>
                    <a:pt x="42" y="1"/>
                    <a:pt x="42" y="1"/>
                  </a:cubicBezTo>
                  <a:lnTo>
                    <a:pt x="43" y="8"/>
                  </a:lnTo>
                  <a:close/>
                  <a:moveTo>
                    <a:pt x="38" y="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8" y="1"/>
                  </a:lnTo>
                  <a:close/>
                  <a:moveTo>
                    <a:pt x="34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4" y="9"/>
                    <a:pt x="34" y="9"/>
                    <a:pt x="34" y="9"/>
                  </a:cubicBezTo>
                  <a:lnTo>
                    <a:pt x="34" y="2"/>
                  </a:lnTo>
                  <a:close/>
                  <a:moveTo>
                    <a:pt x="45" y="11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45" y="11"/>
                  </a:lnTo>
                  <a:close/>
                  <a:moveTo>
                    <a:pt x="48" y="5"/>
                  </a:moveTo>
                  <a:cubicBezTo>
                    <a:pt x="45" y="6"/>
                    <a:pt x="48" y="7"/>
                    <a:pt x="48" y="7"/>
                  </a:cubicBezTo>
                  <a:cubicBezTo>
                    <a:pt x="50" y="7"/>
                    <a:pt x="51" y="4"/>
                    <a:pt x="48" y="5"/>
                  </a:cubicBezTo>
                  <a:close/>
                  <a:moveTo>
                    <a:pt x="20" y="51"/>
                  </a:moveTo>
                  <a:cubicBezTo>
                    <a:pt x="18" y="50"/>
                    <a:pt x="16" y="50"/>
                    <a:pt x="16" y="49"/>
                  </a:cubicBezTo>
                  <a:cubicBezTo>
                    <a:pt x="16" y="48"/>
                    <a:pt x="17" y="47"/>
                    <a:pt x="17" y="46"/>
                  </a:cubicBezTo>
                  <a:cubicBezTo>
                    <a:pt x="17" y="45"/>
                    <a:pt x="15" y="42"/>
                    <a:pt x="14" y="45"/>
                  </a:cubicBezTo>
                  <a:cubicBezTo>
                    <a:pt x="13" y="47"/>
                    <a:pt x="14" y="53"/>
                    <a:pt x="14" y="53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1" y="53"/>
                    <a:pt x="20" y="5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" name="Georgien" descr="© INSCALE GmbH, 05.05.2010&#10;http://www.presentationload.com/">
              <a:extLst>
                <a:ext uri="{FF2B5EF4-FFF2-40B4-BE49-F238E27FC236}">
                  <a16:creationId xmlns:a16="http://schemas.microsoft.com/office/drawing/2014/main" id="{956358CE-417E-9643-A5AF-F3643670F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1069" y="4836447"/>
              <a:ext cx="872980" cy="364705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" name="Armenien" descr="© INSCALE GmbH, 05.05.2010&#10;http://www.presentationload.com/">
              <a:extLst>
                <a:ext uri="{FF2B5EF4-FFF2-40B4-BE49-F238E27FC236}">
                  <a16:creationId xmlns:a16="http://schemas.microsoft.com/office/drawing/2014/main" id="{57C09820-4D4F-3E41-AF2B-78E21DF7BB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44295" y="5046029"/>
              <a:ext cx="506627" cy="282191"/>
            </a:xfrm>
            <a:custGeom>
              <a:avLst/>
              <a:gdLst/>
              <a:ahLst/>
              <a:cxnLst>
                <a:cxn ang="0">
                  <a:pos x="103" y="103"/>
                </a:cxn>
                <a:cxn ang="0">
                  <a:pos x="0" y="47"/>
                </a:cxn>
                <a:cxn ang="0">
                  <a:pos x="207" y="104"/>
                </a:cxn>
                <a:cxn ang="0">
                  <a:pos x="196" y="91"/>
                </a:cxn>
                <a:cxn ang="0">
                  <a:pos x="198" y="83"/>
                </a:cxn>
                <a:cxn ang="0">
                  <a:pos x="190" y="74"/>
                </a:cxn>
                <a:cxn ang="0">
                  <a:pos x="174" y="74"/>
                </a:cxn>
                <a:cxn ang="0">
                  <a:pos x="149" y="70"/>
                </a:cxn>
                <a:cxn ang="0">
                  <a:pos x="133" y="66"/>
                </a:cxn>
                <a:cxn ang="0">
                  <a:pos x="142" y="41"/>
                </a:cxn>
                <a:cxn ang="0">
                  <a:pos x="104" y="35"/>
                </a:cxn>
                <a:cxn ang="0">
                  <a:pos x="109" y="13"/>
                </a:cxn>
                <a:cxn ang="0">
                  <a:pos x="96" y="9"/>
                </a:cxn>
                <a:cxn ang="0">
                  <a:pos x="88" y="13"/>
                </a:cxn>
                <a:cxn ang="0">
                  <a:pos x="82" y="11"/>
                </a:cxn>
                <a:cxn ang="0">
                  <a:pos x="81" y="5"/>
                </a:cxn>
                <a:cxn ang="0">
                  <a:pos x="66" y="5"/>
                </a:cxn>
                <a:cxn ang="0">
                  <a:pos x="57" y="8"/>
                </a:cxn>
                <a:cxn ang="0">
                  <a:pos x="43" y="24"/>
                </a:cxn>
                <a:cxn ang="0">
                  <a:pos x="28" y="29"/>
                </a:cxn>
                <a:cxn ang="0">
                  <a:pos x="16" y="40"/>
                </a:cxn>
                <a:cxn ang="0">
                  <a:pos x="1" y="49"/>
                </a:cxn>
                <a:cxn ang="0">
                  <a:pos x="22" y="60"/>
                </a:cxn>
                <a:cxn ang="0">
                  <a:pos x="59" y="103"/>
                </a:cxn>
                <a:cxn ang="0">
                  <a:pos x="103" y="103"/>
                </a:cxn>
                <a:cxn ang="0">
                  <a:pos x="125" y="101"/>
                </a:cxn>
                <a:cxn ang="0">
                  <a:pos x="130" y="97"/>
                </a:cxn>
                <a:cxn ang="0">
                  <a:pos x="144" y="97"/>
                </a:cxn>
                <a:cxn ang="0">
                  <a:pos x="161" y="99"/>
                </a:cxn>
                <a:cxn ang="0">
                  <a:pos x="177" y="105"/>
                </a:cxn>
                <a:cxn ang="0">
                  <a:pos x="201" y="112"/>
                </a:cxn>
                <a:cxn ang="0">
                  <a:pos x="212" y="106"/>
                </a:cxn>
              </a:cxnLst>
              <a:rect l="0" t="0" r="r" b="b"/>
              <a:pathLst>
                <a:path w="212" h="119">
                  <a:moveTo>
                    <a:pt x="103" y="103"/>
                  </a:moveTo>
                  <a:cubicBezTo>
                    <a:pt x="103" y="103"/>
                    <a:pt x="103" y="103"/>
                    <a:pt x="103" y="103"/>
                  </a:cubicBezTo>
                  <a:moveTo>
                    <a:pt x="1" y="49"/>
                  </a:moveTo>
                  <a:cubicBezTo>
                    <a:pt x="1" y="48"/>
                    <a:pt x="1" y="48"/>
                    <a:pt x="0" y="47"/>
                  </a:cubicBezTo>
                  <a:cubicBezTo>
                    <a:pt x="1" y="48"/>
                    <a:pt x="1" y="48"/>
                    <a:pt x="1" y="49"/>
                  </a:cubicBezTo>
                  <a:close/>
                  <a:moveTo>
                    <a:pt x="207" y="104"/>
                  </a:moveTo>
                  <a:cubicBezTo>
                    <a:pt x="207" y="104"/>
                    <a:pt x="206" y="99"/>
                    <a:pt x="205" y="96"/>
                  </a:cubicBezTo>
                  <a:cubicBezTo>
                    <a:pt x="205" y="92"/>
                    <a:pt x="196" y="94"/>
                    <a:pt x="196" y="91"/>
                  </a:cubicBezTo>
                  <a:cubicBezTo>
                    <a:pt x="196" y="88"/>
                    <a:pt x="200" y="90"/>
                    <a:pt x="203" y="88"/>
                  </a:cubicBezTo>
                  <a:cubicBezTo>
                    <a:pt x="207" y="86"/>
                    <a:pt x="203" y="85"/>
                    <a:pt x="198" y="83"/>
                  </a:cubicBezTo>
                  <a:cubicBezTo>
                    <a:pt x="193" y="82"/>
                    <a:pt x="189" y="83"/>
                    <a:pt x="186" y="81"/>
                  </a:cubicBezTo>
                  <a:cubicBezTo>
                    <a:pt x="185" y="77"/>
                    <a:pt x="188" y="75"/>
                    <a:pt x="190" y="74"/>
                  </a:cubicBezTo>
                  <a:cubicBezTo>
                    <a:pt x="192" y="73"/>
                    <a:pt x="191" y="69"/>
                    <a:pt x="183" y="69"/>
                  </a:cubicBezTo>
                  <a:cubicBezTo>
                    <a:pt x="176" y="69"/>
                    <a:pt x="176" y="73"/>
                    <a:pt x="174" y="74"/>
                  </a:cubicBezTo>
                  <a:cubicBezTo>
                    <a:pt x="170" y="75"/>
                    <a:pt x="163" y="70"/>
                    <a:pt x="160" y="68"/>
                  </a:cubicBezTo>
                  <a:cubicBezTo>
                    <a:pt x="157" y="67"/>
                    <a:pt x="151" y="70"/>
                    <a:pt x="149" y="70"/>
                  </a:cubicBezTo>
                  <a:cubicBezTo>
                    <a:pt x="147" y="70"/>
                    <a:pt x="148" y="67"/>
                    <a:pt x="146" y="66"/>
                  </a:cubicBezTo>
                  <a:cubicBezTo>
                    <a:pt x="144" y="65"/>
                    <a:pt x="136" y="68"/>
                    <a:pt x="133" y="66"/>
                  </a:cubicBezTo>
                  <a:cubicBezTo>
                    <a:pt x="130" y="64"/>
                    <a:pt x="144" y="59"/>
                    <a:pt x="146" y="56"/>
                  </a:cubicBezTo>
                  <a:cubicBezTo>
                    <a:pt x="148" y="53"/>
                    <a:pt x="146" y="43"/>
                    <a:pt x="142" y="41"/>
                  </a:cubicBezTo>
                  <a:cubicBezTo>
                    <a:pt x="139" y="38"/>
                    <a:pt x="131" y="43"/>
                    <a:pt x="123" y="41"/>
                  </a:cubicBezTo>
                  <a:cubicBezTo>
                    <a:pt x="114" y="39"/>
                    <a:pt x="104" y="35"/>
                    <a:pt x="104" y="35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4" y="23"/>
                    <a:pt x="111" y="20"/>
                    <a:pt x="109" y="13"/>
                  </a:cubicBezTo>
                  <a:cubicBezTo>
                    <a:pt x="107" y="8"/>
                    <a:pt x="96" y="13"/>
                    <a:pt x="96" y="1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12"/>
                    <a:pt x="88" y="13"/>
                  </a:cubicBezTo>
                  <a:cubicBezTo>
                    <a:pt x="84" y="13"/>
                    <a:pt x="87" y="19"/>
                    <a:pt x="84" y="19"/>
                  </a:cubicBezTo>
                  <a:cubicBezTo>
                    <a:pt x="81" y="19"/>
                    <a:pt x="84" y="12"/>
                    <a:pt x="82" y="11"/>
                  </a:cubicBezTo>
                  <a:cubicBezTo>
                    <a:pt x="80" y="10"/>
                    <a:pt x="77" y="17"/>
                    <a:pt x="74" y="17"/>
                  </a:cubicBezTo>
                  <a:cubicBezTo>
                    <a:pt x="70" y="16"/>
                    <a:pt x="82" y="10"/>
                    <a:pt x="81" y="5"/>
                  </a:cubicBezTo>
                  <a:cubicBezTo>
                    <a:pt x="80" y="0"/>
                    <a:pt x="74" y="5"/>
                    <a:pt x="71" y="6"/>
                  </a:cubicBezTo>
                  <a:cubicBezTo>
                    <a:pt x="70" y="6"/>
                    <a:pt x="68" y="5"/>
                    <a:pt x="66" y="5"/>
                  </a:cubicBezTo>
                  <a:cubicBezTo>
                    <a:pt x="66" y="6"/>
                    <a:pt x="66" y="6"/>
                    <a:pt x="65" y="7"/>
                  </a:cubicBezTo>
                  <a:cubicBezTo>
                    <a:pt x="62" y="10"/>
                    <a:pt x="57" y="8"/>
                    <a:pt x="57" y="8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48" y="22"/>
                    <a:pt x="43" y="24"/>
                  </a:cubicBezTo>
                  <a:cubicBezTo>
                    <a:pt x="36" y="27"/>
                    <a:pt x="31" y="22"/>
                    <a:pt x="31" y="22"/>
                  </a:cubicBezTo>
                  <a:cubicBezTo>
                    <a:pt x="31" y="22"/>
                    <a:pt x="30" y="27"/>
                    <a:pt x="28" y="29"/>
                  </a:cubicBezTo>
                  <a:cubicBezTo>
                    <a:pt x="26" y="31"/>
                    <a:pt x="17" y="36"/>
                    <a:pt x="17" y="36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0" y="43"/>
                    <a:pt x="6" y="43"/>
                  </a:cubicBezTo>
                  <a:cubicBezTo>
                    <a:pt x="5" y="43"/>
                    <a:pt x="3" y="45"/>
                    <a:pt x="1" y="49"/>
                  </a:cubicBezTo>
                  <a:cubicBezTo>
                    <a:pt x="1" y="50"/>
                    <a:pt x="1" y="52"/>
                    <a:pt x="4" y="52"/>
                  </a:cubicBezTo>
                  <a:cubicBezTo>
                    <a:pt x="10" y="52"/>
                    <a:pt x="19" y="51"/>
                    <a:pt x="22" y="60"/>
                  </a:cubicBezTo>
                  <a:cubicBezTo>
                    <a:pt x="25" y="71"/>
                    <a:pt x="22" y="84"/>
                    <a:pt x="32" y="94"/>
                  </a:cubicBezTo>
                  <a:cubicBezTo>
                    <a:pt x="43" y="103"/>
                    <a:pt x="51" y="108"/>
                    <a:pt x="59" y="103"/>
                  </a:cubicBezTo>
                  <a:cubicBezTo>
                    <a:pt x="67" y="97"/>
                    <a:pt x="71" y="90"/>
                    <a:pt x="83" y="94"/>
                  </a:cubicBezTo>
                  <a:cubicBezTo>
                    <a:pt x="95" y="96"/>
                    <a:pt x="103" y="103"/>
                    <a:pt x="103" y="103"/>
                  </a:cubicBezTo>
                  <a:cubicBezTo>
                    <a:pt x="103" y="103"/>
                    <a:pt x="110" y="91"/>
                    <a:pt x="115" y="90"/>
                  </a:cubicBezTo>
                  <a:cubicBezTo>
                    <a:pt x="121" y="89"/>
                    <a:pt x="125" y="101"/>
                    <a:pt x="125" y="101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4" y="97"/>
                    <a:pt x="150" y="86"/>
                    <a:pt x="155" y="86"/>
                  </a:cubicBezTo>
                  <a:cubicBezTo>
                    <a:pt x="160" y="86"/>
                    <a:pt x="161" y="99"/>
                    <a:pt x="161" y="99"/>
                  </a:cubicBezTo>
                  <a:cubicBezTo>
                    <a:pt x="161" y="99"/>
                    <a:pt x="169" y="97"/>
                    <a:pt x="173" y="97"/>
                  </a:cubicBezTo>
                  <a:cubicBezTo>
                    <a:pt x="177" y="98"/>
                    <a:pt x="177" y="105"/>
                    <a:pt x="177" y="105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01" y="112"/>
                    <a:pt x="201" y="112"/>
                    <a:pt x="201" y="112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12" y="106"/>
                    <a:pt x="212" y="106"/>
                    <a:pt x="212" y="106"/>
                  </a:cubicBezTo>
                  <a:lnTo>
                    <a:pt x="207" y="1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" name="Türkei" descr="© INSCALE GmbH, 05.05.2010&#10;http://www.presentationload.com/">
              <a:extLst>
                <a:ext uri="{FF2B5EF4-FFF2-40B4-BE49-F238E27FC236}">
                  <a16:creationId xmlns:a16="http://schemas.microsoft.com/office/drawing/2014/main" id="{B45B3F96-2873-B042-BF63-AC5FC2A442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39245" y="5128541"/>
              <a:ext cx="2440715" cy="1366405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" name="Li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051CAE99-3A6A-294A-8FCF-1890FAB22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4370" y="6452040"/>
              <a:ext cx="151823" cy="306945"/>
            </a:xfrm>
            <a:custGeom>
              <a:avLst/>
              <a:gdLst/>
              <a:ahLst/>
              <a:cxnLst>
                <a:cxn ang="0">
                  <a:pos x="26" y="106"/>
                </a:cxn>
                <a:cxn ang="0">
                  <a:pos x="37" y="87"/>
                </a:cxn>
                <a:cxn ang="0">
                  <a:pos x="36" y="83"/>
                </a:cxn>
                <a:cxn ang="0">
                  <a:pos x="43" y="75"/>
                </a:cxn>
                <a:cxn ang="0">
                  <a:pos x="29" y="74"/>
                </a:cxn>
                <a:cxn ang="0">
                  <a:pos x="31" y="67"/>
                </a:cxn>
                <a:cxn ang="0">
                  <a:pos x="35" y="64"/>
                </a:cxn>
                <a:cxn ang="0">
                  <a:pos x="54" y="56"/>
                </a:cxn>
                <a:cxn ang="0">
                  <a:pos x="48" y="51"/>
                </a:cxn>
                <a:cxn ang="0">
                  <a:pos x="46" y="47"/>
                </a:cxn>
                <a:cxn ang="0">
                  <a:pos x="58" y="45"/>
                </a:cxn>
                <a:cxn ang="0">
                  <a:pos x="48" y="42"/>
                </a:cxn>
                <a:cxn ang="0">
                  <a:pos x="61" y="27"/>
                </a:cxn>
                <a:cxn ang="0">
                  <a:pos x="48" y="17"/>
                </a:cxn>
                <a:cxn ang="0">
                  <a:pos x="48" y="11"/>
                </a:cxn>
                <a:cxn ang="0">
                  <a:pos x="35" y="10"/>
                </a:cxn>
                <a:cxn ang="0">
                  <a:pos x="38" y="0"/>
                </a:cxn>
                <a:cxn ang="0">
                  <a:pos x="29" y="1"/>
                </a:cxn>
                <a:cxn ang="0">
                  <a:pos x="28" y="6"/>
                </a:cxn>
                <a:cxn ang="0">
                  <a:pos x="20" y="7"/>
                </a:cxn>
                <a:cxn ang="0">
                  <a:pos x="14" y="12"/>
                </a:cxn>
                <a:cxn ang="0">
                  <a:pos x="15" y="20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1" y="38"/>
                </a:cxn>
                <a:cxn ang="0">
                  <a:pos x="2" y="49"/>
                </a:cxn>
                <a:cxn ang="0">
                  <a:pos x="10" y="56"/>
                </a:cxn>
                <a:cxn ang="0">
                  <a:pos x="6" y="63"/>
                </a:cxn>
                <a:cxn ang="0">
                  <a:pos x="3" y="77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3" y="109"/>
                </a:cxn>
                <a:cxn ang="0">
                  <a:pos x="0" y="112"/>
                </a:cxn>
                <a:cxn ang="0">
                  <a:pos x="0" y="115"/>
                </a:cxn>
                <a:cxn ang="0">
                  <a:pos x="3" y="115"/>
                </a:cxn>
                <a:cxn ang="0">
                  <a:pos x="2" y="126"/>
                </a:cxn>
                <a:cxn ang="0">
                  <a:pos x="8" y="125"/>
                </a:cxn>
                <a:cxn ang="0">
                  <a:pos x="12" y="121"/>
                </a:cxn>
                <a:cxn ang="0">
                  <a:pos x="19" y="122"/>
                </a:cxn>
                <a:cxn ang="0">
                  <a:pos x="19" y="112"/>
                </a:cxn>
                <a:cxn ang="0">
                  <a:pos x="19" y="106"/>
                </a:cxn>
                <a:cxn ang="0">
                  <a:pos x="26" y="106"/>
                </a:cxn>
              </a:cxnLst>
              <a:rect l="0" t="0" r="r" b="b"/>
              <a:pathLst>
                <a:path w="63" h="129">
                  <a:moveTo>
                    <a:pt x="26" y="106"/>
                  </a:moveTo>
                  <a:cubicBezTo>
                    <a:pt x="37" y="87"/>
                    <a:pt x="37" y="87"/>
                    <a:pt x="37" y="87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3"/>
                    <a:pt x="43" y="79"/>
                    <a:pt x="43" y="75"/>
                  </a:cubicBezTo>
                  <a:cubicBezTo>
                    <a:pt x="44" y="72"/>
                    <a:pt x="29" y="74"/>
                    <a:pt x="29" y="74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5" y="66"/>
                    <a:pt x="35" y="64"/>
                  </a:cubicBezTo>
                  <a:cubicBezTo>
                    <a:pt x="35" y="61"/>
                    <a:pt x="54" y="56"/>
                    <a:pt x="54" y="56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58" y="32"/>
                    <a:pt x="61" y="27"/>
                  </a:cubicBezTo>
                  <a:cubicBezTo>
                    <a:pt x="63" y="22"/>
                    <a:pt x="48" y="17"/>
                    <a:pt x="48" y="1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9" y="24"/>
                    <a:pt x="6" y="28"/>
                  </a:cubicBezTo>
                  <a:cubicBezTo>
                    <a:pt x="4" y="31"/>
                    <a:pt x="6" y="33"/>
                    <a:pt x="5" y="36"/>
                  </a:cubicBezTo>
                  <a:cubicBezTo>
                    <a:pt x="3" y="38"/>
                    <a:pt x="1" y="38"/>
                    <a:pt x="1" y="3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0" y="52"/>
                    <a:pt x="10" y="56"/>
                  </a:cubicBezTo>
                  <a:cubicBezTo>
                    <a:pt x="10" y="60"/>
                    <a:pt x="6" y="63"/>
                    <a:pt x="6" y="63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5"/>
                    <a:pt x="3" y="115"/>
                    <a:pt x="3" y="115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2" y="126"/>
                    <a:pt x="5" y="126"/>
                    <a:pt x="8" y="125"/>
                  </a:cubicBezTo>
                  <a:cubicBezTo>
                    <a:pt x="10" y="123"/>
                    <a:pt x="12" y="121"/>
                    <a:pt x="12" y="121"/>
                  </a:cubicBezTo>
                  <a:cubicBezTo>
                    <a:pt x="12" y="121"/>
                    <a:pt x="15" y="129"/>
                    <a:pt x="19" y="122"/>
                  </a:cubicBezTo>
                  <a:cubicBezTo>
                    <a:pt x="25" y="115"/>
                    <a:pt x="19" y="112"/>
                    <a:pt x="19" y="112"/>
                  </a:cubicBezTo>
                  <a:cubicBezTo>
                    <a:pt x="19" y="106"/>
                    <a:pt x="19" y="106"/>
                    <a:pt x="19" y="106"/>
                  </a:cubicBezTo>
                  <a:lnTo>
                    <a:pt x="26" y="10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" name="Syrien" descr="© INSCALE GmbH, 05.05.2010&#10;http://www.presentationload.com/">
              <a:extLst>
                <a:ext uri="{FF2B5EF4-FFF2-40B4-BE49-F238E27FC236}">
                  <a16:creationId xmlns:a16="http://schemas.microsoft.com/office/drawing/2014/main" id="{00529286-D76C-1F42-B6E2-D487CC64237A}"/>
                </a:ext>
              </a:extLst>
            </p:cNvPr>
            <p:cNvSpPr>
              <a:spLocks/>
            </p:cNvSpPr>
            <p:nvPr/>
          </p:nvSpPr>
          <p:spPr bwMode="gray">
            <a:xfrm>
              <a:off x="7879910" y="5773786"/>
              <a:ext cx="736010" cy="1028105"/>
            </a:xfrm>
            <a:custGeom>
              <a:avLst/>
              <a:gdLst/>
              <a:ahLst/>
              <a:cxnLst>
                <a:cxn ang="0">
                  <a:pos x="294" y="149"/>
                </a:cxn>
                <a:cxn ang="0">
                  <a:pos x="274" y="96"/>
                </a:cxn>
                <a:cxn ang="0">
                  <a:pos x="287" y="50"/>
                </a:cxn>
                <a:cxn ang="0">
                  <a:pos x="302" y="18"/>
                </a:cxn>
                <a:cxn ang="0">
                  <a:pos x="297" y="1"/>
                </a:cxn>
                <a:cxn ang="0">
                  <a:pos x="262" y="26"/>
                </a:cxn>
                <a:cxn ang="0">
                  <a:pos x="178" y="89"/>
                </a:cxn>
                <a:cxn ang="0">
                  <a:pos x="129" y="111"/>
                </a:cxn>
                <a:cxn ang="0">
                  <a:pos x="81" y="127"/>
                </a:cxn>
                <a:cxn ang="0">
                  <a:pos x="72" y="136"/>
                </a:cxn>
                <a:cxn ang="0">
                  <a:pos x="42" y="142"/>
                </a:cxn>
                <a:cxn ang="0">
                  <a:pos x="22" y="168"/>
                </a:cxn>
                <a:cxn ang="0">
                  <a:pos x="21" y="188"/>
                </a:cxn>
                <a:cxn ang="0">
                  <a:pos x="20" y="218"/>
                </a:cxn>
                <a:cxn ang="0">
                  <a:pos x="0" y="224"/>
                </a:cxn>
                <a:cxn ang="0">
                  <a:pos x="4" y="236"/>
                </a:cxn>
                <a:cxn ang="0">
                  <a:pos x="3" y="243"/>
                </a:cxn>
                <a:cxn ang="0">
                  <a:pos x="16" y="254"/>
                </a:cxn>
                <a:cxn ang="0">
                  <a:pos x="22" y="280"/>
                </a:cxn>
                <a:cxn ang="0">
                  <a:pos x="34" y="297"/>
                </a:cxn>
                <a:cxn ang="0">
                  <a:pos x="51" y="290"/>
                </a:cxn>
                <a:cxn ang="0">
                  <a:pos x="61" y="284"/>
                </a:cxn>
                <a:cxn ang="0">
                  <a:pos x="71" y="295"/>
                </a:cxn>
                <a:cxn ang="0">
                  <a:pos x="84" y="311"/>
                </a:cxn>
                <a:cxn ang="0">
                  <a:pos x="81" y="329"/>
                </a:cxn>
                <a:cxn ang="0">
                  <a:pos x="71" y="335"/>
                </a:cxn>
                <a:cxn ang="0">
                  <a:pos x="58" y="348"/>
                </a:cxn>
                <a:cxn ang="0">
                  <a:pos x="52" y="358"/>
                </a:cxn>
                <a:cxn ang="0">
                  <a:pos x="59" y="367"/>
                </a:cxn>
                <a:cxn ang="0">
                  <a:pos x="49" y="390"/>
                </a:cxn>
                <a:cxn ang="0">
                  <a:pos x="54" y="409"/>
                </a:cxn>
                <a:cxn ang="0">
                  <a:pos x="77" y="419"/>
                </a:cxn>
                <a:cxn ang="0">
                  <a:pos x="93" y="429"/>
                </a:cxn>
                <a:cxn ang="0">
                  <a:pos x="108" y="430"/>
                </a:cxn>
                <a:cxn ang="0">
                  <a:pos x="304" y="206"/>
                </a:cxn>
                <a:cxn ang="0">
                  <a:pos x="305" y="189"/>
                </a:cxn>
                <a:cxn ang="0">
                  <a:pos x="307" y="175"/>
                </a:cxn>
              </a:cxnLst>
              <a:rect l="0" t="0" r="r" b="b"/>
              <a:pathLst>
                <a:path w="308" h="430">
                  <a:moveTo>
                    <a:pt x="307" y="175"/>
                  </a:moveTo>
                  <a:cubicBezTo>
                    <a:pt x="307" y="175"/>
                    <a:pt x="297" y="164"/>
                    <a:pt x="294" y="149"/>
                  </a:cubicBezTo>
                  <a:cubicBezTo>
                    <a:pt x="290" y="133"/>
                    <a:pt x="295" y="121"/>
                    <a:pt x="289" y="113"/>
                  </a:cubicBezTo>
                  <a:cubicBezTo>
                    <a:pt x="285" y="105"/>
                    <a:pt x="278" y="106"/>
                    <a:pt x="274" y="96"/>
                  </a:cubicBezTo>
                  <a:cubicBezTo>
                    <a:pt x="270" y="88"/>
                    <a:pt x="264" y="74"/>
                    <a:pt x="268" y="66"/>
                  </a:cubicBezTo>
                  <a:cubicBezTo>
                    <a:pt x="273" y="60"/>
                    <a:pt x="282" y="62"/>
                    <a:pt x="287" y="50"/>
                  </a:cubicBezTo>
                  <a:cubicBezTo>
                    <a:pt x="294" y="39"/>
                    <a:pt x="296" y="26"/>
                    <a:pt x="296" y="26"/>
                  </a:cubicBezTo>
                  <a:cubicBezTo>
                    <a:pt x="296" y="26"/>
                    <a:pt x="302" y="21"/>
                    <a:pt x="302" y="18"/>
                  </a:cubicBezTo>
                  <a:cubicBezTo>
                    <a:pt x="302" y="14"/>
                    <a:pt x="301" y="5"/>
                    <a:pt x="301" y="5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2" y="17"/>
                    <a:pt x="262" y="26"/>
                  </a:cubicBezTo>
                  <a:cubicBezTo>
                    <a:pt x="242" y="34"/>
                    <a:pt x="222" y="42"/>
                    <a:pt x="222" y="42"/>
                  </a:cubicBezTo>
                  <a:cubicBezTo>
                    <a:pt x="222" y="42"/>
                    <a:pt x="193" y="77"/>
                    <a:pt x="178" y="89"/>
                  </a:cubicBezTo>
                  <a:cubicBezTo>
                    <a:pt x="163" y="100"/>
                    <a:pt x="148" y="102"/>
                    <a:pt x="148" y="102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11" y="101"/>
                    <a:pt x="104" y="106"/>
                  </a:cubicBezTo>
                  <a:cubicBezTo>
                    <a:pt x="95" y="109"/>
                    <a:pt x="81" y="127"/>
                    <a:pt x="81" y="127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2" y="142"/>
                    <a:pt x="42" y="142"/>
                    <a:pt x="42" y="142"/>
                  </a:cubicBezTo>
                  <a:cubicBezTo>
                    <a:pt x="42" y="142"/>
                    <a:pt x="23" y="139"/>
                    <a:pt x="23" y="145"/>
                  </a:cubicBezTo>
                  <a:cubicBezTo>
                    <a:pt x="22" y="152"/>
                    <a:pt x="22" y="168"/>
                    <a:pt x="22" y="168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" y="225"/>
                    <a:pt x="6" y="225"/>
                    <a:pt x="6" y="225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3" y="243"/>
                    <a:pt x="3" y="243"/>
                    <a:pt x="3" y="243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248"/>
                    <a:pt x="12" y="250"/>
                    <a:pt x="16" y="254"/>
                  </a:cubicBezTo>
                  <a:cubicBezTo>
                    <a:pt x="18" y="258"/>
                    <a:pt x="22" y="259"/>
                    <a:pt x="22" y="264"/>
                  </a:cubicBezTo>
                  <a:cubicBezTo>
                    <a:pt x="22" y="280"/>
                    <a:pt x="22" y="280"/>
                    <a:pt x="22" y="280"/>
                  </a:cubicBezTo>
                  <a:cubicBezTo>
                    <a:pt x="28" y="283"/>
                    <a:pt x="28" y="283"/>
                    <a:pt x="28" y="283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1" y="290"/>
                    <a:pt x="51" y="290"/>
                    <a:pt x="51" y="290"/>
                  </a:cubicBezTo>
                  <a:cubicBezTo>
                    <a:pt x="52" y="285"/>
                    <a:pt x="52" y="285"/>
                    <a:pt x="52" y="285"/>
                  </a:cubicBezTo>
                  <a:cubicBezTo>
                    <a:pt x="61" y="284"/>
                    <a:pt x="61" y="284"/>
                    <a:pt x="61" y="284"/>
                  </a:cubicBezTo>
                  <a:cubicBezTo>
                    <a:pt x="58" y="294"/>
                    <a:pt x="58" y="294"/>
                    <a:pt x="58" y="294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86" y="306"/>
                    <a:pt x="84" y="311"/>
                  </a:cubicBezTo>
                  <a:cubicBezTo>
                    <a:pt x="81" y="316"/>
                    <a:pt x="71" y="326"/>
                    <a:pt x="71" y="326"/>
                  </a:cubicBezTo>
                  <a:cubicBezTo>
                    <a:pt x="81" y="329"/>
                    <a:pt x="81" y="329"/>
                    <a:pt x="81" y="329"/>
                  </a:cubicBezTo>
                  <a:cubicBezTo>
                    <a:pt x="69" y="331"/>
                    <a:pt x="69" y="331"/>
                    <a:pt x="69" y="331"/>
                  </a:cubicBezTo>
                  <a:cubicBezTo>
                    <a:pt x="71" y="335"/>
                    <a:pt x="71" y="335"/>
                    <a:pt x="71" y="335"/>
                  </a:cubicBezTo>
                  <a:cubicBezTo>
                    <a:pt x="77" y="340"/>
                    <a:pt x="77" y="340"/>
                    <a:pt x="77" y="340"/>
                  </a:cubicBezTo>
                  <a:cubicBezTo>
                    <a:pt x="77" y="340"/>
                    <a:pt x="58" y="345"/>
                    <a:pt x="58" y="348"/>
                  </a:cubicBezTo>
                  <a:cubicBezTo>
                    <a:pt x="58" y="350"/>
                    <a:pt x="54" y="351"/>
                    <a:pt x="54" y="351"/>
                  </a:cubicBezTo>
                  <a:cubicBezTo>
                    <a:pt x="52" y="358"/>
                    <a:pt x="52" y="358"/>
                    <a:pt x="52" y="358"/>
                  </a:cubicBezTo>
                  <a:cubicBezTo>
                    <a:pt x="52" y="358"/>
                    <a:pt x="67" y="356"/>
                    <a:pt x="66" y="359"/>
                  </a:cubicBezTo>
                  <a:cubicBezTo>
                    <a:pt x="66" y="363"/>
                    <a:pt x="59" y="367"/>
                    <a:pt x="59" y="367"/>
                  </a:cubicBezTo>
                  <a:cubicBezTo>
                    <a:pt x="60" y="371"/>
                    <a:pt x="60" y="371"/>
                    <a:pt x="60" y="371"/>
                  </a:cubicBezTo>
                  <a:cubicBezTo>
                    <a:pt x="49" y="390"/>
                    <a:pt x="49" y="390"/>
                    <a:pt x="49" y="390"/>
                  </a:cubicBezTo>
                  <a:cubicBezTo>
                    <a:pt x="54" y="392"/>
                    <a:pt x="54" y="392"/>
                    <a:pt x="54" y="392"/>
                  </a:cubicBezTo>
                  <a:cubicBezTo>
                    <a:pt x="54" y="409"/>
                    <a:pt x="54" y="409"/>
                    <a:pt x="54" y="409"/>
                  </a:cubicBezTo>
                  <a:cubicBezTo>
                    <a:pt x="64" y="427"/>
                    <a:pt x="64" y="427"/>
                    <a:pt x="64" y="427"/>
                  </a:cubicBezTo>
                  <a:cubicBezTo>
                    <a:pt x="64" y="427"/>
                    <a:pt x="69" y="419"/>
                    <a:pt x="77" y="419"/>
                  </a:cubicBezTo>
                  <a:cubicBezTo>
                    <a:pt x="85" y="420"/>
                    <a:pt x="89" y="429"/>
                    <a:pt x="89" y="429"/>
                  </a:cubicBezTo>
                  <a:cubicBezTo>
                    <a:pt x="93" y="429"/>
                    <a:pt x="93" y="429"/>
                    <a:pt x="93" y="429"/>
                  </a:cubicBezTo>
                  <a:cubicBezTo>
                    <a:pt x="93" y="429"/>
                    <a:pt x="94" y="425"/>
                    <a:pt x="101" y="425"/>
                  </a:cubicBezTo>
                  <a:cubicBezTo>
                    <a:pt x="107" y="426"/>
                    <a:pt x="108" y="430"/>
                    <a:pt x="108" y="430"/>
                  </a:cubicBezTo>
                  <a:cubicBezTo>
                    <a:pt x="135" y="429"/>
                    <a:pt x="135" y="429"/>
                    <a:pt x="135" y="429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6" y="205"/>
                    <a:pt x="306" y="205"/>
                    <a:pt x="306" y="205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7" y="17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8" name="Kasac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11672C6-B181-004B-91A4-67E75729AB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168705" y="2215855"/>
              <a:ext cx="975295" cy="2222884"/>
            </a:xfrm>
            <a:custGeom>
              <a:avLst/>
              <a:gdLst/>
              <a:ahLst/>
              <a:cxnLst>
                <a:cxn ang="0">
                  <a:pos x="291" y="856"/>
                </a:cxn>
                <a:cxn ang="0">
                  <a:pos x="395" y="19"/>
                </a:cxn>
                <a:cxn ang="0">
                  <a:pos x="377" y="43"/>
                </a:cxn>
                <a:cxn ang="0">
                  <a:pos x="362" y="71"/>
                </a:cxn>
                <a:cxn ang="0">
                  <a:pos x="341" y="94"/>
                </a:cxn>
                <a:cxn ang="0">
                  <a:pos x="322" y="113"/>
                </a:cxn>
                <a:cxn ang="0">
                  <a:pos x="342" y="125"/>
                </a:cxn>
                <a:cxn ang="0">
                  <a:pos x="358" y="139"/>
                </a:cxn>
                <a:cxn ang="0">
                  <a:pos x="393" y="125"/>
                </a:cxn>
                <a:cxn ang="0">
                  <a:pos x="372" y="151"/>
                </a:cxn>
                <a:cxn ang="0">
                  <a:pos x="378" y="186"/>
                </a:cxn>
                <a:cxn ang="0">
                  <a:pos x="385" y="211"/>
                </a:cxn>
                <a:cxn ang="0">
                  <a:pos x="398" y="240"/>
                </a:cxn>
                <a:cxn ang="0">
                  <a:pos x="379" y="327"/>
                </a:cxn>
                <a:cxn ang="0">
                  <a:pos x="336" y="337"/>
                </a:cxn>
                <a:cxn ang="0">
                  <a:pos x="318" y="353"/>
                </a:cxn>
                <a:cxn ang="0">
                  <a:pos x="297" y="382"/>
                </a:cxn>
                <a:cxn ang="0">
                  <a:pos x="258" y="417"/>
                </a:cxn>
                <a:cxn ang="0">
                  <a:pos x="234" y="423"/>
                </a:cxn>
                <a:cxn ang="0">
                  <a:pos x="239" y="433"/>
                </a:cxn>
                <a:cxn ang="0">
                  <a:pos x="194" y="426"/>
                </a:cxn>
                <a:cxn ang="0">
                  <a:pos x="151" y="437"/>
                </a:cxn>
                <a:cxn ang="0">
                  <a:pos x="116" y="441"/>
                </a:cxn>
                <a:cxn ang="0">
                  <a:pos x="102" y="454"/>
                </a:cxn>
                <a:cxn ang="0">
                  <a:pos x="77" y="471"/>
                </a:cxn>
                <a:cxn ang="0">
                  <a:pos x="65" y="507"/>
                </a:cxn>
                <a:cxn ang="0">
                  <a:pos x="59" y="537"/>
                </a:cxn>
                <a:cxn ang="0">
                  <a:pos x="35" y="572"/>
                </a:cxn>
                <a:cxn ang="0">
                  <a:pos x="67" y="596"/>
                </a:cxn>
                <a:cxn ang="0">
                  <a:pos x="1" y="614"/>
                </a:cxn>
                <a:cxn ang="0">
                  <a:pos x="25" y="685"/>
                </a:cxn>
                <a:cxn ang="0">
                  <a:pos x="60" y="742"/>
                </a:cxn>
                <a:cxn ang="0">
                  <a:pos x="82" y="754"/>
                </a:cxn>
                <a:cxn ang="0">
                  <a:pos x="139" y="754"/>
                </a:cxn>
                <a:cxn ang="0">
                  <a:pos x="166" y="801"/>
                </a:cxn>
                <a:cxn ang="0">
                  <a:pos x="202" y="791"/>
                </a:cxn>
                <a:cxn ang="0">
                  <a:pos x="195" y="782"/>
                </a:cxn>
                <a:cxn ang="0">
                  <a:pos x="209" y="778"/>
                </a:cxn>
                <a:cxn ang="0">
                  <a:pos x="224" y="756"/>
                </a:cxn>
                <a:cxn ang="0">
                  <a:pos x="235" y="733"/>
                </a:cxn>
                <a:cxn ang="0">
                  <a:pos x="266" y="705"/>
                </a:cxn>
                <a:cxn ang="0">
                  <a:pos x="281" y="707"/>
                </a:cxn>
                <a:cxn ang="0">
                  <a:pos x="296" y="707"/>
                </a:cxn>
                <a:cxn ang="0">
                  <a:pos x="309" y="688"/>
                </a:cxn>
                <a:cxn ang="0">
                  <a:pos x="332" y="678"/>
                </a:cxn>
                <a:cxn ang="0">
                  <a:pos x="338" y="696"/>
                </a:cxn>
                <a:cxn ang="0">
                  <a:pos x="352" y="706"/>
                </a:cxn>
                <a:cxn ang="0">
                  <a:pos x="359" y="718"/>
                </a:cxn>
                <a:cxn ang="0">
                  <a:pos x="391" y="756"/>
                </a:cxn>
                <a:cxn ang="0">
                  <a:pos x="331" y="789"/>
                </a:cxn>
                <a:cxn ang="0">
                  <a:pos x="326" y="823"/>
                </a:cxn>
                <a:cxn ang="0">
                  <a:pos x="314" y="838"/>
                </a:cxn>
                <a:cxn ang="0">
                  <a:pos x="328" y="842"/>
                </a:cxn>
                <a:cxn ang="0">
                  <a:pos x="345" y="850"/>
                </a:cxn>
                <a:cxn ang="0">
                  <a:pos x="301" y="879"/>
                </a:cxn>
                <a:cxn ang="0">
                  <a:pos x="385" y="913"/>
                </a:cxn>
                <a:cxn ang="0">
                  <a:pos x="402" y="925"/>
                </a:cxn>
                <a:cxn ang="0">
                  <a:pos x="379" y="327"/>
                </a:cxn>
              </a:cxnLst>
              <a:rect l="0" t="0" r="r" b="b"/>
              <a:pathLst>
                <a:path w="408" h="931">
                  <a:moveTo>
                    <a:pt x="290" y="844"/>
                  </a:moveTo>
                  <a:cubicBezTo>
                    <a:pt x="285" y="844"/>
                    <a:pt x="285" y="844"/>
                    <a:pt x="285" y="844"/>
                  </a:cubicBezTo>
                  <a:cubicBezTo>
                    <a:pt x="287" y="851"/>
                    <a:pt x="287" y="851"/>
                    <a:pt x="287" y="851"/>
                  </a:cubicBezTo>
                  <a:cubicBezTo>
                    <a:pt x="291" y="856"/>
                    <a:pt x="291" y="856"/>
                    <a:pt x="291" y="856"/>
                  </a:cubicBezTo>
                  <a:cubicBezTo>
                    <a:pt x="293" y="855"/>
                    <a:pt x="293" y="855"/>
                    <a:pt x="293" y="855"/>
                  </a:cubicBezTo>
                  <a:cubicBezTo>
                    <a:pt x="291" y="851"/>
                    <a:pt x="291" y="851"/>
                    <a:pt x="291" y="851"/>
                  </a:cubicBezTo>
                  <a:lnTo>
                    <a:pt x="290" y="844"/>
                  </a:lnTo>
                  <a:close/>
                  <a:moveTo>
                    <a:pt x="395" y="19"/>
                  </a:moveTo>
                  <a:cubicBezTo>
                    <a:pt x="395" y="19"/>
                    <a:pt x="400" y="22"/>
                    <a:pt x="398" y="25"/>
                  </a:cubicBezTo>
                  <a:cubicBezTo>
                    <a:pt x="397" y="28"/>
                    <a:pt x="391" y="28"/>
                    <a:pt x="391" y="28"/>
                  </a:cubicBezTo>
                  <a:cubicBezTo>
                    <a:pt x="385" y="40"/>
                    <a:pt x="385" y="40"/>
                    <a:pt x="385" y="40"/>
                  </a:cubicBezTo>
                  <a:cubicBezTo>
                    <a:pt x="377" y="43"/>
                    <a:pt x="377" y="43"/>
                    <a:pt x="377" y="43"/>
                  </a:cubicBezTo>
                  <a:cubicBezTo>
                    <a:pt x="381" y="50"/>
                    <a:pt x="381" y="50"/>
                    <a:pt x="381" y="50"/>
                  </a:cubicBezTo>
                  <a:cubicBezTo>
                    <a:pt x="366" y="63"/>
                    <a:pt x="366" y="63"/>
                    <a:pt x="366" y="63"/>
                  </a:cubicBezTo>
                  <a:cubicBezTo>
                    <a:pt x="366" y="63"/>
                    <a:pt x="376" y="75"/>
                    <a:pt x="371" y="77"/>
                  </a:cubicBezTo>
                  <a:cubicBezTo>
                    <a:pt x="365" y="80"/>
                    <a:pt x="362" y="71"/>
                    <a:pt x="362" y="7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2" y="90"/>
                    <a:pt x="352" y="90"/>
                    <a:pt x="352" y="90"/>
                  </a:cubicBezTo>
                  <a:cubicBezTo>
                    <a:pt x="343" y="88"/>
                    <a:pt x="343" y="88"/>
                    <a:pt x="343" y="88"/>
                  </a:cubicBezTo>
                  <a:cubicBezTo>
                    <a:pt x="341" y="94"/>
                    <a:pt x="341" y="94"/>
                    <a:pt x="341" y="94"/>
                  </a:cubicBezTo>
                  <a:cubicBezTo>
                    <a:pt x="328" y="94"/>
                    <a:pt x="328" y="94"/>
                    <a:pt x="328" y="94"/>
                  </a:cubicBezTo>
                  <a:cubicBezTo>
                    <a:pt x="327" y="102"/>
                    <a:pt x="327" y="102"/>
                    <a:pt x="327" y="102"/>
                  </a:cubicBezTo>
                  <a:cubicBezTo>
                    <a:pt x="331" y="104"/>
                    <a:pt x="331" y="104"/>
                    <a:pt x="331" y="104"/>
                  </a:cubicBezTo>
                  <a:cubicBezTo>
                    <a:pt x="322" y="113"/>
                    <a:pt x="322" y="113"/>
                    <a:pt x="322" y="113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6" y="123"/>
                    <a:pt x="336" y="123"/>
                    <a:pt x="336" y="123"/>
                  </a:cubicBezTo>
                  <a:cubicBezTo>
                    <a:pt x="333" y="129"/>
                    <a:pt x="333" y="129"/>
                    <a:pt x="333" y="129"/>
                  </a:cubicBezTo>
                  <a:cubicBezTo>
                    <a:pt x="342" y="125"/>
                    <a:pt x="342" y="125"/>
                    <a:pt x="342" y="125"/>
                  </a:cubicBezTo>
                  <a:cubicBezTo>
                    <a:pt x="348" y="126"/>
                    <a:pt x="348" y="126"/>
                    <a:pt x="348" y="126"/>
                  </a:cubicBezTo>
                  <a:cubicBezTo>
                    <a:pt x="348" y="126"/>
                    <a:pt x="354" y="114"/>
                    <a:pt x="359" y="118"/>
                  </a:cubicBezTo>
                  <a:cubicBezTo>
                    <a:pt x="364" y="121"/>
                    <a:pt x="354" y="126"/>
                    <a:pt x="354" y="126"/>
                  </a:cubicBezTo>
                  <a:cubicBezTo>
                    <a:pt x="358" y="139"/>
                    <a:pt x="358" y="139"/>
                    <a:pt x="358" y="139"/>
                  </a:cubicBezTo>
                  <a:cubicBezTo>
                    <a:pt x="374" y="134"/>
                    <a:pt x="374" y="134"/>
                    <a:pt x="374" y="134"/>
                  </a:cubicBezTo>
                  <a:cubicBezTo>
                    <a:pt x="373" y="130"/>
                    <a:pt x="373" y="130"/>
                    <a:pt x="373" y="130"/>
                  </a:cubicBezTo>
                  <a:cubicBezTo>
                    <a:pt x="373" y="130"/>
                    <a:pt x="379" y="130"/>
                    <a:pt x="382" y="129"/>
                  </a:cubicBezTo>
                  <a:cubicBezTo>
                    <a:pt x="387" y="127"/>
                    <a:pt x="389" y="121"/>
                    <a:pt x="393" y="125"/>
                  </a:cubicBezTo>
                  <a:cubicBezTo>
                    <a:pt x="398" y="129"/>
                    <a:pt x="400" y="132"/>
                    <a:pt x="396" y="134"/>
                  </a:cubicBezTo>
                  <a:cubicBezTo>
                    <a:pt x="392" y="136"/>
                    <a:pt x="386" y="145"/>
                    <a:pt x="386" y="145"/>
                  </a:cubicBezTo>
                  <a:cubicBezTo>
                    <a:pt x="377" y="146"/>
                    <a:pt x="377" y="146"/>
                    <a:pt x="377" y="146"/>
                  </a:cubicBezTo>
                  <a:cubicBezTo>
                    <a:pt x="372" y="151"/>
                    <a:pt x="372" y="151"/>
                    <a:pt x="372" y="151"/>
                  </a:cubicBezTo>
                  <a:cubicBezTo>
                    <a:pt x="361" y="159"/>
                    <a:pt x="361" y="159"/>
                    <a:pt x="361" y="159"/>
                  </a:cubicBezTo>
                  <a:cubicBezTo>
                    <a:pt x="361" y="159"/>
                    <a:pt x="367" y="161"/>
                    <a:pt x="367" y="162"/>
                  </a:cubicBezTo>
                  <a:cubicBezTo>
                    <a:pt x="367" y="164"/>
                    <a:pt x="364" y="181"/>
                    <a:pt x="364" y="181"/>
                  </a:cubicBezTo>
                  <a:cubicBezTo>
                    <a:pt x="378" y="186"/>
                    <a:pt x="378" y="186"/>
                    <a:pt x="378" y="186"/>
                  </a:cubicBezTo>
                  <a:cubicBezTo>
                    <a:pt x="383" y="184"/>
                    <a:pt x="383" y="184"/>
                    <a:pt x="383" y="184"/>
                  </a:cubicBezTo>
                  <a:cubicBezTo>
                    <a:pt x="393" y="187"/>
                    <a:pt x="393" y="187"/>
                    <a:pt x="393" y="187"/>
                  </a:cubicBezTo>
                  <a:cubicBezTo>
                    <a:pt x="391" y="209"/>
                    <a:pt x="391" y="209"/>
                    <a:pt x="391" y="209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77" y="234"/>
                    <a:pt x="377" y="234"/>
                    <a:pt x="377" y="234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80" y="239"/>
                    <a:pt x="396" y="229"/>
                    <a:pt x="398" y="232"/>
                  </a:cubicBezTo>
                  <a:cubicBezTo>
                    <a:pt x="402" y="236"/>
                    <a:pt x="398" y="240"/>
                    <a:pt x="398" y="240"/>
                  </a:cubicBezTo>
                  <a:cubicBezTo>
                    <a:pt x="408" y="239"/>
                    <a:pt x="408" y="239"/>
                    <a:pt x="408" y="23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395" y="19"/>
                  </a:lnTo>
                  <a:close/>
                  <a:moveTo>
                    <a:pt x="379" y="327"/>
                  </a:moveTo>
                  <a:cubicBezTo>
                    <a:pt x="370" y="322"/>
                    <a:pt x="370" y="316"/>
                    <a:pt x="364" y="316"/>
                  </a:cubicBezTo>
                  <a:cubicBezTo>
                    <a:pt x="359" y="318"/>
                    <a:pt x="354" y="319"/>
                    <a:pt x="354" y="319"/>
                  </a:cubicBezTo>
                  <a:cubicBezTo>
                    <a:pt x="354" y="319"/>
                    <a:pt x="358" y="326"/>
                    <a:pt x="355" y="328"/>
                  </a:cubicBezTo>
                  <a:cubicBezTo>
                    <a:pt x="353" y="330"/>
                    <a:pt x="336" y="337"/>
                    <a:pt x="336" y="337"/>
                  </a:cubicBezTo>
                  <a:cubicBezTo>
                    <a:pt x="345" y="346"/>
                    <a:pt x="345" y="346"/>
                    <a:pt x="345" y="346"/>
                  </a:cubicBezTo>
                  <a:cubicBezTo>
                    <a:pt x="345" y="346"/>
                    <a:pt x="338" y="346"/>
                    <a:pt x="337" y="347"/>
                  </a:cubicBezTo>
                  <a:cubicBezTo>
                    <a:pt x="336" y="350"/>
                    <a:pt x="340" y="354"/>
                    <a:pt x="337" y="356"/>
                  </a:cubicBezTo>
                  <a:cubicBezTo>
                    <a:pt x="332" y="358"/>
                    <a:pt x="318" y="353"/>
                    <a:pt x="318" y="353"/>
                  </a:cubicBezTo>
                  <a:cubicBezTo>
                    <a:pt x="306" y="362"/>
                    <a:pt x="306" y="362"/>
                    <a:pt x="306" y="362"/>
                  </a:cubicBezTo>
                  <a:cubicBezTo>
                    <a:pt x="306" y="362"/>
                    <a:pt x="311" y="370"/>
                    <a:pt x="307" y="371"/>
                  </a:cubicBezTo>
                  <a:cubicBezTo>
                    <a:pt x="303" y="371"/>
                    <a:pt x="296" y="367"/>
                    <a:pt x="296" y="367"/>
                  </a:cubicBezTo>
                  <a:cubicBezTo>
                    <a:pt x="297" y="382"/>
                    <a:pt x="297" y="382"/>
                    <a:pt x="297" y="382"/>
                  </a:cubicBezTo>
                  <a:cubicBezTo>
                    <a:pt x="292" y="384"/>
                    <a:pt x="292" y="384"/>
                    <a:pt x="292" y="384"/>
                  </a:cubicBezTo>
                  <a:cubicBezTo>
                    <a:pt x="292" y="384"/>
                    <a:pt x="298" y="390"/>
                    <a:pt x="296" y="397"/>
                  </a:cubicBezTo>
                  <a:cubicBezTo>
                    <a:pt x="294" y="402"/>
                    <a:pt x="290" y="414"/>
                    <a:pt x="290" y="414"/>
                  </a:cubicBezTo>
                  <a:cubicBezTo>
                    <a:pt x="258" y="417"/>
                    <a:pt x="258" y="417"/>
                    <a:pt x="258" y="417"/>
                  </a:cubicBezTo>
                  <a:cubicBezTo>
                    <a:pt x="258" y="417"/>
                    <a:pt x="258" y="414"/>
                    <a:pt x="255" y="413"/>
                  </a:cubicBezTo>
                  <a:cubicBezTo>
                    <a:pt x="251" y="413"/>
                    <a:pt x="248" y="415"/>
                    <a:pt x="248" y="415"/>
                  </a:cubicBezTo>
                  <a:cubicBezTo>
                    <a:pt x="248" y="415"/>
                    <a:pt x="236" y="410"/>
                    <a:pt x="234" y="415"/>
                  </a:cubicBezTo>
                  <a:cubicBezTo>
                    <a:pt x="232" y="419"/>
                    <a:pt x="232" y="422"/>
                    <a:pt x="234" y="423"/>
                  </a:cubicBezTo>
                  <a:cubicBezTo>
                    <a:pt x="238" y="423"/>
                    <a:pt x="243" y="422"/>
                    <a:pt x="245" y="428"/>
                  </a:cubicBezTo>
                  <a:cubicBezTo>
                    <a:pt x="247" y="432"/>
                    <a:pt x="255" y="432"/>
                    <a:pt x="254" y="436"/>
                  </a:cubicBezTo>
                  <a:cubicBezTo>
                    <a:pt x="252" y="440"/>
                    <a:pt x="251" y="448"/>
                    <a:pt x="246" y="445"/>
                  </a:cubicBezTo>
                  <a:cubicBezTo>
                    <a:pt x="242" y="442"/>
                    <a:pt x="239" y="436"/>
                    <a:pt x="239" y="433"/>
                  </a:cubicBezTo>
                  <a:cubicBezTo>
                    <a:pt x="239" y="429"/>
                    <a:pt x="238" y="428"/>
                    <a:pt x="232" y="428"/>
                  </a:cubicBezTo>
                  <a:cubicBezTo>
                    <a:pt x="227" y="428"/>
                    <a:pt x="221" y="429"/>
                    <a:pt x="215" y="424"/>
                  </a:cubicBezTo>
                  <a:cubicBezTo>
                    <a:pt x="210" y="420"/>
                    <a:pt x="205" y="419"/>
                    <a:pt x="202" y="422"/>
                  </a:cubicBezTo>
                  <a:cubicBezTo>
                    <a:pt x="199" y="426"/>
                    <a:pt x="198" y="428"/>
                    <a:pt x="194" y="426"/>
                  </a:cubicBezTo>
                  <a:cubicBezTo>
                    <a:pt x="189" y="425"/>
                    <a:pt x="191" y="417"/>
                    <a:pt x="182" y="418"/>
                  </a:cubicBezTo>
                  <a:cubicBezTo>
                    <a:pt x="174" y="419"/>
                    <a:pt x="161" y="431"/>
                    <a:pt x="161" y="431"/>
                  </a:cubicBezTo>
                  <a:cubicBezTo>
                    <a:pt x="153" y="431"/>
                    <a:pt x="153" y="431"/>
                    <a:pt x="153" y="431"/>
                  </a:cubicBezTo>
                  <a:cubicBezTo>
                    <a:pt x="153" y="431"/>
                    <a:pt x="157" y="437"/>
                    <a:pt x="151" y="437"/>
                  </a:cubicBezTo>
                  <a:cubicBezTo>
                    <a:pt x="145" y="438"/>
                    <a:pt x="129" y="428"/>
                    <a:pt x="129" y="428"/>
                  </a:cubicBezTo>
                  <a:cubicBezTo>
                    <a:pt x="125" y="430"/>
                    <a:pt x="125" y="430"/>
                    <a:pt x="125" y="430"/>
                  </a:cubicBezTo>
                  <a:cubicBezTo>
                    <a:pt x="127" y="437"/>
                    <a:pt x="127" y="437"/>
                    <a:pt x="127" y="437"/>
                  </a:cubicBezTo>
                  <a:cubicBezTo>
                    <a:pt x="127" y="437"/>
                    <a:pt x="118" y="437"/>
                    <a:pt x="116" y="441"/>
                  </a:cubicBezTo>
                  <a:cubicBezTo>
                    <a:pt x="114" y="446"/>
                    <a:pt x="123" y="452"/>
                    <a:pt x="119" y="454"/>
                  </a:cubicBezTo>
                  <a:cubicBezTo>
                    <a:pt x="116" y="456"/>
                    <a:pt x="111" y="455"/>
                    <a:pt x="111" y="455"/>
                  </a:cubicBezTo>
                  <a:cubicBezTo>
                    <a:pt x="111" y="455"/>
                    <a:pt x="110" y="468"/>
                    <a:pt x="104" y="466"/>
                  </a:cubicBezTo>
                  <a:cubicBezTo>
                    <a:pt x="99" y="465"/>
                    <a:pt x="105" y="455"/>
                    <a:pt x="102" y="454"/>
                  </a:cubicBezTo>
                  <a:cubicBezTo>
                    <a:pt x="99" y="453"/>
                    <a:pt x="88" y="460"/>
                    <a:pt x="88" y="460"/>
                  </a:cubicBezTo>
                  <a:cubicBezTo>
                    <a:pt x="77" y="460"/>
                    <a:pt x="77" y="460"/>
                    <a:pt x="77" y="460"/>
                  </a:cubicBezTo>
                  <a:cubicBezTo>
                    <a:pt x="84" y="466"/>
                    <a:pt x="84" y="466"/>
                    <a:pt x="84" y="466"/>
                  </a:cubicBezTo>
                  <a:cubicBezTo>
                    <a:pt x="84" y="466"/>
                    <a:pt x="79" y="469"/>
                    <a:pt x="77" y="471"/>
                  </a:cubicBezTo>
                  <a:cubicBezTo>
                    <a:pt x="75" y="473"/>
                    <a:pt x="80" y="480"/>
                    <a:pt x="80" y="482"/>
                  </a:cubicBezTo>
                  <a:cubicBezTo>
                    <a:pt x="80" y="485"/>
                    <a:pt x="70" y="487"/>
                    <a:pt x="71" y="489"/>
                  </a:cubicBezTo>
                  <a:cubicBezTo>
                    <a:pt x="72" y="493"/>
                    <a:pt x="79" y="492"/>
                    <a:pt x="78" y="496"/>
                  </a:cubicBezTo>
                  <a:cubicBezTo>
                    <a:pt x="78" y="499"/>
                    <a:pt x="65" y="507"/>
                    <a:pt x="65" y="507"/>
                  </a:cubicBezTo>
                  <a:cubicBezTo>
                    <a:pt x="59" y="518"/>
                    <a:pt x="59" y="518"/>
                    <a:pt x="59" y="518"/>
                  </a:cubicBezTo>
                  <a:cubicBezTo>
                    <a:pt x="49" y="524"/>
                    <a:pt x="49" y="524"/>
                    <a:pt x="49" y="524"/>
                  </a:cubicBezTo>
                  <a:cubicBezTo>
                    <a:pt x="51" y="534"/>
                    <a:pt x="51" y="534"/>
                    <a:pt x="51" y="534"/>
                  </a:cubicBezTo>
                  <a:cubicBezTo>
                    <a:pt x="51" y="534"/>
                    <a:pt x="61" y="533"/>
                    <a:pt x="59" y="537"/>
                  </a:cubicBezTo>
                  <a:cubicBezTo>
                    <a:pt x="58" y="543"/>
                    <a:pt x="51" y="548"/>
                    <a:pt x="51" y="548"/>
                  </a:cubicBezTo>
                  <a:cubicBezTo>
                    <a:pt x="51" y="548"/>
                    <a:pt x="53" y="564"/>
                    <a:pt x="47" y="565"/>
                  </a:cubicBezTo>
                  <a:cubicBezTo>
                    <a:pt x="41" y="566"/>
                    <a:pt x="36" y="568"/>
                    <a:pt x="36" y="568"/>
                  </a:cubicBezTo>
                  <a:cubicBezTo>
                    <a:pt x="35" y="572"/>
                    <a:pt x="35" y="572"/>
                    <a:pt x="35" y="572"/>
                  </a:cubicBezTo>
                  <a:cubicBezTo>
                    <a:pt x="39" y="572"/>
                    <a:pt x="39" y="572"/>
                    <a:pt x="39" y="572"/>
                  </a:cubicBezTo>
                  <a:cubicBezTo>
                    <a:pt x="39" y="572"/>
                    <a:pt x="49" y="584"/>
                    <a:pt x="53" y="588"/>
                  </a:cubicBezTo>
                  <a:cubicBezTo>
                    <a:pt x="58" y="590"/>
                    <a:pt x="61" y="595"/>
                    <a:pt x="61" y="595"/>
                  </a:cubicBezTo>
                  <a:cubicBezTo>
                    <a:pt x="61" y="595"/>
                    <a:pt x="68" y="587"/>
                    <a:pt x="67" y="596"/>
                  </a:cubicBezTo>
                  <a:cubicBezTo>
                    <a:pt x="66" y="606"/>
                    <a:pt x="60" y="620"/>
                    <a:pt x="54" y="620"/>
                  </a:cubicBezTo>
                  <a:cubicBezTo>
                    <a:pt x="48" y="620"/>
                    <a:pt x="41" y="621"/>
                    <a:pt x="37" y="614"/>
                  </a:cubicBezTo>
                  <a:cubicBezTo>
                    <a:pt x="34" y="609"/>
                    <a:pt x="22" y="600"/>
                    <a:pt x="14" y="600"/>
                  </a:cubicBezTo>
                  <a:cubicBezTo>
                    <a:pt x="4" y="600"/>
                    <a:pt x="0" y="607"/>
                    <a:pt x="1" y="614"/>
                  </a:cubicBezTo>
                  <a:cubicBezTo>
                    <a:pt x="1" y="622"/>
                    <a:pt x="10" y="623"/>
                    <a:pt x="9" y="628"/>
                  </a:cubicBezTo>
                  <a:cubicBezTo>
                    <a:pt x="0" y="643"/>
                    <a:pt x="0" y="643"/>
                    <a:pt x="0" y="643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22" y="676"/>
                    <a:pt x="25" y="685"/>
                  </a:cubicBezTo>
                  <a:cubicBezTo>
                    <a:pt x="28" y="693"/>
                    <a:pt x="22" y="703"/>
                    <a:pt x="22" y="703"/>
                  </a:cubicBezTo>
                  <a:cubicBezTo>
                    <a:pt x="28" y="742"/>
                    <a:pt x="28" y="742"/>
                    <a:pt x="28" y="742"/>
                  </a:cubicBezTo>
                  <a:cubicBezTo>
                    <a:pt x="57" y="736"/>
                    <a:pt x="57" y="736"/>
                    <a:pt x="57" y="736"/>
                  </a:cubicBezTo>
                  <a:cubicBezTo>
                    <a:pt x="57" y="736"/>
                    <a:pt x="57" y="740"/>
                    <a:pt x="60" y="742"/>
                  </a:cubicBezTo>
                  <a:cubicBezTo>
                    <a:pt x="62" y="745"/>
                    <a:pt x="67" y="747"/>
                    <a:pt x="65" y="750"/>
                  </a:cubicBezTo>
                  <a:cubicBezTo>
                    <a:pt x="64" y="752"/>
                    <a:pt x="63" y="759"/>
                    <a:pt x="68" y="760"/>
                  </a:cubicBezTo>
                  <a:cubicBezTo>
                    <a:pt x="74" y="762"/>
                    <a:pt x="86" y="762"/>
                    <a:pt x="86" y="762"/>
                  </a:cubicBezTo>
                  <a:cubicBezTo>
                    <a:pt x="82" y="754"/>
                    <a:pt x="82" y="754"/>
                    <a:pt x="82" y="754"/>
                  </a:cubicBezTo>
                  <a:cubicBezTo>
                    <a:pt x="82" y="754"/>
                    <a:pt x="87" y="755"/>
                    <a:pt x="94" y="753"/>
                  </a:cubicBezTo>
                  <a:cubicBezTo>
                    <a:pt x="101" y="751"/>
                    <a:pt x="98" y="739"/>
                    <a:pt x="108" y="742"/>
                  </a:cubicBezTo>
                  <a:cubicBezTo>
                    <a:pt x="117" y="745"/>
                    <a:pt x="118" y="756"/>
                    <a:pt x="125" y="756"/>
                  </a:cubicBezTo>
                  <a:cubicBezTo>
                    <a:pt x="132" y="756"/>
                    <a:pt x="133" y="752"/>
                    <a:pt x="139" y="754"/>
                  </a:cubicBezTo>
                  <a:cubicBezTo>
                    <a:pt x="144" y="757"/>
                    <a:pt x="149" y="768"/>
                    <a:pt x="157" y="770"/>
                  </a:cubicBezTo>
                  <a:cubicBezTo>
                    <a:pt x="164" y="772"/>
                    <a:pt x="183" y="779"/>
                    <a:pt x="178" y="784"/>
                  </a:cubicBezTo>
                  <a:cubicBezTo>
                    <a:pt x="174" y="788"/>
                    <a:pt x="164" y="782"/>
                    <a:pt x="160" y="787"/>
                  </a:cubicBezTo>
                  <a:cubicBezTo>
                    <a:pt x="156" y="794"/>
                    <a:pt x="157" y="800"/>
                    <a:pt x="166" y="801"/>
                  </a:cubicBezTo>
                  <a:cubicBezTo>
                    <a:pt x="177" y="802"/>
                    <a:pt x="200" y="798"/>
                    <a:pt x="200" y="798"/>
                  </a:cubicBezTo>
                  <a:cubicBezTo>
                    <a:pt x="199" y="794"/>
                    <a:pt x="199" y="794"/>
                    <a:pt x="199" y="794"/>
                  </a:cubicBezTo>
                  <a:cubicBezTo>
                    <a:pt x="196" y="793"/>
                    <a:pt x="196" y="793"/>
                    <a:pt x="196" y="793"/>
                  </a:cubicBezTo>
                  <a:cubicBezTo>
                    <a:pt x="202" y="791"/>
                    <a:pt x="202" y="791"/>
                    <a:pt x="202" y="791"/>
                  </a:cubicBezTo>
                  <a:cubicBezTo>
                    <a:pt x="202" y="788"/>
                    <a:pt x="202" y="788"/>
                    <a:pt x="202" y="788"/>
                  </a:cubicBezTo>
                  <a:cubicBezTo>
                    <a:pt x="198" y="789"/>
                    <a:pt x="198" y="789"/>
                    <a:pt x="198" y="789"/>
                  </a:cubicBezTo>
                  <a:cubicBezTo>
                    <a:pt x="198" y="785"/>
                    <a:pt x="198" y="785"/>
                    <a:pt x="198" y="785"/>
                  </a:cubicBezTo>
                  <a:cubicBezTo>
                    <a:pt x="195" y="782"/>
                    <a:pt x="195" y="782"/>
                    <a:pt x="195" y="782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5" y="779"/>
                    <a:pt x="205" y="779"/>
                    <a:pt x="205" y="779"/>
                  </a:cubicBezTo>
                  <a:cubicBezTo>
                    <a:pt x="209" y="784"/>
                    <a:pt x="209" y="784"/>
                    <a:pt x="209" y="784"/>
                  </a:cubicBezTo>
                  <a:cubicBezTo>
                    <a:pt x="209" y="778"/>
                    <a:pt x="209" y="778"/>
                    <a:pt x="209" y="778"/>
                  </a:cubicBezTo>
                  <a:cubicBezTo>
                    <a:pt x="209" y="778"/>
                    <a:pt x="212" y="780"/>
                    <a:pt x="215" y="775"/>
                  </a:cubicBezTo>
                  <a:cubicBezTo>
                    <a:pt x="219" y="770"/>
                    <a:pt x="218" y="765"/>
                    <a:pt x="218" y="765"/>
                  </a:cubicBezTo>
                  <a:cubicBezTo>
                    <a:pt x="218" y="765"/>
                    <a:pt x="222" y="768"/>
                    <a:pt x="223" y="765"/>
                  </a:cubicBezTo>
                  <a:cubicBezTo>
                    <a:pt x="225" y="763"/>
                    <a:pt x="224" y="756"/>
                    <a:pt x="224" y="756"/>
                  </a:cubicBezTo>
                  <a:cubicBezTo>
                    <a:pt x="228" y="754"/>
                    <a:pt x="228" y="754"/>
                    <a:pt x="228" y="754"/>
                  </a:cubicBezTo>
                  <a:cubicBezTo>
                    <a:pt x="228" y="740"/>
                    <a:pt x="228" y="740"/>
                    <a:pt x="228" y="740"/>
                  </a:cubicBezTo>
                  <a:cubicBezTo>
                    <a:pt x="236" y="740"/>
                    <a:pt x="236" y="740"/>
                    <a:pt x="236" y="740"/>
                  </a:cubicBezTo>
                  <a:cubicBezTo>
                    <a:pt x="235" y="733"/>
                    <a:pt x="235" y="733"/>
                    <a:pt x="235" y="733"/>
                  </a:cubicBezTo>
                  <a:cubicBezTo>
                    <a:pt x="243" y="732"/>
                    <a:pt x="243" y="732"/>
                    <a:pt x="243" y="732"/>
                  </a:cubicBezTo>
                  <a:cubicBezTo>
                    <a:pt x="243" y="732"/>
                    <a:pt x="239" y="722"/>
                    <a:pt x="247" y="714"/>
                  </a:cubicBezTo>
                  <a:cubicBezTo>
                    <a:pt x="256" y="705"/>
                    <a:pt x="262" y="707"/>
                    <a:pt x="262" y="707"/>
                  </a:cubicBezTo>
                  <a:cubicBezTo>
                    <a:pt x="266" y="705"/>
                    <a:pt x="266" y="705"/>
                    <a:pt x="266" y="705"/>
                  </a:cubicBezTo>
                  <a:cubicBezTo>
                    <a:pt x="268" y="707"/>
                    <a:pt x="268" y="707"/>
                    <a:pt x="268" y="707"/>
                  </a:cubicBezTo>
                  <a:cubicBezTo>
                    <a:pt x="270" y="703"/>
                    <a:pt x="270" y="703"/>
                    <a:pt x="270" y="703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81" y="707"/>
                    <a:pt x="281" y="707"/>
                    <a:pt x="281" y="707"/>
                  </a:cubicBezTo>
                  <a:cubicBezTo>
                    <a:pt x="283" y="702"/>
                    <a:pt x="283" y="702"/>
                    <a:pt x="283" y="702"/>
                  </a:cubicBezTo>
                  <a:cubicBezTo>
                    <a:pt x="285" y="708"/>
                    <a:pt x="285" y="708"/>
                    <a:pt x="285" y="708"/>
                  </a:cubicBezTo>
                  <a:cubicBezTo>
                    <a:pt x="290" y="703"/>
                    <a:pt x="290" y="703"/>
                    <a:pt x="290" y="703"/>
                  </a:cubicBezTo>
                  <a:cubicBezTo>
                    <a:pt x="290" y="703"/>
                    <a:pt x="293" y="708"/>
                    <a:pt x="296" y="707"/>
                  </a:cubicBezTo>
                  <a:cubicBezTo>
                    <a:pt x="299" y="706"/>
                    <a:pt x="298" y="699"/>
                    <a:pt x="298" y="699"/>
                  </a:cubicBezTo>
                  <a:cubicBezTo>
                    <a:pt x="304" y="696"/>
                    <a:pt x="304" y="696"/>
                    <a:pt x="304" y="696"/>
                  </a:cubicBezTo>
                  <a:cubicBezTo>
                    <a:pt x="304" y="696"/>
                    <a:pt x="301" y="687"/>
                    <a:pt x="304" y="685"/>
                  </a:cubicBezTo>
                  <a:cubicBezTo>
                    <a:pt x="307" y="683"/>
                    <a:pt x="309" y="688"/>
                    <a:pt x="309" y="688"/>
                  </a:cubicBezTo>
                  <a:cubicBezTo>
                    <a:pt x="318" y="683"/>
                    <a:pt x="318" y="683"/>
                    <a:pt x="318" y="683"/>
                  </a:cubicBezTo>
                  <a:cubicBezTo>
                    <a:pt x="318" y="683"/>
                    <a:pt x="318" y="677"/>
                    <a:pt x="322" y="677"/>
                  </a:cubicBezTo>
                  <a:cubicBezTo>
                    <a:pt x="326" y="677"/>
                    <a:pt x="326" y="679"/>
                    <a:pt x="326" y="679"/>
                  </a:cubicBezTo>
                  <a:cubicBezTo>
                    <a:pt x="332" y="678"/>
                    <a:pt x="332" y="678"/>
                    <a:pt x="332" y="678"/>
                  </a:cubicBezTo>
                  <a:cubicBezTo>
                    <a:pt x="332" y="678"/>
                    <a:pt x="333" y="684"/>
                    <a:pt x="337" y="685"/>
                  </a:cubicBezTo>
                  <a:cubicBezTo>
                    <a:pt x="340" y="685"/>
                    <a:pt x="345" y="682"/>
                    <a:pt x="345" y="685"/>
                  </a:cubicBezTo>
                  <a:cubicBezTo>
                    <a:pt x="345" y="689"/>
                    <a:pt x="337" y="691"/>
                    <a:pt x="337" y="691"/>
                  </a:cubicBezTo>
                  <a:cubicBezTo>
                    <a:pt x="338" y="696"/>
                    <a:pt x="338" y="696"/>
                    <a:pt x="338" y="696"/>
                  </a:cubicBezTo>
                  <a:cubicBezTo>
                    <a:pt x="341" y="694"/>
                    <a:pt x="341" y="694"/>
                    <a:pt x="341" y="694"/>
                  </a:cubicBezTo>
                  <a:cubicBezTo>
                    <a:pt x="342" y="701"/>
                    <a:pt x="342" y="701"/>
                    <a:pt x="342" y="701"/>
                  </a:cubicBezTo>
                  <a:cubicBezTo>
                    <a:pt x="352" y="703"/>
                    <a:pt x="352" y="703"/>
                    <a:pt x="352" y="703"/>
                  </a:cubicBezTo>
                  <a:cubicBezTo>
                    <a:pt x="352" y="706"/>
                    <a:pt x="352" y="706"/>
                    <a:pt x="352" y="706"/>
                  </a:cubicBezTo>
                  <a:cubicBezTo>
                    <a:pt x="346" y="706"/>
                    <a:pt x="346" y="706"/>
                    <a:pt x="346" y="706"/>
                  </a:cubicBezTo>
                  <a:cubicBezTo>
                    <a:pt x="348" y="713"/>
                    <a:pt x="348" y="713"/>
                    <a:pt x="348" y="713"/>
                  </a:cubicBezTo>
                  <a:cubicBezTo>
                    <a:pt x="357" y="709"/>
                    <a:pt x="357" y="709"/>
                    <a:pt x="357" y="709"/>
                  </a:cubicBezTo>
                  <a:cubicBezTo>
                    <a:pt x="357" y="709"/>
                    <a:pt x="357" y="716"/>
                    <a:pt x="359" y="718"/>
                  </a:cubicBezTo>
                  <a:cubicBezTo>
                    <a:pt x="361" y="720"/>
                    <a:pt x="364" y="725"/>
                    <a:pt x="363" y="732"/>
                  </a:cubicBezTo>
                  <a:cubicBezTo>
                    <a:pt x="363" y="738"/>
                    <a:pt x="361" y="741"/>
                    <a:pt x="361" y="748"/>
                  </a:cubicBezTo>
                  <a:cubicBezTo>
                    <a:pt x="361" y="753"/>
                    <a:pt x="367" y="760"/>
                    <a:pt x="367" y="760"/>
                  </a:cubicBezTo>
                  <a:cubicBezTo>
                    <a:pt x="391" y="756"/>
                    <a:pt x="391" y="756"/>
                    <a:pt x="391" y="756"/>
                  </a:cubicBezTo>
                  <a:cubicBezTo>
                    <a:pt x="391" y="756"/>
                    <a:pt x="388" y="767"/>
                    <a:pt x="381" y="768"/>
                  </a:cubicBezTo>
                  <a:cubicBezTo>
                    <a:pt x="374" y="770"/>
                    <a:pt x="366" y="769"/>
                    <a:pt x="362" y="772"/>
                  </a:cubicBezTo>
                  <a:cubicBezTo>
                    <a:pt x="358" y="776"/>
                    <a:pt x="350" y="784"/>
                    <a:pt x="346" y="786"/>
                  </a:cubicBezTo>
                  <a:cubicBezTo>
                    <a:pt x="342" y="788"/>
                    <a:pt x="331" y="789"/>
                    <a:pt x="331" y="789"/>
                  </a:cubicBezTo>
                  <a:cubicBezTo>
                    <a:pt x="330" y="799"/>
                    <a:pt x="330" y="799"/>
                    <a:pt x="330" y="799"/>
                  </a:cubicBezTo>
                  <a:cubicBezTo>
                    <a:pt x="323" y="801"/>
                    <a:pt x="323" y="801"/>
                    <a:pt x="323" y="801"/>
                  </a:cubicBezTo>
                  <a:cubicBezTo>
                    <a:pt x="323" y="801"/>
                    <a:pt x="321" y="810"/>
                    <a:pt x="321" y="814"/>
                  </a:cubicBezTo>
                  <a:cubicBezTo>
                    <a:pt x="321" y="818"/>
                    <a:pt x="326" y="823"/>
                    <a:pt x="326" y="823"/>
                  </a:cubicBezTo>
                  <a:cubicBezTo>
                    <a:pt x="326" y="823"/>
                    <a:pt x="323" y="823"/>
                    <a:pt x="321" y="825"/>
                  </a:cubicBezTo>
                  <a:cubicBezTo>
                    <a:pt x="318" y="827"/>
                    <a:pt x="317" y="831"/>
                    <a:pt x="317" y="831"/>
                  </a:cubicBezTo>
                  <a:cubicBezTo>
                    <a:pt x="313" y="834"/>
                    <a:pt x="313" y="834"/>
                    <a:pt x="313" y="834"/>
                  </a:cubicBezTo>
                  <a:cubicBezTo>
                    <a:pt x="314" y="838"/>
                    <a:pt x="314" y="838"/>
                    <a:pt x="314" y="838"/>
                  </a:cubicBezTo>
                  <a:cubicBezTo>
                    <a:pt x="322" y="836"/>
                    <a:pt x="322" y="836"/>
                    <a:pt x="322" y="836"/>
                  </a:cubicBezTo>
                  <a:cubicBezTo>
                    <a:pt x="321" y="842"/>
                    <a:pt x="321" y="842"/>
                    <a:pt x="321" y="842"/>
                  </a:cubicBezTo>
                  <a:cubicBezTo>
                    <a:pt x="327" y="840"/>
                    <a:pt x="327" y="840"/>
                    <a:pt x="327" y="840"/>
                  </a:cubicBezTo>
                  <a:cubicBezTo>
                    <a:pt x="328" y="842"/>
                    <a:pt x="328" y="842"/>
                    <a:pt x="328" y="842"/>
                  </a:cubicBezTo>
                  <a:cubicBezTo>
                    <a:pt x="337" y="842"/>
                    <a:pt x="337" y="842"/>
                    <a:pt x="337" y="842"/>
                  </a:cubicBezTo>
                  <a:cubicBezTo>
                    <a:pt x="337" y="842"/>
                    <a:pt x="339" y="846"/>
                    <a:pt x="342" y="846"/>
                  </a:cubicBezTo>
                  <a:cubicBezTo>
                    <a:pt x="346" y="845"/>
                    <a:pt x="349" y="840"/>
                    <a:pt x="352" y="843"/>
                  </a:cubicBezTo>
                  <a:cubicBezTo>
                    <a:pt x="355" y="847"/>
                    <a:pt x="345" y="850"/>
                    <a:pt x="345" y="850"/>
                  </a:cubicBezTo>
                  <a:cubicBezTo>
                    <a:pt x="345" y="850"/>
                    <a:pt x="344" y="860"/>
                    <a:pt x="340" y="859"/>
                  </a:cubicBezTo>
                  <a:cubicBezTo>
                    <a:pt x="336" y="858"/>
                    <a:pt x="323" y="857"/>
                    <a:pt x="323" y="857"/>
                  </a:cubicBezTo>
                  <a:cubicBezTo>
                    <a:pt x="323" y="857"/>
                    <a:pt x="316" y="863"/>
                    <a:pt x="312" y="864"/>
                  </a:cubicBezTo>
                  <a:cubicBezTo>
                    <a:pt x="309" y="865"/>
                    <a:pt x="297" y="866"/>
                    <a:pt x="301" y="879"/>
                  </a:cubicBezTo>
                  <a:cubicBezTo>
                    <a:pt x="306" y="891"/>
                    <a:pt x="314" y="889"/>
                    <a:pt x="321" y="886"/>
                  </a:cubicBezTo>
                  <a:cubicBezTo>
                    <a:pt x="328" y="883"/>
                    <a:pt x="336" y="879"/>
                    <a:pt x="341" y="886"/>
                  </a:cubicBezTo>
                  <a:cubicBezTo>
                    <a:pt x="346" y="891"/>
                    <a:pt x="363" y="907"/>
                    <a:pt x="367" y="906"/>
                  </a:cubicBezTo>
                  <a:cubicBezTo>
                    <a:pt x="373" y="906"/>
                    <a:pt x="378" y="904"/>
                    <a:pt x="385" y="913"/>
                  </a:cubicBezTo>
                  <a:cubicBezTo>
                    <a:pt x="391" y="922"/>
                    <a:pt x="390" y="931"/>
                    <a:pt x="390" y="931"/>
                  </a:cubicBezTo>
                  <a:cubicBezTo>
                    <a:pt x="393" y="931"/>
                    <a:pt x="393" y="931"/>
                    <a:pt x="393" y="931"/>
                  </a:cubicBezTo>
                  <a:cubicBezTo>
                    <a:pt x="397" y="925"/>
                    <a:pt x="397" y="925"/>
                    <a:pt x="397" y="925"/>
                  </a:cubicBezTo>
                  <a:cubicBezTo>
                    <a:pt x="402" y="925"/>
                    <a:pt x="402" y="925"/>
                    <a:pt x="402" y="925"/>
                  </a:cubicBezTo>
                  <a:cubicBezTo>
                    <a:pt x="402" y="925"/>
                    <a:pt x="402" y="921"/>
                    <a:pt x="406" y="920"/>
                  </a:cubicBezTo>
                  <a:cubicBezTo>
                    <a:pt x="408" y="920"/>
                    <a:pt x="408" y="920"/>
                    <a:pt x="408" y="920"/>
                  </a:cubicBezTo>
                  <a:cubicBezTo>
                    <a:pt x="408" y="320"/>
                    <a:pt x="408" y="320"/>
                    <a:pt x="408" y="320"/>
                  </a:cubicBezTo>
                  <a:cubicBezTo>
                    <a:pt x="399" y="324"/>
                    <a:pt x="387" y="331"/>
                    <a:pt x="379" y="32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9" name="Aserbaidschan" descr="© INSCALE GmbH, 05.05.2010&#10;http://www.presentationload.com/">
              <a:extLst>
                <a:ext uri="{FF2B5EF4-FFF2-40B4-BE49-F238E27FC236}">
                  <a16:creationId xmlns:a16="http://schemas.microsoft.com/office/drawing/2014/main" id="{5529BB09-426F-5E45-9E22-E62931A758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01070" y="4768787"/>
              <a:ext cx="542930" cy="584187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0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BFDF641-D34A-5444-AC30-FB96ABFD25A0}"/>
                </a:ext>
              </a:extLst>
            </p:cNvPr>
            <p:cNvSpPr>
              <a:spLocks/>
            </p:cNvSpPr>
            <p:nvPr/>
          </p:nvSpPr>
          <p:spPr bwMode="gray">
            <a:xfrm>
              <a:off x="8635723" y="5098836"/>
              <a:ext cx="508277" cy="696405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Irak" descr="© INSCALE GmbH, 05.05.2010&#10;http://www.presentationload.com/">
              <a:extLst>
                <a:ext uri="{FF2B5EF4-FFF2-40B4-BE49-F238E27FC236}">
                  <a16:creationId xmlns:a16="http://schemas.microsoft.com/office/drawing/2014/main" id="{9C4718FA-0804-CE45-8B48-D61ECC20E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98088" y="5654970"/>
              <a:ext cx="745912" cy="1082562"/>
            </a:xfrm>
            <a:custGeom>
              <a:avLst/>
              <a:gdLst/>
              <a:ahLst/>
              <a:cxnLst>
                <a:cxn ang="0">
                  <a:pos x="312" y="46"/>
                </a:cxn>
                <a:cxn ang="0">
                  <a:pos x="312" y="47"/>
                </a:cxn>
                <a:cxn ang="0">
                  <a:pos x="306" y="42"/>
                </a:cxn>
                <a:cxn ang="0">
                  <a:pos x="292" y="55"/>
                </a:cxn>
                <a:cxn ang="0">
                  <a:pos x="276" y="50"/>
                </a:cxn>
                <a:cxn ang="0">
                  <a:pos x="264" y="60"/>
                </a:cxn>
                <a:cxn ang="0">
                  <a:pos x="264" y="49"/>
                </a:cxn>
                <a:cxn ang="0">
                  <a:pos x="253" y="44"/>
                </a:cxn>
                <a:cxn ang="0">
                  <a:pos x="245" y="31"/>
                </a:cxn>
                <a:cxn ang="0">
                  <a:pos x="234" y="35"/>
                </a:cxn>
                <a:cxn ang="0">
                  <a:pos x="227" y="20"/>
                </a:cxn>
                <a:cxn ang="0">
                  <a:pos x="213" y="21"/>
                </a:cxn>
                <a:cxn ang="0">
                  <a:pos x="211" y="18"/>
                </a:cxn>
                <a:cxn ang="0">
                  <a:pos x="214" y="8"/>
                </a:cxn>
                <a:cxn ang="0">
                  <a:pos x="203" y="7"/>
                </a:cxn>
                <a:cxn ang="0">
                  <a:pos x="200" y="2"/>
                </a:cxn>
                <a:cxn ang="0">
                  <a:pos x="191" y="3"/>
                </a:cxn>
                <a:cxn ang="0">
                  <a:pos x="182" y="22"/>
                </a:cxn>
                <a:cxn ang="0">
                  <a:pos x="175" y="20"/>
                </a:cxn>
                <a:cxn ang="0">
                  <a:pos x="168" y="5"/>
                </a:cxn>
                <a:cxn ang="0">
                  <a:pos x="155" y="18"/>
                </a:cxn>
                <a:cxn ang="0">
                  <a:pos x="126" y="22"/>
                </a:cxn>
                <a:cxn ang="0">
                  <a:pos x="126" y="26"/>
                </a:cxn>
                <a:cxn ang="0">
                  <a:pos x="113" y="26"/>
                </a:cxn>
                <a:cxn ang="0">
                  <a:pos x="110" y="33"/>
                </a:cxn>
                <a:cxn ang="0">
                  <a:pos x="90" y="33"/>
                </a:cxn>
                <a:cxn ang="0">
                  <a:pos x="96" y="50"/>
                </a:cxn>
                <a:cxn ang="0">
                  <a:pos x="84" y="56"/>
                </a:cxn>
                <a:cxn ang="0">
                  <a:pos x="85" y="69"/>
                </a:cxn>
                <a:cxn ang="0">
                  <a:pos x="79" y="77"/>
                </a:cxn>
                <a:cxn ang="0">
                  <a:pos x="70" y="101"/>
                </a:cxn>
                <a:cxn ang="0">
                  <a:pos x="51" y="117"/>
                </a:cxn>
                <a:cxn ang="0">
                  <a:pos x="57" y="147"/>
                </a:cxn>
                <a:cxn ang="0">
                  <a:pos x="72" y="164"/>
                </a:cxn>
                <a:cxn ang="0">
                  <a:pos x="77" y="200"/>
                </a:cxn>
                <a:cxn ang="0">
                  <a:pos x="90" y="226"/>
                </a:cxn>
                <a:cxn ang="0">
                  <a:pos x="91" y="239"/>
                </a:cxn>
                <a:cxn ang="0">
                  <a:pos x="88" y="240"/>
                </a:cxn>
                <a:cxn ang="0">
                  <a:pos x="89" y="256"/>
                </a:cxn>
                <a:cxn ang="0">
                  <a:pos x="87" y="257"/>
                </a:cxn>
                <a:cxn ang="0">
                  <a:pos x="0" y="371"/>
                </a:cxn>
                <a:cxn ang="0">
                  <a:pos x="57" y="432"/>
                </a:cxn>
                <a:cxn ang="0">
                  <a:pos x="101" y="425"/>
                </a:cxn>
                <a:cxn ang="0">
                  <a:pos x="203" y="436"/>
                </a:cxn>
                <a:cxn ang="0">
                  <a:pos x="298" y="438"/>
                </a:cxn>
                <a:cxn ang="0">
                  <a:pos x="312" y="455"/>
                </a:cxn>
                <a:cxn ang="0">
                  <a:pos x="312" y="46"/>
                </a:cxn>
              </a:cxnLst>
              <a:rect l="0" t="0" r="r" b="b"/>
              <a:pathLst>
                <a:path w="312" h="455">
                  <a:moveTo>
                    <a:pt x="312" y="46"/>
                  </a:moveTo>
                  <a:cubicBezTo>
                    <a:pt x="312" y="47"/>
                    <a:pt x="312" y="47"/>
                    <a:pt x="312" y="47"/>
                  </a:cubicBezTo>
                  <a:cubicBezTo>
                    <a:pt x="306" y="42"/>
                    <a:pt x="306" y="42"/>
                    <a:pt x="306" y="42"/>
                  </a:cubicBezTo>
                  <a:cubicBezTo>
                    <a:pt x="306" y="42"/>
                    <a:pt x="297" y="52"/>
                    <a:pt x="292" y="55"/>
                  </a:cubicBezTo>
                  <a:cubicBezTo>
                    <a:pt x="286" y="57"/>
                    <a:pt x="281" y="51"/>
                    <a:pt x="276" y="50"/>
                  </a:cubicBezTo>
                  <a:cubicBezTo>
                    <a:pt x="271" y="49"/>
                    <a:pt x="264" y="60"/>
                    <a:pt x="264" y="6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4" y="49"/>
                    <a:pt x="258" y="48"/>
                    <a:pt x="253" y="44"/>
                  </a:cubicBezTo>
                  <a:cubicBezTo>
                    <a:pt x="250" y="39"/>
                    <a:pt x="245" y="31"/>
                    <a:pt x="245" y="31"/>
                  </a:cubicBezTo>
                  <a:cubicBezTo>
                    <a:pt x="245" y="31"/>
                    <a:pt x="242" y="36"/>
                    <a:pt x="234" y="35"/>
                  </a:cubicBezTo>
                  <a:cubicBezTo>
                    <a:pt x="227" y="34"/>
                    <a:pt x="230" y="22"/>
                    <a:pt x="227" y="20"/>
                  </a:cubicBezTo>
                  <a:cubicBezTo>
                    <a:pt x="222" y="18"/>
                    <a:pt x="213" y="21"/>
                    <a:pt x="213" y="21"/>
                  </a:cubicBezTo>
                  <a:cubicBezTo>
                    <a:pt x="211" y="18"/>
                    <a:pt x="211" y="18"/>
                    <a:pt x="211" y="18"/>
                  </a:cubicBezTo>
                  <a:cubicBezTo>
                    <a:pt x="211" y="18"/>
                    <a:pt x="214" y="14"/>
                    <a:pt x="214" y="8"/>
                  </a:cubicBezTo>
                  <a:cubicBezTo>
                    <a:pt x="213" y="4"/>
                    <a:pt x="203" y="7"/>
                    <a:pt x="203" y="7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2"/>
                    <a:pt x="193" y="0"/>
                    <a:pt x="191" y="3"/>
                  </a:cubicBezTo>
                  <a:cubicBezTo>
                    <a:pt x="188" y="7"/>
                    <a:pt x="182" y="22"/>
                    <a:pt x="182" y="22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75" y="20"/>
                    <a:pt x="180" y="5"/>
                    <a:pt x="168" y="5"/>
                  </a:cubicBezTo>
                  <a:cubicBezTo>
                    <a:pt x="156" y="5"/>
                    <a:pt x="155" y="18"/>
                    <a:pt x="155" y="18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5" y="65"/>
                    <a:pt x="85" y="69"/>
                  </a:cubicBezTo>
                  <a:cubicBezTo>
                    <a:pt x="85" y="72"/>
                    <a:pt x="79" y="77"/>
                    <a:pt x="79" y="77"/>
                  </a:cubicBezTo>
                  <a:cubicBezTo>
                    <a:pt x="79" y="77"/>
                    <a:pt x="77" y="90"/>
                    <a:pt x="70" y="101"/>
                  </a:cubicBezTo>
                  <a:cubicBezTo>
                    <a:pt x="65" y="113"/>
                    <a:pt x="56" y="111"/>
                    <a:pt x="51" y="117"/>
                  </a:cubicBezTo>
                  <a:cubicBezTo>
                    <a:pt x="47" y="125"/>
                    <a:pt x="53" y="139"/>
                    <a:pt x="57" y="147"/>
                  </a:cubicBezTo>
                  <a:cubicBezTo>
                    <a:pt x="61" y="157"/>
                    <a:pt x="68" y="156"/>
                    <a:pt x="72" y="164"/>
                  </a:cubicBezTo>
                  <a:cubicBezTo>
                    <a:pt x="78" y="172"/>
                    <a:pt x="73" y="184"/>
                    <a:pt x="77" y="200"/>
                  </a:cubicBezTo>
                  <a:cubicBezTo>
                    <a:pt x="80" y="215"/>
                    <a:pt x="90" y="226"/>
                    <a:pt x="90" y="226"/>
                  </a:cubicBezTo>
                  <a:cubicBezTo>
                    <a:pt x="91" y="239"/>
                    <a:pt x="91" y="239"/>
                    <a:pt x="91" y="239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57" y="432"/>
                    <a:pt x="57" y="432"/>
                    <a:pt x="57" y="432"/>
                  </a:cubicBezTo>
                  <a:cubicBezTo>
                    <a:pt x="57" y="432"/>
                    <a:pt x="87" y="425"/>
                    <a:pt x="101" y="425"/>
                  </a:cubicBezTo>
                  <a:cubicBezTo>
                    <a:pt x="114" y="425"/>
                    <a:pt x="176" y="436"/>
                    <a:pt x="203" y="436"/>
                  </a:cubicBezTo>
                  <a:cubicBezTo>
                    <a:pt x="230" y="438"/>
                    <a:pt x="298" y="438"/>
                    <a:pt x="298" y="438"/>
                  </a:cubicBezTo>
                  <a:cubicBezTo>
                    <a:pt x="312" y="455"/>
                    <a:pt x="312" y="455"/>
                    <a:pt x="312" y="455"/>
                  </a:cubicBezTo>
                  <a:lnTo>
                    <a:pt x="312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2" name="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34E1E18-0A34-5041-93BF-BF8328D2C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85402" y="889056"/>
              <a:ext cx="3658598" cy="4107465"/>
            </a:xfrm>
            <a:custGeom>
              <a:avLst/>
              <a:gdLst/>
              <a:ahLst/>
              <a:cxnLst>
                <a:cxn ang="0">
                  <a:pos x="24" y="1219"/>
                </a:cxn>
                <a:cxn ang="0">
                  <a:pos x="8" y="1240"/>
                </a:cxn>
                <a:cxn ang="0">
                  <a:pos x="229" y="230"/>
                </a:cxn>
                <a:cxn ang="0">
                  <a:pos x="352" y="472"/>
                </a:cxn>
                <a:cxn ang="0">
                  <a:pos x="677" y="24"/>
                </a:cxn>
                <a:cxn ang="0">
                  <a:pos x="626" y="78"/>
                </a:cxn>
                <a:cxn ang="0">
                  <a:pos x="603" y="203"/>
                </a:cxn>
                <a:cxn ang="0">
                  <a:pos x="448" y="151"/>
                </a:cxn>
                <a:cxn ang="0">
                  <a:pos x="531" y="298"/>
                </a:cxn>
                <a:cxn ang="0">
                  <a:pos x="472" y="442"/>
                </a:cxn>
                <a:cxn ang="0">
                  <a:pos x="434" y="468"/>
                </a:cxn>
                <a:cxn ang="0">
                  <a:pos x="423" y="504"/>
                </a:cxn>
                <a:cxn ang="0">
                  <a:pos x="396" y="529"/>
                </a:cxn>
                <a:cxn ang="0">
                  <a:pos x="342" y="498"/>
                </a:cxn>
                <a:cxn ang="0">
                  <a:pos x="275" y="414"/>
                </a:cxn>
                <a:cxn ang="0">
                  <a:pos x="257" y="401"/>
                </a:cxn>
                <a:cxn ang="0">
                  <a:pos x="215" y="380"/>
                </a:cxn>
                <a:cxn ang="0">
                  <a:pos x="297" y="390"/>
                </a:cxn>
                <a:cxn ang="0">
                  <a:pos x="444" y="343"/>
                </a:cxn>
                <a:cxn ang="0">
                  <a:pos x="386" y="262"/>
                </a:cxn>
                <a:cxn ang="0">
                  <a:pos x="269" y="230"/>
                </a:cxn>
                <a:cxn ang="0">
                  <a:pos x="212" y="247"/>
                </a:cxn>
                <a:cxn ang="0">
                  <a:pos x="186" y="232"/>
                </a:cxn>
                <a:cxn ang="0">
                  <a:pos x="188" y="225"/>
                </a:cxn>
                <a:cxn ang="0">
                  <a:pos x="143" y="237"/>
                </a:cxn>
                <a:cxn ang="0">
                  <a:pos x="160" y="363"/>
                </a:cxn>
                <a:cxn ang="0">
                  <a:pos x="216" y="541"/>
                </a:cxn>
                <a:cxn ang="0">
                  <a:pos x="237" y="775"/>
                </a:cxn>
                <a:cxn ang="0">
                  <a:pos x="246" y="825"/>
                </a:cxn>
                <a:cxn ang="0">
                  <a:pos x="239" y="876"/>
                </a:cxn>
                <a:cxn ang="0">
                  <a:pos x="242" y="1006"/>
                </a:cxn>
                <a:cxn ang="0">
                  <a:pos x="289" y="1074"/>
                </a:cxn>
                <a:cxn ang="0">
                  <a:pos x="413" y="1136"/>
                </a:cxn>
                <a:cxn ang="0">
                  <a:pos x="490" y="1247"/>
                </a:cxn>
                <a:cxn ang="0">
                  <a:pos x="560" y="1265"/>
                </a:cxn>
                <a:cxn ang="0">
                  <a:pos x="648" y="1333"/>
                </a:cxn>
                <a:cxn ang="0">
                  <a:pos x="764" y="1354"/>
                </a:cxn>
                <a:cxn ang="0">
                  <a:pos x="862" y="1350"/>
                </a:cxn>
                <a:cxn ang="0">
                  <a:pos x="900" y="1455"/>
                </a:cxn>
                <a:cxn ang="0">
                  <a:pos x="871" y="1537"/>
                </a:cxn>
                <a:cxn ang="0">
                  <a:pos x="862" y="1623"/>
                </a:cxn>
                <a:cxn ang="0">
                  <a:pos x="903" y="1684"/>
                </a:cxn>
                <a:cxn ang="0">
                  <a:pos x="1047" y="1703"/>
                </a:cxn>
                <a:cxn ang="0">
                  <a:pos x="1233" y="1674"/>
                </a:cxn>
                <a:cxn ang="0">
                  <a:pos x="1408" y="1689"/>
                </a:cxn>
                <a:cxn ang="0">
                  <a:pos x="1341" y="1543"/>
                </a:cxn>
                <a:cxn ang="0">
                  <a:pos x="1283" y="1465"/>
                </a:cxn>
                <a:cxn ang="0">
                  <a:pos x="1320" y="1398"/>
                </a:cxn>
                <a:cxn ang="0">
                  <a:pos x="1281" y="1326"/>
                </a:cxn>
                <a:cxn ang="0">
                  <a:pos x="1133" y="1184"/>
                </a:cxn>
                <a:cxn ang="0">
                  <a:pos x="1183" y="1074"/>
                </a:cxn>
                <a:cxn ang="0">
                  <a:pos x="1253" y="984"/>
                </a:cxn>
                <a:cxn ang="0">
                  <a:pos x="1379" y="969"/>
                </a:cxn>
                <a:cxn ang="0">
                  <a:pos x="1488" y="872"/>
                </a:cxn>
                <a:cxn ang="0">
                  <a:pos x="1496" y="707"/>
                </a:cxn>
                <a:cxn ang="0">
                  <a:pos x="1446" y="669"/>
                </a:cxn>
                <a:cxn ang="0">
                  <a:pos x="1519" y="575"/>
                </a:cxn>
                <a:cxn ang="0">
                  <a:pos x="266" y="764"/>
                </a:cxn>
                <a:cxn ang="0">
                  <a:pos x="356" y="755"/>
                </a:cxn>
                <a:cxn ang="0">
                  <a:pos x="381" y="658"/>
                </a:cxn>
                <a:cxn ang="0">
                  <a:pos x="422" y="650"/>
                </a:cxn>
                <a:cxn ang="0">
                  <a:pos x="464" y="712"/>
                </a:cxn>
              </a:cxnLst>
              <a:rect l="0" t="0" r="r" b="b"/>
              <a:pathLst>
                <a:path w="1532" h="1721">
                  <a:moveTo>
                    <a:pt x="113" y="1210"/>
                  </a:moveTo>
                  <a:cubicBezTo>
                    <a:pt x="110" y="1208"/>
                    <a:pt x="101" y="1201"/>
                    <a:pt x="101" y="1201"/>
                  </a:cubicBezTo>
                  <a:cubicBezTo>
                    <a:pt x="90" y="1201"/>
                    <a:pt x="90" y="1201"/>
                    <a:pt x="90" y="1201"/>
                  </a:cubicBezTo>
                  <a:cubicBezTo>
                    <a:pt x="80" y="1205"/>
                    <a:pt x="80" y="1205"/>
                    <a:pt x="80" y="1205"/>
                  </a:cubicBezTo>
                  <a:cubicBezTo>
                    <a:pt x="79" y="1201"/>
                    <a:pt x="79" y="1201"/>
                    <a:pt x="79" y="1201"/>
                  </a:cubicBezTo>
                  <a:cubicBezTo>
                    <a:pt x="79" y="1201"/>
                    <a:pt x="73" y="1203"/>
                    <a:pt x="69" y="1200"/>
                  </a:cubicBezTo>
                  <a:cubicBezTo>
                    <a:pt x="64" y="1198"/>
                    <a:pt x="62" y="1197"/>
                    <a:pt x="62" y="1197"/>
                  </a:cubicBezTo>
                  <a:cubicBezTo>
                    <a:pt x="56" y="1198"/>
                    <a:pt x="56" y="1198"/>
                    <a:pt x="56" y="1198"/>
                  </a:cubicBezTo>
                  <a:cubicBezTo>
                    <a:pt x="51" y="1194"/>
                    <a:pt x="51" y="1194"/>
                    <a:pt x="51" y="1194"/>
                  </a:cubicBezTo>
                  <a:cubicBezTo>
                    <a:pt x="49" y="1199"/>
                    <a:pt x="49" y="1199"/>
                    <a:pt x="49" y="1199"/>
                  </a:cubicBezTo>
                  <a:cubicBezTo>
                    <a:pt x="46" y="1199"/>
                    <a:pt x="46" y="1199"/>
                    <a:pt x="46" y="1199"/>
                  </a:cubicBezTo>
                  <a:cubicBezTo>
                    <a:pt x="51" y="1215"/>
                    <a:pt x="51" y="1215"/>
                    <a:pt x="51" y="1215"/>
                  </a:cubicBezTo>
                  <a:cubicBezTo>
                    <a:pt x="44" y="1219"/>
                    <a:pt x="44" y="1219"/>
                    <a:pt x="44" y="1219"/>
                  </a:cubicBezTo>
                  <a:cubicBezTo>
                    <a:pt x="37" y="1219"/>
                    <a:pt x="37" y="1219"/>
                    <a:pt x="37" y="1219"/>
                  </a:cubicBezTo>
                  <a:cubicBezTo>
                    <a:pt x="37" y="1219"/>
                    <a:pt x="33" y="1218"/>
                    <a:pt x="32" y="1218"/>
                  </a:cubicBezTo>
                  <a:cubicBezTo>
                    <a:pt x="31" y="1218"/>
                    <a:pt x="24" y="1219"/>
                    <a:pt x="24" y="1219"/>
                  </a:cubicBezTo>
                  <a:cubicBezTo>
                    <a:pt x="36" y="1202"/>
                    <a:pt x="36" y="1202"/>
                    <a:pt x="36" y="1202"/>
                  </a:cubicBezTo>
                  <a:cubicBezTo>
                    <a:pt x="36" y="1198"/>
                    <a:pt x="36" y="1198"/>
                    <a:pt x="36" y="1198"/>
                  </a:cubicBezTo>
                  <a:cubicBezTo>
                    <a:pt x="41" y="1193"/>
                    <a:pt x="41" y="1193"/>
                    <a:pt x="41" y="1193"/>
                  </a:cubicBezTo>
                  <a:cubicBezTo>
                    <a:pt x="39" y="1191"/>
                    <a:pt x="39" y="1191"/>
                    <a:pt x="39" y="1191"/>
                  </a:cubicBezTo>
                  <a:cubicBezTo>
                    <a:pt x="37" y="1192"/>
                    <a:pt x="37" y="1192"/>
                    <a:pt x="37" y="1192"/>
                  </a:cubicBezTo>
                  <a:cubicBezTo>
                    <a:pt x="32" y="1202"/>
                    <a:pt x="32" y="1202"/>
                    <a:pt x="32" y="1202"/>
                  </a:cubicBezTo>
                  <a:cubicBezTo>
                    <a:pt x="23" y="1215"/>
                    <a:pt x="23" y="1215"/>
                    <a:pt x="23" y="1215"/>
                  </a:cubicBezTo>
                  <a:cubicBezTo>
                    <a:pt x="20" y="1218"/>
                    <a:pt x="20" y="1218"/>
                    <a:pt x="20" y="1218"/>
                  </a:cubicBezTo>
                  <a:cubicBezTo>
                    <a:pt x="2" y="1221"/>
                    <a:pt x="2" y="1221"/>
                    <a:pt x="2" y="1221"/>
                  </a:cubicBezTo>
                  <a:cubicBezTo>
                    <a:pt x="0" y="1226"/>
                    <a:pt x="0" y="1226"/>
                    <a:pt x="0" y="1226"/>
                  </a:cubicBezTo>
                  <a:cubicBezTo>
                    <a:pt x="3" y="1230"/>
                    <a:pt x="3" y="1230"/>
                    <a:pt x="3" y="1230"/>
                  </a:cubicBezTo>
                  <a:cubicBezTo>
                    <a:pt x="0" y="1241"/>
                    <a:pt x="0" y="1241"/>
                    <a:pt x="0" y="1241"/>
                  </a:cubicBezTo>
                  <a:cubicBezTo>
                    <a:pt x="3" y="1242"/>
                    <a:pt x="3" y="1242"/>
                    <a:pt x="3" y="1242"/>
                  </a:cubicBezTo>
                  <a:cubicBezTo>
                    <a:pt x="4" y="1239"/>
                    <a:pt x="4" y="1239"/>
                    <a:pt x="4" y="1239"/>
                  </a:cubicBezTo>
                  <a:cubicBezTo>
                    <a:pt x="6" y="1237"/>
                    <a:pt x="6" y="1237"/>
                    <a:pt x="6" y="1237"/>
                  </a:cubicBezTo>
                  <a:cubicBezTo>
                    <a:pt x="8" y="1240"/>
                    <a:pt x="8" y="1240"/>
                    <a:pt x="8" y="1240"/>
                  </a:cubicBezTo>
                  <a:cubicBezTo>
                    <a:pt x="13" y="1235"/>
                    <a:pt x="13" y="1235"/>
                    <a:pt x="13" y="1235"/>
                  </a:cubicBezTo>
                  <a:cubicBezTo>
                    <a:pt x="21" y="1237"/>
                    <a:pt x="21" y="1237"/>
                    <a:pt x="21" y="1237"/>
                  </a:cubicBezTo>
                  <a:cubicBezTo>
                    <a:pt x="16" y="1239"/>
                    <a:pt x="16" y="1239"/>
                    <a:pt x="16" y="1239"/>
                  </a:cubicBezTo>
                  <a:cubicBezTo>
                    <a:pt x="16" y="1241"/>
                    <a:pt x="16" y="1241"/>
                    <a:pt x="16" y="1241"/>
                  </a:cubicBezTo>
                  <a:cubicBezTo>
                    <a:pt x="8" y="1246"/>
                    <a:pt x="8" y="1246"/>
                    <a:pt x="8" y="1246"/>
                  </a:cubicBezTo>
                  <a:cubicBezTo>
                    <a:pt x="6" y="1245"/>
                    <a:pt x="6" y="1245"/>
                    <a:pt x="6" y="1245"/>
                  </a:cubicBezTo>
                  <a:cubicBezTo>
                    <a:pt x="3" y="1253"/>
                    <a:pt x="3" y="1253"/>
                    <a:pt x="3" y="1253"/>
                  </a:cubicBezTo>
                  <a:cubicBezTo>
                    <a:pt x="11" y="1253"/>
                    <a:pt x="45" y="1255"/>
                    <a:pt x="58" y="1254"/>
                  </a:cubicBezTo>
                  <a:cubicBezTo>
                    <a:pt x="74" y="1254"/>
                    <a:pt x="113" y="1244"/>
                    <a:pt x="113" y="1244"/>
                  </a:cubicBezTo>
                  <a:cubicBezTo>
                    <a:pt x="113" y="1244"/>
                    <a:pt x="106" y="1237"/>
                    <a:pt x="107" y="1229"/>
                  </a:cubicBezTo>
                  <a:cubicBezTo>
                    <a:pt x="107" y="1223"/>
                    <a:pt x="109" y="1218"/>
                    <a:pt x="109" y="1218"/>
                  </a:cubicBezTo>
                  <a:cubicBezTo>
                    <a:pt x="109" y="1218"/>
                    <a:pt x="117" y="1213"/>
                    <a:pt x="113" y="1210"/>
                  </a:cubicBezTo>
                  <a:close/>
                  <a:moveTo>
                    <a:pt x="229" y="228"/>
                  </a:moveTo>
                  <a:cubicBezTo>
                    <a:pt x="222" y="228"/>
                    <a:pt x="222" y="228"/>
                    <a:pt x="222" y="228"/>
                  </a:cubicBezTo>
                  <a:cubicBezTo>
                    <a:pt x="219" y="232"/>
                    <a:pt x="219" y="232"/>
                    <a:pt x="219" y="232"/>
                  </a:cubicBezTo>
                  <a:cubicBezTo>
                    <a:pt x="229" y="230"/>
                    <a:pt x="229" y="230"/>
                    <a:pt x="229" y="230"/>
                  </a:cubicBezTo>
                  <a:lnTo>
                    <a:pt x="229" y="228"/>
                  </a:lnTo>
                  <a:close/>
                  <a:moveTo>
                    <a:pt x="246" y="829"/>
                  </a:moveTo>
                  <a:cubicBezTo>
                    <a:pt x="238" y="825"/>
                    <a:pt x="238" y="825"/>
                    <a:pt x="238" y="825"/>
                  </a:cubicBezTo>
                  <a:cubicBezTo>
                    <a:pt x="239" y="830"/>
                    <a:pt x="239" y="830"/>
                    <a:pt x="239" y="830"/>
                  </a:cubicBezTo>
                  <a:cubicBezTo>
                    <a:pt x="244" y="832"/>
                    <a:pt x="244" y="832"/>
                    <a:pt x="244" y="832"/>
                  </a:cubicBezTo>
                  <a:lnTo>
                    <a:pt x="246" y="829"/>
                  </a:lnTo>
                  <a:close/>
                  <a:moveTo>
                    <a:pt x="363" y="466"/>
                  </a:moveTo>
                  <a:cubicBezTo>
                    <a:pt x="365" y="470"/>
                    <a:pt x="365" y="470"/>
                    <a:pt x="365" y="470"/>
                  </a:cubicBezTo>
                  <a:cubicBezTo>
                    <a:pt x="372" y="462"/>
                    <a:pt x="372" y="462"/>
                    <a:pt x="372" y="462"/>
                  </a:cubicBezTo>
                  <a:lnTo>
                    <a:pt x="363" y="466"/>
                  </a:lnTo>
                  <a:close/>
                  <a:moveTo>
                    <a:pt x="352" y="472"/>
                  </a:moveTo>
                  <a:cubicBezTo>
                    <a:pt x="351" y="476"/>
                    <a:pt x="351" y="476"/>
                    <a:pt x="351" y="476"/>
                  </a:cubicBezTo>
                  <a:cubicBezTo>
                    <a:pt x="356" y="478"/>
                    <a:pt x="356" y="478"/>
                    <a:pt x="356" y="478"/>
                  </a:cubicBezTo>
                  <a:cubicBezTo>
                    <a:pt x="363" y="473"/>
                    <a:pt x="363" y="473"/>
                    <a:pt x="363" y="473"/>
                  </a:cubicBezTo>
                  <a:cubicBezTo>
                    <a:pt x="357" y="468"/>
                    <a:pt x="357" y="468"/>
                    <a:pt x="357" y="468"/>
                  </a:cubicBezTo>
                  <a:lnTo>
                    <a:pt x="352" y="472"/>
                  </a:lnTo>
                  <a:close/>
                  <a:moveTo>
                    <a:pt x="365" y="482"/>
                  </a:moveTo>
                  <a:cubicBezTo>
                    <a:pt x="369" y="478"/>
                    <a:pt x="367" y="475"/>
                    <a:pt x="360" y="480"/>
                  </a:cubicBezTo>
                  <a:cubicBezTo>
                    <a:pt x="360" y="480"/>
                    <a:pt x="362" y="485"/>
                    <a:pt x="365" y="482"/>
                  </a:cubicBezTo>
                  <a:close/>
                  <a:moveTo>
                    <a:pt x="1532" y="0"/>
                  </a:moveTo>
                  <a:cubicBezTo>
                    <a:pt x="716" y="0"/>
                    <a:pt x="716" y="0"/>
                    <a:pt x="716" y="0"/>
                  </a:cubicBezTo>
                  <a:cubicBezTo>
                    <a:pt x="712" y="19"/>
                    <a:pt x="712" y="19"/>
                    <a:pt x="712" y="19"/>
                  </a:cubicBezTo>
                  <a:cubicBezTo>
                    <a:pt x="712" y="19"/>
                    <a:pt x="721" y="31"/>
                    <a:pt x="720" y="35"/>
                  </a:cubicBezTo>
                  <a:cubicBezTo>
                    <a:pt x="719" y="39"/>
                    <a:pt x="708" y="33"/>
                    <a:pt x="708" y="33"/>
                  </a:cubicBezTo>
                  <a:cubicBezTo>
                    <a:pt x="699" y="34"/>
                    <a:pt x="699" y="34"/>
                    <a:pt x="699" y="34"/>
                  </a:cubicBezTo>
                  <a:cubicBezTo>
                    <a:pt x="699" y="34"/>
                    <a:pt x="698" y="39"/>
                    <a:pt x="698" y="42"/>
                  </a:cubicBezTo>
                  <a:cubicBezTo>
                    <a:pt x="698" y="46"/>
                    <a:pt x="694" y="46"/>
                    <a:pt x="690" y="46"/>
                  </a:cubicBezTo>
                  <a:cubicBezTo>
                    <a:pt x="684" y="47"/>
                    <a:pt x="681" y="55"/>
                    <a:pt x="681" y="55"/>
                  </a:cubicBezTo>
                  <a:cubicBezTo>
                    <a:pt x="681" y="55"/>
                    <a:pt x="678" y="50"/>
                    <a:pt x="679" y="46"/>
                  </a:cubicBezTo>
                  <a:cubicBezTo>
                    <a:pt x="681" y="41"/>
                    <a:pt x="693" y="39"/>
                    <a:pt x="693" y="39"/>
                  </a:cubicBezTo>
                  <a:cubicBezTo>
                    <a:pt x="693" y="39"/>
                    <a:pt x="691" y="30"/>
                    <a:pt x="686" y="29"/>
                  </a:cubicBezTo>
                  <a:cubicBezTo>
                    <a:pt x="683" y="28"/>
                    <a:pt x="677" y="24"/>
                    <a:pt x="677" y="24"/>
                  </a:cubicBezTo>
                  <a:cubicBezTo>
                    <a:pt x="677" y="16"/>
                    <a:pt x="677" y="16"/>
                    <a:pt x="677" y="16"/>
                  </a:cubicBezTo>
                  <a:cubicBezTo>
                    <a:pt x="675" y="15"/>
                    <a:pt x="675" y="15"/>
                    <a:pt x="675" y="15"/>
                  </a:cubicBezTo>
                  <a:cubicBezTo>
                    <a:pt x="675" y="15"/>
                    <a:pt x="676" y="9"/>
                    <a:pt x="672" y="9"/>
                  </a:cubicBezTo>
                  <a:cubicBezTo>
                    <a:pt x="669" y="9"/>
                    <a:pt x="667" y="14"/>
                    <a:pt x="667" y="14"/>
                  </a:cubicBezTo>
                  <a:cubicBezTo>
                    <a:pt x="667" y="14"/>
                    <a:pt x="665" y="10"/>
                    <a:pt x="663" y="10"/>
                  </a:cubicBezTo>
                  <a:cubicBezTo>
                    <a:pt x="661" y="10"/>
                    <a:pt x="654" y="18"/>
                    <a:pt x="652" y="27"/>
                  </a:cubicBezTo>
                  <a:cubicBezTo>
                    <a:pt x="650" y="34"/>
                    <a:pt x="651" y="41"/>
                    <a:pt x="651" y="41"/>
                  </a:cubicBezTo>
                  <a:cubicBezTo>
                    <a:pt x="651" y="41"/>
                    <a:pt x="655" y="43"/>
                    <a:pt x="660" y="47"/>
                  </a:cubicBezTo>
                  <a:cubicBezTo>
                    <a:pt x="664" y="50"/>
                    <a:pt x="664" y="57"/>
                    <a:pt x="660" y="62"/>
                  </a:cubicBezTo>
                  <a:cubicBezTo>
                    <a:pt x="657" y="67"/>
                    <a:pt x="651" y="53"/>
                    <a:pt x="651" y="53"/>
                  </a:cubicBezTo>
                  <a:cubicBezTo>
                    <a:pt x="647" y="53"/>
                    <a:pt x="647" y="53"/>
                    <a:pt x="647" y="53"/>
                  </a:cubicBezTo>
                  <a:cubicBezTo>
                    <a:pt x="649" y="45"/>
                    <a:pt x="649" y="45"/>
                    <a:pt x="649" y="45"/>
                  </a:cubicBezTo>
                  <a:cubicBezTo>
                    <a:pt x="649" y="45"/>
                    <a:pt x="644" y="51"/>
                    <a:pt x="643" y="55"/>
                  </a:cubicBezTo>
                  <a:cubicBezTo>
                    <a:pt x="642" y="58"/>
                    <a:pt x="637" y="62"/>
                    <a:pt x="632" y="63"/>
                  </a:cubicBezTo>
                  <a:cubicBezTo>
                    <a:pt x="627" y="63"/>
                    <a:pt x="625" y="71"/>
                    <a:pt x="625" y="71"/>
                  </a:cubicBezTo>
                  <a:cubicBezTo>
                    <a:pt x="626" y="78"/>
                    <a:pt x="626" y="78"/>
                    <a:pt x="626" y="78"/>
                  </a:cubicBezTo>
                  <a:cubicBezTo>
                    <a:pt x="626" y="78"/>
                    <a:pt x="627" y="72"/>
                    <a:pt x="630" y="70"/>
                  </a:cubicBezTo>
                  <a:cubicBezTo>
                    <a:pt x="633" y="67"/>
                    <a:pt x="635" y="65"/>
                    <a:pt x="637" y="66"/>
                  </a:cubicBezTo>
                  <a:cubicBezTo>
                    <a:pt x="641" y="66"/>
                    <a:pt x="637" y="71"/>
                    <a:pt x="634" y="74"/>
                  </a:cubicBezTo>
                  <a:cubicBezTo>
                    <a:pt x="630" y="77"/>
                    <a:pt x="623" y="81"/>
                    <a:pt x="620" y="89"/>
                  </a:cubicBezTo>
                  <a:cubicBezTo>
                    <a:pt x="618" y="96"/>
                    <a:pt x="619" y="112"/>
                    <a:pt x="619" y="112"/>
                  </a:cubicBezTo>
                  <a:cubicBezTo>
                    <a:pt x="615" y="113"/>
                    <a:pt x="615" y="113"/>
                    <a:pt x="615" y="113"/>
                  </a:cubicBezTo>
                  <a:cubicBezTo>
                    <a:pt x="602" y="133"/>
                    <a:pt x="602" y="133"/>
                    <a:pt x="602" y="133"/>
                  </a:cubicBezTo>
                  <a:cubicBezTo>
                    <a:pt x="593" y="135"/>
                    <a:pt x="593" y="135"/>
                    <a:pt x="593" y="135"/>
                  </a:cubicBezTo>
                  <a:cubicBezTo>
                    <a:pt x="602" y="143"/>
                    <a:pt x="602" y="143"/>
                    <a:pt x="602" y="143"/>
                  </a:cubicBezTo>
                  <a:cubicBezTo>
                    <a:pt x="609" y="142"/>
                    <a:pt x="609" y="142"/>
                    <a:pt x="609" y="142"/>
                  </a:cubicBezTo>
                  <a:cubicBezTo>
                    <a:pt x="612" y="146"/>
                    <a:pt x="612" y="146"/>
                    <a:pt x="612" y="146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47"/>
                    <a:pt x="587" y="155"/>
                    <a:pt x="586" y="161"/>
                  </a:cubicBezTo>
                  <a:cubicBezTo>
                    <a:pt x="584" y="168"/>
                    <a:pt x="596" y="184"/>
                    <a:pt x="596" y="184"/>
                  </a:cubicBezTo>
                  <a:cubicBezTo>
                    <a:pt x="594" y="187"/>
                    <a:pt x="594" y="187"/>
                    <a:pt x="594" y="187"/>
                  </a:cubicBezTo>
                  <a:cubicBezTo>
                    <a:pt x="594" y="187"/>
                    <a:pt x="604" y="198"/>
                    <a:pt x="603" y="203"/>
                  </a:cubicBezTo>
                  <a:cubicBezTo>
                    <a:pt x="602" y="209"/>
                    <a:pt x="596" y="208"/>
                    <a:pt x="596" y="208"/>
                  </a:cubicBezTo>
                  <a:cubicBezTo>
                    <a:pt x="596" y="208"/>
                    <a:pt x="593" y="215"/>
                    <a:pt x="590" y="218"/>
                  </a:cubicBezTo>
                  <a:cubicBezTo>
                    <a:pt x="588" y="221"/>
                    <a:pt x="576" y="224"/>
                    <a:pt x="576" y="224"/>
                  </a:cubicBezTo>
                  <a:cubicBezTo>
                    <a:pt x="576" y="224"/>
                    <a:pt x="571" y="232"/>
                    <a:pt x="566" y="232"/>
                  </a:cubicBezTo>
                  <a:cubicBezTo>
                    <a:pt x="561" y="233"/>
                    <a:pt x="547" y="216"/>
                    <a:pt x="547" y="216"/>
                  </a:cubicBezTo>
                  <a:cubicBezTo>
                    <a:pt x="526" y="214"/>
                    <a:pt x="526" y="214"/>
                    <a:pt x="526" y="214"/>
                  </a:cubicBezTo>
                  <a:cubicBezTo>
                    <a:pt x="528" y="192"/>
                    <a:pt x="528" y="192"/>
                    <a:pt x="528" y="192"/>
                  </a:cubicBezTo>
                  <a:cubicBezTo>
                    <a:pt x="521" y="186"/>
                    <a:pt x="521" y="186"/>
                    <a:pt x="521" y="186"/>
                  </a:cubicBezTo>
                  <a:cubicBezTo>
                    <a:pt x="535" y="174"/>
                    <a:pt x="535" y="174"/>
                    <a:pt x="535" y="174"/>
                  </a:cubicBezTo>
                  <a:cubicBezTo>
                    <a:pt x="551" y="162"/>
                    <a:pt x="551" y="162"/>
                    <a:pt x="551" y="162"/>
                  </a:cubicBezTo>
                  <a:cubicBezTo>
                    <a:pt x="551" y="162"/>
                    <a:pt x="543" y="150"/>
                    <a:pt x="538" y="146"/>
                  </a:cubicBezTo>
                  <a:cubicBezTo>
                    <a:pt x="534" y="144"/>
                    <a:pt x="517" y="140"/>
                    <a:pt x="517" y="140"/>
                  </a:cubicBezTo>
                  <a:cubicBezTo>
                    <a:pt x="511" y="133"/>
                    <a:pt x="511" y="133"/>
                    <a:pt x="511" y="133"/>
                  </a:cubicBezTo>
                  <a:cubicBezTo>
                    <a:pt x="511" y="133"/>
                    <a:pt x="499" y="136"/>
                    <a:pt x="490" y="138"/>
                  </a:cubicBezTo>
                  <a:cubicBezTo>
                    <a:pt x="481" y="141"/>
                    <a:pt x="473" y="150"/>
                    <a:pt x="473" y="150"/>
                  </a:cubicBezTo>
                  <a:cubicBezTo>
                    <a:pt x="448" y="151"/>
                    <a:pt x="448" y="151"/>
                    <a:pt x="448" y="151"/>
                  </a:cubicBezTo>
                  <a:cubicBezTo>
                    <a:pt x="448" y="151"/>
                    <a:pt x="452" y="154"/>
                    <a:pt x="457" y="156"/>
                  </a:cubicBezTo>
                  <a:cubicBezTo>
                    <a:pt x="463" y="157"/>
                    <a:pt x="471" y="158"/>
                    <a:pt x="471" y="158"/>
                  </a:cubicBezTo>
                  <a:cubicBezTo>
                    <a:pt x="482" y="168"/>
                    <a:pt x="482" y="168"/>
                    <a:pt x="482" y="168"/>
                  </a:cubicBezTo>
                  <a:cubicBezTo>
                    <a:pt x="482" y="172"/>
                    <a:pt x="482" y="172"/>
                    <a:pt x="482" y="172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91" y="188"/>
                    <a:pt x="491" y="188"/>
                    <a:pt x="491" y="188"/>
                  </a:cubicBezTo>
                  <a:cubicBezTo>
                    <a:pt x="490" y="192"/>
                    <a:pt x="490" y="192"/>
                    <a:pt x="490" y="192"/>
                  </a:cubicBezTo>
                  <a:cubicBezTo>
                    <a:pt x="497" y="204"/>
                    <a:pt x="497" y="204"/>
                    <a:pt x="497" y="204"/>
                  </a:cubicBezTo>
                  <a:cubicBezTo>
                    <a:pt x="497" y="204"/>
                    <a:pt x="498" y="235"/>
                    <a:pt x="503" y="240"/>
                  </a:cubicBezTo>
                  <a:cubicBezTo>
                    <a:pt x="508" y="246"/>
                    <a:pt x="522" y="240"/>
                    <a:pt x="522" y="240"/>
                  </a:cubicBezTo>
                  <a:cubicBezTo>
                    <a:pt x="531" y="249"/>
                    <a:pt x="531" y="249"/>
                    <a:pt x="531" y="249"/>
                  </a:cubicBezTo>
                  <a:cubicBezTo>
                    <a:pt x="529" y="252"/>
                    <a:pt x="529" y="252"/>
                    <a:pt x="529" y="252"/>
                  </a:cubicBezTo>
                  <a:cubicBezTo>
                    <a:pt x="537" y="262"/>
                    <a:pt x="537" y="262"/>
                    <a:pt x="537" y="262"/>
                  </a:cubicBezTo>
                  <a:cubicBezTo>
                    <a:pt x="538" y="292"/>
                    <a:pt x="538" y="292"/>
                    <a:pt x="538" y="292"/>
                  </a:cubicBezTo>
                  <a:cubicBezTo>
                    <a:pt x="538" y="292"/>
                    <a:pt x="549" y="305"/>
                    <a:pt x="547" y="308"/>
                  </a:cubicBezTo>
                  <a:cubicBezTo>
                    <a:pt x="546" y="311"/>
                    <a:pt x="533" y="297"/>
                    <a:pt x="531" y="298"/>
                  </a:cubicBezTo>
                  <a:cubicBezTo>
                    <a:pt x="528" y="298"/>
                    <a:pt x="523" y="311"/>
                    <a:pt x="523" y="311"/>
                  </a:cubicBezTo>
                  <a:cubicBezTo>
                    <a:pt x="526" y="299"/>
                    <a:pt x="526" y="299"/>
                    <a:pt x="526" y="299"/>
                  </a:cubicBezTo>
                  <a:cubicBezTo>
                    <a:pt x="526" y="299"/>
                    <a:pt x="522" y="296"/>
                    <a:pt x="514" y="296"/>
                  </a:cubicBezTo>
                  <a:cubicBezTo>
                    <a:pt x="504" y="295"/>
                    <a:pt x="499" y="303"/>
                    <a:pt x="499" y="303"/>
                  </a:cubicBezTo>
                  <a:cubicBezTo>
                    <a:pt x="499" y="303"/>
                    <a:pt x="494" y="299"/>
                    <a:pt x="488" y="298"/>
                  </a:cubicBezTo>
                  <a:cubicBezTo>
                    <a:pt x="483" y="298"/>
                    <a:pt x="478" y="308"/>
                    <a:pt x="478" y="308"/>
                  </a:cubicBezTo>
                  <a:cubicBezTo>
                    <a:pt x="478" y="308"/>
                    <a:pt x="480" y="325"/>
                    <a:pt x="474" y="334"/>
                  </a:cubicBezTo>
                  <a:cubicBezTo>
                    <a:pt x="468" y="343"/>
                    <a:pt x="459" y="343"/>
                    <a:pt x="459" y="343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59" y="356"/>
                    <a:pt x="457" y="363"/>
                  </a:cubicBezTo>
                  <a:cubicBezTo>
                    <a:pt x="455" y="371"/>
                    <a:pt x="446" y="381"/>
                    <a:pt x="447" y="383"/>
                  </a:cubicBezTo>
                  <a:cubicBezTo>
                    <a:pt x="447" y="387"/>
                    <a:pt x="451" y="383"/>
                    <a:pt x="451" y="383"/>
                  </a:cubicBezTo>
                  <a:cubicBezTo>
                    <a:pt x="451" y="383"/>
                    <a:pt x="452" y="386"/>
                    <a:pt x="452" y="394"/>
                  </a:cubicBezTo>
                  <a:cubicBezTo>
                    <a:pt x="452" y="403"/>
                    <a:pt x="475" y="409"/>
                    <a:pt x="484" y="418"/>
                  </a:cubicBezTo>
                  <a:cubicBezTo>
                    <a:pt x="493" y="426"/>
                    <a:pt x="488" y="426"/>
                    <a:pt x="479" y="427"/>
                  </a:cubicBezTo>
                  <a:cubicBezTo>
                    <a:pt x="470" y="428"/>
                    <a:pt x="472" y="442"/>
                    <a:pt x="472" y="442"/>
                  </a:cubicBezTo>
                  <a:cubicBezTo>
                    <a:pt x="472" y="442"/>
                    <a:pt x="475" y="454"/>
                    <a:pt x="475" y="458"/>
                  </a:cubicBezTo>
                  <a:cubicBezTo>
                    <a:pt x="475" y="462"/>
                    <a:pt x="459" y="462"/>
                    <a:pt x="459" y="462"/>
                  </a:cubicBezTo>
                  <a:cubicBezTo>
                    <a:pt x="451" y="462"/>
                    <a:pt x="451" y="462"/>
                    <a:pt x="451" y="462"/>
                  </a:cubicBezTo>
                  <a:cubicBezTo>
                    <a:pt x="445" y="462"/>
                    <a:pt x="446" y="464"/>
                    <a:pt x="446" y="464"/>
                  </a:cubicBezTo>
                  <a:cubicBezTo>
                    <a:pt x="446" y="464"/>
                    <a:pt x="440" y="462"/>
                    <a:pt x="440" y="464"/>
                  </a:cubicBezTo>
                  <a:cubicBezTo>
                    <a:pt x="439" y="465"/>
                    <a:pt x="442" y="467"/>
                    <a:pt x="442" y="467"/>
                  </a:cubicBezTo>
                  <a:cubicBezTo>
                    <a:pt x="442" y="467"/>
                    <a:pt x="439" y="469"/>
                    <a:pt x="437" y="470"/>
                  </a:cubicBezTo>
                  <a:cubicBezTo>
                    <a:pt x="435" y="471"/>
                    <a:pt x="436" y="475"/>
                    <a:pt x="436" y="475"/>
                  </a:cubicBezTo>
                  <a:cubicBezTo>
                    <a:pt x="436" y="475"/>
                    <a:pt x="437" y="481"/>
                    <a:pt x="435" y="480"/>
                  </a:cubicBezTo>
                  <a:cubicBezTo>
                    <a:pt x="433" y="480"/>
                    <a:pt x="434" y="475"/>
                    <a:pt x="434" y="475"/>
                  </a:cubicBezTo>
                  <a:cubicBezTo>
                    <a:pt x="434" y="475"/>
                    <a:pt x="431" y="472"/>
                    <a:pt x="429" y="471"/>
                  </a:cubicBezTo>
                  <a:cubicBezTo>
                    <a:pt x="428" y="469"/>
                    <a:pt x="432" y="468"/>
                    <a:pt x="432" y="468"/>
                  </a:cubicBezTo>
                  <a:cubicBezTo>
                    <a:pt x="429" y="468"/>
                    <a:pt x="429" y="468"/>
                    <a:pt x="429" y="468"/>
                  </a:cubicBezTo>
                  <a:cubicBezTo>
                    <a:pt x="429" y="467"/>
                    <a:pt x="429" y="467"/>
                    <a:pt x="429" y="467"/>
                  </a:cubicBezTo>
                  <a:cubicBezTo>
                    <a:pt x="429" y="467"/>
                    <a:pt x="430" y="466"/>
                    <a:pt x="432" y="466"/>
                  </a:cubicBezTo>
                  <a:cubicBezTo>
                    <a:pt x="433" y="466"/>
                    <a:pt x="434" y="468"/>
                    <a:pt x="434" y="468"/>
                  </a:cubicBezTo>
                  <a:cubicBezTo>
                    <a:pt x="436" y="467"/>
                    <a:pt x="436" y="467"/>
                    <a:pt x="436" y="467"/>
                  </a:cubicBezTo>
                  <a:cubicBezTo>
                    <a:pt x="435" y="465"/>
                    <a:pt x="435" y="465"/>
                    <a:pt x="435" y="465"/>
                  </a:cubicBezTo>
                  <a:cubicBezTo>
                    <a:pt x="438" y="465"/>
                    <a:pt x="438" y="465"/>
                    <a:pt x="438" y="465"/>
                  </a:cubicBezTo>
                  <a:cubicBezTo>
                    <a:pt x="437" y="461"/>
                    <a:pt x="437" y="461"/>
                    <a:pt x="437" y="461"/>
                  </a:cubicBezTo>
                  <a:cubicBezTo>
                    <a:pt x="437" y="461"/>
                    <a:pt x="425" y="464"/>
                    <a:pt x="422" y="464"/>
                  </a:cubicBezTo>
                  <a:cubicBezTo>
                    <a:pt x="418" y="462"/>
                    <a:pt x="416" y="458"/>
                    <a:pt x="416" y="458"/>
                  </a:cubicBezTo>
                  <a:cubicBezTo>
                    <a:pt x="416" y="458"/>
                    <a:pt x="393" y="456"/>
                    <a:pt x="390" y="458"/>
                  </a:cubicBezTo>
                  <a:cubicBezTo>
                    <a:pt x="387" y="460"/>
                    <a:pt x="393" y="465"/>
                    <a:pt x="393" y="469"/>
                  </a:cubicBezTo>
                  <a:cubicBezTo>
                    <a:pt x="395" y="472"/>
                    <a:pt x="389" y="474"/>
                    <a:pt x="389" y="474"/>
                  </a:cubicBezTo>
                  <a:cubicBezTo>
                    <a:pt x="389" y="476"/>
                    <a:pt x="389" y="476"/>
                    <a:pt x="389" y="476"/>
                  </a:cubicBezTo>
                  <a:cubicBezTo>
                    <a:pt x="389" y="476"/>
                    <a:pt x="386" y="475"/>
                    <a:pt x="385" y="477"/>
                  </a:cubicBezTo>
                  <a:cubicBezTo>
                    <a:pt x="384" y="480"/>
                    <a:pt x="389" y="483"/>
                    <a:pt x="389" y="483"/>
                  </a:cubicBezTo>
                  <a:cubicBezTo>
                    <a:pt x="392" y="487"/>
                    <a:pt x="392" y="487"/>
                    <a:pt x="392" y="487"/>
                  </a:cubicBezTo>
                  <a:cubicBezTo>
                    <a:pt x="392" y="487"/>
                    <a:pt x="395" y="486"/>
                    <a:pt x="397" y="487"/>
                  </a:cubicBezTo>
                  <a:cubicBezTo>
                    <a:pt x="399" y="487"/>
                    <a:pt x="403" y="491"/>
                    <a:pt x="408" y="494"/>
                  </a:cubicBezTo>
                  <a:cubicBezTo>
                    <a:pt x="413" y="499"/>
                    <a:pt x="423" y="504"/>
                    <a:pt x="423" y="504"/>
                  </a:cubicBezTo>
                  <a:cubicBezTo>
                    <a:pt x="425" y="498"/>
                    <a:pt x="425" y="498"/>
                    <a:pt x="425" y="498"/>
                  </a:cubicBezTo>
                  <a:cubicBezTo>
                    <a:pt x="430" y="498"/>
                    <a:pt x="430" y="498"/>
                    <a:pt x="430" y="498"/>
                  </a:cubicBezTo>
                  <a:cubicBezTo>
                    <a:pt x="430" y="498"/>
                    <a:pt x="428" y="496"/>
                    <a:pt x="429" y="494"/>
                  </a:cubicBezTo>
                  <a:cubicBezTo>
                    <a:pt x="429" y="492"/>
                    <a:pt x="433" y="491"/>
                    <a:pt x="433" y="491"/>
                  </a:cubicBezTo>
                  <a:cubicBezTo>
                    <a:pt x="433" y="496"/>
                    <a:pt x="433" y="496"/>
                    <a:pt x="433" y="496"/>
                  </a:cubicBezTo>
                  <a:cubicBezTo>
                    <a:pt x="439" y="496"/>
                    <a:pt x="439" y="496"/>
                    <a:pt x="439" y="496"/>
                  </a:cubicBezTo>
                  <a:cubicBezTo>
                    <a:pt x="442" y="496"/>
                    <a:pt x="441" y="499"/>
                    <a:pt x="441" y="499"/>
                  </a:cubicBezTo>
                  <a:cubicBezTo>
                    <a:pt x="441" y="505"/>
                    <a:pt x="441" y="505"/>
                    <a:pt x="441" y="505"/>
                  </a:cubicBezTo>
                  <a:cubicBezTo>
                    <a:pt x="441" y="505"/>
                    <a:pt x="449" y="508"/>
                    <a:pt x="451" y="516"/>
                  </a:cubicBezTo>
                  <a:cubicBezTo>
                    <a:pt x="454" y="523"/>
                    <a:pt x="444" y="525"/>
                    <a:pt x="444" y="525"/>
                  </a:cubicBezTo>
                  <a:cubicBezTo>
                    <a:pt x="444" y="525"/>
                    <a:pt x="444" y="531"/>
                    <a:pt x="439" y="534"/>
                  </a:cubicBezTo>
                  <a:cubicBezTo>
                    <a:pt x="435" y="537"/>
                    <a:pt x="433" y="532"/>
                    <a:pt x="429" y="531"/>
                  </a:cubicBezTo>
                  <a:cubicBezTo>
                    <a:pt x="425" y="531"/>
                    <a:pt x="422" y="534"/>
                    <a:pt x="420" y="534"/>
                  </a:cubicBezTo>
                  <a:cubicBezTo>
                    <a:pt x="419" y="534"/>
                    <a:pt x="416" y="534"/>
                    <a:pt x="413" y="533"/>
                  </a:cubicBezTo>
                  <a:cubicBezTo>
                    <a:pt x="409" y="533"/>
                    <a:pt x="412" y="535"/>
                    <a:pt x="404" y="534"/>
                  </a:cubicBezTo>
                  <a:cubicBezTo>
                    <a:pt x="396" y="534"/>
                    <a:pt x="396" y="529"/>
                    <a:pt x="396" y="529"/>
                  </a:cubicBezTo>
                  <a:cubicBezTo>
                    <a:pt x="397" y="524"/>
                    <a:pt x="397" y="524"/>
                    <a:pt x="397" y="524"/>
                  </a:cubicBezTo>
                  <a:cubicBezTo>
                    <a:pt x="388" y="523"/>
                    <a:pt x="388" y="523"/>
                    <a:pt x="388" y="523"/>
                  </a:cubicBezTo>
                  <a:cubicBezTo>
                    <a:pt x="388" y="523"/>
                    <a:pt x="386" y="525"/>
                    <a:pt x="384" y="523"/>
                  </a:cubicBezTo>
                  <a:cubicBezTo>
                    <a:pt x="382" y="522"/>
                    <a:pt x="382" y="520"/>
                    <a:pt x="379" y="518"/>
                  </a:cubicBezTo>
                  <a:cubicBezTo>
                    <a:pt x="374" y="515"/>
                    <a:pt x="370" y="518"/>
                    <a:pt x="370" y="518"/>
                  </a:cubicBezTo>
                  <a:cubicBezTo>
                    <a:pt x="370" y="518"/>
                    <a:pt x="371" y="521"/>
                    <a:pt x="370" y="523"/>
                  </a:cubicBezTo>
                  <a:cubicBezTo>
                    <a:pt x="368" y="525"/>
                    <a:pt x="365" y="525"/>
                    <a:pt x="365" y="525"/>
                  </a:cubicBezTo>
                  <a:cubicBezTo>
                    <a:pt x="364" y="523"/>
                    <a:pt x="364" y="523"/>
                    <a:pt x="364" y="523"/>
                  </a:cubicBezTo>
                  <a:cubicBezTo>
                    <a:pt x="360" y="523"/>
                    <a:pt x="360" y="523"/>
                    <a:pt x="360" y="523"/>
                  </a:cubicBezTo>
                  <a:cubicBezTo>
                    <a:pt x="360" y="525"/>
                    <a:pt x="360" y="525"/>
                    <a:pt x="360" y="525"/>
                  </a:cubicBezTo>
                  <a:cubicBezTo>
                    <a:pt x="355" y="519"/>
                    <a:pt x="355" y="519"/>
                    <a:pt x="355" y="519"/>
                  </a:cubicBezTo>
                  <a:cubicBezTo>
                    <a:pt x="354" y="522"/>
                    <a:pt x="354" y="522"/>
                    <a:pt x="354" y="522"/>
                  </a:cubicBezTo>
                  <a:cubicBezTo>
                    <a:pt x="344" y="516"/>
                    <a:pt x="344" y="516"/>
                    <a:pt x="344" y="516"/>
                  </a:cubicBezTo>
                  <a:cubicBezTo>
                    <a:pt x="344" y="516"/>
                    <a:pt x="347" y="512"/>
                    <a:pt x="346" y="509"/>
                  </a:cubicBezTo>
                  <a:cubicBezTo>
                    <a:pt x="344" y="506"/>
                    <a:pt x="340" y="502"/>
                    <a:pt x="340" y="502"/>
                  </a:cubicBezTo>
                  <a:cubicBezTo>
                    <a:pt x="342" y="498"/>
                    <a:pt x="342" y="498"/>
                    <a:pt x="342" y="498"/>
                  </a:cubicBezTo>
                  <a:cubicBezTo>
                    <a:pt x="339" y="492"/>
                    <a:pt x="339" y="492"/>
                    <a:pt x="339" y="492"/>
                  </a:cubicBezTo>
                  <a:cubicBezTo>
                    <a:pt x="333" y="490"/>
                    <a:pt x="333" y="490"/>
                    <a:pt x="333" y="490"/>
                  </a:cubicBezTo>
                  <a:cubicBezTo>
                    <a:pt x="333" y="490"/>
                    <a:pt x="336" y="487"/>
                    <a:pt x="334" y="483"/>
                  </a:cubicBezTo>
                  <a:cubicBezTo>
                    <a:pt x="331" y="478"/>
                    <a:pt x="314" y="469"/>
                    <a:pt x="314" y="469"/>
                  </a:cubicBezTo>
                  <a:cubicBezTo>
                    <a:pt x="314" y="469"/>
                    <a:pt x="321" y="460"/>
                    <a:pt x="321" y="456"/>
                  </a:cubicBezTo>
                  <a:cubicBezTo>
                    <a:pt x="322" y="451"/>
                    <a:pt x="313" y="439"/>
                    <a:pt x="313" y="439"/>
                  </a:cubicBezTo>
                  <a:cubicBezTo>
                    <a:pt x="313" y="439"/>
                    <a:pt x="315" y="438"/>
                    <a:pt x="315" y="437"/>
                  </a:cubicBezTo>
                  <a:cubicBezTo>
                    <a:pt x="316" y="436"/>
                    <a:pt x="317" y="433"/>
                    <a:pt x="317" y="433"/>
                  </a:cubicBezTo>
                  <a:cubicBezTo>
                    <a:pt x="317" y="433"/>
                    <a:pt x="314" y="434"/>
                    <a:pt x="313" y="434"/>
                  </a:cubicBezTo>
                  <a:cubicBezTo>
                    <a:pt x="310" y="433"/>
                    <a:pt x="311" y="427"/>
                    <a:pt x="311" y="427"/>
                  </a:cubicBezTo>
                  <a:cubicBezTo>
                    <a:pt x="311" y="427"/>
                    <a:pt x="293" y="420"/>
                    <a:pt x="290" y="419"/>
                  </a:cubicBezTo>
                  <a:cubicBezTo>
                    <a:pt x="286" y="418"/>
                    <a:pt x="285" y="421"/>
                    <a:pt x="285" y="421"/>
                  </a:cubicBezTo>
                  <a:cubicBezTo>
                    <a:pt x="285" y="421"/>
                    <a:pt x="274" y="419"/>
                    <a:pt x="271" y="419"/>
                  </a:cubicBezTo>
                  <a:cubicBezTo>
                    <a:pt x="268" y="419"/>
                    <a:pt x="264" y="423"/>
                    <a:pt x="264" y="423"/>
                  </a:cubicBezTo>
                  <a:cubicBezTo>
                    <a:pt x="264" y="420"/>
                    <a:pt x="264" y="420"/>
                    <a:pt x="264" y="420"/>
                  </a:cubicBezTo>
                  <a:cubicBezTo>
                    <a:pt x="275" y="414"/>
                    <a:pt x="275" y="414"/>
                    <a:pt x="275" y="414"/>
                  </a:cubicBezTo>
                  <a:cubicBezTo>
                    <a:pt x="270" y="413"/>
                    <a:pt x="270" y="413"/>
                    <a:pt x="270" y="413"/>
                  </a:cubicBezTo>
                  <a:cubicBezTo>
                    <a:pt x="274" y="411"/>
                    <a:pt x="274" y="411"/>
                    <a:pt x="274" y="411"/>
                  </a:cubicBezTo>
                  <a:cubicBezTo>
                    <a:pt x="274" y="409"/>
                    <a:pt x="274" y="409"/>
                    <a:pt x="274" y="409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72" y="406"/>
                    <a:pt x="272" y="406"/>
                    <a:pt x="272" y="406"/>
                  </a:cubicBezTo>
                  <a:cubicBezTo>
                    <a:pt x="270" y="406"/>
                    <a:pt x="270" y="406"/>
                    <a:pt x="270" y="406"/>
                  </a:cubicBezTo>
                  <a:cubicBezTo>
                    <a:pt x="269" y="410"/>
                    <a:pt x="269" y="410"/>
                    <a:pt x="269" y="410"/>
                  </a:cubicBezTo>
                  <a:cubicBezTo>
                    <a:pt x="262" y="411"/>
                    <a:pt x="262" y="411"/>
                    <a:pt x="262" y="411"/>
                  </a:cubicBezTo>
                  <a:cubicBezTo>
                    <a:pt x="259" y="407"/>
                    <a:pt x="259" y="407"/>
                    <a:pt x="259" y="407"/>
                  </a:cubicBezTo>
                  <a:cubicBezTo>
                    <a:pt x="258" y="410"/>
                    <a:pt x="258" y="410"/>
                    <a:pt x="258" y="410"/>
                  </a:cubicBezTo>
                  <a:cubicBezTo>
                    <a:pt x="254" y="409"/>
                    <a:pt x="254" y="409"/>
                    <a:pt x="254" y="409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56" y="406"/>
                    <a:pt x="249" y="406"/>
                    <a:pt x="249" y="405"/>
                  </a:cubicBezTo>
                  <a:cubicBezTo>
                    <a:pt x="249" y="404"/>
                    <a:pt x="254" y="405"/>
                    <a:pt x="254" y="40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1" y="402"/>
                    <a:pt x="261" y="402"/>
                    <a:pt x="261" y="402"/>
                  </a:cubicBezTo>
                  <a:cubicBezTo>
                    <a:pt x="261" y="399"/>
                    <a:pt x="261" y="399"/>
                    <a:pt x="261" y="399"/>
                  </a:cubicBezTo>
                  <a:cubicBezTo>
                    <a:pt x="251" y="399"/>
                    <a:pt x="251" y="399"/>
                    <a:pt x="251" y="399"/>
                  </a:cubicBezTo>
                  <a:cubicBezTo>
                    <a:pt x="248" y="401"/>
                    <a:pt x="244" y="398"/>
                    <a:pt x="244" y="398"/>
                  </a:cubicBezTo>
                  <a:cubicBezTo>
                    <a:pt x="244" y="397"/>
                    <a:pt x="244" y="397"/>
                    <a:pt x="244" y="397"/>
                  </a:cubicBezTo>
                  <a:cubicBezTo>
                    <a:pt x="244" y="396"/>
                    <a:pt x="244" y="396"/>
                    <a:pt x="244" y="396"/>
                  </a:cubicBezTo>
                  <a:cubicBezTo>
                    <a:pt x="246" y="398"/>
                    <a:pt x="246" y="398"/>
                    <a:pt x="246" y="398"/>
                  </a:cubicBezTo>
                  <a:cubicBezTo>
                    <a:pt x="250" y="396"/>
                    <a:pt x="250" y="396"/>
                    <a:pt x="250" y="396"/>
                  </a:cubicBezTo>
                  <a:cubicBezTo>
                    <a:pt x="241" y="394"/>
                    <a:pt x="241" y="394"/>
                    <a:pt x="241" y="394"/>
                  </a:cubicBezTo>
                  <a:cubicBezTo>
                    <a:pt x="234" y="393"/>
                    <a:pt x="234" y="393"/>
                    <a:pt x="234" y="393"/>
                  </a:cubicBezTo>
                  <a:cubicBezTo>
                    <a:pt x="234" y="393"/>
                    <a:pt x="236" y="386"/>
                    <a:pt x="235" y="383"/>
                  </a:cubicBezTo>
                  <a:cubicBezTo>
                    <a:pt x="235" y="382"/>
                    <a:pt x="226" y="382"/>
                    <a:pt x="226" y="382"/>
                  </a:cubicBezTo>
                  <a:cubicBezTo>
                    <a:pt x="226" y="380"/>
                    <a:pt x="226" y="380"/>
                    <a:pt x="226" y="380"/>
                  </a:cubicBezTo>
                  <a:cubicBezTo>
                    <a:pt x="223" y="379"/>
                    <a:pt x="223" y="379"/>
                    <a:pt x="223" y="379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15" y="380"/>
                    <a:pt x="215" y="380"/>
                    <a:pt x="215" y="380"/>
                  </a:cubicBezTo>
                  <a:cubicBezTo>
                    <a:pt x="221" y="378"/>
                    <a:pt x="221" y="378"/>
                    <a:pt x="221" y="378"/>
                  </a:cubicBezTo>
                  <a:cubicBezTo>
                    <a:pt x="221" y="378"/>
                    <a:pt x="221" y="376"/>
                    <a:pt x="227" y="376"/>
                  </a:cubicBezTo>
                  <a:cubicBezTo>
                    <a:pt x="233" y="375"/>
                    <a:pt x="240" y="377"/>
                    <a:pt x="240" y="377"/>
                  </a:cubicBezTo>
                  <a:cubicBezTo>
                    <a:pt x="239" y="381"/>
                    <a:pt x="239" y="381"/>
                    <a:pt x="239" y="381"/>
                  </a:cubicBezTo>
                  <a:cubicBezTo>
                    <a:pt x="239" y="381"/>
                    <a:pt x="244" y="384"/>
                    <a:pt x="251" y="388"/>
                  </a:cubicBezTo>
                  <a:cubicBezTo>
                    <a:pt x="256" y="391"/>
                    <a:pt x="265" y="393"/>
                    <a:pt x="265" y="393"/>
                  </a:cubicBezTo>
                  <a:cubicBezTo>
                    <a:pt x="262" y="387"/>
                    <a:pt x="262" y="387"/>
                    <a:pt x="262" y="387"/>
                  </a:cubicBezTo>
                  <a:cubicBezTo>
                    <a:pt x="264" y="386"/>
                    <a:pt x="264" y="386"/>
                    <a:pt x="264" y="386"/>
                  </a:cubicBezTo>
                  <a:cubicBezTo>
                    <a:pt x="264" y="386"/>
                    <a:pt x="270" y="391"/>
                    <a:pt x="273" y="392"/>
                  </a:cubicBezTo>
                  <a:cubicBezTo>
                    <a:pt x="276" y="393"/>
                    <a:pt x="279" y="390"/>
                    <a:pt x="279" y="390"/>
                  </a:cubicBezTo>
                  <a:cubicBezTo>
                    <a:pt x="281" y="384"/>
                    <a:pt x="281" y="384"/>
                    <a:pt x="281" y="384"/>
                  </a:cubicBezTo>
                  <a:cubicBezTo>
                    <a:pt x="281" y="390"/>
                    <a:pt x="281" y="390"/>
                    <a:pt x="281" y="390"/>
                  </a:cubicBezTo>
                  <a:cubicBezTo>
                    <a:pt x="288" y="390"/>
                    <a:pt x="288" y="390"/>
                    <a:pt x="288" y="390"/>
                  </a:cubicBezTo>
                  <a:cubicBezTo>
                    <a:pt x="288" y="390"/>
                    <a:pt x="288" y="391"/>
                    <a:pt x="289" y="393"/>
                  </a:cubicBezTo>
                  <a:cubicBezTo>
                    <a:pt x="291" y="395"/>
                    <a:pt x="292" y="395"/>
                    <a:pt x="292" y="395"/>
                  </a:cubicBezTo>
                  <a:cubicBezTo>
                    <a:pt x="297" y="390"/>
                    <a:pt x="297" y="390"/>
                    <a:pt x="297" y="39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304" y="391"/>
                    <a:pt x="311" y="394"/>
                    <a:pt x="311" y="394"/>
                  </a:cubicBezTo>
                  <a:cubicBezTo>
                    <a:pt x="314" y="393"/>
                    <a:pt x="314" y="393"/>
                    <a:pt x="314" y="393"/>
                  </a:cubicBezTo>
                  <a:cubicBezTo>
                    <a:pt x="316" y="395"/>
                    <a:pt x="316" y="395"/>
                    <a:pt x="316" y="395"/>
                  </a:cubicBezTo>
                  <a:cubicBezTo>
                    <a:pt x="335" y="395"/>
                    <a:pt x="335" y="395"/>
                    <a:pt x="335" y="395"/>
                  </a:cubicBezTo>
                  <a:cubicBezTo>
                    <a:pt x="349" y="395"/>
                    <a:pt x="355" y="390"/>
                    <a:pt x="364" y="390"/>
                  </a:cubicBezTo>
                  <a:cubicBezTo>
                    <a:pt x="371" y="390"/>
                    <a:pt x="383" y="395"/>
                    <a:pt x="383" y="395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91" y="393"/>
                    <a:pt x="400" y="392"/>
                  </a:cubicBezTo>
                  <a:cubicBezTo>
                    <a:pt x="408" y="391"/>
                    <a:pt x="413" y="381"/>
                    <a:pt x="413" y="381"/>
                  </a:cubicBezTo>
                  <a:cubicBezTo>
                    <a:pt x="417" y="381"/>
                    <a:pt x="417" y="381"/>
                    <a:pt x="417" y="381"/>
                  </a:cubicBezTo>
                  <a:cubicBezTo>
                    <a:pt x="419" y="381"/>
                    <a:pt x="420" y="377"/>
                    <a:pt x="420" y="377"/>
                  </a:cubicBezTo>
                  <a:cubicBezTo>
                    <a:pt x="420" y="377"/>
                    <a:pt x="428" y="371"/>
                    <a:pt x="430" y="368"/>
                  </a:cubicBezTo>
                  <a:cubicBezTo>
                    <a:pt x="432" y="366"/>
                    <a:pt x="439" y="351"/>
                    <a:pt x="439" y="351"/>
                  </a:cubicBezTo>
                  <a:cubicBezTo>
                    <a:pt x="439" y="351"/>
                    <a:pt x="441" y="351"/>
                    <a:pt x="444" y="349"/>
                  </a:cubicBezTo>
                  <a:cubicBezTo>
                    <a:pt x="445" y="346"/>
                    <a:pt x="444" y="343"/>
                    <a:pt x="444" y="343"/>
                  </a:cubicBezTo>
                  <a:cubicBezTo>
                    <a:pt x="444" y="343"/>
                    <a:pt x="444" y="340"/>
                    <a:pt x="446" y="334"/>
                  </a:cubicBezTo>
                  <a:cubicBezTo>
                    <a:pt x="447" y="329"/>
                    <a:pt x="448" y="304"/>
                    <a:pt x="448" y="304"/>
                  </a:cubicBezTo>
                  <a:cubicBezTo>
                    <a:pt x="444" y="300"/>
                    <a:pt x="444" y="300"/>
                    <a:pt x="444" y="300"/>
                  </a:cubicBezTo>
                  <a:cubicBezTo>
                    <a:pt x="439" y="294"/>
                    <a:pt x="439" y="294"/>
                    <a:pt x="439" y="294"/>
                  </a:cubicBezTo>
                  <a:cubicBezTo>
                    <a:pt x="439" y="294"/>
                    <a:pt x="435" y="295"/>
                    <a:pt x="433" y="294"/>
                  </a:cubicBezTo>
                  <a:cubicBezTo>
                    <a:pt x="430" y="293"/>
                    <a:pt x="428" y="283"/>
                    <a:pt x="428" y="283"/>
                  </a:cubicBezTo>
                  <a:cubicBezTo>
                    <a:pt x="424" y="283"/>
                    <a:pt x="424" y="283"/>
                    <a:pt x="424" y="283"/>
                  </a:cubicBezTo>
                  <a:cubicBezTo>
                    <a:pt x="422" y="278"/>
                    <a:pt x="422" y="278"/>
                    <a:pt x="422" y="278"/>
                  </a:cubicBezTo>
                  <a:cubicBezTo>
                    <a:pt x="423" y="275"/>
                    <a:pt x="423" y="275"/>
                    <a:pt x="423" y="275"/>
                  </a:cubicBezTo>
                  <a:cubicBezTo>
                    <a:pt x="415" y="268"/>
                    <a:pt x="415" y="268"/>
                    <a:pt x="415" y="268"/>
                  </a:cubicBezTo>
                  <a:cubicBezTo>
                    <a:pt x="413" y="270"/>
                    <a:pt x="413" y="270"/>
                    <a:pt x="413" y="270"/>
                  </a:cubicBezTo>
                  <a:cubicBezTo>
                    <a:pt x="407" y="268"/>
                    <a:pt x="407" y="268"/>
                    <a:pt x="407" y="268"/>
                  </a:cubicBezTo>
                  <a:cubicBezTo>
                    <a:pt x="407" y="268"/>
                    <a:pt x="407" y="272"/>
                    <a:pt x="405" y="272"/>
                  </a:cubicBezTo>
                  <a:cubicBezTo>
                    <a:pt x="403" y="272"/>
                    <a:pt x="400" y="269"/>
                    <a:pt x="400" y="269"/>
                  </a:cubicBezTo>
                  <a:cubicBezTo>
                    <a:pt x="399" y="265"/>
                    <a:pt x="399" y="265"/>
                    <a:pt x="399" y="265"/>
                  </a:cubicBezTo>
                  <a:cubicBezTo>
                    <a:pt x="386" y="262"/>
                    <a:pt x="386" y="262"/>
                    <a:pt x="386" y="262"/>
                  </a:cubicBezTo>
                  <a:cubicBezTo>
                    <a:pt x="380" y="256"/>
                    <a:pt x="380" y="256"/>
                    <a:pt x="380" y="256"/>
                  </a:cubicBezTo>
                  <a:cubicBezTo>
                    <a:pt x="379" y="257"/>
                    <a:pt x="379" y="257"/>
                    <a:pt x="379" y="257"/>
                  </a:cubicBezTo>
                  <a:cubicBezTo>
                    <a:pt x="379" y="257"/>
                    <a:pt x="384" y="261"/>
                    <a:pt x="381" y="263"/>
                  </a:cubicBezTo>
                  <a:cubicBezTo>
                    <a:pt x="377" y="264"/>
                    <a:pt x="364" y="257"/>
                    <a:pt x="364" y="257"/>
                  </a:cubicBezTo>
                  <a:cubicBezTo>
                    <a:pt x="363" y="260"/>
                    <a:pt x="363" y="260"/>
                    <a:pt x="363" y="260"/>
                  </a:cubicBezTo>
                  <a:cubicBezTo>
                    <a:pt x="356" y="256"/>
                    <a:pt x="356" y="256"/>
                    <a:pt x="356" y="256"/>
                  </a:cubicBezTo>
                  <a:cubicBezTo>
                    <a:pt x="356" y="256"/>
                    <a:pt x="357" y="254"/>
                    <a:pt x="355" y="254"/>
                  </a:cubicBezTo>
                  <a:cubicBezTo>
                    <a:pt x="353" y="254"/>
                    <a:pt x="347" y="253"/>
                    <a:pt x="347" y="253"/>
                  </a:cubicBezTo>
                  <a:cubicBezTo>
                    <a:pt x="348" y="255"/>
                    <a:pt x="348" y="255"/>
                    <a:pt x="348" y="255"/>
                  </a:cubicBezTo>
                  <a:cubicBezTo>
                    <a:pt x="348" y="255"/>
                    <a:pt x="353" y="257"/>
                    <a:pt x="352" y="259"/>
                  </a:cubicBezTo>
                  <a:cubicBezTo>
                    <a:pt x="352" y="261"/>
                    <a:pt x="344" y="257"/>
                    <a:pt x="344" y="257"/>
                  </a:cubicBezTo>
                  <a:cubicBezTo>
                    <a:pt x="344" y="257"/>
                    <a:pt x="331" y="250"/>
                    <a:pt x="325" y="247"/>
                  </a:cubicBezTo>
                  <a:cubicBezTo>
                    <a:pt x="321" y="244"/>
                    <a:pt x="310" y="241"/>
                    <a:pt x="306" y="240"/>
                  </a:cubicBezTo>
                  <a:cubicBezTo>
                    <a:pt x="302" y="239"/>
                    <a:pt x="295" y="235"/>
                    <a:pt x="289" y="233"/>
                  </a:cubicBezTo>
                  <a:cubicBezTo>
                    <a:pt x="282" y="230"/>
                    <a:pt x="270" y="230"/>
                    <a:pt x="270" y="230"/>
                  </a:cubicBezTo>
                  <a:cubicBezTo>
                    <a:pt x="269" y="230"/>
                    <a:pt x="269" y="230"/>
                    <a:pt x="269" y="230"/>
                  </a:cubicBezTo>
                  <a:cubicBezTo>
                    <a:pt x="269" y="230"/>
                    <a:pt x="266" y="228"/>
                    <a:pt x="265" y="226"/>
                  </a:cubicBezTo>
                  <a:cubicBezTo>
                    <a:pt x="264" y="226"/>
                    <a:pt x="262" y="229"/>
                    <a:pt x="262" y="229"/>
                  </a:cubicBezTo>
                  <a:cubicBezTo>
                    <a:pt x="256" y="229"/>
                    <a:pt x="256" y="229"/>
                    <a:pt x="256" y="229"/>
                  </a:cubicBezTo>
                  <a:cubicBezTo>
                    <a:pt x="256" y="228"/>
                    <a:pt x="256" y="228"/>
                    <a:pt x="256" y="228"/>
                  </a:cubicBezTo>
                  <a:cubicBezTo>
                    <a:pt x="248" y="230"/>
                    <a:pt x="248" y="230"/>
                    <a:pt x="248" y="230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8" y="233"/>
                    <a:pt x="246" y="233"/>
                  </a:cubicBezTo>
                  <a:cubicBezTo>
                    <a:pt x="244" y="233"/>
                    <a:pt x="244" y="235"/>
                    <a:pt x="244" y="235"/>
                  </a:cubicBezTo>
                  <a:cubicBezTo>
                    <a:pt x="244" y="235"/>
                    <a:pt x="242" y="234"/>
                    <a:pt x="240" y="233"/>
                  </a:cubicBezTo>
                  <a:cubicBezTo>
                    <a:pt x="238" y="233"/>
                    <a:pt x="231" y="234"/>
                    <a:pt x="231" y="234"/>
                  </a:cubicBezTo>
                  <a:cubicBezTo>
                    <a:pt x="229" y="232"/>
                    <a:pt x="229" y="232"/>
                    <a:pt x="229" y="232"/>
                  </a:cubicBezTo>
                  <a:cubicBezTo>
                    <a:pt x="217" y="234"/>
                    <a:pt x="217" y="234"/>
                    <a:pt x="217" y="234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7" y="236"/>
                    <a:pt x="211" y="234"/>
                    <a:pt x="210" y="236"/>
                  </a:cubicBezTo>
                  <a:cubicBezTo>
                    <a:pt x="209" y="239"/>
                    <a:pt x="212" y="247"/>
                    <a:pt x="212" y="247"/>
                  </a:cubicBezTo>
                  <a:cubicBezTo>
                    <a:pt x="212" y="247"/>
                    <a:pt x="211" y="250"/>
                    <a:pt x="209" y="251"/>
                  </a:cubicBezTo>
                  <a:cubicBezTo>
                    <a:pt x="208" y="253"/>
                    <a:pt x="205" y="255"/>
                    <a:pt x="203" y="254"/>
                  </a:cubicBezTo>
                  <a:cubicBezTo>
                    <a:pt x="202" y="253"/>
                    <a:pt x="207" y="249"/>
                    <a:pt x="208" y="247"/>
                  </a:cubicBezTo>
                  <a:cubicBezTo>
                    <a:pt x="210" y="246"/>
                    <a:pt x="210" y="244"/>
                    <a:pt x="210" y="244"/>
                  </a:cubicBezTo>
                  <a:cubicBezTo>
                    <a:pt x="206" y="241"/>
                    <a:pt x="206" y="241"/>
                    <a:pt x="206" y="241"/>
                  </a:cubicBezTo>
                  <a:cubicBezTo>
                    <a:pt x="207" y="239"/>
                    <a:pt x="207" y="239"/>
                    <a:pt x="207" y="239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241"/>
                    <a:pt x="208" y="234"/>
                    <a:pt x="205" y="231"/>
                  </a:cubicBezTo>
                  <a:cubicBezTo>
                    <a:pt x="201" y="228"/>
                    <a:pt x="194" y="236"/>
                    <a:pt x="194" y="236"/>
                  </a:cubicBezTo>
                  <a:cubicBezTo>
                    <a:pt x="193" y="240"/>
                    <a:pt x="193" y="240"/>
                    <a:pt x="193" y="240"/>
                  </a:cubicBezTo>
                  <a:cubicBezTo>
                    <a:pt x="190" y="240"/>
                    <a:pt x="190" y="240"/>
                    <a:pt x="190" y="240"/>
                  </a:cubicBezTo>
                  <a:cubicBezTo>
                    <a:pt x="193" y="236"/>
                    <a:pt x="193" y="236"/>
                    <a:pt x="193" y="236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1" y="234"/>
                    <a:pt x="191" y="234"/>
                    <a:pt x="191" y="234"/>
                  </a:cubicBezTo>
                  <a:cubicBezTo>
                    <a:pt x="190" y="232"/>
                    <a:pt x="190" y="232"/>
                    <a:pt x="190" y="232"/>
                  </a:cubicBezTo>
                  <a:cubicBezTo>
                    <a:pt x="186" y="232"/>
                    <a:pt x="186" y="232"/>
                    <a:pt x="186" y="232"/>
                  </a:cubicBezTo>
                  <a:cubicBezTo>
                    <a:pt x="186" y="234"/>
                    <a:pt x="186" y="234"/>
                    <a:pt x="186" y="234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6"/>
                    <a:pt x="182" y="236"/>
                    <a:pt x="182" y="236"/>
                  </a:cubicBezTo>
                  <a:cubicBezTo>
                    <a:pt x="177" y="237"/>
                    <a:pt x="177" y="237"/>
                    <a:pt x="177" y="237"/>
                  </a:cubicBezTo>
                  <a:cubicBezTo>
                    <a:pt x="180" y="231"/>
                    <a:pt x="180" y="231"/>
                    <a:pt x="180" y="231"/>
                  </a:cubicBezTo>
                  <a:cubicBezTo>
                    <a:pt x="178" y="231"/>
                    <a:pt x="178" y="231"/>
                    <a:pt x="178" y="231"/>
                  </a:cubicBezTo>
                  <a:cubicBezTo>
                    <a:pt x="178" y="231"/>
                    <a:pt x="178" y="229"/>
                    <a:pt x="175" y="229"/>
                  </a:cubicBezTo>
                  <a:cubicBezTo>
                    <a:pt x="172" y="229"/>
                    <a:pt x="169" y="232"/>
                    <a:pt x="169" y="232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6" y="226"/>
                    <a:pt x="166" y="226"/>
                    <a:pt x="166" y="226"/>
                  </a:cubicBezTo>
                  <a:cubicBezTo>
                    <a:pt x="168" y="223"/>
                    <a:pt x="168" y="223"/>
                    <a:pt x="168" y="223"/>
                  </a:cubicBezTo>
                  <a:cubicBezTo>
                    <a:pt x="167" y="222"/>
                    <a:pt x="167" y="222"/>
                    <a:pt x="167" y="222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71" y="222"/>
                    <a:pt x="169" y="223"/>
                    <a:pt x="171" y="225"/>
                  </a:cubicBezTo>
                  <a:cubicBezTo>
                    <a:pt x="174" y="228"/>
                    <a:pt x="188" y="225"/>
                    <a:pt x="188" y="225"/>
                  </a:cubicBezTo>
                  <a:cubicBezTo>
                    <a:pt x="188" y="225"/>
                    <a:pt x="190" y="223"/>
                    <a:pt x="190" y="221"/>
                  </a:cubicBezTo>
                  <a:cubicBezTo>
                    <a:pt x="190" y="213"/>
                    <a:pt x="190" y="213"/>
                    <a:pt x="190" y="213"/>
                  </a:cubicBezTo>
                  <a:cubicBezTo>
                    <a:pt x="190" y="213"/>
                    <a:pt x="177" y="215"/>
                    <a:pt x="175" y="213"/>
                  </a:cubicBezTo>
                  <a:cubicBezTo>
                    <a:pt x="173" y="212"/>
                    <a:pt x="161" y="207"/>
                    <a:pt x="159" y="208"/>
                  </a:cubicBezTo>
                  <a:cubicBezTo>
                    <a:pt x="158" y="210"/>
                    <a:pt x="161" y="213"/>
                    <a:pt x="161" y="213"/>
                  </a:cubicBezTo>
                  <a:cubicBezTo>
                    <a:pt x="161" y="215"/>
                    <a:pt x="161" y="215"/>
                    <a:pt x="161" y="215"/>
                  </a:cubicBezTo>
                  <a:cubicBezTo>
                    <a:pt x="161" y="215"/>
                    <a:pt x="167" y="217"/>
                    <a:pt x="166" y="219"/>
                  </a:cubicBezTo>
                  <a:cubicBezTo>
                    <a:pt x="164" y="220"/>
                    <a:pt x="160" y="216"/>
                    <a:pt x="157" y="217"/>
                  </a:cubicBezTo>
                  <a:cubicBezTo>
                    <a:pt x="155" y="219"/>
                    <a:pt x="158" y="224"/>
                    <a:pt x="158" y="224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60" y="225"/>
                    <a:pt x="158" y="226"/>
                    <a:pt x="155" y="228"/>
                  </a:cubicBezTo>
                  <a:cubicBezTo>
                    <a:pt x="153" y="228"/>
                    <a:pt x="153" y="231"/>
                    <a:pt x="153" y="231"/>
                  </a:cubicBezTo>
                  <a:cubicBezTo>
                    <a:pt x="153" y="231"/>
                    <a:pt x="151" y="225"/>
                    <a:pt x="145" y="224"/>
                  </a:cubicBezTo>
                  <a:cubicBezTo>
                    <a:pt x="144" y="224"/>
                    <a:pt x="142" y="224"/>
                    <a:pt x="141" y="225"/>
                  </a:cubicBezTo>
                  <a:cubicBezTo>
                    <a:pt x="141" y="228"/>
                    <a:pt x="141" y="228"/>
                    <a:pt x="141" y="228"/>
                  </a:cubicBezTo>
                  <a:cubicBezTo>
                    <a:pt x="141" y="228"/>
                    <a:pt x="146" y="231"/>
                    <a:pt x="143" y="237"/>
                  </a:cubicBezTo>
                  <a:cubicBezTo>
                    <a:pt x="141" y="244"/>
                    <a:pt x="134" y="236"/>
                    <a:pt x="131" y="236"/>
                  </a:cubicBezTo>
                  <a:cubicBezTo>
                    <a:pt x="129" y="235"/>
                    <a:pt x="125" y="235"/>
                    <a:pt x="125" y="235"/>
                  </a:cubicBezTo>
                  <a:cubicBezTo>
                    <a:pt x="125" y="235"/>
                    <a:pt x="130" y="242"/>
                    <a:pt x="130" y="247"/>
                  </a:cubicBezTo>
                  <a:cubicBezTo>
                    <a:pt x="130" y="251"/>
                    <a:pt x="124" y="249"/>
                    <a:pt x="122" y="250"/>
                  </a:cubicBezTo>
                  <a:cubicBezTo>
                    <a:pt x="121" y="250"/>
                    <a:pt x="122" y="255"/>
                    <a:pt x="119" y="257"/>
                  </a:cubicBezTo>
                  <a:cubicBezTo>
                    <a:pt x="117" y="259"/>
                    <a:pt x="113" y="259"/>
                    <a:pt x="112" y="262"/>
                  </a:cubicBezTo>
                  <a:cubicBezTo>
                    <a:pt x="111" y="265"/>
                    <a:pt x="114" y="264"/>
                    <a:pt x="114" y="264"/>
                  </a:cubicBezTo>
                  <a:cubicBezTo>
                    <a:pt x="114" y="264"/>
                    <a:pt x="115" y="278"/>
                    <a:pt x="112" y="280"/>
                  </a:cubicBezTo>
                  <a:cubicBezTo>
                    <a:pt x="110" y="282"/>
                    <a:pt x="106" y="278"/>
                    <a:pt x="106" y="278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108" y="291"/>
                    <a:pt x="108" y="291"/>
                    <a:pt x="108" y="291"/>
                  </a:cubicBezTo>
                  <a:cubicBezTo>
                    <a:pt x="105" y="311"/>
                    <a:pt x="105" y="311"/>
                    <a:pt x="105" y="311"/>
                  </a:cubicBezTo>
                  <a:cubicBezTo>
                    <a:pt x="114" y="334"/>
                    <a:pt x="114" y="334"/>
                    <a:pt x="114" y="334"/>
                  </a:cubicBezTo>
                  <a:cubicBezTo>
                    <a:pt x="135" y="338"/>
                    <a:pt x="135" y="338"/>
                    <a:pt x="135" y="338"/>
                  </a:cubicBezTo>
                  <a:cubicBezTo>
                    <a:pt x="147" y="354"/>
                    <a:pt x="147" y="354"/>
                    <a:pt x="147" y="354"/>
                  </a:cubicBezTo>
                  <a:cubicBezTo>
                    <a:pt x="147" y="354"/>
                    <a:pt x="159" y="354"/>
                    <a:pt x="160" y="363"/>
                  </a:cubicBezTo>
                  <a:cubicBezTo>
                    <a:pt x="161" y="373"/>
                    <a:pt x="146" y="408"/>
                    <a:pt x="146" y="408"/>
                  </a:cubicBezTo>
                  <a:cubicBezTo>
                    <a:pt x="146" y="408"/>
                    <a:pt x="157" y="425"/>
                    <a:pt x="163" y="429"/>
                  </a:cubicBezTo>
                  <a:cubicBezTo>
                    <a:pt x="171" y="435"/>
                    <a:pt x="170" y="444"/>
                    <a:pt x="173" y="446"/>
                  </a:cubicBezTo>
                  <a:cubicBezTo>
                    <a:pt x="173" y="446"/>
                    <a:pt x="186" y="453"/>
                    <a:pt x="190" y="461"/>
                  </a:cubicBezTo>
                  <a:cubicBezTo>
                    <a:pt x="195" y="470"/>
                    <a:pt x="197" y="480"/>
                    <a:pt x="197" y="480"/>
                  </a:cubicBezTo>
                  <a:cubicBezTo>
                    <a:pt x="186" y="486"/>
                    <a:pt x="186" y="486"/>
                    <a:pt x="186" y="486"/>
                  </a:cubicBezTo>
                  <a:cubicBezTo>
                    <a:pt x="193" y="488"/>
                    <a:pt x="193" y="488"/>
                    <a:pt x="193" y="488"/>
                  </a:cubicBezTo>
                  <a:cubicBezTo>
                    <a:pt x="189" y="493"/>
                    <a:pt x="189" y="493"/>
                    <a:pt x="189" y="493"/>
                  </a:cubicBezTo>
                  <a:cubicBezTo>
                    <a:pt x="192" y="502"/>
                    <a:pt x="192" y="502"/>
                    <a:pt x="192" y="502"/>
                  </a:cubicBezTo>
                  <a:cubicBezTo>
                    <a:pt x="189" y="514"/>
                    <a:pt x="189" y="514"/>
                    <a:pt x="189" y="514"/>
                  </a:cubicBezTo>
                  <a:cubicBezTo>
                    <a:pt x="200" y="512"/>
                    <a:pt x="200" y="512"/>
                    <a:pt x="200" y="512"/>
                  </a:cubicBezTo>
                  <a:cubicBezTo>
                    <a:pt x="201" y="517"/>
                    <a:pt x="201" y="517"/>
                    <a:pt x="201" y="517"/>
                  </a:cubicBezTo>
                  <a:cubicBezTo>
                    <a:pt x="194" y="522"/>
                    <a:pt x="194" y="522"/>
                    <a:pt x="194" y="522"/>
                  </a:cubicBezTo>
                  <a:cubicBezTo>
                    <a:pt x="201" y="538"/>
                    <a:pt x="201" y="538"/>
                    <a:pt x="201" y="538"/>
                  </a:cubicBezTo>
                  <a:cubicBezTo>
                    <a:pt x="211" y="533"/>
                    <a:pt x="211" y="533"/>
                    <a:pt x="211" y="533"/>
                  </a:cubicBezTo>
                  <a:cubicBezTo>
                    <a:pt x="216" y="541"/>
                    <a:pt x="216" y="541"/>
                    <a:pt x="216" y="541"/>
                  </a:cubicBezTo>
                  <a:cubicBezTo>
                    <a:pt x="216" y="541"/>
                    <a:pt x="210" y="547"/>
                    <a:pt x="217" y="556"/>
                  </a:cubicBezTo>
                  <a:cubicBezTo>
                    <a:pt x="222" y="565"/>
                    <a:pt x="232" y="559"/>
                    <a:pt x="236" y="567"/>
                  </a:cubicBezTo>
                  <a:cubicBezTo>
                    <a:pt x="240" y="576"/>
                    <a:pt x="235" y="591"/>
                    <a:pt x="235" y="591"/>
                  </a:cubicBezTo>
                  <a:cubicBezTo>
                    <a:pt x="236" y="595"/>
                    <a:pt x="236" y="595"/>
                    <a:pt x="236" y="595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48" y="615"/>
                    <a:pt x="248" y="615"/>
                    <a:pt x="248" y="615"/>
                  </a:cubicBezTo>
                  <a:cubicBezTo>
                    <a:pt x="259" y="617"/>
                    <a:pt x="259" y="617"/>
                    <a:pt x="259" y="617"/>
                  </a:cubicBezTo>
                  <a:cubicBezTo>
                    <a:pt x="275" y="625"/>
                    <a:pt x="275" y="625"/>
                    <a:pt x="275" y="625"/>
                  </a:cubicBezTo>
                  <a:cubicBezTo>
                    <a:pt x="278" y="633"/>
                    <a:pt x="278" y="633"/>
                    <a:pt x="278" y="633"/>
                  </a:cubicBezTo>
                  <a:cubicBezTo>
                    <a:pt x="278" y="633"/>
                    <a:pt x="290" y="633"/>
                    <a:pt x="291" y="639"/>
                  </a:cubicBezTo>
                  <a:cubicBezTo>
                    <a:pt x="291" y="645"/>
                    <a:pt x="289" y="669"/>
                    <a:pt x="287" y="673"/>
                  </a:cubicBezTo>
                  <a:cubicBezTo>
                    <a:pt x="284" y="681"/>
                    <a:pt x="284" y="681"/>
                    <a:pt x="284" y="681"/>
                  </a:cubicBezTo>
                  <a:cubicBezTo>
                    <a:pt x="284" y="681"/>
                    <a:pt x="275" y="694"/>
                    <a:pt x="272" y="706"/>
                  </a:cubicBezTo>
                  <a:cubicBezTo>
                    <a:pt x="269" y="717"/>
                    <a:pt x="261" y="737"/>
                    <a:pt x="258" y="742"/>
                  </a:cubicBezTo>
                  <a:cubicBezTo>
                    <a:pt x="255" y="748"/>
                    <a:pt x="250" y="761"/>
                    <a:pt x="250" y="761"/>
                  </a:cubicBezTo>
                  <a:cubicBezTo>
                    <a:pt x="237" y="775"/>
                    <a:pt x="237" y="775"/>
                    <a:pt x="237" y="775"/>
                  </a:cubicBezTo>
                  <a:cubicBezTo>
                    <a:pt x="236" y="784"/>
                    <a:pt x="236" y="784"/>
                    <a:pt x="236" y="784"/>
                  </a:cubicBezTo>
                  <a:cubicBezTo>
                    <a:pt x="232" y="787"/>
                    <a:pt x="232" y="787"/>
                    <a:pt x="232" y="787"/>
                  </a:cubicBezTo>
                  <a:cubicBezTo>
                    <a:pt x="221" y="802"/>
                    <a:pt x="221" y="802"/>
                    <a:pt x="221" y="802"/>
                  </a:cubicBezTo>
                  <a:cubicBezTo>
                    <a:pt x="213" y="818"/>
                    <a:pt x="213" y="818"/>
                    <a:pt x="213" y="818"/>
                  </a:cubicBezTo>
                  <a:cubicBezTo>
                    <a:pt x="213" y="819"/>
                    <a:pt x="213" y="819"/>
                    <a:pt x="213" y="819"/>
                  </a:cubicBezTo>
                  <a:cubicBezTo>
                    <a:pt x="216" y="820"/>
                    <a:pt x="216" y="820"/>
                    <a:pt x="216" y="820"/>
                  </a:cubicBezTo>
                  <a:cubicBezTo>
                    <a:pt x="225" y="818"/>
                    <a:pt x="225" y="818"/>
                    <a:pt x="225" y="818"/>
                  </a:cubicBezTo>
                  <a:cubicBezTo>
                    <a:pt x="231" y="809"/>
                    <a:pt x="231" y="809"/>
                    <a:pt x="231" y="809"/>
                  </a:cubicBezTo>
                  <a:cubicBezTo>
                    <a:pt x="235" y="805"/>
                    <a:pt x="235" y="805"/>
                    <a:pt x="235" y="805"/>
                  </a:cubicBezTo>
                  <a:cubicBezTo>
                    <a:pt x="235" y="805"/>
                    <a:pt x="236" y="800"/>
                    <a:pt x="238" y="801"/>
                  </a:cubicBezTo>
                  <a:cubicBezTo>
                    <a:pt x="241" y="802"/>
                    <a:pt x="239" y="805"/>
                    <a:pt x="239" y="805"/>
                  </a:cubicBezTo>
                  <a:cubicBezTo>
                    <a:pt x="242" y="819"/>
                    <a:pt x="242" y="819"/>
                    <a:pt x="242" y="819"/>
                  </a:cubicBezTo>
                  <a:cubicBezTo>
                    <a:pt x="235" y="814"/>
                    <a:pt x="235" y="814"/>
                    <a:pt x="235" y="814"/>
                  </a:cubicBezTo>
                  <a:cubicBezTo>
                    <a:pt x="234" y="815"/>
                    <a:pt x="234" y="815"/>
                    <a:pt x="234" y="815"/>
                  </a:cubicBezTo>
                  <a:cubicBezTo>
                    <a:pt x="241" y="823"/>
                    <a:pt x="241" y="823"/>
                    <a:pt x="241" y="823"/>
                  </a:cubicBezTo>
                  <a:cubicBezTo>
                    <a:pt x="246" y="825"/>
                    <a:pt x="246" y="825"/>
                    <a:pt x="246" y="825"/>
                  </a:cubicBezTo>
                  <a:cubicBezTo>
                    <a:pt x="256" y="833"/>
                    <a:pt x="256" y="833"/>
                    <a:pt x="256" y="833"/>
                  </a:cubicBezTo>
                  <a:cubicBezTo>
                    <a:pt x="256" y="833"/>
                    <a:pt x="260" y="835"/>
                    <a:pt x="269" y="832"/>
                  </a:cubicBezTo>
                  <a:cubicBezTo>
                    <a:pt x="276" y="828"/>
                    <a:pt x="281" y="823"/>
                    <a:pt x="286" y="827"/>
                  </a:cubicBezTo>
                  <a:cubicBezTo>
                    <a:pt x="291" y="831"/>
                    <a:pt x="292" y="835"/>
                    <a:pt x="292" y="835"/>
                  </a:cubicBezTo>
                  <a:cubicBezTo>
                    <a:pt x="301" y="836"/>
                    <a:pt x="301" y="836"/>
                    <a:pt x="301" y="836"/>
                  </a:cubicBezTo>
                  <a:cubicBezTo>
                    <a:pt x="299" y="844"/>
                    <a:pt x="299" y="844"/>
                    <a:pt x="299" y="844"/>
                  </a:cubicBezTo>
                  <a:cubicBezTo>
                    <a:pt x="267" y="841"/>
                    <a:pt x="267" y="841"/>
                    <a:pt x="267" y="841"/>
                  </a:cubicBezTo>
                  <a:cubicBezTo>
                    <a:pt x="261" y="847"/>
                    <a:pt x="261" y="847"/>
                    <a:pt x="261" y="847"/>
                  </a:cubicBezTo>
                  <a:cubicBezTo>
                    <a:pt x="261" y="847"/>
                    <a:pt x="270" y="853"/>
                    <a:pt x="262" y="856"/>
                  </a:cubicBezTo>
                  <a:cubicBezTo>
                    <a:pt x="255" y="860"/>
                    <a:pt x="249" y="856"/>
                    <a:pt x="249" y="856"/>
                  </a:cubicBezTo>
                  <a:cubicBezTo>
                    <a:pt x="243" y="860"/>
                    <a:pt x="243" y="860"/>
                    <a:pt x="243" y="860"/>
                  </a:cubicBezTo>
                  <a:cubicBezTo>
                    <a:pt x="243" y="860"/>
                    <a:pt x="251" y="866"/>
                    <a:pt x="245" y="868"/>
                  </a:cubicBezTo>
                  <a:cubicBezTo>
                    <a:pt x="240" y="869"/>
                    <a:pt x="236" y="862"/>
                    <a:pt x="236" y="862"/>
                  </a:cubicBezTo>
                  <a:cubicBezTo>
                    <a:pt x="234" y="865"/>
                    <a:pt x="234" y="865"/>
                    <a:pt x="234" y="865"/>
                  </a:cubicBezTo>
                  <a:cubicBezTo>
                    <a:pt x="234" y="870"/>
                    <a:pt x="234" y="870"/>
                    <a:pt x="234" y="870"/>
                  </a:cubicBezTo>
                  <a:cubicBezTo>
                    <a:pt x="239" y="876"/>
                    <a:pt x="239" y="876"/>
                    <a:pt x="239" y="876"/>
                  </a:cubicBezTo>
                  <a:cubicBezTo>
                    <a:pt x="238" y="883"/>
                    <a:pt x="238" y="883"/>
                    <a:pt x="238" y="883"/>
                  </a:cubicBezTo>
                  <a:cubicBezTo>
                    <a:pt x="244" y="888"/>
                    <a:pt x="244" y="888"/>
                    <a:pt x="244" y="888"/>
                  </a:cubicBezTo>
                  <a:cubicBezTo>
                    <a:pt x="244" y="888"/>
                    <a:pt x="238" y="892"/>
                    <a:pt x="238" y="894"/>
                  </a:cubicBezTo>
                  <a:cubicBezTo>
                    <a:pt x="238" y="895"/>
                    <a:pt x="240" y="897"/>
                    <a:pt x="240" y="897"/>
                  </a:cubicBezTo>
                  <a:cubicBezTo>
                    <a:pt x="237" y="913"/>
                    <a:pt x="237" y="913"/>
                    <a:pt x="237" y="913"/>
                  </a:cubicBezTo>
                  <a:cubicBezTo>
                    <a:pt x="237" y="913"/>
                    <a:pt x="233" y="923"/>
                    <a:pt x="232" y="925"/>
                  </a:cubicBezTo>
                  <a:cubicBezTo>
                    <a:pt x="229" y="927"/>
                    <a:pt x="226" y="930"/>
                    <a:pt x="226" y="930"/>
                  </a:cubicBezTo>
                  <a:cubicBezTo>
                    <a:pt x="226" y="930"/>
                    <a:pt x="232" y="942"/>
                    <a:pt x="235" y="948"/>
                  </a:cubicBezTo>
                  <a:cubicBezTo>
                    <a:pt x="238" y="955"/>
                    <a:pt x="239" y="965"/>
                    <a:pt x="239" y="965"/>
                  </a:cubicBezTo>
                  <a:cubicBezTo>
                    <a:pt x="239" y="965"/>
                    <a:pt x="244" y="969"/>
                    <a:pt x="244" y="972"/>
                  </a:cubicBezTo>
                  <a:cubicBezTo>
                    <a:pt x="245" y="976"/>
                    <a:pt x="245" y="979"/>
                    <a:pt x="245" y="979"/>
                  </a:cubicBezTo>
                  <a:cubicBezTo>
                    <a:pt x="245" y="979"/>
                    <a:pt x="255" y="985"/>
                    <a:pt x="255" y="987"/>
                  </a:cubicBezTo>
                  <a:cubicBezTo>
                    <a:pt x="254" y="989"/>
                    <a:pt x="245" y="991"/>
                    <a:pt x="245" y="991"/>
                  </a:cubicBezTo>
                  <a:cubicBezTo>
                    <a:pt x="245" y="991"/>
                    <a:pt x="248" y="995"/>
                    <a:pt x="248" y="997"/>
                  </a:cubicBezTo>
                  <a:cubicBezTo>
                    <a:pt x="246" y="1000"/>
                    <a:pt x="243" y="1000"/>
                    <a:pt x="243" y="1000"/>
                  </a:cubicBezTo>
                  <a:cubicBezTo>
                    <a:pt x="242" y="1006"/>
                    <a:pt x="242" y="1006"/>
                    <a:pt x="242" y="1006"/>
                  </a:cubicBezTo>
                  <a:cubicBezTo>
                    <a:pt x="243" y="1010"/>
                    <a:pt x="243" y="1010"/>
                    <a:pt x="243" y="1010"/>
                  </a:cubicBezTo>
                  <a:cubicBezTo>
                    <a:pt x="246" y="1009"/>
                    <a:pt x="250" y="1009"/>
                    <a:pt x="250" y="1009"/>
                  </a:cubicBezTo>
                  <a:cubicBezTo>
                    <a:pt x="252" y="1016"/>
                    <a:pt x="252" y="1016"/>
                    <a:pt x="252" y="1016"/>
                  </a:cubicBezTo>
                  <a:cubicBezTo>
                    <a:pt x="252" y="1016"/>
                    <a:pt x="259" y="1017"/>
                    <a:pt x="261" y="1018"/>
                  </a:cubicBezTo>
                  <a:cubicBezTo>
                    <a:pt x="264" y="1019"/>
                    <a:pt x="267" y="1022"/>
                    <a:pt x="267" y="1022"/>
                  </a:cubicBezTo>
                  <a:cubicBezTo>
                    <a:pt x="267" y="1033"/>
                    <a:pt x="267" y="1033"/>
                    <a:pt x="267" y="1033"/>
                  </a:cubicBezTo>
                  <a:cubicBezTo>
                    <a:pt x="264" y="1037"/>
                    <a:pt x="264" y="1037"/>
                    <a:pt x="264" y="1037"/>
                  </a:cubicBezTo>
                  <a:cubicBezTo>
                    <a:pt x="266" y="1041"/>
                    <a:pt x="266" y="1041"/>
                    <a:pt x="266" y="1041"/>
                  </a:cubicBezTo>
                  <a:cubicBezTo>
                    <a:pt x="264" y="1052"/>
                    <a:pt x="264" y="1052"/>
                    <a:pt x="264" y="1052"/>
                  </a:cubicBezTo>
                  <a:cubicBezTo>
                    <a:pt x="264" y="1052"/>
                    <a:pt x="269" y="1049"/>
                    <a:pt x="272" y="1049"/>
                  </a:cubicBezTo>
                  <a:cubicBezTo>
                    <a:pt x="274" y="1049"/>
                    <a:pt x="276" y="1052"/>
                    <a:pt x="276" y="1052"/>
                  </a:cubicBezTo>
                  <a:cubicBezTo>
                    <a:pt x="274" y="1057"/>
                    <a:pt x="274" y="1057"/>
                    <a:pt x="274" y="1057"/>
                  </a:cubicBezTo>
                  <a:cubicBezTo>
                    <a:pt x="282" y="1059"/>
                    <a:pt x="282" y="1059"/>
                    <a:pt x="282" y="1059"/>
                  </a:cubicBezTo>
                  <a:cubicBezTo>
                    <a:pt x="283" y="1064"/>
                    <a:pt x="283" y="1064"/>
                    <a:pt x="283" y="1064"/>
                  </a:cubicBezTo>
                  <a:cubicBezTo>
                    <a:pt x="286" y="1065"/>
                    <a:pt x="286" y="1065"/>
                    <a:pt x="286" y="1065"/>
                  </a:cubicBezTo>
                  <a:cubicBezTo>
                    <a:pt x="289" y="1074"/>
                    <a:pt x="289" y="1074"/>
                    <a:pt x="289" y="1074"/>
                  </a:cubicBezTo>
                  <a:cubicBezTo>
                    <a:pt x="291" y="1080"/>
                    <a:pt x="291" y="1080"/>
                    <a:pt x="291" y="1080"/>
                  </a:cubicBezTo>
                  <a:cubicBezTo>
                    <a:pt x="293" y="1081"/>
                    <a:pt x="293" y="1081"/>
                    <a:pt x="293" y="1081"/>
                  </a:cubicBezTo>
                  <a:cubicBezTo>
                    <a:pt x="293" y="1081"/>
                    <a:pt x="294" y="1088"/>
                    <a:pt x="292" y="1092"/>
                  </a:cubicBezTo>
                  <a:cubicBezTo>
                    <a:pt x="291" y="1092"/>
                    <a:pt x="291" y="1092"/>
                    <a:pt x="291" y="1093"/>
                  </a:cubicBezTo>
                  <a:cubicBezTo>
                    <a:pt x="293" y="1093"/>
                    <a:pt x="295" y="1095"/>
                    <a:pt x="298" y="1095"/>
                  </a:cubicBezTo>
                  <a:cubicBezTo>
                    <a:pt x="301" y="1095"/>
                    <a:pt x="307" y="1090"/>
                    <a:pt x="313" y="1091"/>
                  </a:cubicBezTo>
                  <a:cubicBezTo>
                    <a:pt x="318" y="1092"/>
                    <a:pt x="310" y="1100"/>
                    <a:pt x="317" y="1101"/>
                  </a:cubicBezTo>
                  <a:cubicBezTo>
                    <a:pt x="322" y="1102"/>
                    <a:pt x="321" y="1096"/>
                    <a:pt x="323" y="1095"/>
                  </a:cubicBezTo>
                  <a:cubicBezTo>
                    <a:pt x="324" y="1092"/>
                    <a:pt x="338" y="1090"/>
                    <a:pt x="343" y="1095"/>
                  </a:cubicBezTo>
                  <a:cubicBezTo>
                    <a:pt x="349" y="1099"/>
                    <a:pt x="337" y="1108"/>
                    <a:pt x="348" y="1110"/>
                  </a:cubicBezTo>
                  <a:cubicBezTo>
                    <a:pt x="357" y="1110"/>
                    <a:pt x="351" y="1102"/>
                    <a:pt x="351" y="1102"/>
                  </a:cubicBezTo>
                  <a:cubicBezTo>
                    <a:pt x="351" y="1102"/>
                    <a:pt x="357" y="1100"/>
                    <a:pt x="365" y="1097"/>
                  </a:cubicBezTo>
                  <a:cubicBezTo>
                    <a:pt x="371" y="1093"/>
                    <a:pt x="379" y="1093"/>
                    <a:pt x="384" y="1098"/>
                  </a:cubicBezTo>
                  <a:cubicBezTo>
                    <a:pt x="390" y="1101"/>
                    <a:pt x="396" y="1098"/>
                    <a:pt x="402" y="1104"/>
                  </a:cubicBezTo>
                  <a:cubicBezTo>
                    <a:pt x="409" y="1111"/>
                    <a:pt x="401" y="1120"/>
                    <a:pt x="401" y="1120"/>
                  </a:cubicBezTo>
                  <a:cubicBezTo>
                    <a:pt x="413" y="1136"/>
                    <a:pt x="413" y="1136"/>
                    <a:pt x="413" y="1136"/>
                  </a:cubicBezTo>
                  <a:cubicBezTo>
                    <a:pt x="411" y="1154"/>
                    <a:pt x="411" y="1154"/>
                    <a:pt x="411" y="1154"/>
                  </a:cubicBezTo>
                  <a:cubicBezTo>
                    <a:pt x="411" y="1154"/>
                    <a:pt x="422" y="1156"/>
                    <a:pt x="429" y="1160"/>
                  </a:cubicBezTo>
                  <a:cubicBezTo>
                    <a:pt x="435" y="1163"/>
                    <a:pt x="426" y="1170"/>
                    <a:pt x="426" y="1170"/>
                  </a:cubicBezTo>
                  <a:cubicBezTo>
                    <a:pt x="434" y="1172"/>
                    <a:pt x="434" y="1172"/>
                    <a:pt x="434" y="1172"/>
                  </a:cubicBezTo>
                  <a:cubicBezTo>
                    <a:pt x="434" y="1172"/>
                    <a:pt x="435" y="1177"/>
                    <a:pt x="437" y="1181"/>
                  </a:cubicBezTo>
                  <a:cubicBezTo>
                    <a:pt x="438" y="1185"/>
                    <a:pt x="456" y="1186"/>
                    <a:pt x="456" y="1186"/>
                  </a:cubicBezTo>
                  <a:cubicBezTo>
                    <a:pt x="456" y="1186"/>
                    <a:pt x="462" y="1187"/>
                    <a:pt x="465" y="1191"/>
                  </a:cubicBezTo>
                  <a:cubicBezTo>
                    <a:pt x="468" y="1194"/>
                    <a:pt x="466" y="1207"/>
                    <a:pt x="466" y="1207"/>
                  </a:cubicBezTo>
                  <a:cubicBezTo>
                    <a:pt x="479" y="1203"/>
                    <a:pt x="479" y="1203"/>
                    <a:pt x="479" y="1203"/>
                  </a:cubicBezTo>
                  <a:cubicBezTo>
                    <a:pt x="495" y="1205"/>
                    <a:pt x="495" y="1205"/>
                    <a:pt x="495" y="1205"/>
                  </a:cubicBezTo>
                  <a:cubicBezTo>
                    <a:pt x="490" y="1212"/>
                    <a:pt x="490" y="1212"/>
                    <a:pt x="490" y="1212"/>
                  </a:cubicBezTo>
                  <a:cubicBezTo>
                    <a:pt x="510" y="1221"/>
                    <a:pt x="510" y="1221"/>
                    <a:pt x="510" y="1221"/>
                  </a:cubicBezTo>
                  <a:cubicBezTo>
                    <a:pt x="511" y="1226"/>
                    <a:pt x="511" y="1226"/>
                    <a:pt x="511" y="1226"/>
                  </a:cubicBezTo>
                  <a:cubicBezTo>
                    <a:pt x="500" y="1230"/>
                    <a:pt x="500" y="1230"/>
                    <a:pt x="500" y="1230"/>
                  </a:cubicBezTo>
                  <a:cubicBezTo>
                    <a:pt x="502" y="1235"/>
                    <a:pt x="502" y="1235"/>
                    <a:pt x="502" y="1235"/>
                  </a:cubicBezTo>
                  <a:cubicBezTo>
                    <a:pt x="502" y="1235"/>
                    <a:pt x="499" y="1243"/>
                    <a:pt x="490" y="1247"/>
                  </a:cubicBezTo>
                  <a:cubicBezTo>
                    <a:pt x="481" y="1253"/>
                    <a:pt x="472" y="1245"/>
                    <a:pt x="472" y="1245"/>
                  </a:cubicBezTo>
                  <a:cubicBezTo>
                    <a:pt x="461" y="1248"/>
                    <a:pt x="461" y="1248"/>
                    <a:pt x="461" y="1248"/>
                  </a:cubicBezTo>
                  <a:cubicBezTo>
                    <a:pt x="462" y="1256"/>
                    <a:pt x="462" y="1256"/>
                    <a:pt x="462" y="1256"/>
                  </a:cubicBezTo>
                  <a:cubicBezTo>
                    <a:pt x="459" y="1263"/>
                    <a:pt x="459" y="1263"/>
                    <a:pt x="459" y="1263"/>
                  </a:cubicBezTo>
                  <a:cubicBezTo>
                    <a:pt x="459" y="1263"/>
                    <a:pt x="467" y="1265"/>
                    <a:pt x="472" y="1270"/>
                  </a:cubicBezTo>
                  <a:cubicBezTo>
                    <a:pt x="479" y="1275"/>
                    <a:pt x="477" y="1281"/>
                    <a:pt x="477" y="1281"/>
                  </a:cubicBezTo>
                  <a:cubicBezTo>
                    <a:pt x="477" y="1281"/>
                    <a:pt x="479" y="1282"/>
                    <a:pt x="481" y="1286"/>
                  </a:cubicBezTo>
                  <a:cubicBezTo>
                    <a:pt x="484" y="1290"/>
                    <a:pt x="485" y="1302"/>
                    <a:pt x="485" y="1302"/>
                  </a:cubicBezTo>
                  <a:cubicBezTo>
                    <a:pt x="489" y="1305"/>
                    <a:pt x="489" y="1305"/>
                    <a:pt x="489" y="1305"/>
                  </a:cubicBezTo>
                  <a:cubicBezTo>
                    <a:pt x="493" y="1305"/>
                    <a:pt x="500" y="1306"/>
                    <a:pt x="503" y="1303"/>
                  </a:cubicBezTo>
                  <a:cubicBezTo>
                    <a:pt x="508" y="1300"/>
                    <a:pt x="507" y="1285"/>
                    <a:pt x="507" y="1285"/>
                  </a:cubicBezTo>
                  <a:cubicBezTo>
                    <a:pt x="526" y="1285"/>
                    <a:pt x="526" y="1285"/>
                    <a:pt x="526" y="1285"/>
                  </a:cubicBezTo>
                  <a:cubicBezTo>
                    <a:pt x="529" y="1285"/>
                    <a:pt x="529" y="1285"/>
                    <a:pt x="529" y="1285"/>
                  </a:cubicBezTo>
                  <a:cubicBezTo>
                    <a:pt x="533" y="1284"/>
                    <a:pt x="539" y="1272"/>
                    <a:pt x="539" y="1272"/>
                  </a:cubicBezTo>
                  <a:cubicBezTo>
                    <a:pt x="552" y="1272"/>
                    <a:pt x="552" y="1272"/>
                    <a:pt x="552" y="1272"/>
                  </a:cubicBezTo>
                  <a:cubicBezTo>
                    <a:pt x="552" y="1272"/>
                    <a:pt x="552" y="1266"/>
                    <a:pt x="560" y="1265"/>
                  </a:cubicBezTo>
                  <a:cubicBezTo>
                    <a:pt x="568" y="1265"/>
                    <a:pt x="567" y="1271"/>
                    <a:pt x="567" y="1271"/>
                  </a:cubicBezTo>
                  <a:cubicBezTo>
                    <a:pt x="576" y="1272"/>
                    <a:pt x="576" y="1272"/>
                    <a:pt x="576" y="1272"/>
                  </a:cubicBezTo>
                  <a:cubicBezTo>
                    <a:pt x="576" y="1272"/>
                    <a:pt x="576" y="1279"/>
                    <a:pt x="580" y="1285"/>
                  </a:cubicBezTo>
                  <a:cubicBezTo>
                    <a:pt x="584" y="1290"/>
                    <a:pt x="596" y="1291"/>
                    <a:pt x="599" y="1295"/>
                  </a:cubicBezTo>
                  <a:cubicBezTo>
                    <a:pt x="602" y="1301"/>
                    <a:pt x="584" y="1305"/>
                    <a:pt x="584" y="1305"/>
                  </a:cubicBezTo>
                  <a:cubicBezTo>
                    <a:pt x="584" y="1305"/>
                    <a:pt x="587" y="1306"/>
                    <a:pt x="592" y="1310"/>
                  </a:cubicBezTo>
                  <a:cubicBezTo>
                    <a:pt x="597" y="1313"/>
                    <a:pt x="595" y="1321"/>
                    <a:pt x="595" y="1321"/>
                  </a:cubicBezTo>
                  <a:cubicBezTo>
                    <a:pt x="600" y="1321"/>
                    <a:pt x="600" y="1321"/>
                    <a:pt x="600" y="1321"/>
                  </a:cubicBezTo>
                  <a:cubicBezTo>
                    <a:pt x="599" y="1328"/>
                    <a:pt x="599" y="1328"/>
                    <a:pt x="599" y="1328"/>
                  </a:cubicBezTo>
                  <a:cubicBezTo>
                    <a:pt x="613" y="1325"/>
                    <a:pt x="613" y="1325"/>
                    <a:pt x="613" y="1325"/>
                  </a:cubicBezTo>
                  <a:cubicBezTo>
                    <a:pt x="619" y="1329"/>
                    <a:pt x="619" y="1329"/>
                    <a:pt x="619" y="1329"/>
                  </a:cubicBezTo>
                  <a:cubicBezTo>
                    <a:pt x="619" y="1329"/>
                    <a:pt x="629" y="1319"/>
                    <a:pt x="634" y="1319"/>
                  </a:cubicBezTo>
                  <a:cubicBezTo>
                    <a:pt x="639" y="1319"/>
                    <a:pt x="639" y="1328"/>
                    <a:pt x="639" y="1328"/>
                  </a:cubicBezTo>
                  <a:cubicBezTo>
                    <a:pt x="645" y="1324"/>
                    <a:pt x="645" y="1324"/>
                    <a:pt x="645" y="1324"/>
                  </a:cubicBezTo>
                  <a:cubicBezTo>
                    <a:pt x="645" y="1324"/>
                    <a:pt x="649" y="1325"/>
                    <a:pt x="650" y="1325"/>
                  </a:cubicBezTo>
                  <a:cubicBezTo>
                    <a:pt x="651" y="1325"/>
                    <a:pt x="648" y="1333"/>
                    <a:pt x="648" y="1333"/>
                  </a:cubicBezTo>
                  <a:cubicBezTo>
                    <a:pt x="661" y="1349"/>
                    <a:pt x="661" y="1349"/>
                    <a:pt x="661" y="1349"/>
                  </a:cubicBezTo>
                  <a:cubicBezTo>
                    <a:pt x="659" y="1354"/>
                    <a:pt x="659" y="1354"/>
                    <a:pt x="659" y="1354"/>
                  </a:cubicBezTo>
                  <a:cubicBezTo>
                    <a:pt x="659" y="1354"/>
                    <a:pt x="675" y="1366"/>
                    <a:pt x="680" y="1361"/>
                  </a:cubicBezTo>
                  <a:cubicBezTo>
                    <a:pt x="686" y="1357"/>
                    <a:pt x="687" y="1355"/>
                    <a:pt x="693" y="1354"/>
                  </a:cubicBezTo>
                  <a:cubicBezTo>
                    <a:pt x="698" y="1353"/>
                    <a:pt x="698" y="1360"/>
                    <a:pt x="701" y="1360"/>
                  </a:cubicBezTo>
                  <a:cubicBezTo>
                    <a:pt x="704" y="1360"/>
                    <a:pt x="704" y="1356"/>
                    <a:pt x="704" y="1356"/>
                  </a:cubicBezTo>
                  <a:cubicBezTo>
                    <a:pt x="711" y="1356"/>
                    <a:pt x="711" y="1356"/>
                    <a:pt x="711" y="1356"/>
                  </a:cubicBezTo>
                  <a:cubicBezTo>
                    <a:pt x="712" y="1361"/>
                    <a:pt x="712" y="1361"/>
                    <a:pt x="712" y="1361"/>
                  </a:cubicBezTo>
                  <a:cubicBezTo>
                    <a:pt x="717" y="1363"/>
                    <a:pt x="717" y="1363"/>
                    <a:pt x="717" y="1363"/>
                  </a:cubicBezTo>
                  <a:cubicBezTo>
                    <a:pt x="717" y="1363"/>
                    <a:pt x="720" y="1356"/>
                    <a:pt x="721" y="1352"/>
                  </a:cubicBezTo>
                  <a:cubicBezTo>
                    <a:pt x="723" y="1349"/>
                    <a:pt x="734" y="1345"/>
                    <a:pt x="734" y="1345"/>
                  </a:cubicBezTo>
                  <a:cubicBezTo>
                    <a:pt x="744" y="1334"/>
                    <a:pt x="744" y="1334"/>
                    <a:pt x="744" y="1334"/>
                  </a:cubicBezTo>
                  <a:cubicBezTo>
                    <a:pt x="748" y="1339"/>
                    <a:pt x="748" y="1339"/>
                    <a:pt x="748" y="1339"/>
                  </a:cubicBezTo>
                  <a:cubicBezTo>
                    <a:pt x="753" y="1340"/>
                    <a:pt x="753" y="1340"/>
                    <a:pt x="753" y="1340"/>
                  </a:cubicBezTo>
                  <a:cubicBezTo>
                    <a:pt x="754" y="1344"/>
                    <a:pt x="754" y="1344"/>
                    <a:pt x="754" y="1344"/>
                  </a:cubicBezTo>
                  <a:cubicBezTo>
                    <a:pt x="764" y="1354"/>
                    <a:pt x="764" y="1354"/>
                    <a:pt x="764" y="1354"/>
                  </a:cubicBezTo>
                  <a:cubicBezTo>
                    <a:pt x="774" y="1354"/>
                    <a:pt x="774" y="1354"/>
                    <a:pt x="774" y="1354"/>
                  </a:cubicBezTo>
                  <a:cubicBezTo>
                    <a:pt x="779" y="1357"/>
                    <a:pt x="779" y="1357"/>
                    <a:pt x="779" y="1357"/>
                  </a:cubicBezTo>
                  <a:cubicBezTo>
                    <a:pt x="782" y="1354"/>
                    <a:pt x="782" y="1354"/>
                    <a:pt x="782" y="1354"/>
                  </a:cubicBezTo>
                  <a:cubicBezTo>
                    <a:pt x="782" y="1344"/>
                    <a:pt x="782" y="1344"/>
                    <a:pt x="782" y="1344"/>
                  </a:cubicBezTo>
                  <a:cubicBezTo>
                    <a:pt x="797" y="1349"/>
                    <a:pt x="797" y="1349"/>
                    <a:pt x="797" y="1349"/>
                  </a:cubicBezTo>
                  <a:cubicBezTo>
                    <a:pt x="801" y="1343"/>
                    <a:pt x="801" y="1343"/>
                    <a:pt x="801" y="1343"/>
                  </a:cubicBezTo>
                  <a:cubicBezTo>
                    <a:pt x="811" y="1349"/>
                    <a:pt x="811" y="1349"/>
                    <a:pt x="811" y="1349"/>
                  </a:cubicBezTo>
                  <a:cubicBezTo>
                    <a:pt x="819" y="1349"/>
                    <a:pt x="819" y="1349"/>
                    <a:pt x="819" y="1349"/>
                  </a:cubicBezTo>
                  <a:cubicBezTo>
                    <a:pt x="821" y="1341"/>
                    <a:pt x="821" y="1341"/>
                    <a:pt x="821" y="1341"/>
                  </a:cubicBezTo>
                  <a:cubicBezTo>
                    <a:pt x="826" y="1340"/>
                    <a:pt x="826" y="1340"/>
                    <a:pt x="826" y="1340"/>
                  </a:cubicBezTo>
                  <a:cubicBezTo>
                    <a:pt x="826" y="1340"/>
                    <a:pt x="829" y="1344"/>
                    <a:pt x="830" y="1347"/>
                  </a:cubicBezTo>
                  <a:cubicBezTo>
                    <a:pt x="831" y="1349"/>
                    <a:pt x="836" y="1348"/>
                    <a:pt x="836" y="1348"/>
                  </a:cubicBezTo>
                  <a:cubicBezTo>
                    <a:pt x="838" y="1344"/>
                    <a:pt x="838" y="1344"/>
                    <a:pt x="838" y="1344"/>
                  </a:cubicBezTo>
                  <a:cubicBezTo>
                    <a:pt x="845" y="1344"/>
                    <a:pt x="845" y="1344"/>
                    <a:pt x="845" y="1344"/>
                  </a:cubicBezTo>
                  <a:cubicBezTo>
                    <a:pt x="845" y="1344"/>
                    <a:pt x="847" y="1348"/>
                    <a:pt x="851" y="1350"/>
                  </a:cubicBezTo>
                  <a:cubicBezTo>
                    <a:pt x="856" y="1352"/>
                    <a:pt x="862" y="1350"/>
                    <a:pt x="862" y="1350"/>
                  </a:cubicBezTo>
                  <a:cubicBezTo>
                    <a:pt x="864" y="1343"/>
                    <a:pt x="864" y="1343"/>
                    <a:pt x="864" y="1343"/>
                  </a:cubicBezTo>
                  <a:cubicBezTo>
                    <a:pt x="870" y="1343"/>
                    <a:pt x="870" y="1343"/>
                    <a:pt x="870" y="1343"/>
                  </a:cubicBezTo>
                  <a:cubicBezTo>
                    <a:pt x="870" y="1354"/>
                    <a:pt x="870" y="1354"/>
                    <a:pt x="870" y="1354"/>
                  </a:cubicBezTo>
                  <a:cubicBezTo>
                    <a:pt x="870" y="1354"/>
                    <a:pt x="876" y="1357"/>
                    <a:pt x="879" y="1366"/>
                  </a:cubicBezTo>
                  <a:cubicBezTo>
                    <a:pt x="881" y="1374"/>
                    <a:pt x="868" y="1384"/>
                    <a:pt x="868" y="1384"/>
                  </a:cubicBezTo>
                  <a:cubicBezTo>
                    <a:pt x="868" y="1390"/>
                    <a:pt x="868" y="1390"/>
                    <a:pt x="868" y="1390"/>
                  </a:cubicBezTo>
                  <a:cubicBezTo>
                    <a:pt x="885" y="1389"/>
                    <a:pt x="885" y="1389"/>
                    <a:pt x="885" y="1389"/>
                  </a:cubicBezTo>
                  <a:cubicBezTo>
                    <a:pt x="885" y="1394"/>
                    <a:pt x="885" y="1394"/>
                    <a:pt x="885" y="1394"/>
                  </a:cubicBezTo>
                  <a:cubicBezTo>
                    <a:pt x="876" y="1397"/>
                    <a:pt x="876" y="1397"/>
                    <a:pt x="876" y="1397"/>
                  </a:cubicBezTo>
                  <a:cubicBezTo>
                    <a:pt x="876" y="1412"/>
                    <a:pt x="876" y="1412"/>
                    <a:pt x="876" y="1412"/>
                  </a:cubicBezTo>
                  <a:cubicBezTo>
                    <a:pt x="876" y="1412"/>
                    <a:pt x="882" y="1411"/>
                    <a:pt x="889" y="1415"/>
                  </a:cubicBezTo>
                  <a:cubicBezTo>
                    <a:pt x="896" y="1419"/>
                    <a:pt x="892" y="1427"/>
                    <a:pt x="892" y="1427"/>
                  </a:cubicBezTo>
                  <a:cubicBezTo>
                    <a:pt x="897" y="1428"/>
                    <a:pt x="897" y="1428"/>
                    <a:pt x="897" y="1428"/>
                  </a:cubicBezTo>
                  <a:cubicBezTo>
                    <a:pt x="898" y="1442"/>
                    <a:pt x="898" y="1442"/>
                    <a:pt x="898" y="1442"/>
                  </a:cubicBezTo>
                  <a:cubicBezTo>
                    <a:pt x="895" y="1445"/>
                    <a:pt x="895" y="1445"/>
                    <a:pt x="895" y="1445"/>
                  </a:cubicBezTo>
                  <a:cubicBezTo>
                    <a:pt x="895" y="1445"/>
                    <a:pt x="900" y="1449"/>
                    <a:pt x="900" y="1455"/>
                  </a:cubicBezTo>
                  <a:cubicBezTo>
                    <a:pt x="901" y="1462"/>
                    <a:pt x="874" y="1465"/>
                    <a:pt x="866" y="1467"/>
                  </a:cubicBezTo>
                  <a:cubicBezTo>
                    <a:pt x="859" y="1470"/>
                    <a:pt x="860" y="1475"/>
                    <a:pt x="861" y="1479"/>
                  </a:cubicBezTo>
                  <a:cubicBezTo>
                    <a:pt x="861" y="1482"/>
                    <a:pt x="856" y="1485"/>
                    <a:pt x="849" y="1489"/>
                  </a:cubicBezTo>
                  <a:cubicBezTo>
                    <a:pt x="843" y="1492"/>
                    <a:pt x="843" y="1505"/>
                    <a:pt x="847" y="1511"/>
                  </a:cubicBezTo>
                  <a:cubicBezTo>
                    <a:pt x="850" y="1516"/>
                    <a:pt x="852" y="1521"/>
                    <a:pt x="852" y="1524"/>
                  </a:cubicBezTo>
                  <a:cubicBezTo>
                    <a:pt x="870" y="1520"/>
                    <a:pt x="870" y="1520"/>
                    <a:pt x="870" y="1520"/>
                  </a:cubicBezTo>
                  <a:cubicBezTo>
                    <a:pt x="870" y="1511"/>
                    <a:pt x="870" y="1511"/>
                    <a:pt x="870" y="1511"/>
                  </a:cubicBezTo>
                  <a:cubicBezTo>
                    <a:pt x="881" y="1511"/>
                    <a:pt x="881" y="1511"/>
                    <a:pt x="881" y="1511"/>
                  </a:cubicBezTo>
                  <a:cubicBezTo>
                    <a:pt x="880" y="1506"/>
                    <a:pt x="880" y="1506"/>
                    <a:pt x="880" y="1506"/>
                  </a:cubicBezTo>
                  <a:cubicBezTo>
                    <a:pt x="884" y="1500"/>
                    <a:pt x="884" y="1500"/>
                    <a:pt x="884" y="1500"/>
                  </a:cubicBezTo>
                  <a:cubicBezTo>
                    <a:pt x="894" y="1500"/>
                    <a:pt x="894" y="1500"/>
                    <a:pt x="894" y="1500"/>
                  </a:cubicBezTo>
                  <a:cubicBezTo>
                    <a:pt x="893" y="1506"/>
                    <a:pt x="893" y="1506"/>
                    <a:pt x="893" y="1506"/>
                  </a:cubicBezTo>
                  <a:cubicBezTo>
                    <a:pt x="900" y="1515"/>
                    <a:pt x="900" y="1515"/>
                    <a:pt x="900" y="1515"/>
                  </a:cubicBezTo>
                  <a:cubicBezTo>
                    <a:pt x="891" y="1514"/>
                    <a:pt x="891" y="1514"/>
                    <a:pt x="891" y="1514"/>
                  </a:cubicBezTo>
                  <a:cubicBezTo>
                    <a:pt x="891" y="1514"/>
                    <a:pt x="887" y="1521"/>
                    <a:pt x="883" y="1530"/>
                  </a:cubicBezTo>
                  <a:cubicBezTo>
                    <a:pt x="880" y="1540"/>
                    <a:pt x="871" y="1537"/>
                    <a:pt x="871" y="1537"/>
                  </a:cubicBezTo>
                  <a:cubicBezTo>
                    <a:pt x="870" y="1544"/>
                    <a:pt x="870" y="1544"/>
                    <a:pt x="870" y="1544"/>
                  </a:cubicBezTo>
                  <a:cubicBezTo>
                    <a:pt x="878" y="1543"/>
                    <a:pt x="878" y="1543"/>
                    <a:pt x="878" y="1543"/>
                  </a:cubicBezTo>
                  <a:cubicBezTo>
                    <a:pt x="876" y="1549"/>
                    <a:pt x="876" y="1549"/>
                    <a:pt x="876" y="1549"/>
                  </a:cubicBezTo>
                  <a:cubicBezTo>
                    <a:pt x="866" y="1549"/>
                    <a:pt x="866" y="1549"/>
                    <a:pt x="866" y="1549"/>
                  </a:cubicBezTo>
                  <a:cubicBezTo>
                    <a:pt x="858" y="1558"/>
                    <a:pt x="858" y="1558"/>
                    <a:pt x="858" y="1558"/>
                  </a:cubicBezTo>
                  <a:cubicBezTo>
                    <a:pt x="843" y="1558"/>
                    <a:pt x="843" y="1558"/>
                    <a:pt x="843" y="1558"/>
                  </a:cubicBezTo>
                  <a:cubicBezTo>
                    <a:pt x="855" y="1575"/>
                    <a:pt x="855" y="1575"/>
                    <a:pt x="855" y="1575"/>
                  </a:cubicBezTo>
                  <a:cubicBezTo>
                    <a:pt x="855" y="1575"/>
                    <a:pt x="862" y="1571"/>
                    <a:pt x="867" y="1571"/>
                  </a:cubicBezTo>
                  <a:cubicBezTo>
                    <a:pt x="874" y="1571"/>
                    <a:pt x="876" y="1580"/>
                    <a:pt x="876" y="1580"/>
                  </a:cubicBezTo>
                  <a:cubicBezTo>
                    <a:pt x="876" y="1580"/>
                    <a:pt x="893" y="1578"/>
                    <a:pt x="894" y="1586"/>
                  </a:cubicBezTo>
                  <a:cubicBezTo>
                    <a:pt x="895" y="1592"/>
                    <a:pt x="880" y="1585"/>
                    <a:pt x="880" y="1585"/>
                  </a:cubicBezTo>
                  <a:cubicBezTo>
                    <a:pt x="877" y="1599"/>
                    <a:pt x="877" y="1599"/>
                    <a:pt x="877" y="1599"/>
                  </a:cubicBezTo>
                  <a:cubicBezTo>
                    <a:pt x="873" y="1591"/>
                    <a:pt x="873" y="1591"/>
                    <a:pt x="873" y="1591"/>
                  </a:cubicBezTo>
                  <a:cubicBezTo>
                    <a:pt x="867" y="1594"/>
                    <a:pt x="867" y="1594"/>
                    <a:pt x="867" y="1594"/>
                  </a:cubicBezTo>
                  <a:cubicBezTo>
                    <a:pt x="867" y="1594"/>
                    <a:pt x="871" y="1610"/>
                    <a:pt x="871" y="1615"/>
                  </a:cubicBezTo>
                  <a:cubicBezTo>
                    <a:pt x="871" y="1619"/>
                    <a:pt x="865" y="1619"/>
                    <a:pt x="862" y="1623"/>
                  </a:cubicBezTo>
                  <a:cubicBezTo>
                    <a:pt x="859" y="1626"/>
                    <a:pt x="868" y="1634"/>
                    <a:pt x="866" y="1639"/>
                  </a:cubicBezTo>
                  <a:cubicBezTo>
                    <a:pt x="864" y="1646"/>
                    <a:pt x="859" y="1657"/>
                    <a:pt x="852" y="1658"/>
                  </a:cubicBezTo>
                  <a:cubicBezTo>
                    <a:pt x="846" y="1658"/>
                    <a:pt x="844" y="1650"/>
                    <a:pt x="844" y="1650"/>
                  </a:cubicBezTo>
                  <a:cubicBezTo>
                    <a:pt x="830" y="1651"/>
                    <a:pt x="830" y="1651"/>
                    <a:pt x="830" y="1651"/>
                  </a:cubicBezTo>
                  <a:cubicBezTo>
                    <a:pt x="831" y="1656"/>
                    <a:pt x="831" y="1656"/>
                    <a:pt x="831" y="1656"/>
                  </a:cubicBezTo>
                  <a:cubicBezTo>
                    <a:pt x="831" y="1656"/>
                    <a:pt x="841" y="1657"/>
                    <a:pt x="842" y="1659"/>
                  </a:cubicBezTo>
                  <a:cubicBezTo>
                    <a:pt x="842" y="1662"/>
                    <a:pt x="830" y="1669"/>
                    <a:pt x="830" y="1669"/>
                  </a:cubicBezTo>
                  <a:cubicBezTo>
                    <a:pt x="833" y="1674"/>
                    <a:pt x="833" y="1674"/>
                    <a:pt x="833" y="1674"/>
                  </a:cubicBezTo>
                  <a:cubicBezTo>
                    <a:pt x="847" y="1669"/>
                    <a:pt x="847" y="1669"/>
                    <a:pt x="847" y="1669"/>
                  </a:cubicBezTo>
                  <a:cubicBezTo>
                    <a:pt x="847" y="1669"/>
                    <a:pt x="841" y="1664"/>
                    <a:pt x="851" y="1663"/>
                  </a:cubicBezTo>
                  <a:cubicBezTo>
                    <a:pt x="862" y="1663"/>
                    <a:pt x="852" y="1670"/>
                    <a:pt x="852" y="1670"/>
                  </a:cubicBezTo>
                  <a:cubicBezTo>
                    <a:pt x="865" y="1673"/>
                    <a:pt x="865" y="1673"/>
                    <a:pt x="865" y="1673"/>
                  </a:cubicBezTo>
                  <a:cubicBezTo>
                    <a:pt x="873" y="1686"/>
                    <a:pt x="873" y="1686"/>
                    <a:pt x="873" y="1686"/>
                  </a:cubicBezTo>
                  <a:cubicBezTo>
                    <a:pt x="894" y="1684"/>
                    <a:pt x="894" y="1684"/>
                    <a:pt x="894" y="1684"/>
                  </a:cubicBezTo>
                  <a:cubicBezTo>
                    <a:pt x="895" y="1678"/>
                    <a:pt x="895" y="1678"/>
                    <a:pt x="895" y="1678"/>
                  </a:cubicBezTo>
                  <a:cubicBezTo>
                    <a:pt x="903" y="1684"/>
                    <a:pt x="903" y="1684"/>
                    <a:pt x="903" y="1684"/>
                  </a:cubicBezTo>
                  <a:cubicBezTo>
                    <a:pt x="908" y="1684"/>
                    <a:pt x="908" y="1684"/>
                    <a:pt x="908" y="1684"/>
                  </a:cubicBezTo>
                  <a:cubicBezTo>
                    <a:pt x="911" y="1689"/>
                    <a:pt x="911" y="1689"/>
                    <a:pt x="911" y="1689"/>
                  </a:cubicBezTo>
                  <a:cubicBezTo>
                    <a:pt x="917" y="1688"/>
                    <a:pt x="917" y="1688"/>
                    <a:pt x="917" y="1688"/>
                  </a:cubicBezTo>
                  <a:cubicBezTo>
                    <a:pt x="926" y="1691"/>
                    <a:pt x="926" y="1691"/>
                    <a:pt x="926" y="1691"/>
                  </a:cubicBezTo>
                  <a:cubicBezTo>
                    <a:pt x="929" y="1688"/>
                    <a:pt x="929" y="1688"/>
                    <a:pt x="929" y="1688"/>
                  </a:cubicBezTo>
                  <a:cubicBezTo>
                    <a:pt x="943" y="1687"/>
                    <a:pt x="943" y="1687"/>
                    <a:pt x="943" y="1687"/>
                  </a:cubicBezTo>
                  <a:cubicBezTo>
                    <a:pt x="949" y="1694"/>
                    <a:pt x="949" y="1694"/>
                    <a:pt x="949" y="1694"/>
                  </a:cubicBezTo>
                  <a:cubicBezTo>
                    <a:pt x="949" y="1694"/>
                    <a:pt x="970" y="1696"/>
                    <a:pt x="976" y="1699"/>
                  </a:cubicBezTo>
                  <a:cubicBezTo>
                    <a:pt x="982" y="1702"/>
                    <a:pt x="998" y="1713"/>
                    <a:pt x="998" y="1713"/>
                  </a:cubicBezTo>
                  <a:cubicBezTo>
                    <a:pt x="1003" y="1712"/>
                    <a:pt x="1003" y="1712"/>
                    <a:pt x="1003" y="1712"/>
                  </a:cubicBezTo>
                  <a:cubicBezTo>
                    <a:pt x="1007" y="1716"/>
                    <a:pt x="1007" y="1716"/>
                    <a:pt x="1007" y="1716"/>
                  </a:cubicBezTo>
                  <a:cubicBezTo>
                    <a:pt x="1016" y="1717"/>
                    <a:pt x="1016" y="1717"/>
                    <a:pt x="1016" y="1717"/>
                  </a:cubicBezTo>
                  <a:cubicBezTo>
                    <a:pt x="1019" y="1721"/>
                    <a:pt x="1019" y="1721"/>
                    <a:pt x="1019" y="1721"/>
                  </a:cubicBezTo>
                  <a:cubicBezTo>
                    <a:pt x="1024" y="1720"/>
                    <a:pt x="1024" y="1720"/>
                    <a:pt x="1024" y="1720"/>
                  </a:cubicBezTo>
                  <a:cubicBezTo>
                    <a:pt x="1024" y="1720"/>
                    <a:pt x="1024" y="1710"/>
                    <a:pt x="1028" y="1705"/>
                  </a:cubicBezTo>
                  <a:cubicBezTo>
                    <a:pt x="1031" y="1701"/>
                    <a:pt x="1047" y="1703"/>
                    <a:pt x="1047" y="1703"/>
                  </a:cubicBezTo>
                  <a:cubicBezTo>
                    <a:pt x="1050" y="1698"/>
                    <a:pt x="1050" y="1698"/>
                    <a:pt x="1050" y="1698"/>
                  </a:cubicBezTo>
                  <a:cubicBezTo>
                    <a:pt x="1072" y="1701"/>
                    <a:pt x="1072" y="1701"/>
                    <a:pt x="1072" y="1701"/>
                  </a:cubicBezTo>
                  <a:cubicBezTo>
                    <a:pt x="1073" y="1700"/>
                    <a:pt x="1073" y="1700"/>
                    <a:pt x="1073" y="1700"/>
                  </a:cubicBezTo>
                  <a:cubicBezTo>
                    <a:pt x="1080" y="1700"/>
                    <a:pt x="1080" y="1700"/>
                    <a:pt x="1080" y="1700"/>
                  </a:cubicBezTo>
                  <a:cubicBezTo>
                    <a:pt x="1085" y="1696"/>
                    <a:pt x="1085" y="1696"/>
                    <a:pt x="1085" y="1696"/>
                  </a:cubicBezTo>
                  <a:cubicBezTo>
                    <a:pt x="1085" y="1696"/>
                    <a:pt x="1095" y="1702"/>
                    <a:pt x="1107" y="1699"/>
                  </a:cubicBezTo>
                  <a:cubicBezTo>
                    <a:pt x="1120" y="1697"/>
                    <a:pt x="1137" y="1683"/>
                    <a:pt x="1137" y="1683"/>
                  </a:cubicBezTo>
                  <a:cubicBezTo>
                    <a:pt x="1143" y="1684"/>
                    <a:pt x="1143" y="1684"/>
                    <a:pt x="1143" y="1684"/>
                  </a:cubicBezTo>
                  <a:cubicBezTo>
                    <a:pt x="1143" y="1684"/>
                    <a:pt x="1146" y="1679"/>
                    <a:pt x="1154" y="1679"/>
                  </a:cubicBezTo>
                  <a:cubicBezTo>
                    <a:pt x="1161" y="1678"/>
                    <a:pt x="1162" y="1683"/>
                    <a:pt x="1169" y="1685"/>
                  </a:cubicBezTo>
                  <a:cubicBezTo>
                    <a:pt x="1175" y="1688"/>
                    <a:pt x="1192" y="1683"/>
                    <a:pt x="1192" y="1683"/>
                  </a:cubicBezTo>
                  <a:cubicBezTo>
                    <a:pt x="1210" y="1683"/>
                    <a:pt x="1210" y="1683"/>
                    <a:pt x="1210" y="1683"/>
                  </a:cubicBezTo>
                  <a:cubicBezTo>
                    <a:pt x="1208" y="1689"/>
                    <a:pt x="1208" y="1689"/>
                    <a:pt x="1208" y="1689"/>
                  </a:cubicBezTo>
                  <a:cubicBezTo>
                    <a:pt x="1208" y="1689"/>
                    <a:pt x="1215" y="1691"/>
                    <a:pt x="1221" y="1690"/>
                  </a:cubicBezTo>
                  <a:cubicBezTo>
                    <a:pt x="1227" y="1690"/>
                    <a:pt x="1233" y="1681"/>
                    <a:pt x="1233" y="1681"/>
                  </a:cubicBezTo>
                  <a:cubicBezTo>
                    <a:pt x="1233" y="1674"/>
                    <a:pt x="1233" y="1674"/>
                    <a:pt x="1233" y="1674"/>
                  </a:cubicBezTo>
                  <a:cubicBezTo>
                    <a:pt x="1233" y="1674"/>
                    <a:pt x="1239" y="1669"/>
                    <a:pt x="1243" y="1666"/>
                  </a:cubicBezTo>
                  <a:cubicBezTo>
                    <a:pt x="1248" y="1664"/>
                    <a:pt x="1259" y="1669"/>
                    <a:pt x="1259" y="1669"/>
                  </a:cubicBezTo>
                  <a:cubicBezTo>
                    <a:pt x="1259" y="1659"/>
                    <a:pt x="1259" y="1659"/>
                    <a:pt x="1259" y="1659"/>
                  </a:cubicBezTo>
                  <a:cubicBezTo>
                    <a:pt x="1266" y="1660"/>
                    <a:pt x="1266" y="1660"/>
                    <a:pt x="1266" y="1660"/>
                  </a:cubicBezTo>
                  <a:cubicBezTo>
                    <a:pt x="1274" y="1656"/>
                    <a:pt x="1274" y="1656"/>
                    <a:pt x="1274" y="1656"/>
                  </a:cubicBezTo>
                  <a:cubicBezTo>
                    <a:pt x="1285" y="1663"/>
                    <a:pt x="1285" y="1663"/>
                    <a:pt x="1285" y="1663"/>
                  </a:cubicBezTo>
                  <a:cubicBezTo>
                    <a:pt x="1291" y="1657"/>
                    <a:pt x="1291" y="1657"/>
                    <a:pt x="1291" y="1657"/>
                  </a:cubicBezTo>
                  <a:cubicBezTo>
                    <a:pt x="1302" y="1654"/>
                    <a:pt x="1302" y="1654"/>
                    <a:pt x="1302" y="1654"/>
                  </a:cubicBezTo>
                  <a:cubicBezTo>
                    <a:pt x="1302" y="1654"/>
                    <a:pt x="1305" y="1671"/>
                    <a:pt x="1309" y="1675"/>
                  </a:cubicBezTo>
                  <a:cubicBezTo>
                    <a:pt x="1315" y="1679"/>
                    <a:pt x="1337" y="1674"/>
                    <a:pt x="1347" y="1674"/>
                  </a:cubicBezTo>
                  <a:cubicBezTo>
                    <a:pt x="1357" y="1673"/>
                    <a:pt x="1359" y="1675"/>
                    <a:pt x="1359" y="1675"/>
                  </a:cubicBezTo>
                  <a:cubicBezTo>
                    <a:pt x="1367" y="1671"/>
                    <a:pt x="1367" y="1671"/>
                    <a:pt x="1367" y="1671"/>
                  </a:cubicBezTo>
                  <a:cubicBezTo>
                    <a:pt x="1367" y="1671"/>
                    <a:pt x="1371" y="1672"/>
                    <a:pt x="1378" y="1672"/>
                  </a:cubicBezTo>
                  <a:cubicBezTo>
                    <a:pt x="1383" y="1672"/>
                    <a:pt x="1388" y="1681"/>
                    <a:pt x="1388" y="1681"/>
                  </a:cubicBezTo>
                  <a:cubicBezTo>
                    <a:pt x="1390" y="1678"/>
                    <a:pt x="1390" y="1678"/>
                    <a:pt x="1390" y="1678"/>
                  </a:cubicBezTo>
                  <a:cubicBezTo>
                    <a:pt x="1390" y="1678"/>
                    <a:pt x="1407" y="1689"/>
                    <a:pt x="1408" y="1689"/>
                  </a:cubicBezTo>
                  <a:cubicBezTo>
                    <a:pt x="1411" y="1689"/>
                    <a:pt x="1417" y="1687"/>
                    <a:pt x="1429" y="1686"/>
                  </a:cubicBezTo>
                  <a:cubicBezTo>
                    <a:pt x="1440" y="1685"/>
                    <a:pt x="1435" y="1674"/>
                    <a:pt x="1435" y="1674"/>
                  </a:cubicBezTo>
                  <a:cubicBezTo>
                    <a:pt x="1438" y="1668"/>
                    <a:pt x="1438" y="1668"/>
                    <a:pt x="1438" y="1668"/>
                  </a:cubicBezTo>
                  <a:cubicBezTo>
                    <a:pt x="1437" y="1657"/>
                    <a:pt x="1437" y="1657"/>
                    <a:pt x="1437" y="1657"/>
                  </a:cubicBezTo>
                  <a:cubicBezTo>
                    <a:pt x="1446" y="1644"/>
                    <a:pt x="1446" y="1644"/>
                    <a:pt x="1446" y="1644"/>
                  </a:cubicBezTo>
                  <a:cubicBezTo>
                    <a:pt x="1445" y="1626"/>
                    <a:pt x="1445" y="1626"/>
                    <a:pt x="1445" y="1626"/>
                  </a:cubicBezTo>
                  <a:cubicBezTo>
                    <a:pt x="1434" y="1626"/>
                    <a:pt x="1434" y="1626"/>
                    <a:pt x="1434" y="1626"/>
                  </a:cubicBezTo>
                  <a:cubicBezTo>
                    <a:pt x="1417" y="1613"/>
                    <a:pt x="1417" y="1613"/>
                    <a:pt x="1417" y="1613"/>
                  </a:cubicBezTo>
                  <a:cubicBezTo>
                    <a:pt x="1417" y="1613"/>
                    <a:pt x="1406" y="1612"/>
                    <a:pt x="1404" y="1611"/>
                  </a:cubicBezTo>
                  <a:cubicBezTo>
                    <a:pt x="1402" y="1611"/>
                    <a:pt x="1391" y="1604"/>
                    <a:pt x="1391" y="1604"/>
                  </a:cubicBezTo>
                  <a:cubicBezTo>
                    <a:pt x="1391" y="1604"/>
                    <a:pt x="1387" y="1604"/>
                    <a:pt x="1382" y="1602"/>
                  </a:cubicBezTo>
                  <a:cubicBezTo>
                    <a:pt x="1378" y="1601"/>
                    <a:pt x="1380" y="1599"/>
                    <a:pt x="1376" y="1592"/>
                  </a:cubicBezTo>
                  <a:cubicBezTo>
                    <a:pt x="1372" y="1586"/>
                    <a:pt x="1365" y="1590"/>
                    <a:pt x="1358" y="1584"/>
                  </a:cubicBezTo>
                  <a:cubicBezTo>
                    <a:pt x="1352" y="1578"/>
                    <a:pt x="1356" y="1565"/>
                    <a:pt x="1356" y="1565"/>
                  </a:cubicBezTo>
                  <a:cubicBezTo>
                    <a:pt x="1350" y="1565"/>
                    <a:pt x="1350" y="1565"/>
                    <a:pt x="1350" y="1565"/>
                  </a:cubicBezTo>
                  <a:cubicBezTo>
                    <a:pt x="1341" y="1543"/>
                    <a:pt x="1341" y="1543"/>
                    <a:pt x="1341" y="1543"/>
                  </a:cubicBezTo>
                  <a:cubicBezTo>
                    <a:pt x="1341" y="1530"/>
                    <a:pt x="1341" y="1530"/>
                    <a:pt x="1341" y="1530"/>
                  </a:cubicBezTo>
                  <a:cubicBezTo>
                    <a:pt x="1343" y="1527"/>
                    <a:pt x="1343" y="1527"/>
                    <a:pt x="1343" y="1527"/>
                  </a:cubicBezTo>
                  <a:cubicBezTo>
                    <a:pt x="1343" y="1527"/>
                    <a:pt x="1342" y="1525"/>
                    <a:pt x="1339" y="1525"/>
                  </a:cubicBezTo>
                  <a:cubicBezTo>
                    <a:pt x="1335" y="1526"/>
                    <a:pt x="1338" y="1538"/>
                    <a:pt x="1338" y="1538"/>
                  </a:cubicBezTo>
                  <a:cubicBezTo>
                    <a:pt x="1342" y="1559"/>
                    <a:pt x="1342" y="1559"/>
                    <a:pt x="1342" y="1559"/>
                  </a:cubicBezTo>
                  <a:cubicBezTo>
                    <a:pt x="1339" y="1558"/>
                    <a:pt x="1339" y="1558"/>
                    <a:pt x="1339" y="1558"/>
                  </a:cubicBezTo>
                  <a:cubicBezTo>
                    <a:pt x="1337" y="1540"/>
                    <a:pt x="1337" y="1540"/>
                    <a:pt x="1337" y="1540"/>
                  </a:cubicBezTo>
                  <a:cubicBezTo>
                    <a:pt x="1333" y="1539"/>
                    <a:pt x="1333" y="1539"/>
                    <a:pt x="1333" y="1539"/>
                  </a:cubicBezTo>
                  <a:cubicBezTo>
                    <a:pt x="1313" y="1523"/>
                    <a:pt x="1313" y="1523"/>
                    <a:pt x="1313" y="1523"/>
                  </a:cubicBezTo>
                  <a:cubicBezTo>
                    <a:pt x="1313" y="1523"/>
                    <a:pt x="1310" y="1526"/>
                    <a:pt x="1308" y="1526"/>
                  </a:cubicBezTo>
                  <a:cubicBezTo>
                    <a:pt x="1306" y="1526"/>
                    <a:pt x="1304" y="1521"/>
                    <a:pt x="1301" y="1518"/>
                  </a:cubicBezTo>
                  <a:cubicBezTo>
                    <a:pt x="1297" y="1516"/>
                    <a:pt x="1286" y="1522"/>
                    <a:pt x="1286" y="1522"/>
                  </a:cubicBezTo>
                  <a:cubicBezTo>
                    <a:pt x="1286" y="1522"/>
                    <a:pt x="1277" y="1512"/>
                    <a:pt x="1275" y="1508"/>
                  </a:cubicBezTo>
                  <a:cubicBezTo>
                    <a:pt x="1273" y="1502"/>
                    <a:pt x="1281" y="1496"/>
                    <a:pt x="1285" y="1490"/>
                  </a:cubicBezTo>
                  <a:cubicBezTo>
                    <a:pt x="1290" y="1483"/>
                    <a:pt x="1287" y="1468"/>
                    <a:pt x="1287" y="1468"/>
                  </a:cubicBezTo>
                  <a:cubicBezTo>
                    <a:pt x="1283" y="1465"/>
                    <a:pt x="1283" y="1465"/>
                    <a:pt x="1283" y="1465"/>
                  </a:cubicBezTo>
                  <a:cubicBezTo>
                    <a:pt x="1287" y="1460"/>
                    <a:pt x="1287" y="1460"/>
                    <a:pt x="1287" y="1460"/>
                  </a:cubicBezTo>
                  <a:cubicBezTo>
                    <a:pt x="1284" y="1459"/>
                    <a:pt x="1284" y="1459"/>
                    <a:pt x="1284" y="1459"/>
                  </a:cubicBezTo>
                  <a:cubicBezTo>
                    <a:pt x="1283" y="1443"/>
                    <a:pt x="1283" y="1443"/>
                    <a:pt x="1283" y="1443"/>
                  </a:cubicBezTo>
                  <a:cubicBezTo>
                    <a:pt x="1286" y="1436"/>
                    <a:pt x="1286" y="1436"/>
                    <a:pt x="1286" y="1436"/>
                  </a:cubicBezTo>
                  <a:cubicBezTo>
                    <a:pt x="1286" y="1436"/>
                    <a:pt x="1280" y="1431"/>
                    <a:pt x="1281" y="1428"/>
                  </a:cubicBezTo>
                  <a:cubicBezTo>
                    <a:pt x="1282" y="1424"/>
                    <a:pt x="1291" y="1430"/>
                    <a:pt x="1296" y="1431"/>
                  </a:cubicBezTo>
                  <a:cubicBezTo>
                    <a:pt x="1300" y="1431"/>
                    <a:pt x="1299" y="1428"/>
                    <a:pt x="1299" y="1428"/>
                  </a:cubicBezTo>
                  <a:cubicBezTo>
                    <a:pt x="1299" y="1428"/>
                    <a:pt x="1291" y="1422"/>
                    <a:pt x="1293" y="1419"/>
                  </a:cubicBezTo>
                  <a:cubicBezTo>
                    <a:pt x="1296" y="1416"/>
                    <a:pt x="1306" y="1410"/>
                    <a:pt x="1306" y="1410"/>
                  </a:cubicBezTo>
                  <a:cubicBezTo>
                    <a:pt x="1313" y="1412"/>
                    <a:pt x="1313" y="1412"/>
                    <a:pt x="1313" y="1412"/>
                  </a:cubicBezTo>
                  <a:cubicBezTo>
                    <a:pt x="1317" y="1411"/>
                    <a:pt x="1317" y="1411"/>
                    <a:pt x="1317" y="1411"/>
                  </a:cubicBezTo>
                  <a:cubicBezTo>
                    <a:pt x="1305" y="1402"/>
                    <a:pt x="1305" y="1402"/>
                    <a:pt x="1305" y="1402"/>
                  </a:cubicBezTo>
                  <a:cubicBezTo>
                    <a:pt x="1308" y="1397"/>
                    <a:pt x="1308" y="1397"/>
                    <a:pt x="1308" y="1397"/>
                  </a:cubicBezTo>
                  <a:cubicBezTo>
                    <a:pt x="1322" y="1404"/>
                    <a:pt x="1322" y="1404"/>
                    <a:pt x="1322" y="1404"/>
                  </a:cubicBezTo>
                  <a:cubicBezTo>
                    <a:pt x="1327" y="1402"/>
                    <a:pt x="1327" y="1402"/>
                    <a:pt x="1327" y="1402"/>
                  </a:cubicBezTo>
                  <a:cubicBezTo>
                    <a:pt x="1320" y="1398"/>
                    <a:pt x="1320" y="1398"/>
                    <a:pt x="1320" y="1398"/>
                  </a:cubicBezTo>
                  <a:cubicBezTo>
                    <a:pt x="1323" y="1391"/>
                    <a:pt x="1323" y="1391"/>
                    <a:pt x="1323" y="1391"/>
                  </a:cubicBezTo>
                  <a:cubicBezTo>
                    <a:pt x="1313" y="1386"/>
                    <a:pt x="1313" y="1386"/>
                    <a:pt x="1313" y="1386"/>
                  </a:cubicBezTo>
                  <a:cubicBezTo>
                    <a:pt x="1314" y="1381"/>
                    <a:pt x="1314" y="1381"/>
                    <a:pt x="1314" y="1381"/>
                  </a:cubicBezTo>
                  <a:cubicBezTo>
                    <a:pt x="1322" y="1383"/>
                    <a:pt x="1322" y="1383"/>
                    <a:pt x="1322" y="1383"/>
                  </a:cubicBezTo>
                  <a:cubicBezTo>
                    <a:pt x="1325" y="1383"/>
                    <a:pt x="1325" y="1383"/>
                    <a:pt x="1325" y="1383"/>
                  </a:cubicBezTo>
                  <a:cubicBezTo>
                    <a:pt x="1318" y="1378"/>
                    <a:pt x="1318" y="1378"/>
                    <a:pt x="1318" y="1378"/>
                  </a:cubicBezTo>
                  <a:cubicBezTo>
                    <a:pt x="1323" y="1375"/>
                    <a:pt x="1323" y="1375"/>
                    <a:pt x="1323" y="1375"/>
                  </a:cubicBezTo>
                  <a:cubicBezTo>
                    <a:pt x="1331" y="1379"/>
                    <a:pt x="1331" y="1379"/>
                    <a:pt x="1331" y="1379"/>
                  </a:cubicBezTo>
                  <a:cubicBezTo>
                    <a:pt x="1331" y="1379"/>
                    <a:pt x="1331" y="1372"/>
                    <a:pt x="1329" y="1369"/>
                  </a:cubicBezTo>
                  <a:cubicBezTo>
                    <a:pt x="1326" y="1366"/>
                    <a:pt x="1319" y="1367"/>
                    <a:pt x="1320" y="1363"/>
                  </a:cubicBezTo>
                  <a:cubicBezTo>
                    <a:pt x="1321" y="1357"/>
                    <a:pt x="1332" y="1358"/>
                    <a:pt x="1332" y="1358"/>
                  </a:cubicBezTo>
                  <a:cubicBezTo>
                    <a:pt x="1324" y="1354"/>
                    <a:pt x="1324" y="1354"/>
                    <a:pt x="1324" y="1354"/>
                  </a:cubicBezTo>
                  <a:cubicBezTo>
                    <a:pt x="1324" y="1354"/>
                    <a:pt x="1301" y="1358"/>
                    <a:pt x="1290" y="1357"/>
                  </a:cubicBezTo>
                  <a:cubicBezTo>
                    <a:pt x="1281" y="1356"/>
                    <a:pt x="1280" y="1350"/>
                    <a:pt x="1284" y="1343"/>
                  </a:cubicBezTo>
                  <a:cubicBezTo>
                    <a:pt x="1288" y="1338"/>
                    <a:pt x="1298" y="1344"/>
                    <a:pt x="1302" y="1340"/>
                  </a:cubicBezTo>
                  <a:cubicBezTo>
                    <a:pt x="1307" y="1335"/>
                    <a:pt x="1288" y="1328"/>
                    <a:pt x="1281" y="1326"/>
                  </a:cubicBezTo>
                  <a:cubicBezTo>
                    <a:pt x="1273" y="1324"/>
                    <a:pt x="1268" y="1313"/>
                    <a:pt x="1263" y="1310"/>
                  </a:cubicBezTo>
                  <a:cubicBezTo>
                    <a:pt x="1257" y="1308"/>
                    <a:pt x="1256" y="1312"/>
                    <a:pt x="1249" y="1312"/>
                  </a:cubicBezTo>
                  <a:cubicBezTo>
                    <a:pt x="1242" y="1312"/>
                    <a:pt x="1241" y="1301"/>
                    <a:pt x="1232" y="1298"/>
                  </a:cubicBezTo>
                  <a:cubicBezTo>
                    <a:pt x="1222" y="1295"/>
                    <a:pt x="1225" y="1307"/>
                    <a:pt x="1218" y="1309"/>
                  </a:cubicBezTo>
                  <a:cubicBezTo>
                    <a:pt x="1211" y="1311"/>
                    <a:pt x="1206" y="1310"/>
                    <a:pt x="1206" y="1310"/>
                  </a:cubicBezTo>
                  <a:cubicBezTo>
                    <a:pt x="1210" y="1318"/>
                    <a:pt x="1210" y="1318"/>
                    <a:pt x="1210" y="1318"/>
                  </a:cubicBezTo>
                  <a:cubicBezTo>
                    <a:pt x="1210" y="1318"/>
                    <a:pt x="1198" y="1318"/>
                    <a:pt x="1192" y="1316"/>
                  </a:cubicBezTo>
                  <a:cubicBezTo>
                    <a:pt x="1187" y="1315"/>
                    <a:pt x="1188" y="1308"/>
                    <a:pt x="1189" y="1306"/>
                  </a:cubicBezTo>
                  <a:cubicBezTo>
                    <a:pt x="1191" y="1303"/>
                    <a:pt x="1186" y="1301"/>
                    <a:pt x="1184" y="1298"/>
                  </a:cubicBezTo>
                  <a:cubicBezTo>
                    <a:pt x="1181" y="1296"/>
                    <a:pt x="1181" y="1292"/>
                    <a:pt x="1181" y="1292"/>
                  </a:cubicBezTo>
                  <a:cubicBezTo>
                    <a:pt x="1152" y="1298"/>
                    <a:pt x="1152" y="1298"/>
                    <a:pt x="1152" y="1298"/>
                  </a:cubicBezTo>
                  <a:cubicBezTo>
                    <a:pt x="1146" y="1259"/>
                    <a:pt x="1146" y="1259"/>
                    <a:pt x="1146" y="1259"/>
                  </a:cubicBezTo>
                  <a:cubicBezTo>
                    <a:pt x="1146" y="1259"/>
                    <a:pt x="1152" y="1249"/>
                    <a:pt x="1149" y="1241"/>
                  </a:cubicBezTo>
                  <a:cubicBezTo>
                    <a:pt x="1146" y="1232"/>
                    <a:pt x="1136" y="1234"/>
                    <a:pt x="1136" y="1234"/>
                  </a:cubicBezTo>
                  <a:cubicBezTo>
                    <a:pt x="1124" y="1199"/>
                    <a:pt x="1124" y="1199"/>
                    <a:pt x="1124" y="1199"/>
                  </a:cubicBezTo>
                  <a:cubicBezTo>
                    <a:pt x="1133" y="1184"/>
                    <a:pt x="1133" y="1184"/>
                    <a:pt x="1133" y="1184"/>
                  </a:cubicBezTo>
                  <a:cubicBezTo>
                    <a:pt x="1134" y="1179"/>
                    <a:pt x="1125" y="1178"/>
                    <a:pt x="1125" y="1170"/>
                  </a:cubicBezTo>
                  <a:cubicBezTo>
                    <a:pt x="1124" y="1163"/>
                    <a:pt x="1128" y="1156"/>
                    <a:pt x="1138" y="1156"/>
                  </a:cubicBezTo>
                  <a:cubicBezTo>
                    <a:pt x="1146" y="1156"/>
                    <a:pt x="1158" y="1165"/>
                    <a:pt x="1161" y="1170"/>
                  </a:cubicBezTo>
                  <a:cubicBezTo>
                    <a:pt x="1165" y="1177"/>
                    <a:pt x="1172" y="1176"/>
                    <a:pt x="1178" y="1176"/>
                  </a:cubicBezTo>
                  <a:cubicBezTo>
                    <a:pt x="1184" y="1176"/>
                    <a:pt x="1190" y="1162"/>
                    <a:pt x="1191" y="1152"/>
                  </a:cubicBezTo>
                  <a:cubicBezTo>
                    <a:pt x="1192" y="1143"/>
                    <a:pt x="1185" y="1151"/>
                    <a:pt x="1185" y="1151"/>
                  </a:cubicBezTo>
                  <a:cubicBezTo>
                    <a:pt x="1185" y="1151"/>
                    <a:pt x="1182" y="1146"/>
                    <a:pt x="1177" y="1144"/>
                  </a:cubicBezTo>
                  <a:cubicBezTo>
                    <a:pt x="1173" y="1140"/>
                    <a:pt x="1163" y="1128"/>
                    <a:pt x="1163" y="1128"/>
                  </a:cubicBezTo>
                  <a:cubicBezTo>
                    <a:pt x="1159" y="1128"/>
                    <a:pt x="1159" y="1128"/>
                    <a:pt x="1159" y="1128"/>
                  </a:cubicBezTo>
                  <a:cubicBezTo>
                    <a:pt x="1160" y="1124"/>
                    <a:pt x="1160" y="1124"/>
                    <a:pt x="1160" y="1124"/>
                  </a:cubicBezTo>
                  <a:cubicBezTo>
                    <a:pt x="1160" y="1124"/>
                    <a:pt x="1165" y="1122"/>
                    <a:pt x="1171" y="1121"/>
                  </a:cubicBezTo>
                  <a:cubicBezTo>
                    <a:pt x="1177" y="1120"/>
                    <a:pt x="1175" y="1104"/>
                    <a:pt x="1175" y="1104"/>
                  </a:cubicBezTo>
                  <a:cubicBezTo>
                    <a:pt x="1175" y="1104"/>
                    <a:pt x="1182" y="1099"/>
                    <a:pt x="1183" y="1093"/>
                  </a:cubicBezTo>
                  <a:cubicBezTo>
                    <a:pt x="1185" y="1089"/>
                    <a:pt x="1175" y="1090"/>
                    <a:pt x="1175" y="1090"/>
                  </a:cubicBezTo>
                  <a:cubicBezTo>
                    <a:pt x="1173" y="1080"/>
                    <a:pt x="1173" y="1080"/>
                    <a:pt x="1173" y="1080"/>
                  </a:cubicBezTo>
                  <a:cubicBezTo>
                    <a:pt x="1183" y="1074"/>
                    <a:pt x="1183" y="1074"/>
                    <a:pt x="1183" y="1074"/>
                  </a:cubicBezTo>
                  <a:cubicBezTo>
                    <a:pt x="1189" y="1063"/>
                    <a:pt x="1189" y="1063"/>
                    <a:pt x="1189" y="1063"/>
                  </a:cubicBezTo>
                  <a:cubicBezTo>
                    <a:pt x="1189" y="1063"/>
                    <a:pt x="1202" y="1055"/>
                    <a:pt x="1202" y="1052"/>
                  </a:cubicBezTo>
                  <a:cubicBezTo>
                    <a:pt x="1203" y="1048"/>
                    <a:pt x="1196" y="1049"/>
                    <a:pt x="1195" y="1045"/>
                  </a:cubicBezTo>
                  <a:cubicBezTo>
                    <a:pt x="1194" y="1043"/>
                    <a:pt x="1204" y="1041"/>
                    <a:pt x="1204" y="1038"/>
                  </a:cubicBezTo>
                  <a:cubicBezTo>
                    <a:pt x="1204" y="1036"/>
                    <a:pt x="1199" y="1029"/>
                    <a:pt x="1201" y="1027"/>
                  </a:cubicBezTo>
                  <a:cubicBezTo>
                    <a:pt x="1203" y="1025"/>
                    <a:pt x="1208" y="1022"/>
                    <a:pt x="1208" y="1022"/>
                  </a:cubicBezTo>
                  <a:cubicBezTo>
                    <a:pt x="1201" y="1016"/>
                    <a:pt x="1201" y="1016"/>
                    <a:pt x="1201" y="1016"/>
                  </a:cubicBezTo>
                  <a:cubicBezTo>
                    <a:pt x="1212" y="1016"/>
                    <a:pt x="1212" y="1016"/>
                    <a:pt x="1212" y="1016"/>
                  </a:cubicBezTo>
                  <a:cubicBezTo>
                    <a:pt x="1212" y="1016"/>
                    <a:pt x="1223" y="1009"/>
                    <a:pt x="1226" y="1010"/>
                  </a:cubicBezTo>
                  <a:cubicBezTo>
                    <a:pt x="1229" y="1011"/>
                    <a:pt x="1223" y="1021"/>
                    <a:pt x="1228" y="1022"/>
                  </a:cubicBezTo>
                  <a:cubicBezTo>
                    <a:pt x="1234" y="1024"/>
                    <a:pt x="1235" y="1011"/>
                    <a:pt x="1235" y="1011"/>
                  </a:cubicBezTo>
                  <a:cubicBezTo>
                    <a:pt x="1235" y="1011"/>
                    <a:pt x="1240" y="1012"/>
                    <a:pt x="1243" y="1010"/>
                  </a:cubicBezTo>
                  <a:cubicBezTo>
                    <a:pt x="1247" y="1008"/>
                    <a:pt x="1238" y="1002"/>
                    <a:pt x="1240" y="997"/>
                  </a:cubicBezTo>
                  <a:cubicBezTo>
                    <a:pt x="1242" y="993"/>
                    <a:pt x="1251" y="993"/>
                    <a:pt x="1251" y="993"/>
                  </a:cubicBezTo>
                  <a:cubicBezTo>
                    <a:pt x="1249" y="986"/>
                    <a:pt x="1249" y="986"/>
                    <a:pt x="1249" y="986"/>
                  </a:cubicBezTo>
                  <a:cubicBezTo>
                    <a:pt x="1253" y="984"/>
                    <a:pt x="1253" y="984"/>
                    <a:pt x="1253" y="984"/>
                  </a:cubicBezTo>
                  <a:cubicBezTo>
                    <a:pt x="1253" y="984"/>
                    <a:pt x="1269" y="994"/>
                    <a:pt x="1275" y="993"/>
                  </a:cubicBezTo>
                  <a:cubicBezTo>
                    <a:pt x="1281" y="993"/>
                    <a:pt x="1277" y="987"/>
                    <a:pt x="1277" y="987"/>
                  </a:cubicBezTo>
                  <a:cubicBezTo>
                    <a:pt x="1285" y="987"/>
                    <a:pt x="1285" y="987"/>
                    <a:pt x="1285" y="987"/>
                  </a:cubicBezTo>
                  <a:cubicBezTo>
                    <a:pt x="1285" y="987"/>
                    <a:pt x="1298" y="975"/>
                    <a:pt x="1306" y="974"/>
                  </a:cubicBezTo>
                  <a:cubicBezTo>
                    <a:pt x="1315" y="973"/>
                    <a:pt x="1313" y="981"/>
                    <a:pt x="1318" y="982"/>
                  </a:cubicBezTo>
                  <a:cubicBezTo>
                    <a:pt x="1322" y="984"/>
                    <a:pt x="1323" y="982"/>
                    <a:pt x="1326" y="978"/>
                  </a:cubicBezTo>
                  <a:cubicBezTo>
                    <a:pt x="1329" y="975"/>
                    <a:pt x="1334" y="976"/>
                    <a:pt x="1339" y="980"/>
                  </a:cubicBezTo>
                  <a:cubicBezTo>
                    <a:pt x="1345" y="985"/>
                    <a:pt x="1351" y="984"/>
                    <a:pt x="1356" y="984"/>
                  </a:cubicBezTo>
                  <a:cubicBezTo>
                    <a:pt x="1362" y="984"/>
                    <a:pt x="1363" y="985"/>
                    <a:pt x="1363" y="989"/>
                  </a:cubicBezTo>
                  <a:cubicBezTo>
                    <a:pt x="1363" y="992"/>
                    <a:pt x="1366" y="998"/>
                    <a:pt x="1370" y="1001"/>
                  </a:cubicBezTo>
                  <a:cubicBezTo>
                    <a:pt x="1375" y="1004"/>
                    <a:pt x="1376" y="996"/>
                    <a:pt x="1378" y="992"/>
                  </a:cubicBezTo>
                  <a:cubicBezTo>
                    <a:pt x="1379" y="988"/>
                    <a:pt x="1371" y="988"/>
                    <a:pt x="1369" y="984"/>
                  </a:cubicBezTo>
                  <a:cubicBezTo>
                    <a:pt x="1367" y="978"/>
                    <a:pt x="1362" y="979"/>
                    <a:pt x="1358" y="979"/>
                  </a:cubicBezTo>
                  <a:cubicBezTo>
                    <a:pt x="1356" y="978"/>
                    <a:pt x="1356" y="975"/>
                    <a:pt x="1358" y="971"/>
                  </a:cubicBezTo>
                  <a:cubicBezTo>
                    <a:pt x="1360" y="966"/>
                    <a:pt x="1372" y="971"/>
                    <a:pt x="1372" y="971"/>
                  </a:cubicBezTo>
                  <a:cubicBezTo>
                    <a:pt x="1372" y="971"/>
                    <a:pt x="1375" y="969"/>
                    <a:pt x="1379" y="969"/>
                  </a:cubicBezTo>
                  <a:cubicBezTo>
                    <a:pt x="1382" y="970"/>
                    <a:pt x="1382" y="973"/>
                    <a:pt x="1382" y="973"/>
                  </a:cubicBezTo>
                  <a:cubicBezTo>
                    <a:pt x="1414" y="970"/>
                    <a:pt x="1414" y="970"/>
                    <a:pt x="1414" y="970"/>
                  </a:cubicBezTo>
                  <a:cubicBezTo>
                    <a:pt x="1414" y="970"/>
                    <a:pt x="1418" y="958"/>
                    <a:pt x="1420" y="953"/>
                  </a:cubicBezTo>
                  <a:cubicBezTo>
                    <a:pt x="1422" y="946"/>
                    <a:pt x="1416" y="940"/>
                    <a:pt x="1416" y="940"/>
                  </a:cubicBezTo>
                  <a:cubicBezTo>
                    <a:pt x="1421" y="938"/>
                    <a:pt x="1421" y="938"/>
                    <a:pt x="1421" y="938"/>
                  </a:cubicBezTo>
                  <a:cubicBezTo>
                    <a:pt x="1420" y="923"/>
                    <a:pt x="1420" y="923"/>
                    <a:pt x="1420" y="923"/>
                  </a:cubicBezTo>
                  <a:cubicBezTo>
                    <a:pt x="1420" y="923"/>
                    <a:pt x="1427" y="927"/>
                    <a:pt x="1431" y="927"/>
                  </a:cubicBezTo>
                  <a:cubicBezTo>
                    <a:pt x="1435" y="926"/>
                    <a:pt x="1430" y="918"/>
                    <a:pt x="1430" y="918"/>
                  </a:cubicBezTo>
                  <a:cubicBezTo>
                    <a:pt x="1442" y="909"/>
                    <a:pt x="1442" y="909"/>
                    <a:pt x="1442" y="909"/>
                  </a:cubicBezTo>
                  <a:cubicBezTo>
                    <a:pt x="1442" y="909"/>
                    <a:pt x="1456" y="914"/>
                    <a:pt x="1461" y="912"/>
                  </a:cubicBezTo>
                  <a:cubicBezTo>
                    <a:pt x="1464" y="910"/>
                    <a:pt x="1460" y="906"/>
                    <a:pt x="1461" y="903"/>
                  </a:cubicBezTo>
                  <a:cubicBezTo>
                    <a:pt x="1462" y="902"/>
                    <a:pt x="1469" y="902"/>
                    <a:pt x="1469" y="902"/>
                  </a:cubicBezTo>
                  <a:cubicBezTo>
                    <a:pt x="1460" y="893"/>
                    <a:pt x="1460" y="893"/>
                    <a:pt x="1460" y="893"/>
                  </a:cubicBezTo>
                  <a:cubicBezTo>
                    <a:pt x="1460" y="893"/>
                    <a:pt x="1477" y="886"/>
                    <a:pt x="1479" y="884"/>
                  </a:cubicBezTo>
                  <a:cubicBezTo>
                    <a:pt x="1482" y="882"/>
                    <a:pt x="1478" y="875"/>
                    <a:pt x="1478" y="875"/>
                  </a:cubicBezTo>
                  <a:cubicBezTo>
                    <a:pt x="1478" y="875"/>
                    <a:pt x="1483" y="874"/>
                    <a:pt x="1488" y="872"/>
                  </a:cubicBezTo>
                  <a:cubicBezTo>
                    <a:pt x="1494" y="872"/>
                    <a:pt x="1494" y="878"/>
                    <a:pt x="1503" y="883"/>
                  </a:cubicBezTo>
                  <a:cubicBezTo>
                    <a:pt x="1511" y="887"/>
                    <a:pt x="1523" y="880"/>
                    <a:pt x="1532" y="876"/>
                  </a:cubicBezTo>
                  <a:cubicBezTo>
                    <a:pt x="1532" y="795"/>
                    <a:pt x="1532" y="795"/>
                    <a:pt x="1532" y="795"/>
                  </a:cubicBezTo>
                  <a:cubicBezTo>
                    <a:pt x="1522" y="796"/>
                    <a:pt x="1522" y="796"/>
                    <a:pt x="1522" y="796"/>
                  </a:cubicBezTo>
                  <a:cubicBezTo>
                    <a:pt x="1522" y="796"/>
                    <a:pt x="1526" y="792"/>
                    <a:pt x="1522" y="788"/>
                  </a:cubicBezTo>
                  <a:cubicBezTo>
                    <a:pt x="1520" y="785"/>
                    <a:pt x="1504" y="795"/>
                    <a:pt x="1504" y="795"/>
                  </a:cubicBezTo>
                  <a:cubicBezTo>
                    <a:pt x="1501" y="790"/>
                    <a:pt x="1501" y="790"/>
                    <a:pt x="1501" y="790"/>
                  </a:cubicBezTo>
                  <a:cubicBezTo>
                    <a:pt x="1509" y="767"/>
                    <a:pt x="1509" y="767"/>
                    <a:pt x="1509" y="767"/>
                  </a:cubicBezTo>
                  <a:cubicBezTo>
                    <a:pt x="1515" y="765"/>
                    <a:pt x="1515" y="765"/>
                    <a:pt x="1515" y="765"/>
                  </a:cubicBezTo>
                  <a:cubicBezTo>
                    <a:pt x="1517" y="743"/>
                    <a:pt x="1517" y="743"/>
                    <a:pt x="1517" y="743"/>
                  </a:cubicBezTo>
                  <a:cubicBezTo>
                    <a:pt x="1507" y="740"/>
                    <a:pt x="1507" y="740"/>
                    <a:pt x="1507" y="740"/>
                  </a:cubicBezTo>
                  <a:cubicBezTo>
                    <a:pt x="1502" y="742"/>
                    <a:pt x="1502" y="742"/>
                    <a:pt x="1502" y="742"/>
                  </a:cubicBezTo>
                  <a:cubicBezTo>
                    <a:pt x="1488" y="737"/>
                    <a:pt x="1488" y="737"/>
                    <a:pt x="1488" y="737"/>
                  </a:cubicBezTo>
                  <a:cubicBezTo>
                    <a:pt x="1488" y="737"/>
                    <a:pt x="1491" y="720"/>
                    <a:pt x="1491" y="718"/>
                  </a:cubicBezTo>
                  <a:cubicBezTo>
                    <a:pt x="1491" y="717"/>
                    <a:pt x="1485" y="715"/>
                    <a:pt x="1485" y="715"/>
                  </a:cubicBezTo>
                  <a:cubicBezTo>
                    <a:pt x="1496" y="707"/>
                    <a:pt x="1496" y="707"/>
                    <a:pt x="1496" y="707"/>
                  </a:cubicBezTo>
                  <a:cubicBezTo>
                    <a:pt x="1501" y="702"/>
                    <a:pt x="1501" y="702"/>
                    <a:pt x="1501" y="702"/>
                  </a:cubicBezTo>
                  <a:cubicBezTo>
                    <a:pt x="1510" y="701"/>
                    <a:pt x="1510" y="701"/>
                    <a:pt x="1510" y="701"/>
                  </a:cubicBezTo>
                  <a:cubicBezTo>
                    <a:pt x="1510" y="701"/>
                    <a:pt x="1516" y="692"/>
                    <a:pt x="1520" y="690"/>
                  </a:cubicBezTo>
                  <a:cubicBezTo>
                    <a:pt x="1524" y="688"/>
                    <a:pt x="1522" y="685"/>
                    <a:pt x="1517" y="681"/>
                  </a:cubicBezTo>
                  <a:cubicBezTo>
                    <a:pt x="1513" y="677"/>
                    <a:pt x="1511" y="683"/>
                    <a:pt x="1506" y="685"/>
                  </a:cubicBezTo>
                  <a:cubicBezTo>
                    <a:pt x="1503" y="686"/>
                    <a:pt x="1497" y="686"/>
                    <a:pt x="1497" y="686"/>
                  </a:cubicBezTo>
                  <a:cubicBezTo>
                    <a:pt x="1498" y="690"/>
                    <a:pt x="1498" y="690"/>
                    <a:pt x="1498" y="690"/>
                  </a:cubicBezTo>
                  <a:cubicBezTo>
                    <a:pt x="1482" y="695"/>
                    <a:pt x="1482" y="695"/>
                    <a:pt x="1482" y="695"/>
                  </a:cubicBezTo>
                  <a:cubicBezTo>
                    <a:pt x="1478" y="682"/>
                    <a:pt x="1478" y="682"/>
                    <a:pt x="1478" y="682"/>
                  </a:cubicBezTo>
                  <a:cubicBezTo>
                    <a:pt x="1478" y="682"/>
                    <a:pt x="1488" y="677"/>
                    <a:pt x="1483" y="674"/>
                  </a:cubicBezTo>
                  <a:cubicBezTo>
                    <a:pt x="1478" y="670"/>
                    <a:pt x="1472" y="682"/>
                    <a:pt x="1472" y="682"/>
                  </a:cubicBezTo>
                  <a:cubicBezTo>
                    <a:pt x="1466" y="681"/>
                    <a:pt x="1466" y="681"/>
                    <a:pt x="1466" y="681"/>
                  </a:cubicBezTo>
                  <a:cubicBezTo>
                    <a:pt x="1457" y="685"/>
                    <a:pt x="1457" y="685"/>
                    <a:pt x="1457" y="685"/>
                  </a:cubicBezTo>
                  <a:cubicBezTo>
                    <a:pt x="1460" y="679"/>
                    <a:pt x="1460" y="679"/>
                    <a:pt x="1460" y="679"/>
                  </a:cubicBezTo>
                  <a:cubicBezTo>
                    <a:pt x="1458" y="667"/>
                    <a:pt x="1458" y="667"/>
                    <a:pt x="1458" y="667"/>
                  </a:cubicBezTo>
                  <a:cubicBezTo>
                    <a:pt x="1446" y="669"/>
                    <a:pt x="1446" y="669"/>
                    <a:pt x="1446" y="669"/>
                  </a:cubicBezTo>
                  <a:cubicBezTo>
                    <a:pt x="1455" y="660"/>
                    <a:pt x="1455" y="660"/>
                    <a:pt x="1455" y="660"/>
                  </a:cubicBezTo>
                  <a:cubicBezTo>
                    <a:pt x="1451" y="658"/>
                    <a:pt x="1451" y="658"/>
                    <a:pt x="1451" y="658"/>
                  </a:cubicBezTo>
                  <a:cubicBezTo>
                    <a:pt x="1452" y="650"/>
                    <a:pt x="1452" y="650"/>
                    <a:pt x="1452" y="650"/>
                  </a:cubicBezTo>
                  <a:cubicBezTo>
                    <a:pt x="1465" y="650"/>
                    <a:pt x="1465" y="650"/>
                    <a:pt x="1465" y="650"/>
                  </a:cubicBezTo>
                  <a:cubicBezTo>
                    <a:pt x="1467" y="644"/>
                    <a:pt x="1467" y="644"/>
                    <a:pt x="1467" y="644"/>
                  </a:cubicBezTo>
                  <a:cubicBezTo>
                    <a:pt x="1476" y="646"/>
                    <a:pt x="1476" y="646"/>
                    <a:pt x="1476" y="646"/>
                  </a:cubicBezTo>
                  <a:cubicBezTo>
                    <a:pt x="1478" y="639"/>
                    <a:pt x="1478" y="639"/>
                    <a:pt x="1478" y="639"/>
                  </a:cubicBezTo>
                  <a:cubicBezTo>
                    <a:pt x="1486" y="627"/>
                    <a:pt x="1486" y="627"/>
                    <a:pt x="1486" y="627"/>
                  </a:cubicBezTo>
                  <a:cubicBezTo>
                    <a:pt x="1486" y="627"/>
                    <a:pt x="1489" y="636"/>
                    <a:pt x="1495" y="633"/>
                  </a:cubicBezTo>
                  <a:cubicBezTo>
                    <a:pt x="1500" y="631"/>
                    <a:pt x="1490" y="619"/>
                    <a:pt x="1490" y="619"/>
                  </a:cubicBezTo>
                  <a:cubicBezTo>
                    <a:pt x="1505" y="606"/>
                    <a:pt x="1505" y="606"/>
                    <a:pt x="1505" y="606"/>
                  </a:cubicBezTo>
                  <a:cubicBezTo>
                    <a:pt x="1501" y="599"/>
                    <a:pt x="1501" y="599"/>
                    <a:pt x="1501" y="599"/>
                  </a:cubicBezTo>
                  <a:cubicBezTo>
                    <a:pt x="1509" y="596"/>
                    <a:pt x="1509" y="596"/>
                    <a:pt x="1509" y="596"/>
                  </a:cubicBezTo>
                  <a:cubicBezTo>
                    <a:pt x="1515" y="584"/>
                    <a:pt x="1515" y="584"/>
                    <a:pt x="1515" y="584"/>
                  </a:cubicBezTo>
                  <a:cubicBezTo>
                    <a:pt x="1515" y="584"/>
                    <a:pt x="1521" y="584"/>
                    <a:pt x="1522" y="581"/>
                  </a:cubicBezTo>
                  <a:cubicBezTo>
                    <a:pt x="1524" y="578"/>
                    <a:pt x="1519" y="575"/>
                    <a:pt x="1519" y="575"/>
                  </a:cubicBezTo>
                  <a:cubicBezTo>
                    <a:pt x="1532" y="556"/>
                    <a:pt x="1532" y="556"/>
                    <a:pt x="1532" y="556"/>
                  </a:cubicBezTo>
                  <a:lnTo>
                    <a:pt x="1532" y="0"/>
                  </a:lnTo>
                  <a:close/>
                  <a:moveTo>
                    <a:pt x="375" y="778"/>
                  </a:moveTo>
                  <a:cubicBezTo>
                    <a:pt x="373" y="786"/>
                    <a:pt x="367" y="785"/>
                    <a:pt x="367" y="785"/>
                  </a:cubicBezTo>
                  <a:cubicBezTo>
                    <a:pt x="367" y="785"/>
                    <a:pt x="377" y="803"/>
                    <a:pt x="372" y="806"/>
                  </a:cubicBezTo>
                  <a:cubicBezTo>
                    <a:pt x="366" y="809"/>
                    <a:pt x="357" y="806"/>
                    <a:pt x="357" y="806"/>
                  </a:cubicBezTo>
                  <a:cubicBezTo>
                    <a:pt x="346" y="807"/>
                    <a:pt x="346" y="807"/>
                    <a:pt x="346" y="807"/>
                  </a:cubicBezTo>
                  <a:cubicBezTo>
                    <a:pt x="340" y="816"/>
                    <a:pt x="340" y="816"/>
                    <a:pt x="340" y="816"/>
                  </a:cubicBezTo>
                  <a:cubicBezTo>
                    <a:pt x="340" y="816"/>
                    <a:pt x="350" y="830"/>
                    <a:pt x="341" y="830"/>
                  </a:cubicBezTo>
                  <a:cubicBezTo>
                    <a:pt x="334" y="831"/>
                    <a:pt x="324" y="830"/>
                    <a:pt x="324" y="830"/>
                  </a:cubicBezTo>
                  <a:cubicBezTo>
                    <a:pt x="324" y="818"/>
                    <a:pt x="324" y="818"/>
                    <a:pt x="324" y="818"/>
                  </a:cubicBezTo>
                  <a:cubicBezTo>
                    <a:pt x="316" y="814"/>
                    <a:pt x="316" y="814"/>
                    <a:pt x="316" y="814"/>
                  </a:cubicBezTo>
                  <a:cubicBezTo>
                    <a:pt x="316" y="814"/>
                    <a:pt x="319" y="808"/>
                    <a:pt x="313" y="803"/>
                  </a:cubicBezTo>
                  <a:cubicBezTo>
                    <a:pt x="307" y="798"/>
                    <a:pt x="299" y="792"/>
                    <a:pt x="299" y="792"/>
                  </a:cubicBezTo>
                  <a:cubicBezTo>
                    <a:pt x="299" y="792"/>
                    <a:pt x="299" y="786"/>
                    <a:pt x="295" y="781"/>
                  </a:cubicBezTo>
                  <a:cubicBezTo>
                    <a:pt x="291" y="775"/>
                    <a:pt x="266" y="769"/>
                    <a:pt x="266" y="764"/>
                  </a:cubicBezTo>
                  <a:cubicBezTo>
                    <a:pt x="267" y="758"/>
                    <a:pt x="277" y="754"/>
                    <a:pt x="277" y="754"/>
                  </a:cubicBezTo>
                  <a:cubicBezTo>
                    <a:pt x="275" y="744"/>
                    <a:pt x="275" y="744"/>
                    <a:pt x="275" y="744"/>
                  </a:cubicBezTo>
                  <a:cubicBezTo>
                    <a:pt x="275" y="744"/>
                    <a:pt x="285" y="740"/>
                    <a:pt x="285" y="736"/>
                  </a:cubicBezTo>
                  <a:cubicBezTo>
                    <a:pt x="285" y="730"/>
                    <a:pt x="286" y="722"/>
                    <a:pt x="286" y="722"/>
                  </a:cubicBezTo>
                  <a:cubicBezTo>
                    <a:pt x="291" y="723"/>
                    <a:pt x="297" y="724"/>
                    <a:pt x="297" y="724"/>
                  </a:cubicBezTo>
                  <a:cubicBezTo>
                    <a:pt x="301" y="729"/>
                    <a:pt x="301" y="729"/>
                    <a:pt x="301" y="729"/>
                  </a:cubicBezTo>
                  <a:cubicBezTo>
                    <a:pt x="302" y="726"/>
                    <a:pt x="302" y="726"/>
                    <a:pt x="302" y="726"/>
                  </a:cubicBezTo>
                  <a:cubicBezTo>
                    <a:pt x="310" y="726"/>
                    <a:pt x="310" y="726"/>
                    <a:pt x="310" y="726"/>
                  </a:cubicBezTo>
                  <a:cubicBezTo>
                    <a:pt x="316" y="735"/>
                    <a:pt x="316" y="735"/>
                    <a:pt x="316" y="735"/>
                  </a:cubicBezTo>
                  <a:cubicBezTo>
                    <a:pt x="319" y="732"/>
                    <a:pt x="319" y="732"/>
                    <a:pt x="319" y="732"/>
                  </a:cubicBezTo>
                  <a:cubicBezTo>
                    <a:pt x="325" y="739"/>
                    <a:pt x="325" y="739"/>
                    <a:pt x="325" y="739"/>
                  </a:cubicBezTo>
                  <a:cubicBezTo>
                    <a:pt x="315" y="739"/>
                    <a:pt x="315" y="739"/>
                    <a:pt x="315" y="739"/>
                  </a:cubicBezTo>
                  <a:cubicBezTo>
                    <a:pt x="315" y="739"/>
                    <a:pt x="313" y="742"/>
                    <a:pt x="316" y="743"/>
                  </a:cubicBezTo>
                  <a:cubicBezTo>
                    <a:pt x="319" y="744"/>
                    <a:pt x="321" y="741"/>
                    <a:pt x="321" y="741"/>
                  </a:cubicBezTo>
                  <a:cubicBezTo>
                    <a:pt x="321" y="741"/>
                    <a:pt x="341" y="739"/>
                    <a:pt x="349" y="744"/>
                  </a:cubicBezTo>
                  <a:cubicBezTo>
                    <a:pt x="355" y="751"/>
                    <a:pt x="356" y="755"/>
                    <a:pt x="356" y="755"/>
                  </a:cubicBezTo>
                  <a:cubicBezTo>
                    <a:pt x="366" y="760"/>
                    <a:pt x="366" y="760"/>
                    <a:pt x="366" y="760"/>
                  </a:cubicBezTo>
                  <a:cubicBezTo>
                    <a:pt x="369" y="770"/>
                    <a:pt x="369" y="770"/>
                    <a:pt x="369" y="770"/>
                  </a:cubicBezTo>
                  <a:cubicBezTo>
                    <a:pt x="369" y="770"/>
                    <a:pt x="376" y="771"/>
                    <a:pt x="375" y="778"/>
                  </a:cubicBezTo>
                  <a:close/>
                  <a:moveTo>
                    <a:pt x="464" y="712"/>
                  </a:moveTo>
                  <a:cubicBezTo>
                    <a:pt x="462" y="717"/>
                    <a:pt x="462" y="724"/>
                    <a:pt x="462" y="724"/>
                  </a:cubicBezTo>
                  <a:cubicBezTo>
                    <a:pt x="449" y="726"/>
                    <a:pt x="449" y="726"/>
                    <a:pt x="449" y="726"/>
                  </a:cubicBezTo>
                  <a:cubicBezTo>
                    <a:pt x="449" y="726"/>
                    <a:pt x="454" y="717"/>
                    <a:pt x="446" y="708"/>
                  </a:cubicBezTo>
                  <a:cubicBezTo>
                    <a:pt x="437" y="698"/>
                    <a:pt x="425" y="697"/>
                    <a:pt x="425" y="697"/>
                  </a:cubicBezTo>
                  <a:cubicBezTo>
                    <a:pt x="408" y="694"/>
                    <a:pt x="408" y="694"/>
                    <a:pt x="408" y="694"/>
                  </a:cubicBezTo>
                  <a:cubicBezTo>
                    <a:pt x="388" y="677"/>
                    <a:pt x="388" y="677"/>
                    <a:pt x="388" y="677"/>
                  </a:cubicBezTo>
                  <a:cubicBezTo>
                    <a:pt x="398" y="683"/>
                    <a:pt x="398" y="683"/>
                    <a:pt x="398" y="683"/>
                  </a:cubicBezTo>
                  <a:cubicBezTo>
                    <a:pt x="401" y="683"/>
                    <a:pt x="401" y="683"/>
                    <a:pt x="401" y="683"/>
                  </a:cubicBezTo>
                  <a:cubicBezTo>
                    <a:pt x="401" y="674"/>
                    <a:pt x="401" y="674"/>
                    <a:pt x="401" y="674"/>
                  </a:cubicBezTo>
                  <a:cubicBezTo>
                    <a:pt x="392" y="669"/>
                    <a:pt x="392" y="669"/>
                    <a:pt x="392" y="669"/>
                  </a:cubicBezTo>
                  <a:cubicBezTo>
                    <a:pt x="389" y="667"/>
                    <a:pt x="389" y="667"/>
                    <a:pt x="389" y="667"/>
                  </a:cubicBezTo>
                  <a:cubicBezTo>
                    <a:pt x="381" y="658"/>
                    <a:pt x="381" y="658"/>
                    <a:pt x="381" y="658"/>
                  </a:cubicBezTo>
                  <a:cubicBezTo>
                    <a:pt x="373" y="650"/>
                    <a:pt x="373" y="650"/>
                    <a:pt x="373" y="650"/>
                  </a:cubicBezTo>
                  <a:cubicBezTo>
                    <a:pt x="375" y="650"/>
                    <a:pt x="375" y="650"/>
                    <a:pt x="375" y="650"/>
                  </a:cubicBezTo>
                  <a:cubicBezTo>
                    <a:pt x="384" y="656"/>
                    <a:pt x="384" y="656"/>
                    <a:pt x="384" y="656"/>
                  </a:cubicBezTo>
                  <a:cubicBezTo>
                    <a:pt x="386" y="661"/>
                    <a:pt x="386" y="661"/>
                    <a:pt x="386" y="661"/>
                  </a:cubicBezTo>
                  <a:cubicBezTo>
                    <a:pt x="401" y="669"/>
                    <a:pt x="401" y="669"/>
                    <a:pt x="401" y="669"/>
                  </a:cubicBezTo>
                  <a:cubicBezTo>
                    <a:pt x="401" y="666"/>
                    <a:pt x="401" y="666"/>
                    <a:pt x="401" y="666"/>
                  </a:cubicBezTo>
                  <a:cubicBezTo>
                    <a:pt x="395" y="658"/>
                    <a:pt x="395" y="658"/>
                    <a:pt x="395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85" y="646"/>
                    <a:pt x="385" y="646"/>
                    <a:pt x="385" y="646"/>
                  </a:cubicBezTo>
                  <a:cubicBezTo>
                    <a:pt x="398" y="653"/>
                    <a:pt x="398" y="653"/>
                    <a:pt x="398" y="653"/>
                  </a:cubicBezTo>
                  <a:cubicBezTo>
                    <a:pt x="385" y="638"/>
                    <a:pt x="385" y="638"/>
                    <a:pt x="385" y="638"/>
                  </a:cubicBezTo>
                  <a:cubicBezTo>
                    <a:pt x="385" y="638"/>
                    <a:pt x="401" y="649"/>
                    <a:pt x="402" y="653"/>
                  </a:cubicBezTo>
                  <a:cubicBezTo>
                    <a:pt x="404" y="656"/>
                    <a:pt x="411" y="662"/>
                    <a:pt x="413" y="663"/>
                  </a:cubicBezTo>
                  <a:cubicBezTo>
                    <a:pt x="414" y="663"/>
                    <a:pt x="414" y="660"/>
                    <a:pt x="414" y="660"/>
                  </a:cubicBezTo>
                  <a:cubicBezTo>
                    <a:pt x="414" y="660"/>
                    <a:pt x="407" y="656"/>
                    <a:pt x="408" y="654"/>
                  </a:cubicBezTo>
                  <a:cubicBezTo>
                    <a:pt x="409" y="651"/>
                    <a:pt x="422" y="660"/>
                    <a:pt x="422" y="650"/>
                  </a:cubicBezTo>
                  <a:cubicBezTo>
                    <a:pt x="423" y="641"/>
                    <a:pt x="411" y="632"/>
                    <a:pt x="411" y="632"/>
                  </a:cubicBezTo>
                  <a:cubicBezTo>
                    <a:pt x="405" y="632"/>
                    <a:pt x="405" y="632"/>
                    <a:pt x="405" y="632"/>
                  </a:cubicBezTo>
                  <a:cubicBezTo>
                    <a:pt x="397" y="629"/>
                    <a:pt x="397" y="629"/>
                    <a:pt x="397" y="629"/>
                  </a:cubicBezTo>
                  <a:cubicBezTo>
                    <a:pt x="393" y="629"/>
                    <a:pt x="393" y="629"/>
                    <a:pt x="393" y="629"/>
                  </a:cubicBezTo>
                  <a:cubicBezTo>
                    <a:pt x="404" y="643"/>
                    <a:pt x="404" y="643"/>
                    <a:pt x="404" y="643"/>
                  </a:cubicBezTo>
                  <a:cubicBezTo>
                    <a:pt x="404" y="643"/>
                    <a:pt x="374" y="620"/>
                    <a:pt x="376" y="618"/>
                  </a:cubicBezTo>
                  <a:cubicBezTo>
                    <a:pt x="379" y="615"/>
                    <a:pt x="385" y="620"/>
                    <a:pt x="385" y="620"/>
                  </a:cubicBezTo>
                  <a:cubicBezTo>
                    <a:pt x="385" y="620"/>
                    <a:pt x="390" y="618"/>
                    <a:pt x="393" y="619"/>
                  </a:cubicBezTo>
                  <a:cubicBezTo>
                    <a:pt x="397" y="619"/>
                    <a:pt x="407" y="625"/>
                    <a:pt x="407" y="625"/>
                  </a:cubicBezTo>
                  <a:cubicBezTo>
                    <a:pt x="407" y="625"/>
                    <a:pt x="421" y="622"/>
                    <a:pt x="426" y="632"/>
                  </a:cubicBezTo>
                  <a:cubicBezTo>
                    <a:pt x="433" y="642"/>
                    <a:pt x="424" y="654"/>
                    <a:pt x="429" y="657"/>
                  </a:cubicBezTo>
                  <a:cubicBezTo>
                    <a:pt x="433" y="660"/>
                    <a:pt x="440" y="670"/>
                    <a:pt x="440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8" y="677"/>
                    <a:pt x="448" y="677"/>
                    <a:pt x="448" y="677"/>
                  </a:cubicBezTo>
                  <a:cubicBezTo>
                    <a:pt x="448" y="677"/>
                    <a:pt x="466" y="682"/>
                    <a:pt x="468" y="692"/>
                  </a:cubicBezTo>
                  <a:cubicBezTo>
                    <a:pt x="470" y="702"/>
                    <a:pt x="467" y="707"/>
                    <a:pt x="464" y="71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3" name="Litauen" descr="© INSCALE GmbH, 05.05.2010&#10;http://www.presentationload.com/">
              <a:extLst>
                <a:ext uri="{FF2B5EF4-FFF2-40B4-BE49-F238E27FC236}">
                  <a16:creationId xmlns:a16="http://schemas.microsoft.com/office/drawing/2014/main" id="{41FA55F6-8DB9-EE46-8377-E9170A569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1314" y="3509648"/>
              <a:ext cx="529729" cy="401010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" name="Sp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EFFD3AF0-CFA3-1843-8C92-5D8CC952D9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28478" y="5334821"/>
              <a:ext cx="1506677" cy="1242637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" name="Italien" descr="© INSCALE GmbH, 05.05.2010&#10;http://www.presentationload.com/">
              <a:extLst>
                <a:ext uri="{FF2B5EF4-FFF2-40B4-BE49-F238E27FC236}">
                  <a16:creationId xmlns:a16="http://schemas.microsoft.com/office/drawing/2014/main" id="{43940C29-EB74-654C-AC81-0E5F42E5BE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63553" y="5059231"/>
              <a:ext cx="1407662" cy="1617242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FCE53FAD-B49D-114A-8F48-8D3BBB21AB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529858" y="5691275"/>
              <a:ext cx="47858" cy="41257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" name="Deutsch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8080B04-E69A-C643-A257-81203151C1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50351" y="3808344"/>
              <a:ext cx="909287" cy="1227784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" name="Saudi-Arabien" descr="© INSCALE GmbH, 05.05.2010&#10;http://www.presentationload.com/">
              <a:extLst>
                <a:ext uri="{FF2B5EF4-FFF2-40B4-BE49-F238E27FC236}">
                  <a16:creationId xmlns:a16="http://schemas.microsoft.com/office/drawing/2014/main" id="{40EA2FBF-960D-B249-B720-F96918CB742E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8580" y="6668221"/>
              <a:ext cx="795420" cy="189779"/>
            </a:xfrm>
            <a:custGeom>
              <a:avLst/>
              <a:gdLst/>
              <a:ahLst/>
              <a:cxnLst>
                <a:cxn ang="0">
                  <a:pos x="333" y="80"/>
                </a:cxn>
                <a:cxn ang="0">
                  <a:pos x="333" y="30"/>
                </a:cxn>
                <a:cxn ang="0">
                  <a:pos x="319" y="13"/>
                </a:cxn>
                <a:cxn ang="0">
                  <a:pos x="224" y="11"/>
                </a:cxn>
                <a:cxn ang="0">
                  <a:pos x="122" y="0"/>
                </a:cxn>
                <a:cxn ang="0">
                  <a:pos x="78" y="7"/>
                </a:cxn>
                <a:cxn ang="0">
                  <a:pos x="66" y="29"/>
                </a:cxn>
                <a:cxn ang="0">
                  <a:pos x="15" y="68"/>
                </a:cxn>
                <a:cxn ang="0">
                  <a:pos x="0" y="80"/>
                </a:cxn>
                <a:cxn ang="0">
                  <a:pos x="333" y="80"/>
                </a:cxn>
              </a:cxnLst>
              <a:rect l="0" t="0" r="r" b="b"/>
              <a:pathLst>
                <a:path w="333" h="80">
                  <a:moveTo>
                    <a:pt x="333" y="80"/>
                  </a:moveTo>
                  <a:cubicBezTo>
                    <a:pt x="333" y="30"/>
                    <a:pt x="333" y="30"/>
                    <a:pt x="333" y="30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9" y="13"/>
                    <a:pt x="251" y="13"/>
                    <a:pt x="224" y="11"/>
                  </a:cubicBezTo>
                  <a:cubicBezTo>
                    <a:pt x="197" y="11"/>
                    <a:pt x="135" y="0"/>
                    <a:pt x="122" y="0"/>
                  </a:cubicBezTo>
                  <a:cubicBezTo>
                    <a:pt x="108" y="0"/>
                    <a:pt x="78" y="7"/>
                    <a:pt x="78" y="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25" y="61"/>
                    <a:pt x="15" y="68"/>
                  </a:cubicBezTo>
                  <a:cubicBezTo>
                    <a:pt x="11" y="70"/>
                    <a:pt x="6" y="74"/>
                    <a:pt x="0" y="80"/>
                  </a:cubicBezTo>
                  <a:lnTo>
                    <a:pt x="333" y="8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9" name="Jord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2556CF34-5F6F-8A40-A05E-6560E9DF22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21832" y="6537852"/>
              <a:ext cx="513227" cy="320148"/>
            </a:xfrm>
            <a:custGeom>
              <a:avLst/>
              <a:gdLst/>
              <a:ahLst/>
              <a:cxnLst>
                <a:cxn ang="0">
                  <a:pos x="5" y="128"/>
                </a:cxn>
                <a:cxn ang="0">
                  <a:pos x="7" y="134"/>
                </a:cxn>
                <a:cxn ang="0">
                  <a:pos x="137" y="134"/>
                </a:cxn>
                <a:cxn ang="0">
                  <a:pos x="152" y="122"/>
                </a:cxn>
                <a:cxn ang="0">
                  <a:pos x="203" y="83"/>
                </a:cxn>
                <a:cxn ang="0">
                  <a:pos x="215" y="61"/>
                </a:cxn>
                <a:cxn ang="0">
                  <a:pos x="158" y="0"/>
                </a:cxn>
                <a:cxn ang="0">
                  <a:pos x="76" y="109"/>
                </a:cxn>
                <a:cxn ang="0">
                  <a:pos x="49" y="110"/>
                </a:cxn>
                <a:cxn ang="0">
                  <a:pos x="42" y="105"/>
                </a:cxn>
                <a:cxn ang="0">
                  <a:pos x="34" y="109"/>
                </a:cxn>
                <a:cxn ang="0">
                  <a:pos x="30" y="109"/>
                </a:cxn>
                <a:cxn ang="0">
                  <a:pos x="18" y="99"/>
                </a:cxn>
                <a:cxn ang="0">
                  <a:pos x="5" y="107"/>
                </a:cxn>
                <a:cxn ang="0">
                  <a:pos x="0" y="110"/>
                </a:cxn>
                <a:cxn ang="0">
                  <a:pos x="3" y="120"/>
                </a:cxn>
                <a:cxn ang="0">
                  <a:pos x="5" y="128"/>
                </a:cxn>
              </a:cxnLst>
              <a:rect l="0" t="0" r="r" b="b"/>
              <a:pathLst>
                <a:path w="215" h="134">
                  <a:moveTo>
                    <a:pt x="5" y="128"/>
                  </a:moveTo>
                  <a:cubicBezTo>
                    <a:pt x="7" y="134"/>
                    <a:pt x="7" y="134"/>
                    <a:pt x="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43" y="128"/>
                    <a:pt x="148" y="124"/>
                    <a:pt x="152" y="122"/>
                  </a:cubicBezTo>
                  <a:cubicBezTo>
                    <a:pt x="162" y="115"/>
                    <a:pt x="203" y="83"/>
                    <a:pt x="203" y="83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0"/>
                    <a:pt x="48" y="106"/>
                    <a:pt x="42" y="105"/>
                  </a:cubicBezTo>
                  <a:cubicBezTo>
                    <a:pt x="35" y="105"/>
                    <a:pt x="34" y="109"/>
                    <a:pt x="34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26" y="100"/>
                    <a:pt x="18" y="99"/>
                  </a:cubicBezTo>
                  <a:cubicBezTo>
                    <a:pt x="10" y="99"/>
                    <a:pt x="5" y="107"/>
                    <a:pt x="5" y="10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8"/>
                    <a:pt x="3" y="120"/>
                  </a:cubicBezTo>
                  <a:cubicBezTo>
                    <a:pt x="7" y="123"/>
                    <a:pt x="5" y="128"/>
                    <a:pt x="5" y="12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0" name="Freeform 9" descr="© INSCALE GmbH, 05.05.2010&#10;http://www.presentationload.com/">
              <a:extLst>
                <a:ext uri="{FF2B5EF4-FFF2-40B4-BE49-F238E27FC236}">
                  <a16:creationId xmlns:a16="http://schemas.microsoft.com/office/drawing/2014/main" id="{AF809ACA-1D57-7D48-86F1-A4CAC2CE4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1017" y="5077384"/>
              <a:ext cx="344901" cy="242586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1" name="Freeform 79" descr="© INSCALE GmbH, 05.05.2010&#10;http://www.presentationload.com/">
              <a:extLst>
                <a:ext uri="{FF2B5EF4-FFF2-40B4-BE49-F238E27FC236}">
                  <a16:creationId xmlns:a16="http://schemas.microsoft.com/office/drawing/2014/main" id="{F93E05D2-73D9-D84A-94A9-519D5AB92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3260" y="5561736"/>
              <a:ext cx="207930" cy="26074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9" y="9"/>
                </a:cxn>
                <a:cxn ang="0">
                  <a:pos x="44" y="9"/>
                </a:cxn>
                <a:cxn ang="0">
                  <a:pos x="34" y="2"/>
                </a:cxn>
                <a:cxn ang="0">
                  <a:pos x="32" y="13"/>
                </a:cxn>
                <a:cxn ang="0">
                  <a:pos x="49" y="36"/>
                </a:cxn>
                <a:cxn ang="0">
                  <a:pos x="30" y="32"/>
                </a:cxn>
                <a:cxn ang="0">
                  <a:pos x="13" y="43"/>
                </a:cxn>
                <a:cxn ang="0">
                  <a:pos x="15" y="70"/>
                </a:cxn>
                <a:cxn ang="0">
                  <a:pos x="2" y="78"/>
                </a:cxn>
                <a:cxn ang="0">
                  <a:pos x="3" y="108"/>
                </a:cxn>
                <a:cxn ang="0">
                  <a:pos x="9" y="108"/>
                </a:cxn>
                <a:cxn ang="0">
                  <a:pos x="9" y="127"/>
                </a:cxn>
                <a:cxn ang="0">
                  <a:pos x="0" y="133"/>
                </a:cxn>
                <a:cxn ang="0">
                  <a:pos x="0" y="144"/>
                </a:cxn>
                <a:cxn ang="0">
                  <a:pos x="7" y="148"/>
                </a:cxn>
                <a:cxn ang="0">
                  <a:pos x="19" y="136"/>
                </a:cxn>
                <a:cxn ang="0">
                  <a:pos x="28" y="138"/>
                </a:cxn>
                <a:cxn ang="0">
                  <a:pos x="25" y="159"/>
                </a:cxn>
                <a:cxn ang="0">
                  <a:pos x="34" y="165"/>
                </a:cxn>
                <a:cxn ang="0">
                  <a:pos x="47" y="163"/>
                </a:cxn>
                <a:cxn ang="0">
                  <a:pos x="49" y="170"/>
                </a:cxn>
                <a:cxn ang="0">
                  <a:pos x="72" y="189"/>
                </a:cxn>
                <a:cxn ang="0">
                  <a:pos x="72" y="199"/>
                </a:cxn>
                <a:cxn ang="0">
                  <a:pos x="82" y="205"/>
                </a:cxn>
                <a:cxn ang="0">
                  <a:pos x="93" y="208"/>
                </a:cxn>
                <a:cxn ang="0">
                  <a:pos x="91" y="193"/>
                </a:cxn>
                <a:cxn ang="0">
                  <a:pos x="87" y="174"/>
                </a:cxn>
                <a:cxn ang="0">
                  <a:pos x="82" y="172"/>
                </a:cxn>
                <a:cxn ang="0">
                  <a:pos x="116" y="106"/>
                </a:cxn>
                <a:cxn ang="0">
                  <a:pos x="121" y="108"/>
                </a:cxn>
                <a:cxn ang="0">
                  <a:pos x="121" y="121"/>
                </a:cxn>
                <a:cxn ang="0">
                  <a:pos x="135" y="129"/>
                </a:cxn>
                <a:cxn ang="0">
                  <a:pos x="145" y="122"/>
                </a:cxn>
                <a:cxn ang="0">
                  <a:pos x="140" y="116"/>
                </a:cxn>
                <a:cxn ang="0">
                  <a:pos x="130" y="96"/>
                </a:cxn>
                <a:cxn ang="0">
                  <a:pos x="138" y="90"/>
                </a:cxn>
                <a:cxn ang="0">
                  <a:pos x="146" y="90"/>
                </a:cxn>
                <a:cxn ang="0">
                  <a:pos x="153" y="92"/>
                </a:cxn>
                <a:cxn ang="0">
                  <a:pos x="158" y="83"/>
                </a:cxn>
                <a:cxn ang="0">
                  <a:pos x="164" y="78"/>
                </a:cxn>
                <a:cxn ang="0">
                  <a:pos x="166" y="66"/>
                </a:cxn>
                <a:cxn ang="0">
                  <a:pos x="153" y="63"/>
                </a:cxn>
                <a:cxn ang="0">
                  <a:pos x="120" y="47"/>
                </a:cxn>
                <a:cxn ang="0">
                  <a:pos x="109" y="43"/>
                </a:cxn>
                <a:cxn ang="0">
                  <a:pos x="94" y="30"/>
                </a:cxn>
                <a:cxn ang="0">
                  <a:pos x="78" y="19"/>
                </a:cxn>
                <a:cxn ang="0">
                  <a:pos x="66" y="10"/>
                </a:cxn>
                <a:cxn ang="0">
                  <a:pos x="60" y="0"/>
                </a:cxn>
              </a:cxnLst>
              <a:rect l="0" t="0" r="r" b="b"/>
              <a:pathLst>
                <a:path w="166" h="208">
                  <a:moveTo>
                    <a:pt x="60" y="0"/>
                  </a:moveTo>
                  <a:cubicBezTo>
                    <a:pt x="59" y="9"/>
                    <a:pt x="59" y="9"/>
                    <a:pt x="5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53" y="30"/>
                    <a:pt x="49" y="36"/>
                  </a:cubicBezTo>
                  <a:cubicBezTo>
                    <a:pt x="44" y="42"/>
                    <a:pt x="36" y="32"/>
                    <a:pt x="30" y="32"/>
                  </a:cubicBezTo>
                  <a:cubicBezTo>
                    <a:pt x="21" y="32"/>
                    <a:pt x="15" y="40"/>
                    <a:pt x="13" y="43"/>
                  </a:cubicBezTo>
                  <a:cubicBezTo>
                    <a:pt x="9" y="49"/>
                    <a:pt x="19" y="66"/>
                    <a:pt x="15" y="70"/>
                  </a:cubicBezTo>
                  <a:cubicBezTo>
                    <a:pt x="11" y="72"/>
                    <a:pt x="6" y="72"/>
                    <a:pt x="2" y="78"/>
                  </a:cubicBezTo>
                  <a:cubicBezTo>
                    <a:pt x="0" y="83"/>
                    <a:pt x="3" y="108"/>
                    <a:pt x="3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2" y="199"/>
                    <a:pt x="72" y="199"/>
                    <a:pt x="72" y="199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82" y="172"/>
                    <a:pt x="82" y="172"/>
                    <a:pt x="82" y="172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21" y="108"/>
                    <a:pt x="121" y="108"/>
                    <a:pt x="121" y="108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53" y="63"/>
                    <a:pt x="153" y="63"/>
                    <a:pt x="153" y="63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2" name="Freeform 141" descr="© INSCALE GmbH, 05.05.2010&#10;http://www.presentationload.com/">
              <a:extLst>
                <a:ext uri="{FF2B5EF4-FFF2-40B4-BE49-F238E27FC236}">
                  <a16:creationId xmlns:a16="http://schemas.microsoft.com/office/drawing/2014/main" id="{29987B60-09DE-B649-90F9-CD11C7246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6659" y="5147524"/>
              <a:ext cx="519827" cy="585114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3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F3F863CD-0F50-7045-83C7-04713D0C0D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4838" y="5592658"/>
              <a:ext cx="223776" cy="228166"/>
            </a:xfrm>
            <a:custGeom>
              <a:avLst/>
              <a:gdLst/>
              <a:ahLst/>
              <a:cxnLst>
                <a:cxn ang="0">
                  <a:pos x="63" y="40"/>
                </a:cxn>
                <a:cxn ang="0">
                  <a:pos x="65" y="36"/>
                </a:cxn>
                <a:cxn ang="0">
                  <a:pos x="68" y="29"/>
                </a:cxn>
                <a:cxn ang="0">
                  <a:pos x="66" y="24"/>
                </a:cxn>
                <a:cxn ang="0">
                  <a:pos x="61" y="22"/>
                </a:cxn>
                <a:cxn ang="0">
                  <a:pos x="59" y="21"/>
                </a:cxn>
                <a:cxn ang="0">
                  <a:pos x="54" y="19"/>
                </a:cxn>
                <a:cxn ang="0">
                  <a:pos x="51" y="16"/>
                </a:cxn>
                <a:cxn ang="0">
                  <a:pos x="47" y="15"/>
                </a:cxn>
                <a:cxn ang="0">
                  <a:pos x="44" y="11"/>
                </a:cxn>
                <a:cxn ang="0">
                  <a:pos x="39" y="9"/>
                </a:cxn>
                <a:cxn ang="0">
                  <a:pos x="37" y="8"/>
                </a:cxn>
                <a:cxn ang="0">
                  <a:pos x="34" y="7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1" y="1"/>
                </a:cxn>
                <a:cxn ang="0">
                  <a:pos x="27" y="4"/>
                </a:cxn>
                <a:cxn ang="0">
                  <a:pos x="24" y="9"/>
                </a:cxn>
                <a:cxn ang="0">
                  <a:pos x="25" y="15"/>
                </a:cxn>
                <a:cxn ang="0">
                  <a:pos x="22" y="20"/>
                </a:cxn>
                <a:cxn ang="0">
                  <a:pos x="18" y="24"/>
                </a:cxn>
                <a:cxn ang="0">
                  <a:pos x="10" y="24"/>
                </a:cxn>
                <a:cxn ang="0">
                  <a:pos x="6" y="25"/>
                </a:cxn>
                <a:cxn ang="0">
                  <a:pos x="0" y="27"/>
                </a:cxn>
                <a:cxn ang="0">
                  <a:pos x="5" y="37"/>
                </a:cxn>
                <a:cxn ang="0">
                  <a:pos x="12" y="38"/>
                </a:cxn>
                <a:cxn ang="0">
                  <a:pos x="26" y="48"/>
                </a:cxn>
                <a:cxn ang="0">
                  <a:pos x="29" y="69"/>
                </a:cxn>
                <a:cxn ang="0">
                  <a:pos x="35" y="55"/>
                </a:cxn>
                <a:cxn ang="0">
                  <a:pos x="46" y="47"/>
                </a:cxn>
                <a:cxn ang="0">
                  <a:pos x="58" y="43"/>
                </a:cxn>
                <a:cxn ang="0">
                  <a:pos x="63" y="42"/>
                </a:cxn>
              </a:cxnLst>
              <a:rect l="0" t="0" r="r" b="b"/>
              <a:pathLst>
                <a:path w="68" h="69">
                  <a:moveTo>
                    <a:pt x="63" y="42"/>
                  </a:moveTo>
                  <a:cubicBezTo>
                    <a:pt x="63" y="41"/>
                    <a:pt x="63" y="40"/>
                    <a:pt x="63" y="40"/>
                  </a:cubicBezTo>
                  <a:cubicBezTo>
                    <a:pt x="63" y="40"/>
                    <a:pt x="64" y="39"/>
                    <a:pt x="64" y="38"/>
                  </a:cubicBezTo>
                  <a:cubicBezTo>
                    <a:pt x="64" y="38"/>
                    <a:pt x="65" y="36"/>
                    <a:pt x="65" y="3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8" y="30"/>
                    <a:pt x="68" y="29"/>
                  </a:cubicBezTo>
                  <a:cubicBezTo>
                    <a:pt x="68" y="29"/>
                    <a:pt x="67" y="27"/>
                    <a:pt x="67" y="27"/>
                  </a:cubicBezTo>
                  <a:cubicBezTo>
                    <a:pt x="67" y="27"/>
                    <a:pt x="66" y="24"/>
                    <a:pt x="66" y="24"/>
                  </a:cubicBezTo>
                  <a:cubicBezTo>
                    <a:pt x="65" y="23"/>
                    <a:pt x="63" y="23"/>
                    <a:pt x="63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8" y="16"/>
                    <a:pt x="47" y="15"/>
                    <a:pt x="47" y="15"/>
                  </a:cubicBezTo>
                  <a:cubicBezTo>
                    <a:pt x="47" y="15"/>
                    <a:pt x="47" y="12"/>
                    <a:pt x="47" y="12"/>
                  </a:cubicBezTo>
                  <a:cubicBezTo>
                    <a:pt x="46" y="11"/>
                    <a:pt x="44" y="11"/>
                    <a:pt x="44" y="11"/>
                  </a:cubicBezTo>
                  <a:cubicBezTo>
                    <a:pt x="44" y="11"/>
                    <a:pt x="44" y="9"/>
                    <a:pt x="43" y="9"/>
                  </a:cubicBezTo>
                  <a:cubicBezTo>
                    <a:pt x="42" y="9"/>
                    <a:pt x="40" y="10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8" y="8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2" y="6"/>
                    <a:pt x="33" y="5"/>
                    <a:pt x="34" y="4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1" y="1"/>
                  </a:cubicBezTo>
                  <a:cubicBezTo>
                    <a:pt x="31" y="1"/>
                    <a:pt x="30" y="4"/>
                    <a:pt x="30" y="4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8"/>
                    <a:pt x="24" y="9"/>
                  </a:cubicBezTo>
                  <a:cubicBezTo>
                    <a:pt x="25" y="9"/>
                    <a:pt x="25" y="10"/>
                    <a:pt x="26" y="11"/>
                  </a:cubicBezTo>
                  <a:cubicBezTo>
                    <a:pt x="26" y="11"/>
                    <a:pt x="25" y="15"/>
                    <a:pt x="25" y="15"/>
                  </a:cubicBezTo>
                  <a:cubicBezTo>
                    <a:pt x="25" y="15"/>
                    <a:pt x="23" y="17"/>
                    <a:pt x="22" y="18"/>
                  </a:cubicBezTo>
                  <a:cubicBezTo>
                    <a:pt x="21" y="19"/>
                    <a:pt x="22" y="20"/>
                    <a:pt x="22" y="20"/>
                  </a:cubicBezTo>
                  <a:cubicBezTo>
                    <a:pt x="21" y="21"/>
                    <a:pt x="21" y="22"/>
                    <a:pt x="20" y="23"/>
                  </a:cubicBezTo>
                  <a:cubicBezTo>
                    <a:pt x="20" y="23"/>
                    <a:pt x="18" y="24"/>
                    <a:pt x="1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1" y="36"/>
                    <a:pt x="12" y="38"/>
                  </a:cubicBezTo>
                  <a:cubicBezTo>
                    <a:pt x="14" y="40"/>
                    <a:pt x="15" y="45"/>
                    <a:pt x="15" y="45"/>
                  </a:cubicBezTo>
                  <a:cubicBezTo>
                    <a:pt x="15" y="45"/>
                    <a:pt x="23" y="46"/>
                    <a:pt x="26" y="48"/>
                  </a:cubicBezTo>
                  <a:cubicBezTo>
                    <a:pt x="28" y="52"/>
                    <a:pt x="31" y="59"/>
                    <a:pt x="31" y="5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3" y="58"/>
                    <a:pt x="35" y="55"/>
                  </a:cubicBezTo>
                  <a:cubicBezTo>
                    <a:pt x="37" y="51"/>
                    <a:pt x="42" y="51"/>
                    <a:pt x="42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60" y="43"/>
                    <a:pt x="61" y="43"/>
                  </a:cubicBezTo>
                  <a:cubicBezTo>
                    <a:pt x="62" y="42"/>
                    <a:pt x="63" y="42"/>
                    <a:pt x="63" y="4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4" name="Freeform 7" descr="© INSCALE GmbH, 05.05.2010&#10;http://www.presentationload.com/">
              <a:extLst>
                <a:ext uri="{FF2B5EF4-FFF2-40B4-BE49-F238E27FC236}">
                  <a16:creationId xmlns:a16="http://schemas.microsoft.com/office/drawing/2014/main" id="{0F12AA26-9A8C-D243-8FAD-8ACD6B875E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9195" y="4433787"/>
              <a:ext cx="704656" cy="397709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5" name="Freeform 20" descr="© INSCALE GmbH, 05.05.2010&#10;http://www.presentationload.com/">
              <a:extLst>
                <a:ext uri="{FF2B5EF4-FFF2-40B4-BE49-F238E27FC236}">
                  <a16:creationId xmlns:a16="http://schemas.microsoft.com/office/drawing/2014/main" id="{3D2CD66F-2E2B-FD4B-AABE-3E54572497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30918" y="5130191"/>
              <a:ext cx="668349" cy="613892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6" name="Freeform 26" descr="© INSCALE GmbH, 05.05.2010&#10;http://www.presentationload.com/">
              <a:extLst>
                <a:ext uri="{FF2B5EF4-FFF2-40B4-BE49-F238E27FC236}">
                  <a16:creationId xmlns:a16="http://schemas.microsoft.com/office/drawing/2014/main" id="{1F4AD5A9-1CB7-AE4B-A406-F5C0281171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820" y="4623566"/>
              <a:ext cx="587488" cy="310247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7" name="Freeform 27" descr="© INSCALE GmbH, 05.05.2010&#10;http://www.presentationload.com/">
              <a:extLst>
                <a:ext uri="{FF2B5EF4-FFF2-40B4-BE49-F238E27FC236}">
                  <a16:creationId xmlns:a16="http://schemas.microsoft.com/office/drawing/2014/main" id="{46302BA9-37CC-C045-9471-C3C5ECBCD18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410" y="4762187"/>
              <a:ext cx="716207" cy="478571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8" name="Freeform 32" descr="© INSCALE GmbH, 05.05.2010&#10;http://www.presentationload.com/">
              <a:extLst>
                <a:ext uri="{FF2B5EF4-FFF2-40B4-BE49-F238E27FC236}">
                  <a16:creationId xmlns:a16="http://schemas.microsoft.com/office/drawing/2014/main" id="{FDE6B26E-0DA2-C349-99AB-CE70EEC855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5180" y="4712680"/>
              <a:ext cx="1071010" cy="760763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9" name="Freeform 52" descr="© INSCALE GmbH, 05.05.2010&#10;http://www.presentationload.com/">
              <a:extLst>
                <a:ext uri="{FF2B5EF4-FFF2-40B4-BE49-F238E27FC236}">
                  <a16:creationId xmlns:a16="http://schemas.microsoft.com/office/drawing/2014/main" id="{2D7945EE-E5D4-0C4D-BE10-BFAAC73CAF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4022" y="3836397"/>
              <a:ext cx="1029753" cy="849878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0" name="Frank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4F4FCEBA-5739-0943-B838-DE52D460DB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478" y="4395832"/>
              <a:ext cx="1496774" cy="1554533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1" name="Sch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6D2684C6-DB94-E042-8D36-6E707F59D0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88331" y="1638269"/>
              <a:ext cx="872981" cy="2145322"/>
            </a:xfrm>
            <a:custGeom>
              <a:avLst/>
              <a:gdLst/>
              <a:ahLst/>
              <a:cxnLst>
                <a:cxn ang="0">
                  <a:pos x="336" y="111"/>
                </a:cxn>
                <a:cxn ang="0">
                  <a:pos x="305" y="38"/>
                </a:cxn>
                <a:cxn ang="0">
                  <a:pos x="247" y="2"/>
                </a:cxn>
                <a:cxn ang="0">
                  <a:pos x="194" y="36"/>
                </a:cxn>
                <a:cxn ang="0">
                  <a:pos x="136" y="151"/>
                </a:cxn>
                <a:cxn ang="0">
                  <a:pos x="98" y="268"/>
                </a:cxn>
                <a:cxn ang="0">
                  <a:pos x="33" y="410"/>
                </a:cxn>
                <a:cxn ang="0">
                  <a:pos x="41" y="538"/>
                </a:cxn>
                <a:cxn ang="0">
                  <a:pos x="12" y="671"/>
                </a:cxn>
                <a:cxn ang="0">
                  <a:pos x="9" y="707"/>
                </a:cxn>
                <a:cxn ang="0">
                  <a:pos x="18" y="737"/>
                </a:cxn>
                <a:cxn ang="0">
                  <a:pos x="37" y="779"/>
                </a:cxn>
                <a:cxn ang="0">
                  <a:pos x="52" y="826"/>
                </a:cxn>
                <a:cxn ang="0">
                  <a:pos x="64" y="871"/>
                </a:cxn>
                <a:cxn ang="0">
                  <a:pos x="106" y="895"/>
                </a:cxn>
                <a:cxn ang="0">
                  <a:pos x="172" y="847"/>
                </a:cxn>
                <a:cxn ang="0">
                  <a:pos x="197" y="756"/>
                </a:cxn>
                <a:cxn ang="0">
                  <a:pos x="196" y="719"/>
                </a:cxn>
                <a:cxn ang="0">
                  <a:pos x="192" y="677"/>
                </a:cxn>
                <a:cxn ang="0">
                  <a:pos x="226" y="648"/>
                </a:cxn>
                <a:cxn ang="0">
                  <a:pos x="237" y="628"/>
                </a:cxn>
                <a:cxn ang="0">
                  <a:pos x="267" y="592"/>
                </a:cxn>
                <a:cxn ang="0">
                  <a:pos x="216" y="557"/>
                </a:cxn>
                <a:cxn ang="0">
                  <a:pos x="193" y="502"/>
                </a:cxn>
                <a:cxn ang="0">
                  <a:pos x="201" y="450"/>
                </a:cxn>
                <a:cxn ang="0">
                  <a:pos x="207" y="432"/>
                </a:cxn>
                <a:cxn ang="0">
                  <a:pos x="225" y="405"/>
                </a:cxn>
                <a:cxn ang="0">
                  <a:pos x="233" y="375"/>
                </a:cxn>
                <a:cxn ang="0">
                  <a:pos x="262" y="357"/>
                </a:cxn>
                <a:cxn ang="0">
                  <a:pos x="290" y="333"/>
                </a:cxn>
                <a:cxn ang="0">
                  <a:pos x="309" y="283"/>
                </a:cxn>
                <a:cxn ang="0">
                  <a:pos x="307" y="221"/>
                </a:cxn>
                <a:cxn ang="0">
                  <a:pos x="329" y="199"/>
                </a:cxn>
                <a:cxn ang="0">
                  <a:pos x="365" y="195"/>
                </a:cxn>
                <a:cxn ang="0">
                  <a:pos x="14" y="718"/>
                </a:cxn>
                <a:cxn ang="0">
                  <a:pos x="207" y="765"/>
                </a:cxn>
                <a:cxn ang="0">
                  <a:pos x="190" y="816"/>
                </a:cxn>
                <a:cxn ang="0">
                  <a:pos x="208" y="788"/>
                </a:cxn>
                <a:cxn ang="0">
                  <a:pos x="277" y="731"/>
                </a:cxn>
                <a:cxn ang="0">
                  <a:pos x="248" y="746"/>
                </a:cxn>
                <a:cxn ang="0">
                  <a:pos x="253" y="787"/>
                </a:cxn>
                <a:cxn ang="0">
                  <a:pos x="277" y="750"/>
                </a:cxn>
                <a:cxn ang="0">
                  <a:pos x="281" y="712"/>
                </a:cxn>
                <a:cxn ang="0">
                  <a:pos x="281" y="689"/>
                </a:cxn>
                <a:cxn ang="0">
                  <a:pos x="243" y="630"/>
                </a:cxn>
                <a:cxn ang="0">
                  <a:pos x="258" y="630"/>
                </a:cxn>
                <a:cxn ang="0">
                  <a:pos x="247" y="656"/>
                </a:cxn>
                <a:cxn ang="0">
                  <a:pos x="251" y="636"/>
                </a:cxn>
                <a:cxn ang="0">
                  <a:pos x="241" y="554"/>
                </a:cxn>
                <a:cxn ang="0">
                  <a:pos x="256" y="573"/>
                </a:cxn>
                <a:cxn ang="0">
                  <a:pos x="195" y="740"/>
                </a:cxn>
                <a:cxn ang="0">
                  <a:pos x="205" y="485"/>
                </a:cxn>
                <a:cxn ang="0">
                  <a:pos x="214" y="425"/>
                </a:cxn>
                <a:cxn ang="0">
                  <a:pos x="294" y="343"/>
                </a:cxn>
                <a:cxn ang="0">
                  <a:pos x="307" y="241"/>
                </a:cxn>
                <a:cxn ang="0">
                  <a:pos x="312" y="222"/>
                </a:cxn>
                <a:cxn ang="0">
                  <a:pos x="325" y="217"/>
                </a:cxn>
                <a:cxn ang="0">
                  <a:pos x="356" y="200"/>
                </a:cxn>
              </a:cxnLst>
              <a:rect l="0" t="0" r="r" b="b"/>
              <a:pathLst>
                <a:path w="365" h="899">
                  <a:moveTo>
                    <a:pt x="364" y="188"/>
                  </a:moveTo>
                  <a:cubicBezTo>
                    <a:pt x="364" y="188"/>
                    <a:pt x="359" y="186"/>
                    <a:pt x="358" y="182"/>
                  </a:cubicBezTo>
                  <a:cubicBezTo>
                    <a:pt x="357" y="178"/>
                    <a:pt x="358" y="175"/>
                    <a:pt x="356" y="173"/>
                  </a:cubicBezTo>
                  <a:cubicBezTo>
                    <a:pt x="354" y="172"/>
                    <a:pt x="347" y="171"/>
                    <a:pt x="347" y="167"/>
                  </a:cubicBezTo>
                  <a:cubicBezTo>
                    <a:pt x="348" y="161"/>
                    <a:pt x="348" y="160"/>
                    <a:pt x="348" y="160"/>
                  </a:cubicBezTo>
                  <a:cubicBezTo>
                    <a:pt x="348" y="160"/>
                    <a:pt x="343" y="159"/>
                    <a:pt x="345" y="155"/>
                  </a:cubicBezTo>
                  <a:cubicBezTo>
                    <a:pt x="348" y="150"/>
                    <a:pt x="353" y="147"/>
                    <a:pt x="352" y="144"/>
                  </a:cubicBezTo>
                  <a:cubicBezTo>
                    <a:pt x="350" y="140"/>
                    <a:pt x="348" y="136"/>
                    <a:pt x="348" y="136"/>
                  </a:cubicBezTo>
                  <a:cubicBezTo>
                    <a:pt x="348" y="136"/>
                    <a:pt x="349" y="129"/>
                    <a:pt x="347" y="125"/>
                  </a:cubicBezTo>
                  <a:cubicBezTo>
                    <a:pt x="345" y="122"/>
                    <a:pt x="336" y="117"/>
                    <a:pt x="336" y="111"/>
                  </a:cubicBezTo>
                  <a:cubicBezTo>
                    <a:pt x="336" y="106"/>
                    <a:pt x="337" y="104"/>
                    <a:pt x="337" y="104"/>
                  </a:cubicBezTo>
                  <a:cubicBezTo>
                    <a:pt x="340" y="101"/>
                    <a:pt x="340" y="101"/>
                    <a:pt x="340" y="101"/>
                  </a:cubicBezTo>
                  <a:cubicBezTo>
                    <a:pt x="339" y="95"/>
                    <a:pt x="339" y="95"/>
                    <a:pt x="339" y="95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93"/>
                    <a:pt x="330" y="87"/>
                    <a:pt x="328" y="81"/>
                  </a:cubicBezTo>
                  <a:cubicBezTo>
                    <a:pt x="327" y="77"/>
                    <a:pt x="325" y="74"/>
                    <a:pt x="326" y="69"/>
                  </a:cubicBezTo>
                  <a:cubicBezTo>
                    <a:pt x="327" y="65"/>
                    <a:pt x="332" y="65"/>
                    <a:pt x="330" y="62"/>
                  </a:cubicBezTo>
                  <a:cubicBezTo>
                    <a:pt x="328" y="59"/>
                    <a:pt x="319" y="50"/>
                    <a:pt x="319" y="50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53"/>
                    <a:pt x="314" y="43"/>
                    <a:pt x="305" y="38"/>
                  </a:cubicBezTo>
                  <a:cubicBezTo>
                    <a:pt x="295" y="33"/>
                    <a:pt x="282" y="31"/>
                    <a:pt x="282" y="31"/>
                  </a:cubicBezTo>
                  <a:cubicBezTo>
                    <a:pt x="278" y="27"/>
                    <a:pt x="278" y="27"/>
                    <a:pt x="278" y="27"/>
                  </a:cubicBezTo>
                  <a:cubicBezTo>
                    <a:pt x="274" y="27"/>
                    <a:pt x="274" y="27"/>
                    <a:pt x="274" y="27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0" y="5"/>
                    <a:pt x="250" y="5"/>
                    <a:pt x="250" y="5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30" y="2"/>
                    <a:pt x="237" y="11"/>
                    <a:pt x="238" y="17"/>
                  </a:cubicBezTo>
                  <a:cubicBezTo>
                    <a:pt x="239" y="25"/>
                    <a:pt x="231" y="34"/>
                    <a:pt x="231" y="34"/>
                  </a:cubicBezTo>
                  <a:cubicBezTo>
                    <a:pt x="239" y="38"/>
                    <a:pt x="239" y="38"/>
                    <a:pt x="239" y="38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198" y="41"/>
                    <a:pt x="198" y="41"/>
                    <a:pt x="198" y="41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9" y="56"/>
                    <a:pt x="188" y="61"/>
                  </a:cubicBezTo>
                  <a:cubicBezTo>
                    <a:pt x="186" y="66"/>
                    <a:pt x="183" y="77"/>
                    <a:pt x="183" y="77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4"/>
                    <a:pt x="149" y="101"/>
                    <a:pt x="149" y="106"/>
                  </a:cubicBezTo>
                  <a:cubicBezTo>
                    <a:pt x="148" y="111"/>
                    <a:pt x="140" y="109"/>
                    <a:pt x="140" y="109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7" y="127"/>
                    <a:pt x="148" y="135"/>
                  </a:cubicBezTo>
                  <a:cubicBezTo>
                    <a:pt x="150" y="141"/>
                    <a:pt x="144" y="143"/>
                    <a:pt x="136" y="151"/>
                  </a:cubicBezTo>
                  <a:cubicBezTo>
                    <a:pt x="130" y="157"/>
                    <a:pt x="132" y="162"/>
                    <a:pt x="130" y="169"/>
                  </a:cubicBezTo>
                  <a:cubicBezTo>
                    <a:pt x="128" y="175"/>
                    <a:pt x="123" y="176"/>
                    <a:pt x="123" y="176"/>
                  </a:cubicBezTo>
                  <a:cubicBezTo>
                    <a:pt x="126" y="189"/>
                    <a:pt x="126" y="189"/>
                    <a:pt x="126" y="18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00" y="201"/>
                    <a:pt x="100" y="201"/>
                    <a:pt x="100" y="201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03" y="253"/>
                    <a:pt x="103" y="253"/>
                    <a:pt x="103" y="253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79" y="300"/>
                    <a:pt x="79" y="300"/>
                    <a:pt x="79" y="300"/>
                  </a:cubicBezTo>
                  <a:cubicBezTo>
                    <a:pt x="93" y="310"/>
                    <a:pt x="93" y="310"/>
                    <a:pt x="93" y="310"/>
                  </a:cubicBezTo>
                  <a:cubicBezTo>
                    <a:pt x="94" y="325"/>
                    <a:pt x="94" y="325"/>
                    <a:pt x="94" y="325"/>
                  </a:cubicBezTo>
                  <a:cubicBezTo>
                    <a:pt x="89" y="337"/>
                    <a:pt x="89" y="337"/>
                    <a:pt x="89" y="337"/>
                  </a:cubicBezTo>
                  <a:cubicBezTo>
                    <a:pt x="89" y="337"/>
                    <a:pt x="69" y="331"/>
                    <a:pt x="59" y="334"/>
                  </a:cubicBezTo>
                  <a:cubicBezTo>
                    <a:pt x="47" y="337"/>
                    <a:pt x="35" y="365"/>
                    <a:pt x="35" y="365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30" y="385"/>
                    <a:pt x="30" y="385"/>
                    <a:pt x="30" y="385"/>
                  </a:cubicBezTo>
                  <a:cubicBezTo>
                    <a:pt x="37" y="404"/>
                    <a:pt x="37" y="404"/>
                    <a:pt x="37" y="404"/>
                  </a:cubicBezTo>
                  <a:cubicBezTo>
                    <a:pt x="33" y="410"/>
                    <a:pt x="33" y="410"/>
                    <a:pt x="33" y="410"/>
                  </a:cubicBezTo>
                  <a:cubicBezTo>
                    <a:pt x="36" y="421"/>
                    <a:pt x="36" y="421"/>
                    <a:pt x="36" y="421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41" y="452"/>
                    <a:pt x="41" y="452"/>
                    <a:pt x="41" y="452"/>
                  </a:cubicBezTo>
                  <a:cubicBezTo>
                    <a:pt x="35" y="487"/>
                    <a:pt x="35" y="487"/>
                    <a:pt x="35" y="487"/>
                  </a:cubicBezTo>
                  <a:cubicBezTo>
                    <a:pt x="45" y="497"/>
                    <a:pt x="45" y="497"/>
                    <a:pt x="45" y="497"/>
                  </a:cubicBezTo>
                  <a:cubicBezTo>
                    <a:pt x="45" y="497"/>
                    <a:pt x="50" y="500"/>
                    <a:pt x="54" y="503"/>
                  </a:cubicBezTo>
                  <a:cubicBezTo>
                    <a:pt x="58" y="507"/>
                    <a:pt x="59" y="511"/>
                    <a:pt x="55" y="523"/>
                  </a:cubicBezTo>
                  <a:cubicBezTo>
                    <a:pt x="53" y="535"/>
                    <a:pt x="45" y="529"/>
                    <a:pt x="45" y="529"/>
                  </a:cubicBezTo>
                  <a:cubicBezTo>
                    <a:pt x="36" y="532"/>
                    <a:pt x="36" y="532"/>
                    <a:pt x="36" y="532"/>
                  </a:cubicBezTo>
                  <a:cubicBezTo>
                    <a:pt x="41" y="538"/>
                    <a:pt x="41" y="538"/>
                    <a:pt x="41" y="538"/>
                  </a:cubicBezTo>
                  <a:cubicBezTo>
                    <a:pt x="43" y="547"/>
                    <a:pt x="43" y="547"/>
                    <a:pt x="43" y="547"/>
                  </a:cubicBezTo>
                  <a:cubicBezTo>
                    <a:pt x="43" y="547"/>
                    <a:pt x="49" y="561"/>
                    <a:pt x="51" y="568"/>
                  </a:cubicBezTo>
                  <a:cubicBezTo>
                    <a:pt x="54" y="576"/>
                    <a:pt x="46" y="572"/>
                    <a:pt x="45" y="577"/>
                  </a:cubicBezTo>
                  <a:cubicBezTo>
                    <a:pt x="44" y="581"/>
                    <a:pt x="48" y="584"/>
                    <a:pt x="45" y="597"/>
                  </a:cubicBezTo>
                  <a:cubicBezTo>
                    <a:pt x="41" y="609"/>
                    <a:pt x="30" y="603"/>
                    <a:pt x="26" y="607"/>
                  </a:cubicBezTo>
                  <a:cubicBezTo>
                    <a:pt x="21" y="610"/>
                    <a:pt x="28" y="611"/>
                    <a:pt x="27" y="616"/>
                  </a:cubicBezTo>
                  <a:cubicBezTo>
                    <a:pt x="27" y="620"/>
                    <a:pt x="21" y="619"/>
                    <a:pt x="19" y="623"/>
                  </a:cubicBezTo>
                  <a:cubicBezTo>
                    <a:pt x="16" y="625"/>
                    <a:pt x="25" y="643"/>
                    <a:pt x="25" y="643"/>
                  </a:cubicBezTo>
                  <a:cubicBezTo>
                    <a:pt x="25" y="643"/>
                    <a:pt x="21" y="651"/>
                    <a:pt x="19" y="658"/>
                  </a:cubicBezTo>
                  <a:cubicBezTo>
                    <a:pt x="17" y="665"/>
                    <a:pt x="16" y="671"/>
                    <a:pt x="12" y="671"/>
                  </a:cubicBezTo>
                  <a:cubicBezTo>
                    <a:pt x="8" y="671"/>
                    <a:pt x="11" y="662"/>
                    <a:pt x="10" y="657"/>
                  </a:cubicBezTo>
                  <a:cubicBezTo>
                    <a:pt x="9" y="652"/>
                    <a:pt x="1" y="657"/>
                    <a:pt x="1" y="657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0" y="664"/>
                    <a:pt x="3" y="668"/>
                    <a:pt x="3" y="673"/>
                  </a:cubicBezTo>
                  <a:cubicBezTo>
                    <a:pt x="3" y="676"/>
                    <a:pt x="0" y="679"/>
                    <a:pt x="0" y="679"/>
                  </a:cubicBezTo>
                  <a:cubicBezTo>
                    <a:pt x="0" y="679"/>
                    <a:pt x="5" y="693"/>
                    <a:pt x="5" y="696"/>
                  </a:cubicBezTo>
                  <a:cubicBezTo>
                    <a:pt x="5" y="699"/>
                    <a:pt x="1" y="699"/>
                    <a:pt x="1" y="699"/>
                  </a:cubicBezTo>
                  <a:cubicBezTo>
                    <a:pt x="2" y="703"/>
                    <a:pt x="2" y="703"/>
                    <a:pt x="2" y="703"/>
                  </a:cubicBezTo>
                  <a:cubicBezTo>
                    <a:pt x="2" y="703"/>
                    <a:pt x="6" y="700"/>
                    <a:pt x="9" y="702"/>
                  </a:cubicBezTo>
                  <a:cubicBezTo>
                    <a:pt x="10" y="703"/>
                    <a:pt x="9" y="707"/>
                    <a:pt x="9" y="707"/>
                  </a:cubicBezTo>
                  <a:cubicBezTo>
                    <a:pt x="11" y="707"/>
                    <a:pt x="11" y="707"/>
                    <a:pt x="11" y="707"/>
                  </a:cubicBezTo>
                  <a:cubicBezTo>
                    <a:pt x="14" y="697"/>
                    <a:pt x="14" y="697"/>
                    <a:pt x="14" y="697"/>
                  </a:cubicBezTo>
                  <a:cubicBezTo>
                    <a:pt x="17" y="700"/>
                    <a:pt x="17" y="700"/>
                    <a:pt x="17" y="700"/>
                  </a:cubicBezTo>
                  <a:cubicBezTo>
                    <a:pt x="10" y="710"/>
                    <a:pt x="10" y="710"/>
                    <a:pt x="10" y="710"/>
                  </a:cubicBezTo>
                  <a:cubicBezTo>
                    <a:pt x="10" y="712"/>
                    <a:pt x="10" y="712"/>
                    <a:pt x="10" y="712"/>
                  </a:cubicBezTo>
                  <a:cubicBezTo>
                    <a:pt x="25" y="704"/>
                    <a:pt x="25" y="704"/>
                    <a:pt x="25" y="704"/>
                  </a:cubicBezTo>
                  <a:cubicBezTo>
                    <a:pt x="22" y="709"/>
                    <a:pt x="22" y="709"/>
                    <a:pt x="22" y="709"/>
                  </a:cubicBezTo>
                  <a:cubicBezTo>
                    <a:pt x="25" y="713"/>
                    <a:pt x="25" y="713"/>
                    <a:pt x="25" y="713"/>
                  </a:cubicBezTo>
                  <a:cubicBezTo>
                    <a:pt x="21" y="730"/>
                    <a:pt x="21" y="730"/>
                    <a:pt x="21" y="730"/>
                  </a:cubicBezTo>
                  <a:cubicBezTo>
                    <a:pt x="18" y="737"/>
                    <a:pt x="18" y="737"/>
                    <a:pt x="18" y="737"/>
                  </a:cubicBezTo>
                  <a:cubicBezTo>
                    <a:pt x="22" y="741"/>
                    <a:pt x="22" y="741"/>
                    <a:pt x="22" y="741"/>
                  </a:cubicBezTo>
                  <a:cubicBezTo>
                    <a:pt x="17" y="746"/>
                    <a:pt x="17" y="746"/>
                    <a:pt x="17" y="746"/>
                  </a:cubicBezTo>
                  <a:cubicBezTo>
                    <a:pt x="22" y="746"/>
                    <a:pt x="22" y="746"/>
                    <a:pt x="22" y="746"/>
                  </a:cubicBezTo>
                  <a:cubicBezTo>
                    <a:pt x="24" y="746"/>
                    <a:pt x="26" y="754"/>
                    <a:pt x="26" y="757"/>
                  </a:cubicBezTo>
                  <a:cubicBezTo>
                    <a:pt x="26" y="761"/>
                    <a:pt x="27" y="768"/>
                    <a:pt x="29" y="768"/>
                  </a:cubicBezTo>
                  <a:cubicBezTo>
                    <a:pt x="31" y="768"/>
                    <a:pt x="32" y="761"/>
                    <a:pt x="32" y="761"/>
                  </a:cubicBezTo>
                  <a:cubicBezTo>
                    <a:pt x="32" y="770"/>
                    <a:pt x="32" y="770"/>
                    <a:pt x="32" y="770"/>
                  </a:cubicBezTo>
                  <a:cubicBezTo>
                    <a:pt x="34" y="771"/>
                    <a:pt x="34" y="771"/>
                    <a:pt x="34" y="771"/>
                  </a:cubicBezTo>
                  <a:cubicBezTo>
                    <a:pt x="32" y="777"/>
                    <a:pt x="32" y="777"/>
                    <a:pt x="32" y="777"/>
                  </a:cubicBezTo>
                  <a:cubicBezTo>
                    <a:pt x="37" y="779"/>
                    <a:pt x="37" y="779"/>
                    <a:pt x="37" y="779"/>
                  </a:cubicBezTo>
                  <a:cubicBezTo>
                    <a:pt x="37" y="786"/>
                    <a:pt x="37" y="786"/>
                    <a:pt x="37" y="786"/>
                  </a:cubicBezTo>
                  <a:cubicBezTo>
                    <a:pt x="42" y="791"/>
                    <a:pt x="42" y="791"/>
                    <a:pt x="42" y="791"/>
                  </a:cubicBezTo>
                  <a:cubicBezTo>
                    <a:pt x="42" y="796"/>
                    <a:pt x="42" y="796"/>
                    <a:pt x="42" y="796"/>
                  </a:cubicBezTo>
                  <a:cubicBezTo>
                    <a:pt x="48" y="804"/>
                    <a:pt x="48" y="804"/>
                    <a:pt x="48" y="804"/>
                  </a:cubicBezTo>
                  <a:cubicBezTo>
                    <a:pt x="50" y="803"/>
                    <a:pt x="50" y="803"/>
                    <a:pt x="50" y="803"/>
                  </a:cubicBezTo>
                  <a:cubicBezTo>
                    <a:pt x="50" y="803"/>
                    <a:pt x="52" y="815"/>
                    <a:pt x="55" y="816"/>
                  </a:cubicBezTo>
                  <a:cubicBezTo>
                    <a:pt x="60" y="818"/>
                    <a:pt x="61" y="814"/>
                    <a:pt x="61" y="814"/>
                  </a:cubicBezTo>
                  <a:cubicBezTo>
                    <a:pt x="61" y="814"/>
                    <a:pt x="64" y="822"/>
                    <a:pt x="64" y="825"/>
                  </a:cubicBezTo>
                  <a:cubicBezTo>
                    <a:pt x="64" y="829"/>
                    <a:pt x="58" y="828"/>
                    <a:pt x="58" y="828"/>
                  </a:cubicBezTo>
                  <a:cubicBezTo>
                    <a:pt x="58" y="828"/>
                    <a:pt x="57" y="823"/>
                    <a:pt x="52" y="826"/>
                  </a:cubicBezTo>
                  <a:cubicBezTo>
                    <a:pt x="48" y="830"/>
                    <a:pt x="58" y="834"/>
                    <a:pt x="58" y="834"/>
                  </a:cubicBezTo>
                  <a:cubicBezTo>
                    <a:pt x="58" y="834"/>
                    <a:pt x="61" y="839"/>
                    <a:pt x="59" y="841"/>
                  </a:cubicBezTo>
                  <a:cubicBezTo>
                    <a:pt x="55" y="844"/>
                    <a:pt x="51" y="838"/>
                    <a:pt x="49" y="837"/>
                  </a:cubicBezTo>
                  <a:cubicBezTo>
                    <a:pt x="47" y="835"/>
                    <a:pt x="44" y="835"/>
                    <a:pt x="43" y="836"/>
                  </a:cubicBezTo>
                  <a:cubicBezTo>
                    <a:pt x="42" y="837"/>
                    <a:pt x="47" y="839"/>
                    <a:pt x="47" y="839"/>
                  </a:cubicBezTo>
                  <a:cubicBezTo>
                    <a:pt x="48" y="844"/>
                    <a:pt x="48" y="844"/>
                    <a:pt x="48" y="844"/>
                  </a:cubicBezTo>
                  <a:cubicBezTo>
                    <a:pt x="48" y="844"/>
                    <a:pt x="54" y="852"/>
                    <a:pt x="58" y="856"/>
                  </a:cubicBezTo>
                  <a:cubicBezTo>
                    <a:pt x="61" y="861"/>
                    <a:pt x="61" y="865"/>
                    <a:pt x="61" y="865"/>
                  </a:cubicBezTo>
                  <a:cubicBezTo>
                    <a:pt x="65" y="866"/>
                    <a:pt x="65" y="866"/>
                    <a:pt x="65" y="866"/>
                  </a:cubicBezTo>
                  <a:cubicBezTo>
                    <a:pt x="64" y="871"/>
                    <a:pt x="64" y="871"/>
                    <a:pt x="64" y="871"/>
                  </a:cubicBezTo>
                  <a:cubicBezTo>
                    <a:pt x="64" y="871"/>
                    <a:pt x="67" y="871"/>
                    <a:pt x="69" y="877"/>
                  </a:cubicBezTo>
                  <a:cubicBezTo>
                    <a:pt x="71" y="881"/>
                    <a:pt x="64" y="882"/>
                    <a:pt x="64" y="882"/>
                  </a:cubicBezTo>
                  <a:cubicBezTo>
                    <a:pt x="64" y="888"/>
                    <a:pt x="64" y="888"/>
                    <a:pt x="64" y="888"/>
                  </a:cubicBezTo>
                  <a:cubicBezTo>
                    <a:pt x="64" y="888"/>
                    <a:pt x="67" y="891"/>
                    <a:pt x="66" y="894"/>
                  </a:cubicBezTo>
                  <a:cubicBezTo>
                    <a:pt x="65" y="896"/>
                    <a:pt x="62" y="893"/>
                    <a:pt x="62" y="893"/>
                  </a:cubicBezTo>
                  <a:cubicBezTo>
                    <a:pt x="61" y="897"/>
                    <a:pt x="61" y="897"/>
                    <a:pt x="61" y="897"/>
                  </a:cubicBezTo>
                  <a:cubicBezTo>
                    <a:pt x="65" y="896"/>
                    <a:pt x="65" y="896"/>
                    <a:pt x="65" y="896"/>
                  </a:cubicBezTo>
                  <a:cubicBezTo>
                    <a:pt x="65" y="896"/>
                    <a:pt x="78" y="899"/>
                    <a:pt x="82" y="899"/>
                  </a:cubicBezTo>
                  <a:cubicBezTo>
                    <a:pt x="85" y="899"/>
                    <a:pt x="91" y="895"/>
                    <a:pt x="97" y="893"/>
                  </a:cubicBezTo>
                  <a:cubicBezTo>
                    <a:pt x="103" y="891"/>
                    <a:pt x="106" y="895"/>
                    <a:pt x="106" y="895"/>
                  </a:cubicBezTo>
                  <a:cubicBezTo>
                    <a:pt x="112" y="894"/>
                    <a:pt x="112" y="894"/>
                    <a:pt x="112" y="894"/>
                  </a:cubicBezTo>
                  <a:cubicBezTo>
                    <a:pt x="112" y="894"/>
                    <a:pt x="117" y="885"/>
                    <a:pt x="118" y="880"/>
                  </a:cubicBezTo>
                  <a:cubicBezTo>
                    <a:pt x="119" y="876"/>
                    <a:pt x="111" y="875"/>
                    <a:pt x="111" y="869"/>
                  </a:cubicBezTo>
                  <a:cubicBezTo>
                    <a:pt x="111" y="865"/>
                    <a:pt x="118" y="854"/>
                    <a:pt x="120" y="852"/>
                  </a:cubicBezTo>
                  <a:cubicBezTo>
                    <a:pt x="123" y="851"/>
                    <a:pt x="129" y="855"/>
                    <a:pt x="131" y="854"/>
                  </a:cubicBezTo>
                  <a:cubicBezTo>
                    <a:pt x="133" y="852"/>
                    <a:pt x="129" y="844"/>
                    <a:pt x="129" y="844"/>
                  </a:cubicBezTo>
                  <a:cubicBezTo>
                    <a:pt x="147" y="842"/>
                    <a:pt x="147" y="842"/>
                    <a:pt x="147" y="842"/>
                  </a:cubicBezTo>
                  <a:cubicBezTo>
                    <a:pt x="155" y="844"/>
                    <a:pt x="155" y="844"/>
                    <a:pt x="155" y="844"/>
                  </a:cubicBezTo>
                  <a:cubicBezTo>
                    <a:pt x="161" y="839"/>
                    <a:pt x="161" y="839"/>
                    <a:pt x="161" y="839"/>
                  </a:cubicBezTo>
                  <a:cubicBezTo>
                    <a:pt x="172" y="847"/>
                    <a:pt x="172" y="847"/>
                    <a:pt x="172" y="847"/>
                  </a:cubicBezTo>
                  <a:cubicBezTo>
                    <a:pt x="172" y="847"/>
                    <a:pt x="176" y="838"/>
                    <a:pt x="178" y="837"/>
                  </a:cubicBezTo>
                  <a:cubicBezTo>
                    <a:pt x="179" y="835"/>
                    <a:pt x="181" y="820"/>
                    <a:pt x="181" y="820"/>
                  </a:cubicBezTo>
                  <a:cubicBezTo>
                    <a:pt x="184" y="810"/>
                    <a:pt x="184" y="810"/>
                    <a:pt x="184" y="810"/>
                  </a:cubicBezTo>
                  <a:cubicBezTo>
                    <a:pt x="188" y="807"/>
                    <a:pt x="188" y="807"/>
                    <a:pt x="188" y="807"/>
                  </a:cubicBezTo>
                  <a:cubicBezTo>
                    <a:pt x="192" y="791"/>
                    <a:pt x="192" y="791"/>
                    <a:pt x="192" y="791"/>
                  </a:cubicBezTo>
                  <a:cubicBezTo>
                    <a:pt x="190" y="785"/>
                    <a:pt x="190" y="785"/>
                    <a:pt x="190" y="785"/>
                  </a:cubicBezTo>
                  <a:cubicBezTo>
                    <a:pt x="190" y="785"/>
                    <a:pt x="193" y="784"/>
                    <a:pt x="194" y="781"/>
                  </a:cubicBezTo>
                  <a:cubicBezTo>
                    <a:pt x="195" y="777"/>
                    <a:pt x="191" y="775"/>
                    <a:pt x="191" y="775"/>
                  </a:cubicBezTo>
                  <a:cubicBezTo>
                    <a:pt x="192" y="761"/>
                    <a:pt x="192" y="761"/>
                    <a:pt x="192" y="761"/>
                  </a:cubicBezTo>
                  <a:cubicBezTo>
                    <a:pt x="192" y="761"/>
                    <a:pt x="195" y="762"/>
                    <a:pt x="197" y="756"/>
                  </a:cubicBezTo>
                  <a:cubicBezTo>
                    <a:pt x="200" y="751"/>
                    <a:pt x="191" y="746"/>
                    <a:pt x="191" y="746"/>
                  </a:cubicBezTo>
                  <a:cubicBezTo>
                    <a:pt x="193" y="744"/>
                    <a:pt x="193" y="744"/>
                    <a:pt x="193" y="744"/>
                  </a:cubicBezTo>
                  <a:cubicBezTo>
                    <a:pt x="194" y="735"/>
                    <a:pt x="194" y="735"/>
                    <a:pt x="194" y="735"/>
                  </a:cubicBezTo>
                  <a:cubicBezTo>
                    <a:pt x="192" y="728"/>
                    <a:pt x="192" y="728"/>
                    <a:pt x="192" y="728"/>
                  </a:cubicBezTo>
                  <a:cubicBezTo>
                    <a:pt x="188" y="728"/>
                    <a:pt x="188" y="728"/>
                    <a:pt x="188" y="728"/>
                  </a:cubicBezTo>
                  <a:cubicBezTo>
                    <a:pt x="188" y="728"/>
                    <a:pt x="188" y="726"/>
                    <a:pt x="191" y="725"/>
                  </a:cubicBezTo>
                  <a:cubicBezTo>
                    <a:pt x="195" y="725"/>
                    <a:pt x="198" y="728"/>
                    <a:pt x="198" y="728"/>
                  </a:cubicBezTo>
                  <a:cubicBezTo>
                    <a:pt x="197" y="722"/>
                    <a:pt x="197" y="722"/>
                    <a:pt x="197" y="722"/>
                  </a:cubicBezTo>
                  <a:cubicBezTo>
                    <a:pt x="193" y="720"/>
                    <a:pt x="193" y="720"/>
                    <a:pt x="193" y="720"/>
                  </a:cubicBezTo>
                  <a:cubicBezTo>
                    <a:pt x="196" y="719"/>
                    <a:pt x="196" y="719"/>
                    <a:pt x="196" y="719"/>
                  </a:cubicBezTo>
                  <a:cubicBezTo>
                    <a:pt x="196" y="719"/>
                    <a:pt x="196" y="711"/>
                    <a:pt x="198" y="707"/>
                  </a:cubicBezTo>
                  <a:cubicBezTo>
                    <a:pt x="201" y="703"/>
                    <a:pt x="192" y="698"/>
                    <a:pt x="192" y="698"/>
                  </a:cubicBezTo>
                  <a:cubicBezTo>
                    <a:pt x="195" y="697"/>
                    <a:pt x="195" y="697"/>
                    <a:pt x="195" y="697"/>
                  </a:cubicBezTo>
                  <a:cubicBezTo>
                    <a:pt x="192" y="692"/>
                    <a:pt x="192" y="692"/>
                    <a:pt x="192" y="692"/>
                  </a:cubicBezTo>
                  <a:cubicBezTo>
                    <a:pt x="192" y="692"/>
                    <a:pt x="198" y="694"/>
                    <a:pt x="201" y="687"/>
                  </a:cubicBezTo>
                  <a:cubicBezTo>
                    <a:pt x="204" y="679"/>
                    <a:pt x="183" y="679"/>
                    <a:pt x="183" y="679"/>
                  </a:cubicBezTo>
                  <a:cubicBezTo>
                    <a:pt x="182" y="682"/>
                    <a:pt x="182" y="682"/>
                    <a:pt x="182" y="682"/>
                  </a:cubicBezTo>
                  <a:cubicBezTo>
                    <a:pt x="176" y="681"/>
                    <a:pt x="176" y="681"/>
                    <a:pt x="176" y="681"/>
                  </a:cubicBezTo>
                  <a:cubicBezTo>
                    <a:pt x="176" y="677"/>
                    <a:pt x="176" y="677"/>
                    <a:pt x="176" y="677"/>
                  </a:cubicBezTo>
                  <a:cubicBezTo>
                    <a:pt x="192" y="677"/>
                    <a:pt x="192" y="677"/>
                    <a:pt x="192" y="677"/>
                  </a:cubicBezTo>
                  <a:cubicBezTo>
                    <a:pt x="195" y="677"/>
                    <a:pt x="201" y="680"/>
                    <a:pt x="201" y="680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2" y="668"/>
                    <a:pt x="202" y="668"/>
                    <a:pt x="202" y="668"/>
                  </a:cubicBezTo>
                  <a:cubicBezTo>
                    <a:pt x="208" y="672"/>
                    <a:pt x="208" y="672"/>
                    <a:pt x="208" y="672"/>
                  </a:cubicBezTo>
                  <a:cubicBezTo>
                    <a:pt x="208" y="672"/>
                    <a:pt x="212" y="671"/>
                    <a:pt x="213" y="671"/>
                  </a:cubicBezTo>
                  <a:cubicBezTo>
                    <a:pt x="214" y="671"/>
                    <a:pt x="218" y="666"/>
                    <a:pt x="218" y="666"/>
                  </a:cubicBezTo>
                  <a:cubicBezTo>
                    <a:pt x="218" y="661"/>
                    <a:pt x="218" y="661"/>
                    <a:pt x="218" y="661"/>
                  </a:cubicBezTo>
                  <a:cubicBezTo>
                    <a:pt x="222" y="662"/>
                    <a:pt x="222" y="662"/>
                    <a:pt x="222" y="662"/>
                  </a:cubicBezTo>
                  <a:cubicBezTo>
                    <a:pt x="223" y="647"/>
                    <a:pt x="223" y="647"/>
                    <a:pt x="223" y="647"/>
                  </a:cubicBezTo>
                  <a:cubicBezTo>
                    <a:pt x="226" y="648"/>
                    <a:pt x="226" y="648"/>
                    <a:pt x="226" y="648"/>
                  </a:cubicBezTo>
                  <a:cubicBezTo>
                    <a:pt x="228" y="658"/>
                    <a:pt x="228" y="658"/>
                    <a:pt x="228" y="658"/>
                  </a:cubicBezTo>
                  <a:cubicBezTo>
                    <a:pt x="235" y="659"/>
                    <a:pt x="235" y="659"/>
                    <a:pt x="235" y="659"/>
                  </a:cubicBezTo>
                  <a:cubicBezTo>
                    <a:pt x="237" y="649"/>
                    <a:pt x="237" y="649"/>
                    <a:pt x="237" y="649"/>
                  </a:cubicBezTo>
                  <a:cubicBezTo>
                    <a:pt x="237" y="649"/>
                    <a:pt x="239" y="649"/>
                    <a:pt x="241" y="648"/>
                  </a:cubicBezTo>
                  <a:cubicBezTo>
                    <a:pt x="242" y="647"/>
                    <a:pt x="242" y="643"/>
                    <a:pt x="242" y="643"/>
                  </a:cubicBezTo>
                  <a:cubicBezTo>
                    <a:pt x="246" y="642"/>
                    <a:pt x="246" y="642"/>
                    <a:pt x="246" y="642"/>
                  </a:cubicBezTo>
                  <a:cubicBezTo>
                    <a:pt x="248" y="640"/>
                    <a:pt x="248" y="640"/>
                    <a:pt x="248" y="640"/>
                  </a:cubicBezTo>
                  <a:cubicBezTo>
                    <a:pt x="245" y="639"/>
                    <a:pt x="245" y="639"/>
                    <a:pt x="245" y="639"/>
                  </a:cubicBezTo>
                  <a:cubicBezTo>
                    <a:pt x="243" y="633"/>
                    <a:pt x="243" y="633"/>
                    <a:pt x="243" y="633"/>
                  </a:cubicBezTo>
                  <a:cubicBezTo>
                    <a:pt x="237" y="628"/>
                    <a:pt x="237" y="628"/>
                    <a:pt x="237" y="628"/>
                  </a:cubicBezTo>
                  <a:cubicBezTo>
                    <a:pt x="239" y="625"/>
                    <a:pt x="239" y="625"/>
                    <a:pt x="239" y="625"/>
                  </a:cubicBezTo>
                  <a:cubicBezTo>
                    <a:pt x="244" y="625"/>
                    <a:pt x="244" y="625"/>
                    <a:pt x="244" y="625"/>
                  </a:cubicBezTo>
                  <a:cubicBezTo>
                    <a:pt x="258" y="610"/>
                    <a:pt x="258" y="610"/>
                    <a:pt x="258" y="610"/>
                  </a:cubicBezTo>
                  <a:cubicBezTo>
                    <a:pt x="258" y="607"/>
                    <a:pt x="258" y="607"/>
                    <a:pt x="258" y="607"/>
                  </a:cubicBezTo>
                  <a:cubicBezTo>
                    <a:pt x="266" y="601"/>
                    <a:pt x="266" y="601"/>
                    <a:pt x="266" y="601"/>
                  </a:cubicBezTo>
                  <a:cubicBezTo>
                    <a:pt x="267" y="600"/>
                    <a:pt x="267" y="600"/>
                    <a:pt x="267" y="600"/>
                  </a:cubicBezTo>
                  <a:cubicBezTo>
                    <a:pt x="259" y="600"/>
                    <a:pt x="259" y="600"/>
                    <a:pt x="259" y="600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67" y="592"/>
                    <a:pt x="267" y="592"/>
                    <a:pt x="267" y="592"/>
                  </a:cubicBezTo>
                  <a:cubicBezTo>
                    <a:pt x="261" y="588"/>
                    <a:pt x="261" y="588"/>
                    <a:pt x="261" y="588"/>
                  </a:cubicBezTo>
                  <a:cubicBezTo>
                    <a:pt x="256" y="578"/>
                    <a:pt x="256" y="578"/>
                    <a:pt x="256" y="578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5" y="578"/>
                    <a:pt x="242" y="570"/>
                    <a:pt x="242" y="570"/>
                  </a:cubicBezTo>
                  <a:cubicBezTo>
                    <a:pt x="242" y="566"/>
                    <a:pt x="242" y="566"/>
                    <a:pt x="242" y="566"/>
                  </a:cubicBezTo>
                  <a:cubicBezTo>
                    <a:pt x="241" y="564"/>
                    <a:pt x="241" y="564"/>
                    <a:pt x="241" y="564"/>
                  </a:cubicBezTo>
                  <a:cubicBezTo>
                    <a:pt x="237" y="565"/>
                    <a:pt x="237" y="565"/>
                    <a:pt x="237" y="565"/>
                  </a:cubicBezTo>
                  <a:cubicBezTo>
                    <a:pt x="227" y="554"/>
                    <a:pt x="227" y="554"/>
                    <a:pt x="227" y="554"/>
                  </a:cubicBezTo>
                  <a:cubicBezTo>
                    <a:pt x="227" y="554"/>
                    <a:pt x="228" y="550"/>
                    <a:pt x="225" y="549"/>
                  </a:cubicBezTo>
                  <a:cubicBezTo>
                    <a:pt x="221" y="548"/>
                    <a:pt x="216" y="557"/>
                    <a:pt x="216" y="557"/>
                  </a:cubicBezTo>
                  <a:cubicBezTo>
                    <a:pt x="213" y="552"/>
                    <a:pt x="213" y="552"/>
                    <a:pt x="213" y="552"/>
                  </a:cubicBezTo>
                  <a:cubicBezTo>
                    <a:pt x="213" y="552"/>
                    <a:pt x="215" y="550"/>
                    <a:pt x="213" y="548"/>
                  </a:cubicBezTo>
                  <a:cubicBezTo>
                    <a:pt x="210" y="546"/>
                    <a:pt x="198" y="548"/>
                    <a:pt x="198" y="548"/>
                  </a:cubicBezTo>
                  <a:cubicBezTo>
                    <a:pt x="205" y="541"/>
                    <a:pt x="205" y="541"/>
                    <a:pt x="205" y="541"/>
                  </a:cubicBezTo>
                  <a:cubicBezTo>
                    <a:pt x="200" y="534"/>
                    <a:pt x="200" y="534"/>
                    <a:pt x="200" y="534"/>
                  </a:cubicBezTo>
                  <a:cubicBezTo>
                    <a:pt x="196" y="533"/>
                    <a:pt x="196" y="533"/>
                    <a:pt x="196" y="533"/>
                  </a:cubicBezTo>
                  <a:cubicBezTo>
                    <a:pt x="198" y="525"/>
                    <a:pt x="198" y="525"/>
                    <a:pt x="198" y="525"/>
                  </a:cubicBezTo>
                  <a:cubicBezTo>
                    <a:pt x="196" y="515"/>
                    <a:pt x="196" y="515"/>
                    <a:pt x="196" y="515"/>
                  </a:cubicBezTo>
                  <a:cubicBezTo>
                    <a:pt x="196" y="515"/>
                    <a:pt x="198" y="509"/>
                    <a:pt x="198" y="506"/>
                  </a:cubicBezTo>
                  <a:cubicBezTo>
                    <a:pt x="198" y="504"/>
                    <a:pt x="193" y="502"/>
                    <a:pt x="193" y="502"/>
                  </a:cubicBezTo>
                  <a:cubicBezTo>
                    <a:pt x="195" y="491"/>
                    <a:pt x="195" y="491"/>
                    <a:pt x="195" y="491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6" y="488"/>
                    <a:pt x="196" y="488"/>
                    <a:pt x="196" y="488"/>
                  </a:cubicBezTo>
                  <a:cubicBezTo>
                    <a:pt x="192" y="479"/>
                    <a:pt x="192" y="479"/>
                    <a:pt x="192" y="479"/>
                  </a:cubicBezTo>
                  <a:cubicBezTo>
                    <a:pt x="198" y="483"/>
                    <a:pt x="198" y="483"/>
                    <a:pt x="198" y="483"/>
                  </a:cubicBezTo>
                  <a:cubicBezTo>
                    <a:pt x="201" y="479"/>
                    <a:pt x="201" y="479"/>
                    <a:pt x="201" y="479"/>
                  </a:cubicBezTo>
                  <a:cubicBezTo>
                    <a:pt x="201" y="479"/>
                    <a:pt x="200" y="475"/>
                    <a:pt x="198" y="473"/>
                  </a:cubicBezTo>
                  <a:cubicBezTo>
                    <a:pt x="195" y="472"/>
                    <a:pt x="197" y="464"/>
                    <a:pt x="197" y="464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201" y="450"/>
                    <a:pt x="201" y="450"/>
                    <a:pt x="201" y="450"/>
                  </a:cubicBezTo>
                  <a:cubicBezTo>
                    <a:pt x="206" y="448"/>
                    <a:pt x="206" y="448"/>
                    <a:pt x="206" y="448"/>
                  </a:cubicBezTo>
                  <a:cubicBezTo>
                    <a:pt x="206" y="445"/>
                    <a:pt x="206" y="445"/>
                    <a:pt x="206" y="445"/>
                  </a:cubicBezTo>
                  <a:cubicBezTo>
                    <a:pt x="200" y="445"/>
                    <a:pt x="200" y="445"/>
                    <a:pt x="200" y="445"/>
                  </a:cubicBezTo>
                  <a:cubicBezTo>
                    <a:pt x="199" y="441"/>
                    <a:pt x="199" y="441"/>
                    <a:pt x="199" y="441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196" y="432"/>
                    <a:pt x="196" y="432"/>
                    <a:pt x="196" y="432"/>
                  </a:cubicBezTo>
                  <a:cubicBezTo>
                    <a:pt x="194" y="430"/>
                    <a:pt x="194" y="430"/>
                    <a:pt x="194" y="430"/>
                  </a:cubicBezTo>
                  <a:cubicBezTo>
                    <a:pt x="199" y="428"/>
                    <a:pt x="199" y="428"/>
                    <a:pt x="199" y="428"/>
                  </a:cubicBezTo>
                  <a:cubicBezTo>
                    <a:pt x="202" y="434"/>
                    <a:pt x="202" y="434"/>
                    <a:pt x="202" y="434"/>
                  </a:cubicBezTo>
                  <a:cubicBezTo>
                    <a:pt x="207" y="432"/>
                    <a:pt x="207" y="432"/>
                    <a:pt x="207" y="432"/>
                  </a:cubicBezTo>
                  <a:cubicBezTo>
                    <a:pt x="205" y="430"/>
                    <a:pt x="205" y="430"/>
                    <a:pt x="205" y="430"/>
                  </a:cubicBezTo>
                  <a:cubicBezTo>
                    <a:pt x="207" y="427"/>
                    <a:pt x="207" y="427"/>
                    <a:pt x="207" y="427"/>
                  </a:cubicBezTo>
                  <a:cubicBezTo>
                    <a:pt x="207" y="427"/>
                    <a:pt x="212" y="427"/>
                    <a:pt x="212" y="425"/>
                  </a:cubicBezTo>
                  <a:cubicBezTo>
                    <a:pt x="212" y="418"/>
                    <a:pt x="212" y="418"/>
                    <a:pt x="212" y="418"/>
                  </a:cubicBezTo>
                  <a:cubicBezTo>
                    <a:pt x="213" y="414"/>
                    <a:pt x="213" y="414"/>
                    <a:pt x="213" y="414"/>
                  </a:cubicBezTo>
                  <a:cubicBezTo>
                    <a:pt x="213" y="414"/>
                    <a:pt x="211" y="408"/>
                    <a:pt x="213" y="408"/>
                  </a:cubicBezTo>
                  <a:cubicBezTo>
                    <a:pt x="215" y="407"/>
                    <a:pt x="216" y="410"/>
                    <a:pt x="216" y="410"/>
                  </a:cubicBezTo>
                  <a:cubicBezTo>
                    <a:pt x="221" y="407"/>
                    <a:pt x="221" y="407"/>
                    <a:pt x="221" y="407"/>
                  </a:cubicBezTo>
                  <a:cubicBezTo>
                    <a:pt x="221" y="407"/>
                    <a:pt x="218" y="403"/>
                    <a:pt x="221" y="401"/>
                  </a:cubicBezTo>
                  <a:cubicBezTo>
                    <a:pt x="222" y="400"/>
                    <a:pt x="225" y="405"/>
                    <a:pt x="225" y="405"/>
                  </a:cubicBezTo>
                  <a:cubicBezTo>
                    <a:pt x="229" y="399"/>
                    <a:pt x="229" y="399"/>
                    <a:pt x="229" y="399"/>
                  </a:cubicBezTo>
                  <a:cubicBezTo>
                    <a:pt x="225" y="397"/>
                    <a:pt x="225" y="397"/>
                    <a:pt x="225" y="397"/>
                  </a:cubicBezTo>
                  <a:cubicBezTo>
                    <a:pt x="228" y="396"/>
                    <a:pt x="228" y="396"/>
                    <a:pt x="228" y="396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22" y="395"/>
                    <a:pt x="222" y="395"/>
                    <a:pt x="222" y="395"/>
                  </a:cubicBezTo>
                  <a:cubicBezTo>
                    <a:pt x="226" y="392"/>
                    <a:pt x="226" y="392"/>
                    <a:pt x="226" y="392"/>
                  </a:cubicBezTo>
                  <a:cubicBezTo>
                    <a:pt x="231" y="380"/>
                    <a:pt x="231" y="380"/>
                    <a:pt x="231" y="380"/>
                  </a:cubicBezTo>
                  <a:cubicBezTo>
                    <a:pt x="234" y="380"/>
                    <a:pt x="234" y="380"/>
                    <a:pt x="234" y="380"/>
                  </a:cubicBezTo>
                  <a:cubicBezTo>
                    <a:pt x="239" y="377"/>
                    <a:pt x="239" y="377"/>
                    <a:pt x="239" y="377"/>
                  </a:cubicBezTo>
                  <a:cubicBezTo>
                    <a:pt x="233" y="375"/>
                    <a:pt x="233" y="375"/>
                    <a:pt x="233" y="375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43" y="378"/>
                    <a:pt x="243" y="378"/>
                    <a:pt x="243" y="378"/>
                  </a:cubicBezTo>
                  <a:cubicBezTo>
                    <a:pt x="243" y="378"/>
                    <a:pt x="244" y="374"/>
                    <a:pt x="246" y="371"/>
                  </a:cubicBezTo>
                  <a:cubicBezTo>
                    <a:pt x="248" y="368"/>
                    <a:pt x="249" y="361"/>
                    <a:pt x="249" y="361"/>
                  </a:cubicBezTo>
                  <a:cubicBezTo>
                    <a:pt x="249" y="361"/>
                    <a:pt x="251" y="362"/>
                    <a:pt x="254" y="360"/>
                  </a:cubicBezTo>
                  <a:cubicBezTo>
                    <a:pt x="256" y="359"/>
                    <a:pt x="255" y="353"/>
                    <a:pt x="255" y="35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61" y="363"/>
                    <a:pt x="261" y="363"/>
                    <a:pt x="261" y="363"/>
                  </a:cubicBezTo>
                  <a:cubicBezTo>
                    <a:pt x="263" y="361"/>
                    <a:pt x="263" y="361"/>
                    <a:pt x="263" y="361"/>
                  </a:cubicBezTo>
                  <a:cubicBezTo>
                    <a:pt x="262" y="357"/>
                    <a:pt x="262" y="357"/>
                    <a:pt x="262" y="357"/>
                  </a:cubicBezTo>
                  <a:cubicBezTo>
                    <a:pt x="270" y="348"/>
                    <a:pt x="270" y="348"/>
                    <a:pt x="270" y="34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8" y="344"/>
                    <a:pt x="278" y="344"/>
                    <a:pt x="278" y="344"/>
                  </a:cubicBezTo>
                  <a:cubicBezTo>
                    <a:pt x="278" y="340"/>
                    <a:pt x="278" y="340"/>
                    <a:pt x="278" y="340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1" y="334"/>
                    <a:pt x="281" y="334"/>
                    <a:pt x="281" y="334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0" y="333"/>
                    <a:pt x="290" y="333"/>
                    <a:pt x="290" y="333"/>
                  </a:cubicBezTo>
                  <a:cubicBezTo>
                    <a:pt x="290" y="333"/>
                    <a:pt x="293" y="325"/>
                    <a:pt x="294" y="321"/>
                  </a:cubicBezTo>
                  <a:cubicBezTo>
                    <a:pt x="295" y="318"/>
                    <a:pt x="293" y="313"/>
                    <a:pt x="293" y="313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9" y="302"/>
                    <a:pt x="299" y="302"/>
                    <a:pt x="299" y="3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06" y="288"/>
                    <a:pt x="306" y="288"/>
                    <a:pt x="306" y="288"/>
                  </a:cubicBezTo>
                  <a:cubicBezTo>
                    <a:pt x="304" y="286"/>
                    <a:pt x="304" y="286"/>
                    <a:pt x="304" y="286"/>
                  </a:cubicBezTo>
                  <a:cubicBezTo>
                    <a:pt x="308" y="285"/>
                    <a:pt x="308" y="285"/>
                    <a:pt x="308" y="285"/>
                  </a:cubicBezTo>
                  <a:cubicBezTo>
                    <a:pt x="309" y="283"/>
                    <a:pt x="309" y="283"/>
                    <a:pt x="309" y="283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295" y="277"/>
                    <a:pt x="295" y="277"/>
                    <a:pt x="295" y="277"/>
                  </a:cubicBezTo>
                  <a:cubicBezTo>
                    <a:pt x="298" y="269"/>
                    <a:pt x="298" y="269"/>
                    <a:pt x="298" y="269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98" y="259"/>
                    <a:pt x="298" y="259"/>
                    <a:pt x="298" y="259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3" y="246"/>
                    <a:pt x="293" y="238"/>
                    <a:pt x="295" y="234"/>
                  </a:cubicBezTo>
                  <a:cubicBezTo>
                    <a:pt x="296" y="230"/>
                    <a:pt x="304" y="231"/>
                    <a:pt x="309" y="229"/>
                  </a:cubicBezTo>
                  <a:cubicBezTo>
                    <a:pt x="315" y="226"/>
                    <a:pt x="307" y="221"/>
                    <a:pt x="307" y="221"/>
                  </a:cubicBezTo>
                  <a:cubicBezTo>
                    <a:pt x="313" y="219"/>
                    <a:pt x="313" y="219"/>
                    <a:pt x="313" y="219"/>
                  </a:cubicBezTo>
                  <a:cubicBezTo>
                    <a:pt x="313" y="216"/>
                    <a:pt x="313" y="216"/>
                    <a:pt x="313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5" y="196"/>
                    <a:pt x="315" y="196"/>
                    <a:pt x="315" y="196"/>
                  </a:cubicBezTo>
                  <a:cubicBezTo>
                    <a:pt x="319" y="196"/>
                    <a:pt x="319" y="196"/>
                    <a:pt x="319" y="196"/>
                  </a:cubicBezTo>
                  <a:cubicBezTo>
                    <a:pt x="322" y="201"/>
                    <a:pt x="322" y="201"/>
                    <a:pt x="322" y="201"/>
                  </a:cubicBezTo>
                  <a:cubicBezTo>
                    <a:pt x="326" y="201"/>
                    <a:pt x="326" y="201"/>
                    <a:pt x="326" y="201"/>
                  </a:cubicBezTo>
                  <a:cubicBezTo>
                    <a:pt x="324" y="193"/>
                    <a:pt x="324" y="193"/>
                    <a:pt x="324" y="193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6" y="201"/>
                    <a:pt x="336" y="201"/>
                    <a:pt x="336" y="201"/>
                  </a:cubicBezTo>
                  <a:cubicBezTo>
                    <a:pt x="337" y="205"/>
                    <a:pt x="337" y="205"/>
                    <a:pt x="337" y="205"/>
                  </a:cubicBezTo>
                  <a:cubicBezTo>
                    <a:pt x="340" y="200"/>
                    <a:pt x="340" y="200"/>
                    <a:pt x="340" y="200"/>
                  </a:cubicBezTo>
                  <a:cubicBezTo>
                    <a:pt x="339" y="196"/>
                    <a:pt x="339" y="196"/>
                    <a:pt x="339" y="196"/>
                  </a:cubicBezTo>
                  <a:cubicBezTo>
                    <a:pt x="350" y="196"/>
                    <a:pt x="350" y="196"/>
                    <a:pt x="350" y="196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4" y="188"/>
                  </a:lnTo>
                  <a:close/>
                  <a:moveTo>
                    <a:pt x="14" y="718"/>
                  </a:moveTo>
                  <a:cubicBezTo>
                    <a:pt x="21" y="719"/>
                    <a:pt x="21" y="719"/>
                    <a:pt x="21" y="719"/>
                  </a:cubicBezTo>
                  <a:cubicBezTo>
                    <a:pt x="22" y="712"/>
                    <a:pt x="22" y="712"/>
                    <a:pt x="22" y="712"/>
                  </a:cubicBezTo>
                  <a:cubicBezTo>
                    <a:pt x="19" y="709"/>
                    <a:pt x="19" y="709"/>
                    <a:pt x="19" y="709"/>
                  </a:cubicBezTo>
                  <a:cubicBezTo>
                    <a:pt x="17" y="712"/>
                    <a:pt x="17" y="712"/>
                    <a:pt x="17" y="712"/>
                  </a:cubicBezTo>
                  <a:cubicBezTo>
                    <a:pt x="16" y="712"/>
                    <a:pt x="16" y="712"/>
                    <a:pt x="16" y="712"/>
                  </a:cubicBezTo>
                  <a:cubicBezTo>
                    <a:pt x="8" y="720"/>
                    <a:pt x="8" y="720"/>
                    <a:pt x="8" y="720"/>
                  </a:cubicBezTo>
                  <a:cubicBezTo>
                    <a:pt x="14" y="721"/>
                    <a:pt x="14" y="721"/>
                    <a:pt x="14" y="721"/>
                  </a:cubicBezTo>
                  <a:lnTo>
                    <a:pt x="14" y="718"/>
                  </a:lnTo>
                  <a:close/>
                  <a:moveTo>
                    <a:pt x="20" y="727"/>
                  </a:moveTo>
                  <a:cubicBezTo>
                    <a:pt x="19" y="723"/>
                    <a:pt x="19" y="723"/>
                    <a:pt x="19" y="723"/>
                  </a:cubicBezTo>
                  <a:cubicBezTo>
                    <a:pt x="11" y="725"/>
                    <a:pt x="11" y="725"/>
                    <a:pt x="11" y="725"/>
                  </a:cubicBezTo>
                  <a:cubicBezTo>
                    <a:pt x="13" y="728"/>
                    <a:pt x="13" y="728"/>
                    <a:pt x="13" y="728"/>
                  </a:cubicBezTo>
                  <a:cubicBezTo>
                    <a:pt x="13" y="730"/>
                    <a:pt x="13" y="730"/>
                    <a:pt x="13" y="730"/>
                  </a:cubicBezTo>
                  <a:cubicBezTo>
                    <a:pt x="16" y="730"/>
                    <a:pt x="16" y="730"/>
                    <a:pt x="16" y="730"/>
                  </a:cubicBezTo>
                  <a:cubicBezTo>
                    <a:pt x="17" y="727"/>
                    <a:pt x="17" y="727"/>
                    <a:pt x="17" y="727"/>
                  </a:cubicBezTo>
                  <a:lnTo>
                    <a:pt x="20" y="727"/>
                  </a:lnTo>
                  <a:close/>
                  <a:moveTo>
                    <a:pt x="211" y="760"/>
                  </a:moveTo>
                  <a:cubicBezTo>
                    <a:pt x="207" y="765"/>
                    <a:pt x="207" y="765"/>
                    <a:pt x="207" y="765"/>
                  </a:cubicBezTo>
                  <a:cubicBezTo>
                    <a:pt x="208" y="771"/>
                    <a:pt x="208" y="771"/>
                    <a:pt x="208" y="771"/>
                  </a:cubicBezTo>
                  <a:cubicBezTo>
                    <a:pt x="207" y="771"/>
                    <a:pt x="207" y="771"/>
                    <a:pt x="207" y="771"/>
                  </a:cubicBezTo>
                  <a:cubicBezTo>
                    <a:pt x="207" y="773"/>
                    <a:pt x="207" y="773"/>
                    <a:pt x="207" y="773"/>
                  </a:cubicBezTo>
                  <a:cubicBezTo>
                    <a:pt x="205" y="783"/>
                    <a:pt x="205" y="783"/>
                    <a:pt x="205" y="783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0" y="792"/>
                    <a:pt x="200" y="792"/>
                    <a:pt x="200" y="792"/>
                  </a:cubicBezTo>
                  <a:cubicBezTo>
                    <a:pt x="198" y="792"/>
                    <a:pt x="198" y="792"/>
                    <a:pt x="198" y="792"/>
                  </a:cubicBezTo>
                  <a:cubicBezTo>
                    <a:pt x="198" y="792"/>
                    <a:pt x="195" y="797"/>
                    <a:pt x="194" y="801"/>
                  </a:cubicBezTo>
                  <a:cubicBezTo>
                    <a:pt x="193" y="804"/>
                    <a:pt x="194" y="807"/>
                    <a:pt x="193" y="808"/>
                  </a:cubicBezTo>
                  <a:cubicBezTo>
                    <a:pt x="193" y="810"/>
                    <a:pt x="190" y="812"/>
                    <a:pt x="190" y="816"/>
                  </a:cubicBezTo>
                  <a:cubicBezTo>
                    <a:pt x="190" y="821"/>
                    <a:pt x="190" y="821"/>
                    <a:pt x="190" y="821"/>
                  </a:cubicBezTo>
                  <a:cubicBezTo>
                    <a:pt x="193" y="823"/>
                    <a:pt x="193" y="823"/>
                    <a:pt x="193" y="823"/>
                  </a:cubicBezTo>
                  <a:cubicBezTo>
                    <a:pt x="192" y="836"/>
                    <a:pt x="192" y="836"/>
                    <a:pt x="192" y="836"/>
                  </a:cubicBezTo>
                  <a:cubicBezTo>
                    <a:pt x="192" y="836"/>
                    <a:pt x="196" y="833"/>
                    <a:pt x="197" y="830"/>
                  </a:cubicBezTo>
                  <a:cubicBezTo>
                    <a:pt x="198" y="825"/>
                    <a:pt x="197" y="824"/>
                    <a:pt x="197" y="822"/>
                  </a:cubicBezTo>
                  <a:cubicBezTo>
                    <a:pt x="197" y="820"/>
                    <a:pt x="199" y="817"/>
                    <a:pt x="200" y="815"/>
                  </a:cubicBezTo>
                  <a:cubicBezTo>
                    <a:pt x="201" y="813"/>
                    <a:pt x="200" y="807"/>
                    <a:pt x="200" y="807"/>
                  </a:cubicBezTo>
                  <a:cubicBezTo>
                    <a:pt x="204" y="796"/>
                    <a:pt x="204" y="796"/>
                    <a:pt x="204" y="796"/>
                  </a:cubicBezTo>
                  <a:cubicBezTo>
                    <a:pt x="206" y="796"/>
                    <a:pt x="206" y="796"/>
                    <a:pt x="206" y="796"/>
                  </a:cubicBezTo>
                  <a:cubicBezTo>
                    <a:pt x="208" y="788"/>
                    <a:pt x="208" y="788"/>
                    <a:pt x="208" y="788"/>
                  </a:cubicBezTo>
                  <a:cubicBezTo>
                    <a:pt x="207" y="785"/>
                    <a:pt x="207" y="785"/>
                    <a:pt x="207" y="785"/>
                  </a:cubicBezTo>
                  <a:cubicBezTo>
                    <a:pt x="209" y="783"/>
                    <a:pt x="209" y="783"/>
                    <a:pt x="209" y="783"/>
                  </a:cubicBezTo>
                  <a:cubicBezTo>
                    <a:pt x="208" y="782"/>
                    <a:pt x="208" y="782"/>
                    <a:pt x="208" y="782"/>
                  </a:cubicBezTo>
                  <a:cubicBezTo>
                    <a:pt x="210" y="779"/>
                    <a:pt x="210" y="779"/>
                    <a:pt x="210" y="779"/>
                  </a:cubicBezTo>
                  <a:cubicBezTo>
                    <a:pt x="209" y="777"/>
                    <a:pt x="209" y="777"/>
                    <a:pt x="209" y="777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4" y="763"/>
                    <a:pt x="214" y="763"/>
                    <a:pt x="214" y="763"/>
                  </a:cubicBezTo>
                  <a:lnTo>
                    <a:pt x="211" y="760"/>
                  </a:lnTo>
                  <a:close/>
                  <a:moveTo>
                    <a:pt x="277" y="731"/>
                  </a:moveTo>
                  <a:cubicBezTo>
                    <a:pt x="281" y="724"/>
                    <a:pt x="281" y="724"/>
                    <a:pt x="281" y="724"/>
                  </a:cubicBezTo>
                  <a:cubicBezTo>
                    <a:pt x="278" y="718"/>
                    <a:pt x="278" y="718"/>
                    <a:pt x="278" y="718"/>
                  </a:cubicBezTo>
                  <a:cubicBezTo>
                    <a:pt x="272" y="719"/>
                    <a:pt x="272" y="719"/>
                    <a:pt x="272" y="719"/>
                  </a:cubicBezTo>
                  <a:cubicBezTo>
                    <a:pt x="270" y="724"/>
                    <a:pt x="270" y="724"/>
                    <a:pt x="270" y="724"/>
                  </a:cubicBezTo>
                  <a:cubicBezTo>
                    <a:pt x="270" y="719"/>
                    <a:pt x="270" y="719"/>
                    <a:pt x="270" y="719"/>
                  </a:cubicBezTo>
                  <a:cubicBezTo>
                    <a:pt x="270" y="719"/>
                    <a:pt x="267" y="719"/>
                    <a:pt x="266" y="720"/>
                  </a:cubicBezTo>
                  <a:cubicBezTo>
                    <a:pt x="264" y="721"/>
                    <a:pt x="263" y="724"/>
                    <a:pt x="263" y="724"/>
                  </a:cubicBezTo>
                  <a:cubicBezTo>
                    <a:pt x="263" y="724"/>
                    <a:pt x="262" y="723"/>
                    <a:pt x="259" y="726"/>
                  </a:cubicBezTo>
                  <a:cubicBezTo>
                    <a:pt x="257" y="729"/>
                    <a:pt x="253" y="739"/>
                    <a:pt x="253" y="739"/>
                  </a:cubicBezTo>
                  <a:cubicBezTo>
                    <a:pt x="253" y="739"/>
                    <a:pt x="248" y="741"/>
                    <a:pt x="248" y="746"/>
                  </a:cubicBezTo>
                  <a:cubicBezTo>
                    <a:pt x="247" y="753"/>
                    <a:pt x="253" y="753"/>
                    <a:pt x="253" y="757"/>
                  </a:cubicBezTo>
                  <a:cubicBezTo>
                    <a:pt x="251" y="762"/>
                    <a:pt x="249" y="763"/>
                    <a:pt x="249" y="763"/>
                  </a:cubicBezTo>
                  <a:cubicBezTo>
                    <a:pt x="251" y="765"/>
                    <a:pt x="251" y="765"/>
                    <a:pt x="251" y="765"/>
                  </a:cubicBezTo>
                  <a:cubicBezTo>
                    <a:pt x="251" y="772"/>
                    <a:pt x="251" y="772"/>
                    <a:pt x="251" y="772"/>
                  </a:cubicBezTo>
                  <a:cubicBezTo>
                    <a:pt x="254" y="773"/>
                    <a:pt x="254" y="773"/>
                    <a:pt x="254" y="773"/>
                  </a:cubicBezTo>
                  <a:cubicBezTo>
                    <a:pt x="254" y="776"/>
                    <a:pt x="254" y="776"/>
                    <a:pt x="254" y="776"/>
                  </a:cubicBezTo>
                  <a:cubicBezTo>
                    <a:pt x="254" y="776"/>
                    <a:pt x="257" y="775"/>
                    <a:pt x="257" y="776"/>
                  </a:cubicBezTo>
                  <a:cubicBezTo>
                    <a:pt x="257" y="777"/>
                    <a:pt x="255" y="778"/>
                    <a:pt x="255" y="778"/>
                  </a:cubicBezTo>
                  <a:cubicBezTo>
                    <a:pt x="255" y="782"/>
                    <a:pt x="255" y="782"/>
                    <a:pt x="255" y="782"/>
                  </a:cubicBezTo>
                  <a:cubicBezTo>
                    <a:pt x="255" y="783"/>
                    <a:pt x="253" y="787"/>
                    <a:pt x="253" y="787"/>
                  </a:cubicBezTo>
                  <a:cubicBezTo>
                    <a:pt x="258" y="785"/>
                    <a:pt x="258" y="785"/>
                    <a:pt x="258" y="785"/>
                  </a:cubicBezTo>
                  <a:cubicBezTo>
                    <a:pt x="261" y="779"/>
                    <a:pt x="261" y="779"/>
                    <a:pt x="261" y="779"/>
                  </a:cubicBezTo>
                  <a:cubicBezTo>
                    <a:pt x="260" y="779"/>
                    <a:pt x="260" y="779"/>
                    <a:pt x="260" y="779"/>
                  </a:cubicBezTo>
                  <a:cubicBezTo>
                    <a:pt x="261" y="774"/>
                    <a:pt x="261" y="774"/>
                    <a:pt x="261" y="774"/>
                  </a:cubicBezTo>
                  <a:cubicBezTo>
                    <a:pt x="262" y="772"/>
                    <a:pt x="262" y="772"/>
                    <a:pt x="262" y="772"/>
                  </a:cubicBezTo>
                  <a:cubicBezTo>
                    <a:pt x="261" y="772"/>
                    <a:pt x="261" y="772"/>
                    <a:pt x="261" y="772"/>
                  </a:cubicBezTo>
                  <a:cubicBezTo>
                    <a:pt x="266" y="766"/>
                    <a:pt x="266" y="766"/>
                    <a:pt x="266" y="766"/>
                  </a:cubicBezTo>
                  <a:cubicBezTo>
                    <a:pt x="271" y="763"/>
                    <a:pt x="271" y="763"/>
                    <a:pt x="271" y="763"/>
                  </a:cubicBezTo>
                  <a:cubicBezTo>
                    <a:pt x="271" y="758"/>
                    <a:pt x="271" y="758"/>
                    <a:pt x="271" y="758"/>
                  </a:cubicBezTo>
                  <a:cubicBezTo>
                    <a:pt x="277" y="750"/>
                    <a:pt x="277" y="750"/>
                    <a:pt x="277" y="750"/>
                  </a:cubicBezTo>
                  <a:cubicBezTo>
                    <a:pt x="274" y="750"/>
                    <a:pt x="274" y="750"/>
                    <a:pt x="274" y="750"/>
                  </a:cubicBezTo>
                  <a:cubicBezTo>
                    <a:pt x="271" y="746"/>
                    <a:pt x="271" y="746"/>
                    <a:pt x="271" y="746"/>
                  </a:cubicBezTo>
                  <a:cubicBezTo>
                    <a:pt x="271" y="746"/>
                    <a:pt x="273" y="743"/>
                    <a:pt x="274" y="740"/>
                  </a:cubicBezTo>
                  <a:cubicBezTo>
                    <a:pt x="274" y="738"/>
                    <a:pt x="271" y="735"/>
                    <a:pt x="271" y="735"/>
                  </a:cubicBezTo>
                  <a:cubicBezTo>
                    <a:pt x="272" y="730"/>
                    <a:pt x="272" y="730"/>
                    <a:pt x="272" y="730"/>
                  </a:cubicBezTo>
                  <a:lnTo>
                    <a:pt x="277" y="731"/>
                  </a:lnTo>
                  <a:close/>
                  <a:moveTo>
                    <a:pt x="280" y="719"/>
                  </a:moveTo>
                  <a:cubicBezTo>
                    <a:pt x="282" y="721"/>
                    <a:pt x="282" y="721"/>
                    <a:pt x="282" y="721"/>
                  </a:cubicBezTo>
                  <a:cubicBezTo>
                    <a:pt x="286" y="711"/>
                    <a:pt x="286" y="711"/>
                    <a:pt x="286" y="711"/>
                  </a:cubicBezTo>
                  <a:cubicBezTo>
                    <a:pt x="281" y="712"/>
                    <a:pt x="281" y="712"/>
                    <a:pt x="281" y="712"/>
                  </a:cubicBezTo>
                  <a:lnTo>
                    <a:pt x="280" y="719"/>
                  </a:lnTo>
                  <a:close/>
                  <a:moveTo>
                    <a:pt x="286" y="715"/>
                  </a:moveTo>
                  <a:cubicBezTo>
                    <a:pt x="290" y="715"/>
                    <a:pt x="290" y="715"/>
                    <a:pt x="290" y="715"/>
                  </a:cubicBezTo>
                  <a:cubicBezTo>
                    <a:pt x="291" y="712"/>
                    <a:pt x="291" y="712"/>
                    <a:pt x="291" y="712"/>
                  </a:cubicBezTo>
                  <a:cubicBezTo>
                    <a:pt x="288" y="712"/>
                    <a:pt x="288" y="712"/>
                    <a:pt x="288" y="712"/>
                  </a:cubicBezTo>
                  <a:lnTo>
                    <a:pt x="286" y="715"/>
                  </a:lnTo>
                  <a:close/>
                  <a:moveTo>
                    <a:pt x="282" y="691"/>
                  </a:moveTo>
                  <a:cubicBezTo>
                    <a:pt x="287" y="688"/>
                    <a:pt x="287" y="688"/>
                    <a:pt x="287" y="688"/>
                  </a:cubicBezTo>
                  <a:cubicBezTo>
                    <a:pt x="280" y="684"/>
                    <a:pt x="280" y="684"/>
                    <a:pt x="280" y="684"/>
                  </a:cubicBezTo>
                  <a:cubicBezTo>
                    <a:pt x="281" y="689"/>
                    <a:pt x="281" y="689"/>
                    <a:pt x="281" y="689"/>
                  </a:cubicBezTo>
                  <a:lnTo>
                    <a:pt x="282" y="691"/>
                  </a:lnTo>
                  <a:close/>
                  <a:moveTo>
                    <a:pt x="243" y="630"/>
                  </a:moveTo>
                  <a:cubicBezTo>
                    <a:pt x="255" y="631"/>
                    <a:pt x="255" y="631"/>
                    <a:pt x="255" y="631"/>
                  </a:cubicBezTo>
                  <a:cubicBezTo>
                    <a:pt x="256" y="630"/>
                    <a:pt x="256" y="630"/>
                    <a:pt x="256" y="630"/>
                  </a:cubicBezTo>
                  <a:cubicBezTo>
                    <a:pt x="254" y="626"/>
                    <a:pt x="254" y="626"/>
                    <a:pt x="254" y="626"/>
                  </a:cubicBezTo>
                  <a:cubicBezTo>
                    <a:pt x="251" y="625"/>
                    <a:pt x="251" y="625"/>
                    <a:pt x="251" y="625"/>
                  </a:cubicBezTo>
                  <a:cubicBezTo>
                    <a:pt x="248" y="626"/>
                    <a:pt x="248" y="626"/>
                    <a:pt x="248" y="626"/>
                  </a:cubicBezTo>
                  <a:cubicBezTo>
                    <a:pt x="249" y="628"/>
                    <a:pt x="249" y="628"/>
                    <a:pt x="249" y="628"/>
                  </a:cubicBezTo>
                  <a:cubicBezTo>
                    <a:pt x="243" y="628"/>
                    <a:pt x="243" y="628"/>
                    <a:pt x="243" y="628"/>
                  </a:cubicBezTo>
                  <a:lnTo>
                    <a:pt x="243" y="630"/>
                  </a:lnTo>
                  <a:close/>
                  <a:moveTo>
                    <a:pt x="254" y="615"/>
                  </a:moveTo>
                  <a:cubicBezTo>
                    <a:pt x="253" y="620"/>
                    <a:pt x="253" y="620"/>
                    <a:pt x="253" y="620"/>
                  </a:cubicBezTo>
                  <a:cubicBezTo>
                    <a:pt x="258" y="617"/>
                    <a:pt x="258" y="617"/>
                    <a:pt x="258" y="617"/>
                  </a:cubicBezTo>
                  <a:lnTo>
                    <a:pt x="254" y="615"/>
                  </a:lnTo>
                  <a:close/>
                  <a:moveTo>
                    <a:pt x="266" y="610"/>
                  </a:moveTo>
                  <a:cubicBezTo>
                    <a:pt x="265" y="607"/>
                    <a:pt x="265" y="607"/>
                    <a:pt x="265" y="607"/>
                  </a:cubicBezTo>
                  <a:cubicBezTo>
                    <a:pt x="259" y="610"/>
                    <a:pt x="259" y="610"/>
                    <a:pt x="259" y="610"/>
                  </a:cubicBezTo>
                  <a:cubicBezTo>
                    <a:pt x="262" y="612"/>
                    <a:pt x="262" y="612"/>
                    <a:pt x="262" y="612"/>
                  </a:cubicBezTo>
                  <a:lnTo>
                    <a:pt x="266" y="610"/>
                  </a:lnTo>
                  <a:close/>
                  <a:moveTo>
                    <a:pt x="258" y="630"/>
                  </a:moveTo>
                  <a:cubicBezTo>
                    <a:pt x="261" y="629"/>
                    <a:pt x="261" y="629"/>
                    <a:pt x="261" y="629"/>
                  </a:cubicBezTo>
                  <a:cubicBezTo>
                    <a:pt x="258" y="626"/>
                    <a:pt x="258" y="626"/>
                    <a:pt x="258" y="626"/>
                  </a:cubicBezTo>
                  <a:lnTo>
                    <a:pt x="258" y="630"/>
                  </a:lnTo>
                  <a:close/>
                  <a:moveTo>
                    <a:pt x="249" y="651"/>
                  </a:moveTo>
                  <a:cubicBezTo>
                    <a:pt x="253" y="644"/>
                    <a:pt x="253" y="644"/>
                    <a:pt x="253" y="644"/>
                  </a:cubicBezTo>
                  <a:cubicBezTo>
                    <a:pt x="250" y="643"/>
                    <a:pt x="250" y="643"/>
                    <a:pt x="250" y="643"/>
                  </a:cubicBezTo>
                  <a:cubicBezTo>
                    <a:pt x="246" y="649"/>
                    <a:pt x="246" y="649"/>
                    <a:pt x="246" y="649"/>
                  </a:cubicBezTo>
                  <a:lnTo>
                    <a:pt x="249" y="651"/>
                  </a:lnTo>
                  <a:close/>
                  <a:moveTo>
                    <a:pt x="245" y="653"/>
                  </a:moveTo>
                  <a:cubicBezTo>
                    <a:pt x="244" y="656"/>
                    <a:pt x="245" y="658"/>
                    <a:pt x="247" y="656"/>
                  </a:cubicBezTo>
                  <a:cubicBezTo>
                    <a:pt x="249" y="653"/>
                    <a:pt x="246" y="651"/>
                    <a:pt x="245" y="653"/>
                  </a:cubicBezTo>
                  <a:close/>
                  <a:moveTo>
                    <a:pt x="238" y="652"/>
                  </a:moveTo>
                  <a:cubicBezTo>
                    <a:pt x="241" y="653"/>
                    <a:pt x="241" y="653"/>
                    <a:pt x="241" y="653"/>
                  </a:cubicBezTo>
                  <a:cubicBezTo>
                    <a:pt x="243" y="649"/>
                    <a:pt x="243" y="649"/>
                    <a:pt x="243" y="649"/>
                  </a:cubicBezTo>
                  <a:cubicBezTo>
                    <a:pt x="242" y="649"/>
                    <a:pt x="242" y="649"/>
                    <a:pt x="242" y="649"/>
                  </a:cubicBezTo>
                  <a:lnTo>
                    <a:pt x="238" y="652"/>
                  </a:lnTo>
                  <a:close/>
                  <a:moveTo>
                    <a:pt x="251" y="632"/>
                  </a:moveTo>
                  <a:cubicBezTo>
                    <a:pt x="249" y="633"/>
                    <a:pt x="249" y="633"/>
                    <a:pt x="249" y="633"/>
                  </a:cubicBezTo>
                  <a:cubicBezTo>
                    <a:pt x="246" y="635"/>
                    <a:pt x="246" y="635"/>
                    <a:pt x="246" y="635"/>
                  </a:cubicBezTo>
                  <a:cubicBezTo>
                    <a:pt x="251" y="636"/>
                    <a:pt x="251" y="636"/>
                    <a:pt x="251" y="636"/>
                  </a:cubicBezTo>
                  <a:lnTo>
                    <a:pt x="251" y="632"/>
                  </a:lnTo>
                  <a:close/>
                  <a:moveTo>
                    <a:pt x="229" y="662"/>
                  </a:moveTo>
                  <a:cubicBezTo>
                    <a:pt x="229" y="664"/>
                    <a:pt x="229" y="664"/>
                    <a:pt x="229" y="664"/>
                  </a:cubicBezTo>
                  <a:cubicBezTo>
                    <a:pt x="232" y="666"/>
                    <a:pt x="232" y="666"/>
                    <a:pt x="232" y="666"/>
                  </a:cubicBezTo>
                  <a:cubicBezTo>
                    <a:pt x="231" y="661"/>
                    <a:pt x="231" y="661"/>
                    <a:pt x="231" y="661"/>
                  </a:cubicBezTo>
                  <a:lnTo>
                    <a:pt x="229" y="662"/>
                  </a:lnTo>
                  <a:close/>
                  <a:moveTo>
                    <a:pt x="246" y="562"/>
                  </a:moveTo>
                  <a:cubicBezTo>
                    <a:pt x="244" y="562"/>
                    <a:pt x="244" y="562"/>
                    <a:pt x="244" y="562"/>
                  </a:cubicBezTo>
                  <a:cubicBezTo>
                    <a:pt x="243" y="558"/>
                    <a:pt x="243" y="558"/>
                    <a:pt x="243" y="558"/>
                  </a:cubicBezTo>
                  <a:cubicBezTo>
                    <a:pt x="241" y="554"/>
                    <a:pt x="241" y="554"/>
                    <a:pt x="241" y="554"/>
                  </a:cubicBezTo>
                  <a:cubicBezTo>
                    <a:pt x="240" y="554"/>
                    <a:pt x="240" y="554"/>
                    <a:pt x="240" y="554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6" y="567"/>
                    <a:pt x="246" y="567"/>
                    <a:pt x="246" y="567"/>
                  </a:cubicBezTo>
                  <a:lnTo>
                    <a:pt x="246" y="562"/>
                  </a:lnTo>
                  <a:close/>
                  <a:moveTo>
                    <a:pt x="245" y="571"/>
                  </a:moveTo>
                  <a:cubicBezTo>
                    <a:pt x="248" y="572"/>
                    <a:pt x="249" y="569"/>
                    <a:pt x="246" y="569"/>
                  </a:cubicBezTo>
                  <a:cubicBezTo>
                    <a:pt x="243" y="569"/>
                    <a:pt x="243" y="571"/>
                    <a:pt x="245" y="571"/>
                  </a:cubicBezTo>
                  <a:close/>
                  <a:moveTo>
                    <a:pt x="253" y="571"/>
                  </a:moveTo>
                  <a:cubicBezTo>
                    <a:pt x="250" y="571"/>
                    <a:pt x="250" y="574"/>
                    <a:pt x="253" y="576"/>
                  </a:cubicBezTo>
                  <a:cubicBezTo>
                    <a:pt x="255" y="577"/>
                    <a:pt x="256" y="576"/>
                    <a:pt x="256" y="573"/>
                  </a:cubicBezTo>
                  <a:cubicBezTo>
                    <a:pt x="255" y="571"/>
                    <a:pt x="254" y="571"/>
                    <a:pt x="253" y="571"/>
                  </a:cubicBezTo>
                  <a:close/>
                  <a:moveTo>
                    <a:pt x="200" y="696"/>
                  </a:moveTo>
                  <a:cubicBezTo>
                    <a:pt x="199" y="693"/>
                    <a:pt x="199" y="693"/>
                    <a:pt x="199" y="693"/>
                  </a:cubicBezTo>
                  <a:cubicBezTo>
                    <a:pt x="198" y="693"/>
                    <a:pt x="198" y="693"/>
                    <a:pt x="198" y="69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202" y="698"/>
                    <a:pt x="202" y="698"/>
                    <a:pt x="202" y="698"/>
                  </a:cubicBezTo>
                  <a:lnTo>
                    <a:pt x="200" y="696"/>
                  </a:lnTo>
                  <a:close/>
                  <a:moveTo>
                    <a:pt x="198" y="739"/>
                  </a:moveTo>
                  <a:cubicBezTo>
                    <a:pt x="195" y="736"/>
                    <a:pt x="195" y="736"/>
                    <a:pt x="195" y="736"/>
                  </a:cubicBezTo>
                  <a:cubicBezTo>
                    <a:pt x="195" y="740"/>
                    <a:pt x="195" y="740"/>
                    <a:pt x="195" y="740"/>
                  </a:cubicBezTo>
                  <a:lnTo>
                    <a:pt x="198" y="739"/>
                  </a:lnTo>
                  <a:close/>
                  <a:moveTo>
                    <a:pt x="266" y="598"/>
                  </a:moveTo>
                  <a:cubicBezTo>
                    <a:pt x="263" y="596"/>
                    <a:pt x="263" y="596"/>
                    <a:pt x="263" y="596"/>
                  </a:cubicBezTo>
                  <a:cubicBezTo>
                    <a:pt x="261" y="598"/>
                    <a:pt x="261" y="598"/>
                    <a:pt x="261" y="598"/>
                  </a:cubicBezTo>
                  <a:lnTo>
                    <a:pt x="266" y="598"/>
                  </a:lnTo>
                  <a:close/>
                  <a:moveTo>
                    <a:pt x="205" y="485"/>
                  </a:moveTo>
                  <a:cubicBezTo>
                    <a:pt x="206" y="482"/>
                    <a:pt x="206" y="482"/>
                    <a:pt x="206" y="482"/>
                  </a:cubicBezTo>
                  <a:cubicBezTo>
                    <a:pt x="202" y="479"/>
                    <a:pt x="202" y="479"/>
                    <a:pt x="202" y="479"/>
                  </a:cubicBezTo>
                  <a:cubicBezTo>
                    <a:pt x="200" y="482"/>
                    <a:pt x="200" y="482"/>
                    <a:pt x="200" y="482"/>
                  </a:cubicBezTo>
                  <a:lnTo>
                    <a:pt x="205" y="485"/>
                  </a:lnTo>
                  <a:close/>
                  <a:moveTo>
                    <a:pt x="199" y="439"/>
                  </a:moveTo>
                  <a:cubicBezTo>
                    <a:pt x="201" y="439"/>
                    <a:pt x="201" y="439"/>
                    <a:pt x="201" y="439"/>
                  </a:cubicBezTo>
                  <a:cubicBezTo>
                    <a:pt x="200" y="432"/>
                    <a:pt x="200" y="432"/>
                    <a:pt x="200" y="432"/>
                  </a:cubicBezTo>
                  <a:cubicBezTo>
                    <a:pt x="198" y="431"/>
                    <a:pt x="198" y="431"/>
                    <a:pt x="198" y="431"/>
                  </a:cubicBezTo>
                  <a:lnTo>
                    <a:pt x="199" y="439"/>
                  </a:lnTo>
                  <a:close/>
                  <a:moveTo>
                    <a:pt x="217" y="421"/>
                  </a:moveTo>
                  <a:cubicBezTo>
                    <a:pt x="216" y="419"/>
                    <a:pt x="216" y="419"/>
                    <a:pt x="216" y="419"/>
                  </a:cubicBezTo>
                  <a:cubicBezTo>
                    <a:pt x="214" y="419"/>
                    <a:pt x="214" y="419"/>
                    <a:pt x="214" y="419"/>
                  </a:cubicBezTo>
                  <a:cubicBezTo>
                    <a:pt x="214" y="421"/>
                    <a:pt x="214" y="421"/>
                    <a:pt x="214" y="421"/>
                  </a:cubicBezTo>
                  <a:cubicBezTo>
                    <a:pt x="214" y="425"/>
                    <a:pt x="214" y="425"/>
                    <a:pt x="214" y="425"/>
                  </a:cubicBezTo>
                  <a:lnTo>
                    <a:pt x="217" y="421"/>
                  </a:lnTo>
                  <a:close/>
                  <a:moveTo>
                    <a:pt x="220" y="411"/>
                  </a:moveTo>
                  <a:cubicBezTo>
                    <a:pt x="215" y="412"/>
                    <a:pt x="214" y="415"/>
                    <a:pt x="216" y="416"/>
                  </a:cubicBezTo>
                  <a:cubicBezTo>
                    <a:pt x="220" y="418"/>
                    <a:pt x="223" y="411"/>
                    <a:pt x="220" y="411"/>
                  </a:cubicBezTo>
                  <a:close/>
                  <a:moveTo>
                    <a:pt x="234" y="392"/>
                  </a:moveTo>
                  <a:cubicBezTo>
                    <a:pt x="232" y="384"/>
                    <a:pt x="232" y="384"/>
                    <a:pt x="232" y="384"/>
                  </a:cubicBezTo>
                  <a:cubicBezTo>
                    <a:pt x="231" y="393"/>
                    <a:pt x="231" y="393"/>
                    <a:pt x="231" y="393"/>
                  </a:cubicBezTo>
                  <a:lnTo>
                    <a:pt x="234" y="392"/>
                  </a:lnTo>
                  <a:close/>
                  <a:moveTo>
                    <a:pt x="294" y="340"/>
                  </a:moveTo>
                  <a:cubicBezTo>
                    <a:pt x="294" y="343"/>
                    <a:pt x="294" y="343"/>
                    <a:pt x="294" y="343"/>
                  </a:cubicBezTo>
                  <a:cubicBezTo>
                    <a:pt x="297" y="342"/>
                    <a:pt x="297" y="342"/>
                    <a:pt x="297" y="342"/>
                  </a:cubicBezTo>
                  <a:cubicBezTo>
                    <a:pt x="296" y="336"/>
                    <a:pt x="296" y="336"/>
                    <a:pt x="296" y="336"/>
                  </a:cubicBezTo>
                  <a:lnTo>
                    <a:pt x="294" y="340"/>
                  </a:lnTo>
                  <a:close/>
                  <a:moveTo>
                    <a:pt x="293" y="335"/>
                  </a:moveTo>
                  <a:cubicBezTo>
                    <a:pt x="290" y="340"/>
                    <a:pt x="294" y="336"/>
                    <a:pt x="294" y="336"/>
                  </a:cubicBezTo>
                  <a:cubicBezTo>
                    <a:pt x="296" y="333"/>
                    <a:pt x="295" y="331"/>
                    <a:pt x="293" y="335"/>
                  </a:cubicBezTo>
                  <a:close/>
                  <a:moveTo>
                    <a:pt x="298" y="236"/>
                  </a:moveTo>
                  <a:cubicBezTo>
                    <a:pt x="300" y="240"/>
                    <a:pt x="300" y="240"/>
                    <a:pt x="300" y="240"/>
                  </a:cubicBezTo>
                  <a:cubicBezTo>
                    <a:pt x="306" y="242"/>
                    <a:pt x="306" y="242"/>
                    <a:pt x="306" y="242"/>
                  </a:cubicBezTo>
                  <a:cubicBezTo>
                    <a:pt x="307" y="241"/>
                    <a:pt x="307" y="241"/>
                    <a:pt x="307" y="241"/>
                  </a:cubicBezTo>
                  <a:cubicBezTo>
                    <a:pt x="304" y="239"/>
                    <a:pt x="304" y="239"/>
                    <a:pt x="304" y="239"/>
                  </a:cubicBezTo>
                  <a:cubicBezTo>
                    <a:pt x="305" y="236"/>
                    <a:pt x="305" y="236"/>
                    <a:pt x="305" y="236"/>
                  </a:cubicBezTo>
                  <a:cubicBezTo>
                    <a:pt x="303" y="235"/>
                    <a:pt x="303" y="235"/>
                    <a:pt x="303" y="235"/>
                  </a:cubicBezTo>
                  <a:cubicBezTo>
                    <a:pt x="302" y="237"/>
                    <a:pt x="302" y="237"/>
                    <a:pt x="302" y="237"/>
                  </a:cubicBezTo>
                  <a:cubicBezTo>
                    <a:pt x="302" y="235"/>
                    <a:pt x="302" y="235"/>
                    <a:pt x="302" y="235"/>
                  </a:cubicBezTo>
                  <a:lnTo>
                    <a:pt x="298" y="236"/>
                  </a:lnTo>
                  <a:close/>
                  <a:moveTo>
                    <a:pt x="312" y="222"/>
                  </a:moveTo>
                  <a:cubicBezTo>
                    <a:pt x="315" y="226"/>
                    <a:pt x="315" y="226"/>
                    <a:pt x="315" y="226"/>
                  </a:cubicBezTo>
                  <a:cubicBezTo>
                    <a:pt x="314" y="221"/>
                    <a:pt x="314" y="221"/>
                    <a:pt x="314" y="221"/>
                  </a:cubicBezTo>
                  <a:lnTo>
                    <a:pt x="312" y="222"/>
                  </a:lnTo>
                  <a:close/>
                  <a:moveTo>
                    <a:pt x="320" y="227"/>
                  </a:moveTo>
                  <a:cubicBezTo>
                    <a:pt x="322" y="224"/>
                    <a:pt x="322" y="224"/>
                    <a:pt x="322" y="224"/>
                  </a:cubicBezTo>
                  <a:cubicBezTo>
                    <a:pt x="317" y="225"/>
                    <a:pt x="317" y="225"/>
                    <a:pt x="317" y="225"/>
                  </a:cubicBezTo>
                  <a:lnTo>
                    <a:pt x="320" y="227"/>
                  </a:lnTo>
                  <a:close/>
                  <a:moveTo>
                    <a:pt x="322" y="222"/>
                  </a:moveTo>
                  <a:cubicBezTo>
                    <a:pt x="326" y="222"/>
                    <a:pt x="326" y="222"/>
                    <a:pt x="326" y="222"/>
                  </a:cubicBezTo>
                  <a:cubicBezTo>
                    <a:pt x="326" y="221"/>
                    <a:pt x="326" y="221"/>
                    <a:pt x="326" y="221"/>
                  </a:cubicBezTo>
                  <a:cubicBezTo>
                    <a:pt x="322" y="220"/>
                    <a:pt x="322" y="220"/>
                    <a:pt x="322" y="220"/>
                  </a:cubicBezTo>
                  <a:lnTo>
                    <a:pt x="322" y="222"/>
                  </a:lnTo>
                  <a:close/>
                  <a:moveTo>
                    <a:pt x="325" y="217"/>
                  </a:moveTo>
                  <a:cubicBezTo>
                    <a:pt x="326" y="213"/>
                    <a:pt x="326" y="213"/>
                    <a:pt x="326" y="213"/>
                  </a:cubicBezTo>
                  <a:cubicBezTo>
                    <a:pt x="322" y="215"/>
                    <a:pt x="322" y="215"/>
                    <a:pt x="322" y="215"/>
                  </a:cubicBezTo>
                  <a:lnTo>
                    <a:pt x="325" y="217"/>
                  </a:lnTo>
                  <a:close/>
                  <a:moveTo>
                    <a:pt x="319" y="219"/>
                  </a:moveTo>
                  <a:cubicBezTo>
                    <a:pt x="317" y="218"/>
                    <a:pt x="315" y="219"/>
                    <a:pt x="315" y="219"/>
                  </a:cubicBezTo>
                  <a:cubicBezTo>
                    <a:pt x="315" y="219"/>
                    <a:pt x="314" y="220"/>
                    <a:pt x="316" y="221"/>
                  </a:cubicBezTo>
                  <a:cubicBezTo>
                    <a:pt x="319" y="221"/>
                    <a:pt x="320" y="220"/>
                    <a:pt x="319" y="219"/>
                  </a:cubicBezTo>
                  <a:close/>
                  <a:moveTo>
                    <a:pt x="354" y="202"/>
                  </a:moveTo>
                  <a:cubicBezTo>
                    <a:pt x="356" y="202"/>
                    <a:pt x="356" y="202"/>
                    <a:pt x="356" y="202"/>
                  </a:cubicBezTo>
                  <a:cubicBezTo>
                    <a:pt x="356" y="200"/>
                    <a:pt x="356" y="200"/>
                    <a:pt x="356" y="200"/>
                  </a:cubicBezTo>
                  <a:cubicBezTo>
                    <a:pt x="354" y="200"/>
                    <a:pt x="354" y="200"/>
                    <a:pt x="354" y="200"/>
                  </a:cubicBezTo>
                  <a:lnTo>
                    <a:pt x="354" y="20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F7636D6-9045-8046-846A-18BC3CC14DDE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3546545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Rectangle 185">
            <a:extLst>
              <a:ext uri="{FF2B5EF4-FFF2-40B4-BE49-F238E27FC236}">
                <a16:creationId xmlns:a16="http://schemas.microsoft.com/office/drawing/2014/main" id="{1B24D510-5F04-0D4B-B09A-D6FCD87783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Title 1">
            <a:extLst>
              <a:ext uri="{FF2B5EF4-FFF2-40B4-BE49-F238E27FC236}">
                <a16:creationId xmlns:a16="http://schemas.microsoft.com/office/drawing/2014/main" id="{B4E0AB8A-C16B-0643-9066-4140FF474C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Australia</a:t>
            </a:r>
            <a:endParaRPr lang="en-US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8D485D-A667-DC44-81C7-6C226C580FE2}"/>
              </a:ext>
            </a:extLst>
          </p:cNvPr>
          <p:cNvGrpSpPr/>
          <p:nvPr userDrawn="1"/>
        </p:nvGrpSpPr>
        <p:grpSpPr>
          <a:xfrm>
            <a:off x="5431819" y="436846"/>
            <a:ext cx="6482275" cy="6091887"/>
            <a:chOff x="4450184" y="1201437"/>
            <a:chExt cx="4115592" cy="3867735"/>
          </a:xfrm>
        </p:grpSpPr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53826" y="2119391"/>
              <a:ext cx="298048" cy="319287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40660" y="1760190"/>
              <a:ext cx="875119" cy="667601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44805" y="4165732"/>
              <a:ext cx="1020971" cy="903440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0184" y="1201437"/>
              <a:ext cx="2625353" cy="119732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83103" y="2231865"/>
              <a:ext cx="199754" cy="108847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33351" y="2409652"/>
              <a:ext cx="2282917" cy="244908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70960D-A87D-FC4E-BA86-5B8E0C3BBE6B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1264598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3850"/>
            <a:ext cx="10934497" cy="55722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592263"/>
            <a:ext cx="3554209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Category Title here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5" y="2121145"/>
            <a:ext cx="3554205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white as the </a:t>
            </a:r>
            <a:r>
              <a:rPr lang="en-US" dirty="0" err="1"/>
              <a:t>colour</a:t>
            </a:r>
            <a:r>
              <a:rPr lang="en-US" dirty="0"/>
              <a:t> and place inside the blue circle.</a:t>
            </a:r>
          </a:p>
          <a:p>
            <a:r>
              <a:rPr lang="en-US" dirty="0"/>
              <a:t>Any unwanted Icons can be masked with a simple white box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4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5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4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FDD0A0D-4813-0442-B7A9-81BFB4829B0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697802F-0840-EE48-B35C-9CB300CE1D8F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Subtitle 2">
            <a:extLst>
              <a:ext uri="{FF2B5EF4-FFF2-40B4-BE49-F238E27FC236}">
                <a16:creationId xmlns:a16="http://schemas.microsoft.com/office/drawing/2014/main" id="{26402C3C-F59C-3A42-B015-2EA68FBF825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669035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09600" y="1510584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9C2F46-1389-2049-AB66-BA0E4767FF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191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CFCF589-AF37-934C-9D77-389344C39EC6}"/>
              </a:ext>
            </a:extLst>
          </p:cNvPr>
          <p:cNvSpPr/>
          <p:nvPr userDrawn="1"/>
        </p:nvSpPr>
        <p:spPr>
          <a:xfrm>
            <a:off x="4187824" y="0"/>
            <a:ext cx="8004175" cy="685800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9148"/>
            <a:ext cx="3322921" cy="8213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7" y="1592262"/>
            <a:ext cx="3321608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Copy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6" y="2121144"/>
            <a:ext cx="3321608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Kingspan Blue as the </a:t>
            </a:r>
            <a:r>
              <a:rPr lang="en-US" dirty="0" err="1"/>
              <a:t>colour</a:t>
            </a:r>
            <a:r>
              <a:rPr lang="en-US" dirty="0"/>
              <a:t> and place inside the white circle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2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3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3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BC67C90-EE5C-624B-803D-A24E2B956D1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9B69D5E-ED9C-544E-A604-69F54D7871C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Subtitle 2">
            <a:extLst>
              <a:ext uri="{FF2B5EF4-FFF2-40B4-BE49-F238E27FC236}">
                <a16:creationId xmlns:a16="http://schemas.microsoft.com/office/drawing/2014/main" id="{9C1708ED-C33A-E546-BF47-ADC82014D16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D0268A4-3A87-5D4C-AF1D-0FE814E58E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397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A0AD9CA-DD4F-6849-9EBD-847328BAD8DE}"/>
              </a:ext>
            </a:extLst>
          </p:cNvPr>
          <p:cNvSpPr/>
          <p:nvPr userDrawn="1"/>
        </p:nvSpPr>
        <p:spPr>
          <a:xfrm>
            <a:off x="890524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DBA820-B79F-8940-93B5-9A3B88CEEBE6}"/>
              </a:ext>
            </a:extLst>
          </p:cNvPr>
          <p:cNvSpPr/>
          <p:nvPr userDrawn="1"/>
        </p:nvSpPr>
        <p:spPr>
          <a:xfrm>
            <a:off x="27608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12DD1A3-2ECA-2941-93A2-23BA1BB974D6}"/>
              </a:ext>
            </a:extLst>
          </p:cNvPr>
          <p:cNvSpPr/>
          <p:nvPr userDrawn="1"/>
        </p:nvSpPr>
        <p:spPr>
          <a:xfrm>
            <a:off x="45896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4DA6F6B-A360-834A-B6A1-672292E771E1}"/>
              </a:ext>
            </a:extLst>
          </p:cNvPr>
          <p:cNvSpPr/>
          <p:nvPr userDrawn="1"/>
        </p:nvSpPr>
        <p:spPr>
          <a:xfrm>
            <a:off x="6489841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1162878-B24C-CB4E-82D5-450D8A9335EA}"/>
              </a:ext>
            </a:extLst>
          </p:cNvPr>
          <p:cNvSpPr/>
          <p:nvPr userDrawn="1"/>
        </p:nvSpPr>
        <p:spPr>
          <a:xfrm>
            <a:off x="8313789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4B2BB32-0183-9442-AD45-3D1F3A7510B4}"/>
              </a:ext>
            </a:extLst>
          </p:cNvPr>
          <p:cNvSpPr/>
          <p:nvPr userDrawn="1"/>
        </p:nvSpPr>
        <p:spPr>
          <a:xfrm>
            <a:off x="1016752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1566"/>
            <a:ext cx="10934496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8A2391B-7CB4-D048-93B2-01298DBE852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4797425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B9895C84-2A29-B648-9FCB-581D7A666A5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5265738"/>
            <a:ext cx="1725410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C4372F70-3F92-984D-A1D6-64A68A41CC4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491189" y="4797425"/>
            <a:ext cx="169663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11357760-943B-E346-879B-5120DFBB54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91189" y="5265738"/>
            <a:ext cx="169663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AB36158F-1BCC-9142-AC83-0549E61597E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29614" y="4797425"/>
            <a:ext cx="1694949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A6B674D9-7291-2045-937A-0C8BE04CBCD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29614" y="5265738"/>
            <a:ext cx="1694949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D345FC74-CE8E-024B-9255-A89BBBAAAF2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06540" y="4797425"/>
            <a:ext cx="1658034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77946A5A-2264-094F-849A-D29C2FE0346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06540" y="5265738"/>
            <a:ext cx="1658034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2B8AE223-BAE7-584D-B3CF-E89FCAF2D75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006465" y="4797425"/>
            <a:ext cx="171747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6FD89598-B46E-E149-80A9-FFF06C86794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006465" y="5265738"/>
            <a:ext cx="1717472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E9C16BF4-14AA-904F-8536-6397929D2C9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9873766" y="4797425"/>
            <a:ext cx="169434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D10C066C-33CD-ED43-90D0-B8F060FE81F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9873766" y="5265738"/>
            <a:ext cx="169434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8F9FF5E-F6CE-BD44-8EE0-5F95979213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C5920A3-68C0-0748-B9EC-F7A9A8E276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Subtitle 2">
            <a:extLst>
              <a:ext uri="{FF2B5EF4-FFF2-40B4-BE49-F238E27FC236}">
                <a16:creationId xmlns:a16="http://schemas.microsoft.com/office/drawing/2014/main" id="{496FCA75-A150-5D4F-9612-55D226FB00C1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50249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09600" y="1510584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9C2F46-1389-2049-AB66-BA0E4767FF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771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05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E0753F-4CF5-0249-99E2-78D9368551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60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A191C85-8222-C049-9D1C-4D066189C0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53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2375" t="27833" r="42531" b="51236"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80083D-ED1D-A14E-AB59-11EE03FDC6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730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14E8BA2-96AA-D443-B26D-17071E739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927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Planet Passionat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9DDE4E-439C-584A-9367-471280FC2F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722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2D56AAE-6755-884D-9729-A3748131BB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56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A39A48A-1B62-F642-8CA6-53864C1F171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EB265DC-753B-A04E-AEED-322969FA79D3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Subtitle 2">
            <a:extLst>
              <a:ext uri="{FF2B5EF4-FFF2-40B4-BE49-F238E27FC236}">
                <a16:creationId xmlns:a16="http://schemas.microsoft.com/office/drawing/2014/main" id="{FBA345E0-EE21-5C40-9A9E-7CBADF7B171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95459B0-3CE0-F742-A537-8BB9245B20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024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05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E0753F-4CF5-0249-99E2-78D9368551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640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683EF78-36EB-B347-8002-51E747491FD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841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9615A174-4F8A-2F4B-9A8E-80A3491D38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303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7CF87F0-7E8F-904C-8D99-7DBEEF328B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633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6E69647-C502-C441-87EF-3977815DA1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807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B8647F-9952-F446-B6D5-8D7125A485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855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589FAB-72DB-3C47-8A59-E513229C35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868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8B147F-3449-9841-98AE-A51B6A4FB3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785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719F52-3F4D-094F-A7E3-CAB8AD389D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777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F9FCBF-D3C7-5348-A691-5634596B9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593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C036A99-9230-1D44-BD35-B76E66776C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622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A191C85-8222-C049-9D1C-4D066189C0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540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F004747-33C9-704E-A2E6-F4C6141C8D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787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0E04F-D46A-C744-A629-DAA67A0816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317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35017B9-77BC-284B-A42C-A296E825A7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18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260227-57F8-2644-B85D-64F25A1789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047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8FD18CE-A7CC-0342-99A8-D08B8CBC5F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123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BB4072D-3150-684F-96E4-3E2B94E27921}"/>
              </a:ext>
            </a:extLst>
          </p:cNvPr>
          <p:cNvGrpSpPr/>
          <p:nvPr userDrawn="1"/>
        </p:nvGrpSpPr>
        <p:grpSpPr>
          <a:xfrm>
            <a:off x="374053" y="-12529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0D6FCC16-AC36-7B41-9B9B-3B1A96FD6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4262DF0-E744-6041-AAE9-9D127B7A9AC3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lerts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D6B311C-FDD8-7A4A-9E1B-4E8579537454}"/>
              </a:ext>
            </a:extLst>
          </p:cNvPr>
          <p:cNvGrpSpPr/>
          <p:nvPr userDrawn="1"/>
        </p:nvGrpSpPr>
        <p:grpSpPr>
          <a:xfrm>
            <a:off x="8541224" y="3305151"/>
            <a:ext cx="1580322" cy="1608757"/>
            <a:chOff x="5750970" y="2169250"/>
            <a:chExt cx="1580322" cy="1608757"/>
          </a:xfrm>
        </p:grpSpPr>
        <p:pic>
          <p:nvPicPr>
            <p:cNvPr id="174" name="Picture 173" descr="A close up of a logo&#10;&#10;Description automatically generated">
              <a:extLst>
                <a:ext uri="{FF2B5EF4-FFF2-40B4-BE49-F238E27FC236}">
                  <a16:creationId xmlns:a16="http://schemas.microsoft.com/office/drawing/2014/main" id="{545988BF-965C-AA47-9425-0D6D6D39B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535BD7F4-24A1-0747-87AF-EF4D15762673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se Study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5088489E-7174-F243-A7AA-497CA2725050}"/>
              </a:ext>
            </a:extLst>
          </p:cNvPr>
          <p:cNvGrpSpPr/>
          <p:nvPr userDrawn="1"/>
        </p:nvGrpSpPr>
        <p:grpSpPr>
          <a:xfrm>
            <a:off x="5767441" y="1746216"/>
            <a:ext cx="1580322" cy="1715119"/>
            <a:chOff x="367748" y="405538"/>
            <a:chExt cx="1580322" cy="1715119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9684B06A-814D-4241-89C0-3A6DA490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93807C27-7A76-734F-9F6C-D956CCFA4A62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</a:t>
              </a:r>
            </a:p>
            <a:p>
              <a:pPr algn="ctr"/>
              <a:r>
                <a:rPr lang="en-US" sz="1200" dirty="0"/>
                <a:t>Service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064A34D-C51B-FA46-AAF8-C7D071096ECE}"/>
              </a:ext>
            </a:extLst>
          </p:cNvPr>
          <p:cNvGrpSpPr/>
          <p:nvPr userDrawn="1"/>
        </p:nvGrpSpPr>
        <p:grpSpPr>
          <a:xfrm>
            <a:off x="5773190" y="-28593"/>
            <a:ext cx="1580322" cy="1566045"/>
            <a:chOff x="367748" y="2169250"/>
            <a:chExt cx="1580322" cy="1566045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95E333A6-653E-F645-8071-A8B53C73A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E3DF9503-1188-EF42-874E-90566CC4A8DD}"/>
                </a:ext>
              </a:extLst>
            </p:cNvPr>
            <p:cNvSpPr txBox="1"/>
            <p:nvPr/>
          </p:nvSpPr>
          <p:spPr>
            <a:xfrm>
              <a:off x="367748" y="345829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rand DNA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89866316-E303-0344-BE71-8D9017A98606}"/>
              </a:ext>
            </a:extLst>
          </p:cNvPr>
          <p:cNvGrpSpPr/>
          <p:nvPr userDrawn="1"/>
        </p:nvGrpSpPr>
        <p:grpSpPr>
          <a:xfrm>
            <a:off x="7138849" y="1746216"/>
            <a:ext cx="1580322" cy="1553763"/>
            <a:chOff x="5750970" y="2169250"/>
            <a:chExt cx="1580322" cy="155376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E241773-9743-8D49-ACAA-E64CE7684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46513CAC-B56C-2E49-BFC1-44A1F6A2B074}"/>
                </a:ext>
              </a:extLst>
            </p:cNvPr>
            <p:cNvSpPr txBox="1"/>
            <p:nvPr/>
          </p:nvSpPr>
          <p:spPr>
            <a:xfrm>
              <a:off x="5750970" y="344601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llaboration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7AD6A17-ED90-6547-A570-1EAE684B017F}"/>
              </a:ext>
            </a:extLst>
          </p:cNvPr>
          <p:cNvGrpSpPr/>
          <p:nvPr userDrawn="1"/>
        </p:nvGrpSpPr>
        <p:grpSpPr>
          <a:xfrm>
            <a:off x="390557" y="3313364"/>
            <a:ext cx="1580322" cy="1537449"/>
            <a:chOff x="9480376" y="3968750"/>
            <a:chExt cx="1580322" cy="1537449"/>
          </a:xfrm>
        </p:grpSpPr>
        <p:pic>
          <p:nvPicPr>
            <p:cNvPr id="186" name="Picture 18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B6D36BF-1E77-B047-A477-9B1A19440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5CDFDBC-E158-B549-BB68-75DB5E0F1ED6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act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8D4F745E-0219-0346-8DD9-592D94CD0F1A}"/>
              </a:ext>
            </a:extLst>
          </p:cNvPr>
          <p:cNvGrpSpPr/>
          <p:nvPr userDrawn="1"/>
        </p:nvGrpSpPr>
        <p:grpSpPr>
          <a:xfrm>
            <a:off x="7155839" y="-23657"/>
            <a:ext cx="1580322" cy="1537586"/>
            <a:chOff x="5750970" y="3968613"/>
            <a:chExt cx="1580322" cy="1537586"/>
          </a:xfrm>
        </p:grpSpPr>
        <p:pic>
          <p:nvPicPr>
            <p:cNvPr id="189" name="Picture 188" descr="A close up of a logo&#10;&#10;Description automatically generated">
              <a:extLst>
                <a:ext uri="{FF2B5EF4-FFF2-40B4-BE49-F238E27FC236}">
                  <a16:creationId xmlns:a16="http://schemas.microsoft.com/office/drawing/2014/main" id="{5BEC7397-EA5B-8047-8142-35A4E2846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E0E91293-FA98-274D-A2CA-30660D44AC83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acteria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FF8C05F-938E-3540-AE08-1D6175D46C00}"/>
              </a:ext>
            </a:extLst>
          </p:cNvPr>
          <p:cNvGrpSpPr/>
          <p:nvPr userDrawn="1"/>
        </p:nvGrpSpPr>
        <p:grpSpPr>
          <a:xfrm>
            <a:off x="1627715" y="3302734"/>
            <a:ext cx="1580322" cy="1740157"/>
            <a:chOff x="7667309" y="2169250"/>
            <a:chExt cx="1580322" cy="1740157"/>
          </a:xfrm>
        </p:grpSpPr>
        <p:pic>
          <p:nvPicPr>
            <p:cNvPr id="192" name="Picture 191" descr="A close up of a sign&#10;&#10;Description automatically generated">
              <a:extLst>
                <a:ext uri="{FF2B5EF4-FFF2-40B4-BE49-F238E27FC236}">
                  <a16:creationId xmlns:a16="http://schemas.microsoft.com/office/drawing/2014/main" id="{2BE03BB0-45C2-824D-9534-7FAB7C4E66C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D4D9A9BA-AAC4-B544-A6DC-868CB55D999B}"/>
                </a:ext>
              </a:extLst>
            </p:cNvPr>
            <p:cNvSpPr txBox="1"/>
            <p:nvPr/>
          </p:nvSpPr>
          <p:spPr>
            <a:xfrm>
              <a:off x="7667309" y="344774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liant Solution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56138BC7-748A-D049-82ED-CAE61EC15437}"/>
              </a:ext>
            </a:extLst>
          </p:cNvPr>
          <p:cNvGrpSpPr/>
          <p:nvPr userDrawn="1"/>
        </p:nvGrpSpPr>
        <p:grpSpPr>
          <a:xfrm>
            <a:off x="374053" y="1763790"/>
            <a:ext cx="1580322" cy="1530453"/>
            <a:chOff x="367748" y="405538"/>
            <a:chExt cx="1580322" cy="1530453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64632124-D98E-4C47-B909-97AA1F99C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561DC6A-9438-874F-AA4C-5AEC225CF95B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lendar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588EF020-AE7A-2B48-9265-38C1075295F9}"/>
              </a:ext>
            </a:extLst>
          </p:cNvPr>
          <p:cNvGrpSpPr/>
          <p:nvPr userDrawn="1"/>
        </p:nvGrpSpPr>
        <p:grpSpPr>
          <a:xfrm>
            <a:off x="1637039" y="1750338"/>
            <a:ext cx="1580322" cy="1530453"/>
            <a:chOff x="2063552" y="405538"/>
            <a:chExt cx="1580322" cy="1530453"/>
          </a:xfrm>
        </p:grpSpPr>
        <p:pic>
          <p:nvPicPr>
            <p:cNvPr id="198" name="Picture 197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16375AE-E24C-3744-9A70-E2C84CEEB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35A4F2E9-4BE7-1E4B-B530-BC1CD4ADCE1C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art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910D802-A6C8-274C-9C65-47AFAC4CFE8B}"/>
              </a:ext>
            </a:extLst>
          </p:cNvPr>
          <p:cNvGrpSpPr/>
          <p:nvPr userDrawn="1"/>
        </p:nvGrpSpPr>
        <p:grpSpPr>
          <a:xfrm>
            <a:off x="1643847" y="-28593"/>
            <a:ext cx="1580322" cy="1722252"/>
            <a:chOff x="367748" y="3968613"/>
            <a:chExt cx="1580322" cy="1722252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2B8E77AE-2D9B-4A47-8684-1C0D40558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37909" y="3968613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7C81AE6-3996-7647-A9B4-8438B7CFC46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ccredited Installer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08690EF9-DDDF-1F40-818B-75754B172961}"/>
              </a:ext>
            </a:extLst>
          </p:cNvPr>
          <p:cNvGrpSpPr/>
          <p:nvPr userDrawn="1"/>
        </p:nvGrpSpPr>
        <p:grpSpPr>
          <a:xfrm>
            <a:off x="3000586" y="1746216"/>
            <a:ext cx="1580322" cy="1537449"/>
            <a:chOff x="5750970" y="3968750"/>
            <a:chExt cx="1580322" cy="1537449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6594CE0C-26AF-A047-A3D6-A9C611F7E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1164C9F6-C764-5E40-B736-75839445A2D1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unication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FCA607D7-2C8C-3D4B-B351-BBA093EE00BE}"/>
              </a:ext>
            </a:extLst>
          </p:cNvPr>
          <p:cNvGrpSpPr/>
          <p:nvPr userDrawn="1"/>
        </p:nvGrpSpPr>
        <p:grpSpPr>
          <a:xfrm>
            <a:off x="4369981" y="1746216"/>
            <a:ext cx="1580322" cy="1537586"/>
            <a:chOff x="7667309" y="3968613"/>
            <a:chExt cx="1580322" cy="1537586"/>
          </a:xfrm>
        </p:grpSpPr>
        <p:pic>
          <p:nvPicPr>
            <p:cNvPr id="207" name="Picture 206" descr="A close up of a sign&#10;&#10;Description automatically generated">
              <a:extLst>
                <a:ext uri="{FF2B5EF4-FFF2-40B4-BE49-F238E27FC236}">
                  <a16:creationId xmlns:a16="http://schemas.microsoft.com/office/drawing/2014/main" id="{A290880F-F450-4B44-9E67-E63D21ABC8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4CE1E15B-D5EC-FB44-95DA-0FE4DCD2172E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ed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DA3EF250-8F71-4F44-B1B0-3FFF284AD16D}"/>
              </a:ext>
            </a:extLst>
          </p:cNvPr>
          <p:cNvGrpSpPr/>
          <p:nvPr userDrawn="1"/>
        </p:nvGrpSpPr>
        <p:grpSpPr>
          <a:xfrm>
            <a:off x="4378756" y="3320360"/>
            <a:ext cx="1580322" cy="1530453"/>
            <a:chOff x="5750970" y="405538"/>
            <a:chExt cx="1580322" cy="1530453"/>
          </a:xfrm>
        </p:grpSpPr>
        <p:pic>
          <p:nvPicPr>
            <p:cNvPr id="210" name="Picture 209" descr="A close up of a sign&#10;&#10;Description automatically generated">
              <a:extLst>
                <a:ext uri="{FF2B5EF4-FFF2-40B4-BE49-F238E27FC236}">
                  <a16:creationId xmlns:a16="http://schemas.microsoft.com/office/drawing/2014/main" id="{BBF960DB-5E07-EB4D-BC48-1A5EF2910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A6D742A9-6A61-054A-9CDC-5E9FA42210F8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cate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DFAEBC59-2894-9C47-8523-D8693974B992}"/>
              </a:ext>
            </a:extLst>
          </p:cNvPr>
          <p:cNvGrpSpPr/>
          <p:nvPr userDrawn="1"/>
        </p:nvGrpSpPr>
        <p:grpSpPr>
          <a:xfrm>
            <a:off x="8534296" y="1742769"/>
            <a:ext cx="1580322" cy="1564192"/>
            <a:chOff x="2063552" y="2169250"/>
            <a:chExt cx="1580322" cy="1564192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F922517B-CA2F-6346-B1BA-B6F47E903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5FE21AD-85C6-D345-9A10-7B46BEA32814}"/>
                </a:ext>
              </a:extLst>
            </p:cNvPr>
            <p:cNvSpPr txBox="1"/>
            <p:nvPr/>
          </p:nvSpPr>
          <p:spPr>
            <a:xfrm>
              <a:off x="2063552" y="345644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B8F8ED8-D362-9043-A3D6-7462ACC1CE05}"/>
              </a:ext>
            </a:extLst>
          </p:cNvPr>
          <p:cNvGrpSpPr/>
          <p:nvPr userDrawn="1"/>
        </p:nvGrpSpPr>
        <p:grpSpPr>
          <a:xfrm>
            <a:off x="3004181" y="-22880"/>
            <a:ext cx="1580322" cy="1544397"/>
            <a:chOff x="9480376" y="2169250"/>
            <a:chExt cx="1580322" cy="1544397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F1BAC1CF-C9BB-2D4F-9500-7BB40CF84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D6299A57-6EF6-664C-BE40-A9AACB5631BD}"/>
                </a:ext>
              </a:extLst>
            </p:cNvPr>
            <p:cNvSpPr txBox="1"/>
            <p:nvPr/>
          </p:nvSpPr>
          <p:spPr>
            <a:xfrm>
              <a:off x="9480376" y="343664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d Blu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A917B2A9-4483-0C4E-B212-56D00A07DDEC}"/>
              </a:ext>
            </a:extLst>
          </p:cNvPr>
          <p:cNvGrpSpPr/>
          <p:nvPr userDrawn="1"/>
        </p:nvGrpSpPr>
        <p:grpSpPr>
          <a:xfrm>
            <a:off x="3001276" y="3313364"/>
            <a:ext cx="1580322" cy="1537449"/>
            <a:chOff x="5750970" y="3968750"/>
            <a:chExt cx="1580322" cy="1537449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CBA9383E-7B9F-B647-A0C8-4D320BE8F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AC9539E8-2107-DC4D-9FEA-ED7CB940FDF8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ivils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57A30889-B007-AD40-85E4-F6F17A1F1D52}"/>
              </a:ext>
            </a:extLst>
          </p:cNvPr>
          <p:cNvGrpSpPr/>
          <p:nvPr userDrawn="1"/>
        </p:nvGrpSpPr>
        <p:grpSpPr>
          <a:xfrm>
            <a:off x="5767441" y="3302734"/>
            <a:ext cx="1580322" cy="1722252"/>
            <a:chOff x="7667309" y="3968613"/>
            <a:chExt cx="1580322" cy="1722252"/>
          </a:xfrm>
        </p:grpSpPr>
        <p:pic>
          <p:nvPicPr>
            <p:cNvPr id="222" name="Picture 221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8D68CAAC-0F8A-3248-B6FC-B6C507489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73A02D73-85E4-D54E-B75C-5B46FFAF3D1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 </a:t>
              </a:r>
              <a:br>
                <a:rPr lang="en-US" sz="1200" dirty="0"/>
              </a:br>
              <a:r>
                <a:rPr lang="en-US" sz="1200" dirty="0"/>
                <a:t>Focu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C6939DA3-B198-C44D-A756-96A1E60EB82A}"/>
              </a:ext>
            </a:extLst>
          </p:cNvPr>
          <p:cNvGrpSpPr/>
          <p:nvPr userDrawn="1"/>
        </p:nvGrpSpPr>
        <p:grpSpPr>
          <a:xfrm>
            <a:off x="7141403" y="3313364"/>
            <a:ext cx="1580322" cy="1746998"/>
            <a:chOff x="5750970" y="2169250"/>
            <a:chExt cx="1580322" cy="1746998"/>
          </a:xfrm>
        </p:grpSpPr>
        <p:pic>
          <p:nvPicPr>
            <p:cNvPr id="225" name="Picture 224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4708964-CE3F-9D48-8BBA-2CFD73C8D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B23F0FC8-6B3E-0944-9F32-860C86EFC6FA}"/>
                </a:ext>
              </a:extLst>
            </p:cNvPr>
            <p:cNvSpPr txBox="1"/>
            <p:nvPr/>
          </p:nvSpPr>
          <p:spPr>
            <a:xfrm>
              <a:off x="5750970" y="345458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Containerised</a:t>
              </a:r>
              <a:r>
                <a:rPr lang="en-US" sz="1200" dirty="0"/>
                <a:t> Design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D8D3B16F-07A5-B944-A6E5-5DC37CA04E3C}"/>
              </a:ext>
            </a:extLst>
          </p:cNvPr>
          <p:cNvGrpSpPr/>
          <p:nvPr userDrawn="1"/>
        </p:nvGrpSpPr>
        <p:grpSpPr>
          <a:xfrm>
            <a:off x="4369981" y="-14955"/>
            <a:ext cx="1580322" cy="1537586"/>
            <a:chOff x="2063552" y="3968613"/>
            <a:chExt cx="1580322" cy="1537586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2788A875-5726-6B42-B1D9-4DAF20BCC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28B723FF-C4D0-5245-B84D-8D72732425F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gricultur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5EFF25D9-F93F-7148-9B95-038D2822567D}"/>
              </a:ext>
            </a:extLst>
          </p:cNvPr>
          <p:cNvGrpSpPr/>
          <p:nvPr userDrawn="1"/>
        </p:nvGrpSpPr>
        <p:grpSpPr>
          <a:xfrm>
            <a:off x="8541224" y="-26646"/>
            <a:ext cx="1580322" cy="1565539"/>
            <a:chOff x="7667309" y="405538"/>
            <a:chExt cx="1580322" cy="1565539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E4A0CF04-4EC5-814B-9421-725F8B1E1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2E0C3064-CD98-1B45-A64E-168C14E6084B}"/>
                </a:ext>
              </a:extLst>
            </p:cNvPr>
            <p:cNvSpPr txBox="1"/>
            <p:nvPr/>
          </p:nvSpPr>
          <p:spPr>
            <a:xfrm>
              <a:off x="7667309" y="169407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us Stop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A640E644-110F-8C49-9371-6D9238ABE916}"/>
              </a:ext>
            </a:extLst>
          </p:cNvPr>
          <p:cNvGrpSpPr/>
          <p:nvPr userDrawn="1"/>
        </p:nvGrpSpPr>
        <p:grpSpPr>
          <a:xfrm>
            <a:off x="9960528" y="3320360"/>
            <a:ext cx="1580322" cy="1740001"/>
            <a:chOff x="2063552" y="2169250"/>
            <a:chExt cx="1580322" cy="174000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838E1618-59F8-FD4E-A284-7D0B04246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3EB45999-6401-CD4F-A88E-21C4FB74114C}"/>
                </a:ext>
              </a:extLst>
            </p:cNvPr>
            <p:cNvSpPr txBox="1"/>
            <p:nvPr/>
          </p:nvSpPr>
          <p:spPr>
            <a:xfrm>
              <a:off x="2063552" y="344758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centration Less Than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211471AA-4E2C-6045-8300-C5AAE621AEE5}"/>
              </a:ext>
            </a:extLst>
          </p:cNvPr>
          <p:cNvGrpSpPr/>
          <p:nvPr userDrawn="1"/>
        </p:nvGrpSpPr>
        <p:grpSpPr>
          <a:xfrm>
            <a:off x="9954108" y="1742769"/>
            <a:ext cx="1580322" cy="1537449"/>
            <a:chOff x="367748" y="3968750"/>
            <a:chExt cx="1580322" cy="1537449"/>
          </a:xfrm>
        </p:grpSpPr>
        <p:pic>
          <p:nvPicPr>
            <p:cNvPr id="237" name="Picture 236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22C9C45-18CD-7A42-922D-4ED8DAE8A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5500F41A-2337-484C-8F87-3EFC5157C48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rols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5E2A23B-F9F0-2249-A919-88854DE225BB}"/>
              </a:ext>
            </a:extLst>
          </p:cNvPr>
          <p:cNvGrpSpPr/>
          <p:nvPr userDrawn="1"/>
        </p:nvGrpSpPr>
        <p:grpSpPr>
          <a:xfrm>
            <a:off x="9954108" y="-24119"/>
            <a:ext cx="1580322" cy="1566138"/>
            <a:chOff x="367748" y="2169250"/>
            <a:chExt cx="1580322" cy="1566138"/>
          </a:xfrm>
        </p:grpSpPr>
        <p:pic>
          <p:nvPicPr>
            <p:cNvPr id="240" name="Picture 23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7790CCC-4BC9-994E-B5EC-2E60C341C7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C9E76F3C-BBAC-5845-B4C8-74EA95D89503}"/>
                </a:ext>
              </a:extLst>
            </p:cNvPr>
            <p:cNvSpPr txBox="1"/>
            <p:nvPr/>
          </p:nvSpPr>
          <p:spPr>
            <a:xfrm>
              <a:off x="367748" y="345838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A93816-B89C-4948-9307-37A1BA81EE01}"/>
              </a:ext>
            </a:extLst>
          </p:cNvPr>
          <p:cNvGrpSpPr/>
          <p:nvPr userDrawn="1"/>
        </p:nvGrpSpPr>
        <p:grpSpPr>
          <a:xfrm>
            <a:off x="7143380" y="5092727"/>
            <a:ext cx="1580322" cy="1806074"/>
            <a:chOff x="3896140" y="3968613"/>
            <a:chExt cx="1580322" cy="1806074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AAF03E1D-6D2B-CC42-810D-332EBE69A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966301" y="3968613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B280E7F6-3DD1-DB4C-A9D3-245B50D94576}"/>
                </a:ext>
              </a:extLst>
            </p:cNvPr>
            <p:cNvSpPr txBox="1"/>
            <p:nvPr/>
          </p:nvSpPr>
          <p:spPr>
            <a:xfrm>
              <a:off x="3896140" y="531302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uble </a:t>
              </a:r>
              <a:br>
                <a:rPr lang="en-US" sz="1200" dirty="0"/>
              </a:br>
              <a:r>
                <a:rPr lang="en-US" sz="1200" dirty="0"/>
                <a:t>Bunded Tank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1160E0BC-312B-5749-8E2C-788C647D52D7}"/>
              </a:ext>
            </a:extLst>
          </p:cNvPr>
          <p:cNvGrpSpPr/>
          <p:nvPr userDrawn="1"/>
        </p:nvGrpSpPr>
        <p:grpSpPr>
          <a:xfrm>
            <a:off x="8535621" y="5084886"/>
            <a:ext cx="1580322" cy="1608757"/>
            <a:chOff x="7667309" y="2169250"/>
            <a:chExt cx="1580322" cy="1608757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4BEA655A-CE87-DB47-A33B-39D7B43F0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0189D3BC-84F9-1C43-AF9C-F6C71B68E32C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sign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6C2E3B41-B23F-1140-B5DE-19AE0335E465}"/>
              </a:ext>
            </a:extLst>
          </p:cNvPr>
          <p:cNvGrpSpPr/>
          <p:nvPr userDrawn="1"/>
        </p:nvGrpSpPr>
        <p:grpSpPr>
          <a:xfrm>
            <a:off x="367748" y="5076640"/>
            <a:ext cx="1580322" cy="1608757"/>
            <a:chOff x="367748" y="2169250"/>
            <a:chExt cx="1580322" cy="1608757"/>
          </a:xfrm>
        </p:grpSpPr>
        <p:pic>
          <p:nvPicPr>
            <p:cNvPr id="249" name="Picture 24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9CD3CFDD-9B01-1944-90CC-690882E16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B77E6B8C-3EEE-4A4C-B119-88D10C831E79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3080C162-9ACA-9649-AAA4-E3919FA0CE94}"/>
              </a:ext>
            </a:extLst>
          </p:cNvPr>
          <p:cNvGrpSpPr/>
          <p:nvPr userDrawn="1"/>
        </p:nvGrpSpPr>
        <p:grpSpPr>
          <a:xfrm>
            <a:off x="2989227" y="5076640"/>
            <a:ext cx="1580322" cy="1608757"/>
            <a:chOff x="3896140" y="2169250"/>
            <a:chExt cx="1580322" cy="1608757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BA99FADF-C9C2-744B-ABD7-2E0E24957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D9DEAC2-E13E-DB45-A6EF-B3096BAF7954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mpsit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4E0500C9-7689-B441-9E80-8B1C10481232}"/>
              </a:ext>
            </a:extLst>
          </p:cNvPr>
          <p:cNvGrpSpPr/>
          <p:nvPr userDrawn="1"/>
        </p:nvGrpSpPr>
        <p:grpSpPr>
          <a:xfrm>
            <a:off x="1625854" y="5080465"/>
            <a:ext cx="1580322" cy="1587504"/>
            <a:chOff x="3896140" y="3968750"/>
            <a:chExt cx="1580322" cy="1587504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A390A808-7B12-DD4F-A3E1-6CDEFC9DF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14D3C6B5-5606-3A4D-A141-6F4FD65FCFB9}"/>
                </a:ext>
              </a:extLst>
            </p:cNvPr>
            <p:cNvSpPr txBox="1"/>
            <p:nvPr/>
          </p:nvSpPr>
          <p:spPr>
            <a:xfrm>
              <a:off x="3896140" y="527925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truction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340B1088-F5C2-A94E-B775-3FF347DFDE02}"/>
              </a:ext>
            </a:extLst>
          </p:cNvPr>
          <p:cNvGrpSpPr/>
          <p:nvPr userDrawn="1"/>
        </p:nvGrpSpPr>
        <p:grpSpPr>
          <a:xfrm>
            <a:off x="5771791" y="5084886"/>
            <a:ext cx="1580322" cy="1608757"/>
            <a:chOff x="367748" y="2169250"/>
            <a:chExt cx="1580322" cy="1608757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F3160-7693-B647-AAD3-A5F94A711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0B8FD068-3704-A245-A241-3C8A27766E0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 Service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739299A-FCC2-C040-95C6-C2EC211988EB}"/>
              </a:ext>
            </a:extLst>
          </p:cNvPr>
          <p:cNvGrpSpPr/>
          <p:nvPr userDrawn="1"/>
        </p:nvGrpSpPr>
        <p:grpSpPr>
          <a:xfrm>
            <a:off x="4380509" y="5076640"/>
            <a:ext cx="1580322" cy="1608757"/>
            <a:chOff x="367748" y="2169250"/>
            <a:chExt cx="1580322" cy="1608757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8A7E159B-B9AF-4149-A50F-9D2CE9CF7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C576CB03-2114-7D4E-B4F0-4283DF40847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acts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CEBABC10-0D3B-3E4B-9843-901E63CE1B78}"/>
              </a:ext>
            </a:extLst>
          </p:cNvPr>
          <p:cNvGrpSpPr/>
          <p:nvPr userDrawn="1"/>
        </p:nvGrpSpPr>
        <p:grpSpPr>
          <a:xfrm>
            <a:off x="9976412" y="5084886"/>
            <a:ext cx="1580322" cy="1793423"/>
            <a:chOff x="3896140" y="405538"/>
            <a:chExt cx="1580322" cy="179342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1038D68E-F995-FD46-BFDA-8976A03C1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D1593DD-E3EB-7144-8247-78BA446326BD}"/>
                </a:ext>
              </a:extLst>
            </p:cNvPr>
            <p:cNvSpPr txBox="1"/>
            <p:nvPr/>
          </p:nvSpPr>
          <p:spPr>
            <a:xfrm>
              <a:off x="3896140" y="173729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Water 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62063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50221498-D76C-9D46-8117-7D1CD9CCFD9D}"/>
              </a:ext>
            </a:extLst>
          </p:cNvPr>
          <p:cNvGrpSpPr/>
          <p:nvPr userDrawn="1"/>
        </p:nvGrpSpPr>
        <p:grpSpPr>
          <a:xfrm>
            <a:off x="4380509" y="0"/>
            <a:ext cx="1580322" cy="1530453"/>
            <a:chOff x="3896140" y="405538"/>
            <a:chExt cx="1580322" cy="1530453"/>
          </a:xfrm>
        </p:grpSpPr>
        <p:pic>
          <p:nvPicPr>
            <p:cNvPr id="171" name="Picture 17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B4151B7-F01F-374F-8B4D-364EFD86D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D03FE6D7-884E-4346-A059-29EF66582267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rop Alert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2A0DFDF4-CB46-E44C-8524-19425DC1D40E}"/>
              </a:ext>
            </a:extLst>
          </p:cNvPr>
          <p:cNvGrpSpPr/>
          <p:nvPr userDrawn="1"/>
        </p:nvGrpSpPr>
        <p:grpSpPr>
          <a:xfrm>
            <a:off x="3002939" y="17780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8151A87E-6F08-4549-8747-60C02D058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3814486B-6A38-C94F-9F28-F6AD94B777BD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wnload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6327C041-6C19-0D40-8131-83A9E8761B0D}"/>
              </a:ext>
            </a:extLst>
          </p:cNvPr>
          <p:cNvGrpSpPr/>
          <p:nvPr userDrawn="1"/>
        </p:nvGrpSpPr>
        <p:grpSpPr>
          <a:xfrm>
            <a:off x="5765810" y="4526"/>
            <a:ext cx="1580322" cy="1521875"/>
            <a:chOff x="3896140" y="2169250"/>
            <a:chExt cx="1580322" cy="152187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5B6E4E08-78D2-5047-A763-15DD8BA7F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67DAD732-6E72-6F49-AEEA-EB1DCA3ABA02}"/>
                </a:ext>
              </a:extLst>
            </p:cNvPr>
            <p:cNvSpPr txBox="1"/>
            <p:nvPr/>
          </p:nvSpPr>
          <p:spPr>
            <a:xfrm>
              <a:off x="3896140" y="341412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livery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7BAF2BF-FC4F-7A47-931E-C102C8E4ED68}"/>
              </a:ext>
            </a:extLst>
          </p:cNvPr>
          <p:cNvGrpSpPr/>
          <p:nvPr userDrawn="1"/>
        </p:nvGrpSpPr>
        <p:grpSpPr>
          <a:xfrm>
            <a:off x="1657712" y="17780"/>
            <a:ext cx="1580322" cy="1715119"/>
            <a:chOff x="5750970" y="405538"/>
            <a:chExt cx="1580322" cy="1715119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BEA6BFED-D760-7B4B-BB1C-1C0C638F3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F2AC0507-B105-9346-AF0E-F30AB2E9F994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</a:t>
              </a:r>
              <a:br>
                <a:rPr lang="en-US" sz="1200" dirty="0"/>
              </a:br>
              <a:r>
                <a:rPr lang="en-US" sz="1200" dirty="0"/>
                <a:t>Laundry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21BE7CE9-4172-684F-98D5-AC6A445EBE72}"/>
              </a:ext>
            </a:extLst>
          </p:cNvPr>
          <p:cNvGrpSpPr/>
          <p:nvPr userDrawn="1"/>
        </p:nvGrpSpPr>
        <p:grpSpPr>
          <a:xfrm>
            <a:off x="343232" y="17780"/>
            <a:ext cx="1580322" cy="1530453"/>
            <a:chOff x="9480376" y="405538"/>
            <a:chExt cx="1580322" cy="153045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1BD92CC-9411-5A4D-92A5-09ADB3048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FF1C0D68-D998-F544-9F55-84604A8B60C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D83F1AA7-2B9D-7349-9035-2A35C1360550}"/>
              </a:ext>
            </a:extLst>
          </p:cNvPr>
          <p:cNvGrpSpPr/>
          <p:nvPr userDrawn="1"/>
        </p:nvGrpSpPr>
        <p:grpSpPr>
          <a:xfrm>
            <a:off x="343232" y="1755612"/>
            <a:ext cx="1580322" cy="1530453"/>
            <a:chOff x="367748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2D8BFC2-1175-094B-9C79-38ED104B5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812A1409-5044-5948-BB0A-4B1B269DCA2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ail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79E740CC-3137-2A40-BAD8-D000A1C1C02E}"/>
              </a:ext>
            </a:extLst>
          </p:cNvPr>
          <p:cNvGrpSpPr/>
          <p:nvPr userDrawn="1"/>
        </p:nvGrpSpPr>
        <p:grpSpPr>
          <a:xfrm>
            <a:off x="1657712" y="1746390"/>
            <a:ext cx="1580322" cy="1537449"/>
            <a:chOff x="367748" y="3968750"/>
            <a:chExt cx="1580322" cy="1537449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4924E03-F555-EA49-B9A5-BB5FF5DFD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3FEC2C78-5095-1E45-BFA8-4B8EC71AC8B4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AF990BDE-4D1C-244D-BB84-60F0668432E4}"/>
              </a:ext>
            </a:extLst>
          </p:cNvPr>
          <p:cNvGrpSpPr/>
          <p:nvPr userDrawn="1"/>
        </p:nvGrpSpPr>
        <p:grpSpPr>
          <a:xfrm>
            <a:off x="3026228" y="1755395"/>
            <a:ext cx="1580322" cy="1536771"/>
            <a:chOff x="3896140" y="2169250"/>
            <a:chExt cx="1580322" cy="1536771"/>
          </a:xfrm>
        </p:grpSpPr>
        <p:pic>
          <p:nvPicPr>
            <p:cNvPr id="192" name="Picture 191" descr="A close up of a logo&#10;&#10;Description automatically generated">
              <a:extLst>
                <a:ext uri="{FF2B5EF4-FFF2-40B4-BE49-F238E27FC236}">
                  <a16:creationId xmlns:a16="http://schemas.microsoft.com/office/drawing/2014/main" id="{920A2D21-906C-B04B-93CD-4B613B1E2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81834B9E-B48D-E74C-8D3A-2F00C0BE87EF}"/>
                </a:ext>
              </a:extLst>
            </p:cNvPr>
            <p:cNvSpPr txBox="1"/>
            <p:nvPr/>
          </p:nvSpPr>
          <p:spPr>
            <a:xfrm>
              <a:off x="3896140" y="342902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powerment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07B9FEBE-2129-1F44-B28B-B4B2A4149EFA}"/>
              </a:ext>
            </a:extLst>
          </p:cNvPr>
          <p:cNvGrpSpPr/>
          <p:nvPr userDrawn="1"/>
        </p:nvGrpSpPr>
        <p:grpSpPr>
          <a:xfrm>
            <a:off x="4361877" y="1755395"/>
            <a:ext cx="1580322" cy="1537449"/>
            <a:chOff x="367748" y="3968750"/>
            <a:chExt cx="1580322" cy="1537449"/>
          </a:xfrm>
        </p:grpSpPr>
        <p:pic>
          <p:nvPicPr>
            <p:cNvPr id="195" name="Picture 194" descr="A close up of a logo&#10;&#10;Description automatically generated">
              <a:extLst>
                <a:ext uri="{FF2B5EF4-FFF2-40B4-BE49-F238E27FC236}">
                  <a16:creationId xmlns:a16="http://schemas.microsoft.com/office/drawing/2014/main" id="{B6122C6F-CA89-B542-B16B-F39E290940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EB889A1-4936-B646-B959-B5261EEE7D5F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 Solutions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D656741-A054-4B42-B0DC-9D8462D4B712}"/>
              </a:ext>
            </a:extLst>
          </p:cNvPr>
          <p:cNvGrpSpPr/>
          <p:nvPr userDrawn="1"/>
        </p:nvGrpSpPr>
        <p:grpSpPr>
          <a:xfrm>
            <a:off x="5778373" y="1757471"/>
            <a:ext cx="1580322" cy="1534695"/>
            <a:chOff x="367748" y="2169250"/>
            <a:chExt cx="1580322" cy="1534695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9667614-6800-AA4C-B0ED-C7234C9FB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39DE722-46F4-EB4F-BEC1-C3AB835B01B6}"/>
                </a:ext>
              </a:extLst>
            </p:cNvPr>
            <p:cNvSpPr txBox="1"/>
            <p:nvPr/>
          </p:nvSpPr>
          <p:spPr>
            <a:xfrm>
              <a:off x="367748" y="342694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-Commerce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9C7A2839-6BC5-FF4D-8FD2-2A6F2D07C943}"/>
              </a:ext>
            </a:extLst>
          </p:cNvPr>
          <p:cNvGrpSpPr/>
          <p:nvPr userDrawn="1"/>
        </p:nvGrpSpPr>
        <p:grpSpPr>
          <a:xfrm>
            <a:off x="9951671" y="12953"/>
            <a:ext cx="1580322" cy="1705069"/>
            <a:chOff x="2063552" y="2169250"/>
            <a:chExt cx="1580322" cy="1705069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131737B1-A25C-8C45-B911-402571C5B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8F8B36C-5349-A340-BAD2-D47ADF48D2BC}"/>
                </a:ext>
              </a:extLst>
            </p:cNvPr>
            <p:cNvSpPr txBox="1"/>
            <p:nvPr/>
          </p:nvSpPr>
          <p:spPr>
            <a:xfrm>
              <a:off x="2063552" y="3412654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vironmentally</a:t>
              </a:r>
              <a:br>
                <a:rPr lang="en-US" sz="1200" dirty="0"/>
              </a:br>
              <a:r>
                <a:rPr lang="en-US" sz="1200" dirty="0"/>
                <a:t>Friendly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C46B788A-1DD8-B24A-863E-49E117037287}"/>
              </a:ext>
            </a:extLst>
          </p:cNvPr>
          <p:cNvGrpSpPr/>
          <p:nvPr userDrawn="1"/>
        </p:nvGrpSpPr>
        <p:grpSpPr>
          <a:xfrm>
            <a:off x="8546269" y="12953"/>
            <a:ext cx="1580322" cy="1537586"/>
            <a:chOff x="5750970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176440D8-6923-B244-9019-D0B47FFA1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0FC9591F-D7A3-3446-AC27-887E2468013B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fficiency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6F226A5-4C34-DA48-B111-62BD12AB6AC6}"/>
              </a:ext>
            </a:extLst>
          </p:cNvPr>
          <p:cNvGrpSpPr/>
          <p:nvPr userDrawn="1"/>
        </p:nvGrpSpPr>
        <p:grpSpPr>
          <a:xfrm>
            <a:off x="7143380" y="5144"/>
            <a:ext cx="1580322" cy="1537449"/>
            <a:chOff x="3896140" y="3968750"/>
            <a:chExt cx="1580322" cy="1537449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E03209AE-D236-2A44-80BB-8E73D7E36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5BEEF663-F7FC-654B-B091-81F93758B4C6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asy to Install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830B4AA5-EB34-D54D-9427-80C0D93EC6C0}"/>
              </a:ext>
            </a:extLst>
          </p:cNvPr>
          <p:cNvGrpSpPr/>
          <p:nvPr userDrawn="1"/>
        </p:nvGrpSpPr>
        <p:grpSpPr>
          <a:xfrm>
            <a:off x="9951671" y="1737034"/>
            <a:ext cx="1580322" cy="1537449"/>
            <a:chOff x="5750970" y="3968750"/>
            <a:chExt cx="1580322" cy="1537449"/>
          </a:xfrm>
        </p:grpSpPr>
        <p:pic>
          <p:nvPicPr>
            <p:cNvPr id="210" name="Picture 209" descr="A close up of a logo&#10;&#10;Description automatically generated">
              <a:extLst>
                <a:ext uri="{FF2B5EF4-FFF2-40B4-BE49-F238E27FC236}">
                  <a16:creationId xmlns:a16="http://schemas.microsoft.com/office/drawing/2014/main" id="{5BF55BCB-C1B5-CF41-A2BA-CCF7951A1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0C2898CF-EA1E-3C4B-96DD-AC28D7AE2C95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lexi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6206C2B-32F1-A14F-92C4-3E56CDBC5A4D}"/>
              </a:ext>
            </a:extLst>
          </p:cNvPr>
          <p:cNvGrpSpPr/>
          <p:nvPr userDrawn="1"/>
        </p:nvGrpSpPr>
        <p:grpSpPr>
          <a:xfrm>
            <a:off x="343232" y="3311573"/>
            <a:ext cx="1580322" cy="1530453"/>
            <a:chOff x="9480376" y="405538"/>
            <a:chExt cx="1580322" cy="1530453"/>
          </a:xfrm>
        </p:grpSpPr>
        <p:pic>
          <p:nvPicPr>
            <p:cNvPr id="213" name="Picture 212" descr="A close up of a logo&#10;&#10;Description automatically generated">
              <a:extLst>
                <a:ext uri="{FF2B5EF4-FFF2-40B4-BE49-F238E27FC236}">
                  <a16:creationId xmlns:a16="http://schemas.microsoft.com/office/drawing/2014/main" id="{628B300F-A10E-164D-BCAC-63D99147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7EB8851-1CAF-6D4C-83BE-B5C6CBB5E2F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ll Volume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B649E25E-258F-8840-887B-C1B937A38644}"/>
              </a:ext>
            </a:extLst>
          </p:cNvPr>
          <p:cNvGrpSpPr/>
          <p:nvPr userDrawn="1"/>
        </p:nvGrpSpPr>
        <p:grpSpPr>
          <a:xfrm>
            <a:off x="1657712" y="3316021"/>
            <a:ext cx="1580322" cy="1537449"/>
            <a:chOff x="7667309" y="3968750"/>
            <a:chExt cx="1580322" cy="1537449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C6D27AE4-4053-B446-910A-CD22888D7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39687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65616293-1E72-D444-BDF1-821275DEE285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utur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0A61EC18-1016-5148-BE26-965D6AC37F63}"/>
              </a:ext>
            </a:extLst>
          </p:cNvPr>
          <p:cNvGrpSpPr/>
          <p:nvPr userDrawn="1"/>
        </p:nvGrpSpPr>
        <p:grpSpPr>
          <a:xfrm>
            <a:off x="3094381" y="3300493"/>
            <a:ext cx="1440000" cy="1720296"/>
            <a:chOff x="4433924" y="448331"/>
            <a:chExt cx="1440000" cy="1720296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DEF2D25F-F0BB-0F42-AEF8-E84570108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433924" y="448331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CF5EAB-07DF-884D-B55B-4B57C3C05E79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 </a:t>
              </a:r>
              <a:br>
                <a:rPr lang="en-US" sz="1200" dirty="0"/>
              </a:br>
              <a:r>
                <a:rPr lang="en-US" sz="1200" dirty="0"/>
                <a:t>Perform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458D89A9-681A-F34A-A299-1532CC14C896}"/>
              </a:ext>
            </a:extLst>
          </p:cNvPr>
          <p:cNvGrpSpPr/>
          <p:nvPr userDrawn="1"/>
        </p:nvGrpSpPr>
        <p:grpSpPr>
          <a:xfrm>
            <a:off x="4455882" y="3300491"/>
            <a:ext cx="1440000" cy="1554196"/>
            <a:chOff x="5837032" y="429765"/>
            <a:chExt cx="1440000" cy="1554196"/>
          </a:xfrm>
        </p:grpSpPr>
        <p:pic>
          <p:nvPicPr>
            <p:cNvPr id="222" name="Picture 221" descr="A close up of a logo&#10;&#10;Description automatically generated">
              <a:extLst>
                <a:ext uri="{FF2B5EF4-FFF2-40B4-BE49-F238E27FC236}">
                  <a16:creationId xmlns:a16="http://schemas.microsoft.com/office/drawing/2014/main" id="{916335E0-EA23-1144-9FE8-32AB12966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A5F7A08E-84F4-3243-A2D4-EFF9E66F59C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safe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5D3D33E9-A3BD-4A4E-B4FD-73D621549651}"/>
              </a:ext>
            </a:extLst>
          </p:cNvPr>
          <p:cNvGrpSpPr/>
          <p:nvPr userDrawn="1"/>
        </p:nvGrpSpPr>
        <p:grpSpPr>
          <a:xfrm>
            <a:off x="9951671" y="3300491"/>
            <a:ext cx="1580322" cy="1537586"/>
            <a:chOff x="2063552" y="3968613"/>
            <a:chExt cx="1580322" cy="1537586"/>
          </a:xfrm>
        </p:grpSpPr>
        <p:pic>
          <p:nvPicPr>
            <p:cNvPr id="225" name="Picture 224" descr="A close up of a logo&#10;&#10;Description automatically generated">
              <a:extLst>
                <a:ext uri="{FF2B5EF4-FFF2-40B4-BE49-F238E27FC236}">
                  <a16:creationId xmlns:a16="http://schemas.microsoft.com/office/drawing/2014/main" id="{114BC0DF-DC48-014D-9BC3-25BB74871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0B99956C-D3BA-404C-9CD6-DAA3CA16EEE7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 Leaks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B36408F-664E-5648-92B3-179713A1FD42}"/>
              </a:ext>
            </a:extLst>
          </p:cNvPr>
          <p:cNvGrpSpPr/>
          <p:nvPr userDrawn="1"/>
        </p:nvGrpSpPr>
        <p:grpSpPr>
          <a:xfrm>
            <a:off x="343232" y="4961419"/>
            <a:ext cx="1580322" cy="1524154"/>
            <a:chOff x="2063552" y="2169250"/>
            <a:chExt cx="1580322" cy="1524154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BB727CEE-5917-4A45-971A-11DEC8154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1146F023-6429-7745-A118-B157919F0521}"/>
                </a:ext>
              </a:extLst>
            </p:cNvPr>
            <p:cNvSpPr txBox="1"/>
            <p:nvPr/>
          </p:nvSpPr>
          <p:spPr>
            <a:xfrm>
              <a:off x="2063552" y="34164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ursing Hom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A815FBA7-AA68-6B46-B8CC-9DEBE411081F}"/>
              </a:ext>
            </a:extLst>
          </p:cNvPr>
          <p:cNvGrpSpPr/>
          <p:nvPr userDrawn="1"/>
        </p:nvGrpSpPr>
        <p:grpSpPr>
          <a:xfrm>
            <a:off x="8540353" y="3286257"/>
            <a:ext cx="1580322" cy="1552865"/>
            <a:chOff x="5750970" y="2148717"/>
            <a:chExt cx="1580322" cy="1552865"/>
          </a:xfrm>
        </p:grpSpPr>
        <p:pic>
          <p:nvPicPr>
            <p:cNvPr id="231" name="Picture 230" descr="A close up of a sign&#10;&#10;Description automatically generated">
              <a:extLst>
                <a:ext uri="{FF2B5EF4-FFF2-40B4-BE49-F238E27FC236}">
                  <a16:creationId xmlns:a16="http://schemas.microsoft.com/office/drawing/2014/main" id="{79000ED5-2632-6644-AFCE-3B042D75B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821131" y="2148717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E2AAB9CC-EF37-4B4E-9FD4-5E54F541EF64}"/>
                </a:ext>
              </a:extLst>
            </p:cNvPr>
            <p:cNvSpPr txBox="1"/>
            <p:nvPr/>
          </p:nvSpPr>
          <p:spPr>
            <a:xfrm>
              <a:off x="5750970" y="342458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odular System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95496837-8DB8-F34A-9A21-0C5DECD346B2}"/>
              </a:ext>
            </a:extLst>
          </p:cNvPr>
          <p:cNvGrpSpPr/>
          <p:nvPr userDrawn="1"/>
        </p:nvGrpSpPr>
        <p:grpSpPr>
          <a:xfrm>
            <a:off x="1657712" y="4955120"/>
            <a:ext cx="1580322" cy="1537586"/>
            <a:chOff x="2063552" y="3968613"/>
            <a:chExt cx="1580322" cy="1537586"/>
          </a:xfrm>
        </p:grpSpPr>
        <p:pic>
          <p:nvPicPr>
            <p:cNvPr id="234" name="Picture 23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038BA89-A93D-2D45-AC2F-F062A0380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72C0688E-FFAE-5445-B3CA-C9DC4A423080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ise Free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6C482F69-F0EE-9B4B-A3AA-8ED0E10855C9}"/>
              </a:ext>
            </a:extLst>
          </p:cNvPr>
          <p:cNvGrpSpPr/>
          <p:nvPr userDrawn="1"/>
        </p:nvGrpSpPr>
        <p:grpSpPr>
          <a:xfrm>
            <a:off x="7147415" y="3307624"/>
            <a:ext cx="1580322" cy="1530453"/>
            <a:chOff x="5750970" y="405538"/>
            <a:chExt cx="1580322" cy="1530453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05961423-9164-E44F-89AA-4703489EB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057027C5-2881-6D41-B37A-6EB5F95F9D6B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ulti-Company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1EDC3AD-C4DF-7C4D-8D19-AD54564BF376}"/>
              </a:ext>
            </a:extLst>
          </p:cNvPr>
          <p:cNvGrpSpPr/>
          <p:nvPr userDrawn="1"/>
        </p:nvGrpSpPr>
        <p:grpSpPr>
          <a:xfrm>
            <a:off x="5752381" y="3322404"/>
            <a:ext cx="1580322" cy="1719741"/>
            <a:chOff x="2980152" y="3322404"/>
            <a:chExt cx="1580322" cy="1719741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53CAC480-8A14-E942-AF0D-3479B89C3169}"/>
                </a:ext>
              </a:extLst>
            </p:cNvPr>
            <p:cNvSpPr txBox="1"/>
            <p:nvPr/>
          </p:nvSpPr>
          <p:spPr>
            <a:xfrm>
              <a:off x="2980152" y="458048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Low Thermal Conductivity</a:t>
              </a:r>
            </a:p>
          </p:txBody>
        </p:sp>
        <p:pic>
          <p:nvPicPr>
            <p:cNvPr id="241" name="Picture 240" descr="A close up of a logo&#10;&#10;Description automatically generated">
              <a:extLst>
                <a:ext uri="{FF2B5EF4-FFF2-40B4-BE49-F238E27FC236}">
                  <a16:creationId xmlns:a16="http://schemas.microsoft.com/office/drawing/2014/main" id="{BDCA369E-9F57-9843-A26C-551A65D49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3066" y="3322404"/>
              <a:ext cx="1440000" cy="1440000"/>
            </a:xfrm>
            <a:prstGeom prst="rect">
              <a:avLst/>
            </a:prstGeom>
          </p:spPr>
        </p:pic>
      </p:grpSp>
      <p:pic>
        <p:nvPicPr>
          <p:cNvPr id="242" name="Picture 241" descr="A close up of a logo&#10;&#10;Description automatically generated">
            <a:extLst>
              <a:ext uri="{FF2B5EF4-FFF2-40B4-BE49-F238E27FC236}">
                <a16:creationId xmlns:a16="http://schemas.microsoft.com/office/drawing/2014/main" id="{4C306442-58F5-5A47-AFC2-5A4559620D11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7224823" y="1761923"/>
            <a:ext cx="1440000" cy="1440000"/>
          </a:xfrm>
          <a:prstGeom prst="rect">
            <a:avLst/>
          </a:prstGeom>
        </p:spPr>
      </p:pic>
      <p:pic>
        <p:nvPicPr>
          <p:cNvPr id="243" name="Picture 242" descr="A close up of a logo&#10;&#10;Description automatically generated">
            <a:extLst>
              <a:ext uri="{FF2B5EF4-FFF2-40B4-BE49-F238E27FC236}">
                <a16:creationId xmlns:a16="http://schemas.microsoft.com/office/drawing/2014/main" id="{37C829E3-2E24-A14D-ABCA-3B0A5AA92299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8612763" y="1767617"/>
            <a:ext cx="1440000" cy="1440000"/>
          </a:xfrm>
          <a:prstGeom prst="rect">
            <a:avLst/>
          </a:prstGeom>
        </p:spPr>
      </p:pic>
      <p:sp>
        <p:nvSpPr>
          <p:cNvPr id="244" name="TextBox 243">
            <a:extLst>
              <a:ext uri="{FF2B5EF4-FFF2-40B4-BE49-F238E27FC236}">
                <a16:creationId xmlns:a16="http://schemas.microsoft.com/office/drawing/2014/main" id="{4CFF9556-6CB0-E748-8A9C-BCB871C1A852}"/>
              </a:ext>
            </a:extLst>
          </p:cNvPr>
          <p:cNvSpPr txBox="1"/>
          <p:nvPr userDrawn="1"/>
        </p:nvSpPr>
        <p:spPr>
          <a:xfrm>
            <a:off x="715466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07805582-7E54-DD4A-9271-9561F3DA171B}"/>
              </a:ext>
            </a:extLst>
          </p:cNvPr>
          <p:cNvSpPr txBox="1"/>
          <p:nvPr userDrawn="1"/>
        </p:nvSpPr>
        <p:spPr>
          <a:xfrm>
            <a:off x="854260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</p:spTree>
    <p:extLst>
      <p:ext uri="{BB962C8B-B14F-4D97-AF65-F5344CB8AC3E}">
        <p14:creationId xmlns:p14="http://schemas.microsoft.com/office/powerpoint/2010/main" val="387225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D5FF9B05-B734-3C45-83E4-FDCEFC88B1C7}"/>
              </a:ext>
            </a:extLst>
          </p:cNvPr>
          <p:cNvGrpSpPr/>
          <p:nvPr userDrawn="1"/>
        </p:nvGrpSpPr>
        <p:grpSpPr>
          <a:xfrm>
            <a:off x="2992453" y="1617206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C4E3C020-A2BA-FB48-BB4C-F1C06698B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AAFEBB2E-BF9F-EA4E-9E9F-8FC47713F20C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cesses &amp; Data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B251DC2-41E1-3B4F-BC53-EF5605D64E9E}"/>
              </a:ext>
            </a:extLst>
          </p:cNvPr>
          <p:cNvGrpSpPr/>
          <p:nvPr userDrawn="1"/>
        </p:nvGrpSpPr>
        <p:grpSpPr>
          <a:xfrm>
            <a:off x="1621801" y="1622141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79B6A91C-1C58-324E-A8D3-8C58CF090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DC0F5970-5AE7-1A4B-BCBA-2320E932293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ject Tracking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320A5C4F-2848-8F4C-94DB-9D8E9FFE1133}"/>
              </a:ext>
            </a:extLst>
          </p:cNvPr>
          <p:cNvGrpSpPr/>
          <p:nvPr userDrawn="1"/>
        </p:nvGrpSpPr>
        <p:grpSpPr>
          <a:xfrm>
            <a:off x="4406194" y="1610210"/>
            <a:ext cx="1580322" cy="1722115"/>
            <a:chOff x="5750970" y="3968750"/>
            <a:chExt cx="1580322" cy="172211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1189C764-F6DB-FE45-9AB2-63E7DBC1C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74960FCF-5DDF-7B4D-BE10-E4DC4F857604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umping </a:t>
              </a:r>
              <a:br>
                <a:rPr lang="en-US" sz="1200" dirty="0"/>
              </a:br>
              <a:r>
                <a:rPr lang="en-US" sz="1200" dirty="0"/>
                <a:t>Stations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187FBFA-B3A4-254E-A187-F4E2EFCA49D6}"/>
              </a:ext>
            </a:extLst>
          </p:cNvPr>
          <p:cNvGrpSpPr/>
          <p:nvPr userDrawn="1"/>
        </p:nvGrpSpPr>
        <p:grpSpPr>
          <a:xfrm>
            <a:off x="5748340" y="1619297"/>
            <a:ext cx="1580322" cy="1530453"/>
            <a:chOff x="3896140" y="405538"/>
            <a:chExt cx="1580322" cy="1530453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0FD9866B-EC00-C043-8824-E82A94C72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9027EFED-85E1-D549-BAB5-9A2B9FE20D31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 Control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E19EF0FC-78B3-1B4E-B9B3-FA249C9CC8A8}"/>
              </a:ext>
            </a:extLst>
          </p:cNvPr>
          <p:cNvGrpSpPr/>
          <p:nvPr userDrawn="1"/>
        </p:nvGrpSpPr>
        <p:grpSpPr>
          <a:xfrm>
            <a:off x="7158370" y="1607240"/>
            <a:ext cx="1580322" cy="1532435"/>
            <a:chOff x="7667309" y="2169250"/>
            <a:chExt cx="1580322" cy="1532435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0364D460-89CF-2047-A881-C6B0203A3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3A7B073D-7A15-BF4A-936D-0AA7A7118E5A}"/>
                </a:ext>
              </a:extLst>
            </p:cNvPr>
            <p:cNvSpPr txBox="1"/>
            <p:nvPr/>
          </p:nvSpPr>
          <p:spPr>
            <a:xfrm>
              <a:off x="7667309" y="342468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1DE3D6AA-67AD-164A-803F-586500EDB5A2}"/>
              </a:ext>
            </a:extLst>
          </p:cNvPr>
          <p:cNvGrpSpPr/>
          <p:nvPr userDrawn="1"/>
        </p:nvGrpSpPr>
        <p:grpSpPr>
          <a:xfrm>
            <a:off x="365149" y="1625181"/>
            <a:ext cx="1580322" cy="1530453"/>
            <a:chOff x="9480376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8727F5C-3D5B-124D-8161-B468684C9B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26C3FF5-ABAD-4949-BA71-EB4D618BE55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ortable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760EC1A-EBE2-6F4D-B23F-9258112B15BA}"/>
              </a:ext>
            </a:extLst>
          </p:cNvPr>
          <p:cNvGrpSpPr/>
          <p:nvPr userDrawn="1"/>
        </p:nvGrpSpPr>
        <p:grpSpPr>
          <a:xfrm>
            <a:off x="8531671" y="1607240"/>
            <a:ext cx="1580322" cy="1519720"/>
            <a:chOff x="7667309" y="2169250"/>
            <a:chExt cx="1580322" cy="1519720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4686F63-1BCA-FC4E-9E27-3CB984408C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5462DC1F-8C40-DB48-991F-49E5A02E8052}"/>
                </a:ext>
              </a:extLst>
            </p:cNvPr>
            <p:cNvSpPr txBox="1"/>
            <p:nvPr/>
          </p:nvSpPr>
          <p:spPr>
            <a:xfrm>
              <a:off x="7667309" y="341197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cycling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2FE3-1BA6-1340-8FA3-F3FF7C50AE60}"/>
              </a:ext>
            </a:extLst>
          </p:cNvPr>
          <p:cNvGrpSpPr/>
          <p:nvPr userDrawn="1"/>
        </p:nvGrpSpPr>
        <p:grpSpPr>
          <a:xfrm>
            <a:off x="9943929" y="1613389"/>
            <a:ext cx="1580322" cy="1534270"/>
            <a:chOff x="3896140" y="2169250"/>
            <a:chExt cx="1580322" cy="1534270"/>
          </a:xfrm>
        </p:grpSpPr>
        <p:pic>
          <p:nvPicPr>
            <p:cNvPr id="192" name="Picture 19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FCBBFB0-F7D6-304F-AE1A-F29DE2973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CF9AA23D-4538-4344-9C30-AB3CE2029482}"/>
                </a:ext>
              </a:extLst>
            </p:cNvPr>
            <p:cNvSpPr txBox="1"/>
            <p:nvPr/>
          </p:nvSpPr>
          <p:spPr>
            <a:xfrm>
              <a:off x="3896140" y="342652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ainwater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626DB841-8413-B249-A985-397E6F8C5918}"/>
              </a:ext>
            </a:extLst>
          </p:cNvPr>
          <p:cNvGrpSpPr/>
          <p:nvPr userDrawn="1"/>
        </p:nvGrpSpPr>
        <p:grpSpPr>
          <a:xfrm>
            <a:off x="364907" y="3334873"/>
            <a:ext cx="1580322" cy="1702577"/>
            <a:chOff x="9480376" y="2169250"/>
            <a:chExt cx="1580322" cy="1702577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B90CF042-2A6F-0A42-BD3F-CEAE17D81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27D6A808-E45D-154E-8799-26F7374C48C8}"/>
                </a:ext>
              </a:extLst>
            </p:cNvPr>
            <p:cNvSpPr txBox="1"/>
            <p:nvPr/>
          </p:nvSpPr>
          <p:spPr>
            <a:xfrm>
              <a:off x="9480376" y="34101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gulations Compliant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0723FB96-6C9E-AD4E-9E0B-0C9080331A47}"/>
              </a:ext>
            </a:extLst>
          </p:cNvPr>
          <p:cNvGrpSpPr/>
          <p:nvPr userDrawn="1"/>
        </p:nvGrpSpPr>
        <p:grpSpPr>
          <a:xfrm>
            <a:off x="1694588" y="3335589"/>
            <a:ext cx="1580322" cy="1537586"/>
            <a:chOff x="7667309" y="3968613"/>
            <a:chExt cx="1580322" cy="1537586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B2590BB-C06E-0247-B2BF-98D76BA90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1D1B94C6-3AA0-414C-BE2C-D42D7D0E737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aves Money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822D493-F8E1-F347-8D07-88EA0FA4A027}"/>
              </a:ext>
            </a:extLst>
          </p:cNvPr>
          <p:cNvGrpSpPr/>
          <p:nvPr userDrawn="1"/>
        </p:nvGrpSpPr>
        <p:grpSpPr>
          <a:xfrm>
            <a:off x="9940811" y="3331694"/>
            <a:ext cx="1580322" cy="1537449"/>
            <a:chOff x="9480376" y="3968750"/>
            <a:chExt cx="1580322" cy="1537449"/>
          </a:xfrm>
        </p:grpSpPr>
        <p:pic>
          <p:nvPicPr>
            <p:cNvPr id="201" name="Picture 200" descr="A close up of a sign&#10;&#10;Description automatically generated">
              <a:extLst>
                <a:ext uri="{FF2B5EF4-FFF2-40B4-BE49-F238E27FC236}">
                  <a16:creationId xmlns:a16="http://schemas.microsoft.com/office/drawing/2014/main" id="{D8D500D4-2091-D141-82C4-58D2928E9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E61E58B-2A00-5A4D-821E-7A7F9A895651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utions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43B416DE-BA12-4B44-8994-2A96850E7344}"/>
              </a:ext>
            </a:extLst>
          </p:cNvPr>
          <p:cNvGrpSpPr/>
          <p:nvPr userDrawn="1"/>
        </p:nvGrpSpPr>
        <p:grpSpPr>
          <a:xfrm>
            <a:off x="348263" y="5007655"/>
            <a:ext cx="1580322" cy="1537586"/>
            <a:chOff x="2063552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DDCA9CEF-8587-B841-896C-91455A6CE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2774260C-04D7-EF4E-BCE3-C29A5358D0B2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mall Footprint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B9B2FDF0-C1D7-6442-B9CC-BF01348A9D2A}"/>
              </a:ext>
            </a:extLst>
          </p:cNvPr>
          <p:cNvGrpSpPr/>
          <p:nvPr userDrawn="1"/>
        </p:nvGrpSpPr>
        <p:grpSpPr>
          <a:xfrm>
            <a:off x="8538251" y="3338690"/>
            <a:ext cx="1580322" cy="1530453"/>
            <a:chOff x="3896140" y="405538"/>
            <a:chExt cx="1580322" cy="1530453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C028BE95-2B6D-714B-8F76-039F58A76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AA82EC1F-5879-054A-9B10-84D405848878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hallow Dig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17D212F4-38F1-904F-9465-CFE2BA9A864E}"/>
              </a:ext>
            </a:extLst>
          </p:cNvPr>
          <p:cNvGrpSpPr/>
          <p:nvPr userDrawn="1"/>
        </p:nvGrpSpPr>
        <p:grpSpPr>
          <a:xfrm>
            <a:off x="4381418" y="3331694"/>
            <a:ext cx="1580322" cy="1537449"/>
            <a:chOff x="2063552" y="3968750"/>
            <a:chExt cx="1580322" cy="1537449"/>
          </a:xfrm>
        </p:grpSpPr>
        <p:pic>
          <p:nvPicPr>
            <p:cNvPr id="210" name="Picture 20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5C86CA9-BD63-F041-90F5-2B9F44622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133713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40DE84B5-0AD6-3C4E-9262-045C36511B3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9B01FA4-39B4-F14E-B2AF-41D44DD00344}"/>
              </a:ext>
            </a:extLst>
          </p:cNvPr>
          <p:cNvGrpSpPr/>
          <p:nvPr userDrawn="1"/>
        </p:nvGrpSpPr>
        <p:grpSpPr>
          <a:xfrm>
            <a:off x="5780961" y="3331694"/>
            <a:ext cx="1580322" cy="1530453"/>
            <a:chOff x="2063552" y="405538"/>
            <a:chExt cx="1580322" cy="1530453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05123355-5585-C44D-8DD2-355D8A788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F5C72FF9-43EC-C645-9BCB-796FCA96B54B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0CDC5290-D307-224D-B1BD-859A0685A92B}"/>
              </a:ext>
            </a:extLst>
          </p:cNvPr>
          <p:cNvGrpSpPr/>
          <p:nvPr userDrawn="1"/>
        </p:nvGrpSpPr>
        <p:grpSpPr>
          <a:xfrm>
            <a:off x="7139575" y="3331694"/>
            <a:ext cx="1580322" cy="1533162"/>
            <a:chOff x="7667309" y="2169250"/>
            <a:chExt cx="1580322" cy="1533162"/>
          </a:xfrm>
        </p:grpSpPr>
        <p:pic>
          <p:nvPicPr>
            <p:cNvPr id="216" name="Picture 21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8007F9AE-54C8-6046-8B24-86DB14EED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A8C2A97D-4925-6F4D-B883-11C673198F20}"/>
                </a:ext>
              </a:extLst>
            </p:cNvPr>
            <p:cNvSpPr txBox="1"/>
            <p:nvPr/>
          </p:nvSpPr>
          <p:spPr>
            <a:xfrm>
              <a:off x="7667309" y="342541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cure Login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38E2671E-0AC0-F64A-916E-7168528EB017}"/>
              </a:ext>
            </a:extLst>
          </p:cNvPr>
          <p:cNvGrpSpPr/>
          <p:nvPr userDrawn="1"/>
        </p:nvGrpSpPr>
        <p:grpSpPr>
          <a:xfrm>
            <a:off x="3011106" y="3338345"/>
            <a:ext cx="1580322" cy="1722115"/>
            <a:chOff x="367748" y="3968750"/>
            <a:chExt cx="1580322" cy="1722115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2DAC62A9-89E8-9D42-8FEA-1A0D5E2C4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52932A-4C25-FF40-A317-8F0F82775CE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rvice &amp; Mainten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283C09C6-E58E-1B4B-AE0E-250F7BA6013E}"/>
              </a:ext>
            </a:extLst>
          </p:cNvPr>
          <p:cNvGrpSpPr/>
          <p:nvPr userDrawn="1"/>
        </p:nvGrpSpPr>
        <p:grpSpPr>
          <a:xfrm>
            <a:off x="1636940" y="5011222"/>
            <a:ext cx="1580322" cy="1530453"/>
            <a:chOff x="5750970" y="405538"/>
            <a:chExt cx="1580322" cy="1530453"/>
          </a:xfrm>
        </p:grpSpPr>
        <p:pic>
          <p:nvPicPr>
            <p:cNvPr id="222" name="Picture 221" descr="A picture containing clock, drawing&#10;&#10;Description automatically generated">
              <a:extLst>
                <a:ext uri="{FF2B5EF4-FFF2-40B4-BE49-F238E27FC236}">
                  <a16:creationId xmlns:a16="http://schemas.microsoft.com/office/drawing/2014/main" id="{092E7878-B49C-E442-AC66-75B1B2A83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C2B30F84-6783-254E-BA7B-4F65CC1A13EE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cial Offer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AA8DBC51-2D8C-F041-98FE-A6C3C2CAD5A2}"/>
              </a:ext>
            </a:extLst>
          </p:cNvPr>
          <p:cNvGrpSpPr/>
          <p:nvPr userDrawn="1"/>
        </p:nvGrpSpPr>
        <p:grpSpPr>
          <a:xfrm>
            <a:off x="5768685" y="5007655"/>
            <a:ext cx="1580322" cy="1537586"/>
            <a:chOff x="9480376" y="3968613"/>
            <a:chExt cx="1580322" cy="1537586"/>
          </a:xfrm>
        </p:grpSpPr>
        <p:pic>
          <p:nvPicPr>
            <p:cNvPr id="225" name="Picture 224" descr="A close up of a sign&#10;&#10;Description automatically generated">
              <a:extLst>
                <a:ext uri="{FF2B5EF4-FFF2-40B4-BE49-F238E27FC236}">
                  <a16:creationId xmlns:a16="http://schemas.microsoft.com/office/drawing/2014/main" id="{ED0835FD-FFC1-764A-9945-99103A8F9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550537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C7DBCD7C-2EA8-DF4B-9FF4-034C4D4CE8BD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te Visit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F8677F9F-1009-1C47-BFDC-4A288375C333}"/>
              </a:ext>
            </a:extLst>
          </p:cNvPr>
          <p:cNvGrpSpPr/>
          <p:nvPr userDrawn="1"/>
        </p:nvGrpSpPr>
        <p:grpSpPr>
          <a:xfrm>
            <a:off x="8543219" y="5011222"/>
            <a:ext cx="1580322" cy="1530453"/>
            <a:chOff x="9480376" y="405538"/>
            <a:chExt cx="1580322" cy="1530453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6BC42775-981F-E244-A04C-7F84D3509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C70A05B1-78E9-6E4A-BDFC-728EF7BDE40F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trength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E5501891-2A00-2748-9864-8C1FDE7676CE}"/>
              </a:ext>
            </a:extLst>
          </p:cNvPr>
          <p:cNvGrpSpPr/>
          <p:nvPr userDrawn="1"/>
        </p:nvGrpSpPr>
        <p:grpSpPr>
          <a:xfrm>
            <a:off x="4367367" y="5008814"/>
            <a:ext cx="1580322" cy="1535268"/>
            <a:chOff x="3896140" y="2169250"/>
            <a:chExt cx="1580322" cy="1535268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B9A467E9-44FF-8B47-BFEF-C83E4B84E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7F018EDF-9D26-DB4E-92AE-DB0377544BF3}"/>
                </a:ext>
              </a:extLst>
            </p:cNvPr>
            <p:cNvSpPr txBox="1"/>
            <p:nvPr/>
          </p:nvSpPr>
          <p:spPr>
            <a:xfrm>
              <a:off x="3896140" y="342751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ar Powered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8AC17010-A3BD-784A-AAFE-2DB0F00957E5}"/>
              </a:ext>
            </a:extLst>
          </p:cNvPr>
          <p:cNvGrpSpPr/>
          <p:nvPr userDrawn="1"/>
        </p:nvGrpSpPr>
        <p:grpSpPr>
          <a:xfrm>
            <a:off x="7125524" y="5028537"/>
            <a:ext cx="1580322" cy="1704771"/>
            <a:chOff x="7667309" y="2169250"/>
            <a:chExt cx="1580322" cy="170477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5B873053-38F6-474E-930F-327E70A53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FF696787-2BE6-974F-836C-75EE5D892D89}"/>
                </a:ext>
              </a:extLst>
            </p:cNvPr>
            <p:cNvSpPr txBox="1"/>
            <p:nvPr/>
          </p:nvSpPr>
          <p:spPr>
            <a:xfrm>
              <a:off x="7667309" y="341235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ngle Piece System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1DCDABB0-46F8-0C4E-9E5B-987D611089FD}"/>
              </a:ext>
            </a:extLst>
          </p:cNvPr>
          <p:cNvGrpSpPr/>
          <p:nvPr userDrawn="1"/>
        </p:nvGrpSpPr>
        <p:grpSpPr>
          <a:xfrm>
            <a:off x="3081267" y="5002145"/>
            <a:ext cx="1440000" cy="1548606"/>
            <a:chOff x="447469" y="435355"/>
            <a:chExt cx="1440000" cy="1548606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120CE43A-E423-CD4D-A369-014543A1F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47469" y="435355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31917F9E-AF1F-6143-B212-E2D90BC72999}"/>
                </a:ext>
              </a:extLst>
            </p:cNvPr>
            <p:cNvSpPr txBox="1"/>
            <p:nvPr/>
          </p:nvSpPr>
          <p:spPr>
            <a:xfrm>
              <a:off x="623888" y="1706962"/>
              <a:ext cx="10933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ed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E428DF4-B435-C54D-A86C-981018C62D88}"/>
              </a:ext>
            </a:extLst>
          </p:cNvPr>
          <p:cNvGrpSpPr/>
          <p:nvPr userDrawn="1"/>
        </p:nvGrpSpPr>
        <p:grpSpPr>
          <a:xfrm>
            <a:off x="9935378" y="4912057"/>
            <a:ext cx="1580322" cy="1728783"/>
            <a:chOff x="2980152" y="439844"/>
            <a:chExt cx="1580322" cy="1728783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DBBD4DFA-1A7C-C04D-8851-983348BB9835}"/>
                </a:ext>
              </a:extLst>
            </p:cNvPr>
            <p:cNvSpPr txBox="1"/>
            <p:nvPr/>
          </p:nvSpPr>
          <p:spPr>
            <a:xfrm>
              <a:off x="2980152" y="17069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241" name="Picture 24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36CB3935-6F60-AA44-B73D-49F280D85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1607" y="439844"/>
              <a:ext cx="1440001" cy="1440001"/>
            </a:xfrm>
            <a:prstGeom prst="rect">
              <a:avLst/>
            </a:prstGeom>
          </p:spPr>
        </p:pic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4E0594-3FC5-284C-8CA8-142703B2E5C8}"/>
              </a:ext>
            </a:extLst>
          </p:cNvPr>
          <p:cNvGrpSpPr/>
          <p:nvPr userDrawn="1"/>
        </p:nvGrpSpPr>
        <p:grpSpPr>
          <a:xfrm>
            <a:off x="2988608" y="32068"/>
            <a:ext cx="1580322" cy="1530453"/>
            <a:chOff x="9480376" y="405538"/>
            <a:chExt cx="1580322" cy="1530453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71AE286F-954F-4A43-AE0F-7D522CDF4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07592D84-2A7D-5A41-B872-17BC093CFDFB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ur Values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9D662942-B567-8D4C-982A-9B579FA1D5C2}"/>
              </a:ext>
            </a:extLst>
          </p:cNvPr>
          <p:cNvGrpSpPr/>
          <p:nvPr userDrawn="1"/>
        </p:nvGrpSpPr>
        <p:grpSpPr>
          <a:xfrm>
            <a:off x="367748" y="32068"/>
            <a:ext cx="1580322" cy="1530453"/>
            <a:chOff x="7667309" y="405538"/>
            <a:chExt cx="1580322" cy="1530453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28C6A8B0-0869-5D4B-88AB-B1C66AD22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396C7199-7469-024C-8A76-CDCB271DBA0D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Odour</a:t>
              </a:r>
              <a:r>
                <a:rPr lang="en-US" sz="1200" dirty="0"/>
                <a:t> Free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0E488593-FAD3-8F44-8F34-07D25BED6DBB}"/>
              </a:ext>
            </a:extLst>
          </p:cNvPr>
          <p:cNvGrpSpPr/>
          <p:nvPr userDrawn="1"/>
        </p:nvGrpSpPr>
        <p:grpSpPr>
          <a:xfrm>
            <a:off x="1622444" y="33832"/>
            <a:ext cx="1580322" cy="1531754"/>
            <a:chOff x="7667309" y="2169250"/>
            <a:chExt cx="1580322" cy="1531754"/>
          </a:xfrm>
        </p:grpSpPr>
        <p:pic>
          <p:nvPicPr>
            <p:cNvPr id="249" name="Picture 248" descr="A close up of a logo&#10;&#10;Description automatically generated">
              <a:extLst>
                <a:ext uri="{FF2B5EF4-FFF2-40B4-BE49-F238E27FC236}">
                  <a16:creationId xmlns:a16="http://schemas.microsoft.com/office/drawing/2014/main" id="{4C160267-0103-8843-AECF-D6336149C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CA58BF1D-0A20-2A4F-8307-1F2613CB743B}"/>
                </a:ext>
              </a:extLst>
            </p:cNvPr>
            <p:cNvSpPr txBox="1"/>
            <p:nvPr/>
          </p:nvSpPr>
          <p:spPr>
            <a:xfrm>
              <a:off x="7667309" y="34240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ffic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C2A1B2BB-A4DA-6048-81B4-ADF88CCE01F5}"/>
              </a:ext>
            </a:extLst>
          </p:cNvPr>
          <p:cNvGrpSpPr/>
          <p:nvPr userDrawn="1"/>
        </p:nvGrpSpPr>
        <p:grpSpPr>
          <a:xfrm>
            <a:off x="8533073" y="32068"/>
            <a:ext cx="1580322" cy="1530453"/>
            <a:chOff x="2063552" y="405538"/>
            <a:chExt cx="1580322" cy="1530453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F3C3B792-8EB9-0141-9595-2247AE002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0681653-5B27-2743-9DCD-810057A26B41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hon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E226A9B4-8892-DE46-86E7-4A69C0FE21EF}"/>
              </a:ext>
            </a:extLst>
          </p:cNvPr>
          <p:cNvGrpSpPr/>
          <p:nvPr userDrawn="1"/>
        </p:nvGrpSpPr>
        <p:grpSpPr>
          <a:xfrm>
            <a:off x="9976412" y="33982"/>
            <a:ext cx="1580322" cy="1522052"/>
            <a:chOff x="9480376" y="2169250"/>
            <a:chExt cx="1580322" cy="1522052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B207A063-F812-314B-9FDF-09F49A4E3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9A94FDB4-6307-E441-8D4A-86777CB963BF}"/>
                </a:ext>
              </a:extLst>
            </p:cNvPr>
            <p:cNvSpPr txBox="1"/>
            <p:nvPr/>
          </p:nvSpPr>
          <p:spPr>
            <a:xfrm>
              <a:off x="9480376" y="341430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lastic Bottle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C63AFDD5-CE96-3D48-A605-D5B370572B40}"/>
              </a:ext>
            </a:extLst>
          </p:cNvPr>
          <p:cNvGrpSpPr/>
          <p:nvPr userDrawn="1"/>
        </p:nvGrpSpPr>
        <p:grpSpPr>
          <a:xfrm>
            <a:off x="4368417" y="32068"/>
            <a:ext cx="1580322" cy="1522478"/>
            <a:chOff x="2063552" y="2169250"/>
            <a:chExt cx="1580322" cy="1522478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8A5A345F-615C-7F48-BFF3-A4B0C04977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A0E364DB-97AF-BB45-AA03-22E802AC1877}"/>
                </a:ext>
              </a:extLst>
            </p:cNvPr>
            <p:cNvSpPr txBox="1"/>
            <p:nvPr/>
          </p:nvSpPr>
          <p:spPr>
            <a:xfrm>
              <a:off x="2063552" y="341472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artnerships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E289086-3E8C-764E-AB0A-BC7D77A51BE2}"/>
              </a:ext>
            </a:extLst>
          </p:cNvPr>
          <p:cNvGrpSpPr/>
          <p:nvPr userDrawn="1"/>
        </p:nvGrpSpPr>
        <p:grpSpPr>
          <a:xfrm>
            <a:off x="7156962" y="29028"/>
            <a:ext cx="1580322" cy="1537449"/>
            <a:chOff x="9480376" y="3968750"/>
            <a:chExt cx="1580322" cy="1537449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092241A2-D0FC-5544-8D04-B17D89817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E8ADB606-7C54-8C42-BE14-8B1EC8A3AC95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ace of Mind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02530772-90EE-7C4B-9564-3CD7B6036C55}"/>
              </a:ext>
            </a:extLst>
          </p:cNvPr>
          <p:cNvGrpSpPr/>
          <p:nvPr userDrawn="1"/>
        </p:nvGrpSpPr>
        <p:grpSpPr>
          <a:xfrm>
            <a:off x="5733766" y="32068"/>
            <a:ext cx="1580322" cy="1530453"/>
            <a:chOff x="3896140" y="405538"/>
            <a:chExt cx="1580322" cy="153045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7C029809-6AC7-F347-A4BC-A64858600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789C6533-C103-6F46-9A12-42288513CF2B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destri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631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4570AEBB-C30B-E44D-9111-0AE6C330D3A1}"/>
              </a:ext>
            </a:extLst>
          </p:cNvPr>
          <p:cNvGrpSpPr/>
          <p:nvPr userDrawn="1"/>
        </p:nvGrpSpPr>
        <p:grpSpPr>
          <a:xfrm>
            <a:off x="9944851" y="1769165"/>
            <a:ext cx="1580322" cy="1515700"/>
            <a:chOff x="3896140" y="2169250"/>
            <a:chExt cx="1580322" cy="1515700"/>
          </a:xfrm>
        </p:grpSpPr>
        <p:pic>
          <p:nvPicPr>
            <p:cNvPr id="36" name="Picture 35" descr="A picture containing drawing, clock&#10;&#10;Description automatically generated">
              <a:extLst>
                <a:ext uri="{FF2B5EF4-FFF2-40B4-BE49-F238E27FC236}">
                  <a16:creationId xmlns:a16="http://schemas.microsoft.com/office/drawing/2014/main" id="{9B4BEC6F-AA4F-A545-8C87-99FC179FE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2EA73C-C1ED-5045-B0FB-E4EC61EF34B3}"/>
                </a:ext>
              </a:extLst>
            </p:cNvPr>
            <p:cNvSpPr txBox="1"/>
            <p:nvPr/>
          </p:nvSpPr>
          <p:spPr>
            <a:xfrm>
              <a:off x="3896140" y="340795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ndow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79E4E6E-41B0-9446-BB0C-E30038A9309E}"/>
              </a:ext>
            </a:extLst>
          </p:cNvPr>
          <p:cNvGrpSpPr/>
          <p:nvPr userDrawn="1"/>
        </p:nvGrpSpPr>
        <p:grpSpPr>
          <a:xfrm>
            <a:off x="8598934" y="1775549"/>
            <a:ext cx="1580322" cy="1533056"/>
            <a:chOff x="9480376" y="2169250"/>
            <a:chExt cx="1580322" cy="1533056"/>
          </a:xfrm>
        </p:grpSpPr>
        <p:pic>
          <p:nvPicPr>
            <p:cNvPr id="39" name="Picture 38" descr="A close up of a logo&#10;&#10;Description automatically generated">
              <a:extLst>
                <a:ext uri="{FF2B5EF4-FFF2-40B4-BE49-F238E27FC236}">
                  <a16:creationId xmlns:a16="http://schemas.microsoft.com/office/drawing/2014/main" id="{03BB665C-F40D-8243-9AB6-4B3C48B35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3309480-8DC9-B248-B035-23DB4C3CC6C1}"/>
                </a:ext>
              </a:extLst>
            </p:cNvPr>
            <p:cNvSpPr txBox="1"/>
            <p:nvPr/>
          </p:nvSpPr>
          <p:spPr>
            <a:xfrm>
              <a:off x="9480376" y="3425307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eather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84A8CE6-D7F9-0C41-825A-3122941CC914}"/>
              </a:ext>
            </a:extLst>
          </p:cNvPr>
          <p:cNvGrpSpPr/>
          <p:nvPr userDrawn="1"/>
        </p:nvGrpSpPr>
        <p:grpSpPr>
          <a:xfrm>
            <a:off x="5819456" y="1775053"/>
            <a:ext cx="1580322" cy="1530453"/>
            <a:chOff x="7667309" y="405538"/>
            <a:chExt cx="1580322" cy="1530453"/>
          </a:xfrm>
        </p:grpSpPr>
        <p:pic>
          <p:nvPicPr>
            <p:cNvPr id="42" name="Picture 4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1D98900-CCDA-0446-B28C-EEB537139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C9FAB1A-EDF7-414E-BF78-85CCF32BBEB0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rning/Alert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F5734D8-F6F6-3F4B-85FA-5E4D75B1CA78}"/>
              </a:ext>
            </a:extLst>
          </p:cNvPr>
          <p:cNvGrpSpPr/>
          <p:nvPr userDrawn="1"/>
        </p:nvGrpSpPr>
        <p:grpSpPr>
          <a:xfrm>
            <a:off x="4438655" y="1775549"/>
            <a:ext cx="1580322" cy="1533019"/>
            <a:chOff x="2063552" y="2169250"/>
            <a:chExt cx="1580322" cy="1533019"/>
          </a:xfrm>
        </p:grpSpPr>
        <p:pic>
          <p:nvPicPr>
            <p:cNvPr id="45" name="Picture 44" descr="A close up of a logo&#10;&#10;Description automatically generated">
              <a:extLst>
                <a:ext uri="{FF2B5EF4-FFF2-40B4-BE49-F238E27FC236}">
                  <a16:creationId xmlns:a16="http://schemas.microsoft.com/office/drawing/2014/main" id="{3979F712-4AE5-E949-8186-E7C0E850A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82D9F6E-808A-7246-8A5A-53E0CE58A2A2}"/>
                </a:ext>
              </a:extLst>
            </p:cNvPr>
            <p:cNvSpPr txBox="1"/>
            <p:nvPr/>
          </p:nvSpPr>
          <p:spPr>
            <a:xfrm>
              <a:off x="2063552" y="342527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&amp; Energy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B4F476E-2BA4-1E42-B910-5C33EE507D8D}"/>
              </a:ext>
            </a:extLst>
          </p:cNvPr>
          <p:cNvGrpSpPr/>
          <p:nvPr userDrawn="1"/>
        </p:nvGrpSpPr>
        <p:grpSpPr>
          <a:xfrm>
            <a:off x="7204917" y="1775053"/>
            <a:ext cx="1580322" cy="1906781"/>
            <a:chOff x="367748" y="3968750"/>
            <a:chExt cx="1580322" cy="1906781"/>
          </a:xfrm>
        </p:grpSpPr>
        <p:pic>
          <p:nvPicPr>
            <p:cNvPr id="48" name="Picture 4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13E6C-A104-D643-98BD-2DD1F33BC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9CC41FE-F107-FF4F-A8E7-3565BC178BD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Management Solutions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6B109DB-4D5A-C34E-A718-8FCB29DE4150}"/>
              </a:ext>
            </a:extLst>
          </p:cNvPr>
          <p:cNvGrpSpPr/>
          <p:nvPr userDrawn="1"/>
        </p:nvGrpSpPr>
        <p:grpSpPr>
          <a:xfrm>
            <a:off x="312763" y="3548264"/>
            <a:ext cx="1580322" cy="1518425"/>
            <a:chOff x="367748" y="2169250"/>
            <a:chExt cx="1580322" cy="1518425"/>
          </a:xfrm>
        </p:grpSpPr>
        <p:pic>
          <p:nvPicPr>
            <p:cNvPr id="51" name="Picture 50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412C461-D680-D741-AE16-55D5F4E81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717BF53-325B-2944-A211-D3A206BB23FB}"/>
                </a:ext>
              </a:extLst>
            </p:cNvPr>
            <p:cNvSpPr txBox="1"/>
            <p:nvPr/>
          </p:nvSpPr>
          <p:spPr>
            <a:xfrm>
              <a:off x="367748" y="34106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reles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1D43B28-E605-0544-A061-94103551D3D1}"/>
              </a:ext>
            </a:extLst>
          </p:cNvPr>
          <p:cNvGrpSpPr/>
          <p:nvPr userDrawn="1"/>
        </p:nvGrpSpPr>
        <p:grpSpPr>
          <a:xfrm>
            <a:off x="1679887" y="3544218"/>
            <a:ext cx="1580322" cy="1530453"/>
            <a:chOff x="7667309" y="405538"/>
            <a:chExt cx="1580322" cy="1530453"/>
          </a:xfrm>
        </p:grpSpPr>
        <p:pic>
          <p:nvPicPr>
            <p:cNvPr id="54" name="Picture 5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AECA182-8441-FC4F-B691-A4C74ABFE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5B7E7D3-FF4E-BA4D-A5CD-308BCDC14E8A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C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FEDC0B3-04D1-BF44-B969-DA25682FD9F3}"/>
              </a:ext>
            </a:extLst>
          </p:cNvPr>
          <p:cNvGrpSpPr/>
          <p:nvPr userDrawn="1"/>
        </p:nvGrpSpPr>
        <p:grpSpPr>
          <a:xfrm>
            <a:off x="5855089" y="3524350"/>
            <a:ext cx="1580322" cy="1715118"/>
            <a:chOff x="9480376" y="2169250"/>
            <a:chExt cx="1580322" cy="1715118"/>
          </a:xfrm>
        </p:grpSpPr>
        <p:pic>
          <p:nvPicPr>
            <p:cNvPr id="57" name="Picture 56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2AF0BEC-24E7-DB41-B840-6DFD23E22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8A03034-D395-EF45-89D8-8D2B795E39D0}"/>
                </a:ext>
              </a:extLst>
            </p:cNvPr>
            <p:cNvSpPr txBox="1"/>
            <p:nvPr/>
          </p:nvSpPr>
          <p:spPr>
            <a:xfrm>
              <a:off x="9480376" y="342270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10 Year Guarantee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C0E630D-6D57-2E47-A620-08F55FBA8DDE}"/>
              </a:ext>
            </a:extLst>
          </p:cNvPr>
          <p:cNvGrpSpPr/>
          <p:nvPr userDrawn="1"/>
        </p:nvGrpSpPr>
        <p:grpSpPr>
          <a:xfrm>
            <a:off x="3088827" y="3524350"/>
            <a:ext cx="1580322" cy="1715119"/>
            <a:chOff x="367748" y="405538"/>
            <a:chExt cx="1580322" cy="1715119"/>
          </a:xfrm>
        </p:grpSpPr>
        <p:pic>
          <p:nvPicPr>
            <p:cNvPr id="60" name="Picture 59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31C3E95A-31BC-7842-9595-6F21301F3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F8DD463-B058-E44A-A31A-97584612D06D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60 Years Experience</a:t>
              </a:r>
              <a:endParaRPr lang="en-US" sz="1200" dirty="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534A86F-6563-3E4F-95F3-C2B67DD91F4F}"/>
              </a:ext>
            </a:extLst>
          </p:cNvPr>
          <p:cNvGrpSpPr/>
          <p:nvPr userDrawn="1"/>
        </p:nvGrpSpPr>
        <p:grpSpPr>
          <a:xfrm>
            <a:off x="4469628" y="3514411"/>
            <a:ext cx="1580322" cy="1715119"/>
            <a:chOff x="367748" y="405538"/>
            <a:chExt cx="1580322" cy="1715119"/>
          </a:xfrm>
        </p:grpSpPr>
        <p:pic>
          <p:nvPicPr>
            <p:cNvPr id="63" name="Picture 62" descr="A close up of a logo&#10;&#10;Description automatically generated">
              <a:extLst>
                <a:ext uri="{FF2B5EF4-FFF2-40B4-BE49-F238E27FC236}">
                  <a16:creationId xmlns:a16="http://schemas.microsoft.com/office/drawing/2014/main" id="{781CD0E7-DCB1-C743-8C05-526044B2E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523E7290-B2D2-5E49-874A-9E3DB1AE76A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5 Year</a:t>
              </a:r>
              <a:br>
                <a:rPr lang="en-US" sz="1200" dirty="0"/>
              </a:br>
              <a:r>
                <a:rPr lang="en-US" sz="1200" dirty="0"/>
                <a:t>Guarantee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C21E6CA-E0FC-AC4F-9C44-985FF310F44D}"/>
              </a:ext>
            </a:extLst>
          </p:cNvPr>
          <p:cNvGrpSpPr/>
          <p:nvPr userDrawn="1"/>
        </p:nvGrpSpPr>
        <p:grpSpPr>
          <a:xfrm>
            <a:off x="425327" y="1785108"/>
            <a:ext cx="1439941" cy="1698626"/>
            <a:chOff x="425327" y="14365"/>
            <a:chExt cx="1439941" cy="1698626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17BE41B-859D-1F4E-BAE0-77DC661C0ED1}"/>
                </a:ext>
              </a:extLst>
            </p:cNvPr>
            <p:cNvSpPr txBox="1"/>
            <p:nvPr/>
          </p:nvSpPr>
          <p:spPr>
            <a:xfrm>
              <a:off x="617127" y="1251326"/>
              <a:ext cx="10933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Value of Space</a:t>
              </a:r>
            </a:p>
          </p:txBody>
        </p:sp>
        <p:pic>
          <p:nvPicPr>
            <p:cNvPr id="67" name="Picture 66" descr="A close up of a logo&#10;&#10;Description automatically generated">
              <a:extLst>
                <a:ext uri="{FF2B5EF4-FFF2-40B4-BE49-F238E27FC236}">
                  <a16:creationId xmlns:a16="http://schemas.microsoft.com/office/drawing/2014/main" id="{A7B9F8DA-DE54-5244-88F4-F73738E7E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25327" y="14365"/>
              <a:ext cx="1439941" cy="1439941"/>
            </a:xfrm>
            <a:prstGeom prst="rect">
              <a:avLst/>
            </a:prstGeom>
          </p:spPr>
        </p:pic>
      </p:grpSp>
      <p:pic>
        <p:nvPicPr>
          <p:cNvPr id="68" name="Picture 67" descr="A close up of a logo&#10;&#10;Description automatically generated">
            <a:extLst>
              <a:ext uri="{FF2B5EF4-FFF2-40B4-BE49-F238E27FC236}">
                <a16:creationId xmlns:a16="http://schemas.microsoft.com/office/drawing/2014/main" id="{1C1C2472-D34D-D743-83E9-472FDDE9ACD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093720" y="1770743"/>
            <a:ext cx="1440000" cy="1440000"/>
          </a:xfrm>
          <a:prstGeom prst="rect">
            <a:avLst/>
          </a:prstGeom>
        </p:spPr>
      </p:pic>
      <p:pic>
        <p:nvPicPr>
          <p:cNvPr id="69" name="Picture 68" descr="A close up of a logo&#10;&#10;Description automatically generated">
            <a:extLst>
              <a:ext uri="{FF2B5EF4-FFF2-40B4-BE49-F238E27FC236}">
                <a16:creationId xmlns:a16="http://schemas.microsoft.com/office/drawing/2014/main" id="{1A8D4D40-5926-7E4E-9409-346D94F9A48B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767840" y="1770743"/>
            <a:ext cx="1440000" cy="14400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501BCBFB-16E0-674E-8BFA-C2B8B84A3463}"/>
              </a:ext>
            </a:extLst>
          </p:cNvPr>
          <p:cNvSpPr txBox="1"/>
          <p:nvPr userDrawn="1"/>
        </p:nvSpPr>
        <p:spPr>
          <a:xfrm>
            <a:off x="194118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DCBDD38-CEDC-4C45-9F16-63397D74B2D5}"/>
              </a:ext>
            </a:extLst>
          </p:cNvPr>
          <p:cNvSpPr txBox="1"/>
          <p:nvPr userDrawn="1"/>
        </p:nvSpPr>
        <p:spPr>
          <a:xfrm>
            <a:off x="326706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A73E3EA-1058-0945-B47B-B01E5F27DF8C}"/>
              </a:ext>
            </a:extLst>
          </p:cNvPr>
          <p:cNvGrpSpPr/>
          <p:nvPr userDrawn="1"/>
        </p:nvGrpSpPr>
        <p:grpSpPr>
          <a:xfrm>
            <a:off x="418424" y="9898"/>
            <a:ext cx="1440001" cy="1717254"/>
            <a:chOff x="4441292" y="451373"/>
            <a:chExt cx="1440001" cy="1717254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9029692-0A8B-9946-AE15-00C1B5C63887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107" name="Picture 106" descr="A picture containing object, clock&#10;&#10;Description automatically generated">
              <a:extLst>
                <a:ext uri="{FF2B5EF4-FFF2-40B4-BE49-F238E27FC236}">
                  <a16:creationId xmlns:a16="http://schemas.microsoft.com/office/drawing/2014/main" id="{7A1BE080-7C5A-CD46-A875-A8840BBA2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441292" y="451373"/>
              <a:ext cx="1440001" cy="1440001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CD871D3-5D9B-C445-B58A-3F400D10C036}"/>
              </a:ext>
            </a:extLst>
          </p:cNvPr>
          <p:cNvGrpSpPr/>
          <p:nvPr userDrawn="1"/>
        </p:nvGrpSpPr>
        <p:grpSpPr>
          <a:xfrm>
            <a:off x="3015807" y="0"/>
            <a:ext cx="1580322" cy="1530453"/>
            <a:chOff x="2063552" y="405538"/>
            <a:chExt cx="1580322" cy="1530453"/>
          </a:xfrm>
        </p:grpSpPr>
        <p:pic>
          <p:nvPicPr>
            <p:cNvPr id="109" name="Picture 10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5E5B0A6-749C-B448-A592-2864D8A39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E521F28-9561-AD44-B722-533CBBE7DDCF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chnology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BB9F985-9B0F-E047-B510-1BB9EF36F33E}"/>
              </a:ext>
            </a:extLst>
          </p:cNvPr>
          <p:cNvGrpSpPr/>
          <p:nvPr userDrawn="1"/>
        </p:nvGrpSpPr>
        <p:grpSpPr>
          <a:xfrm>
            <a:off x="8563826" y="20904"/>
            <a:ext cx="1580322" cy="1501025"/>
            <a:chOff x="5750970" y="2169250"/>
            <a:chExt cx="1580322" cy="1501025"/>
          </a:xfrm>
        </p:grpSpPr>
        <p:pic>
          <p:nvPicPr>
            <p:cNvPr id="112" name="Picture 111" descr="A close up of a logo&#10;&#10;Description automatically generated">
              <a:extLst>
                <a:ext uri="{FF2B5EF4-FFF2-40B4-BE49-F238E27FC236}">
                  <a16:creationId xmlns:a16="http://schemas.microsoft.com/office/drawing/2014/main" id="{83428831-0B07-C443-A5D9-527124647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FB0C301-92BC-E541-B57F-525F1CEE2CEA}"/>
                </a:ext>
              </a:extLst>
            </p:cNvPr>
            <p:cNvSpPr txBox="1"/>
            <p:nvPr/>
          </p:nvSpPr>
          <p:spPr>
            <a:xfrm>
              <a:off x="5750970" y="33932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rusted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A064281-FE15-D047-AB93-75FFD984539C}"/>
              </a:ext>
            </a:extLst>
          </p:cNvPr>
          <p:cNvGrpSpPr/>
          <p:nvPr userDrawn="1"/>
        </p:nvGrpSpPr>
        <p:grpSpPr>
          <a:xfrm>
            <a:off x="4381418" y="1961"/>
            <a:ext cx="1580322" cy="1537449"/>
            <a:chOff x="3896140" y="3968750"/>
            <a:chExt cx="1580322" cy="1537449"/>
          </a:xfrm>
        </p:grpSpPr>
        <p:pic>
          <p:nvPicPr>
            <p:cNvPr id="115" name="Picture 114" descr="A close up of a logo&#10;&#10;Description automatically generated">
              <a:extLst>
                <a:ext uri="{FF2B5EF4-FFF2-40B4-BE49-F238E27FC236}">
                  <a16:creationId xmlns:a16="http://schemas.microsoft.com/office/drawing/2014/main" id="{7A4E366A-C689-9F45-9BE2-7565B861A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3E2AF2E-D974-BC44-82F4-AAA15C760FD0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lemetry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F05FAF8-30CF-B54D-A9D8-9AD47435166B}"/>
              </a:ext>
            </a:extLst>
          </p:cNvPr>
          <p:cNvGrpSpPr/>
          <p:nvPr userDrawn="1"/>
        </p:nvGrpSpPr>
        <p:grpSpPr>
          <a:xfrm>
            <a:off x="5774501" y="0"/>
            <a:ext cx="1580322" cy="1555646"/>
            <a:chOff x="1638370" y="428315"/>
            <a:chExt cx="1580322" cy="1555646"/>
          </a:xfrm>
        </p:grpSpPr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60DA4B5-6EAA-E84C-AD7B-B149EBD9CD91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in</a:t>
              </a:r>
            </a:p>
          </p:txBody>
        </p:sp>
        <p:pic>
          <p:nvPicPr>
            <p:cNvPr id="119" name="Picture 11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A2C1789-8CA5-0B48-A125-F634DA7011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701611" y="428315"/>
              <a:ext cx="1441450" cy="1441450"/>
            </a:xfrm>
            <a:prstGeom prst="rect">
              <a:avLst/>
            </a:prstGeom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52128973-2794-CD4A-967B-7EA3F6DA1F82}"/>
              </a:ext>
            </a:extLst>
          </p:cNvPr>
          <p:cNvGrpSpPr/>
          <p:nvPr userDrawn="1"/>
        </p:nvGrpSpPr>
        <p:grpSpPr>
          <a:xfrm>
            <a:off x="1699390" y="0"/>
            <a:ext cx="1440000" cy="1738862"/>
            <a:chOff x="5837032" y="429765"/>
            <a:chExt cx="1440000" cy="1738862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1E22EBBD-946D-EE4B-A99A-9BC7B6497A4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Saving</a:t>
              </a:r>
            </a:p>
          </p:txBody>
        </p:sp>
        <p:pic>
          <p:nvPicPr>
            <p:cNvPr id="122" name="Picture 121" descr="A close up of a sign&#10;&#10;Description automatically generated">
              <a:extLst>
                <a:ext uri="{FF2B5EF4-FFF2-40B4-BE49-F238E27FC236}">
                  <a16:creationId xmlns:a16="http://schemas.microsoft.com/office/drawing/2014/main" id="{8C332DCE-70D7-B94D-A86F-41FCCE60F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0E466CF5-77E6-2849-825F-BCE63DDCA0FC}"/>
              </a:ext>
            </a:extLst>
          </p:cNvPr>
          <p:cNvGrpSpPr/>
          <p:nvPr userDrawn="1"/>
        </p:nvGrpSpPr>
        <p:grpSpPr>
          <a:xfrm>
            <a:off x="7139575" y="9709"/>
            <a:ext cx="1580322" cy="1548606"/>
            <a:chOff x="1638370" y="435355"/>
            <a:chExt cx="1580322" cy="1548606"/>
          </a:xfrm>
        </p:grpSpPr>
        <p:pic>
          <p:nvPicPr>
            <p:cNvPr id="124" name="Picture 123" descr="A close up of a logo&#10;&#10;Description automatically generated">
              <a:extLst>
                <a:ext uri="{FF2B5EF4-FFF2-40B4-BE49-F238E27FC236}">
                  <a16:creationId xmlns:a16="http://schemas.microsoft.com/office/drawing/2014/main" id="{29C8F395-99FF-CB41-9A35-870DA67F2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753119" y="435355"/>
              <a:ext cx="1440000" cy="1440000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11004237-79D8-FF41-BB20-F72958AB83CA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ermal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132D0852-F109-4840-8B7D-22633932F88B}"/>
              </a:ext>
            </a:extLst>
          </p:cNvPr>
          <p:cNvGrpSpPr/>
          <p:nvPr userDrawn="1"/>
        </p:nvGrpSpPr>
        <p:grpSpPr>
          <a:xfrm>
            <a:off x="9951586" y="0"/>
            <a:ext cx="1580322" cy="1530453"/>
            <a:chOff x="3896140" y="405538"/>
            <a:chExt cx="1580322" cy="1530453"/>
          </a:xfrm>
        </p:grpSpPr>
        <p:pic>
          <p:nvPicPr>
            <p:cNvPr id="127" name="Picture 126" descr="A close up of a sign&#10;&#10;Description automatically generated">
              <a:extLst>
                <a:ext uri="{FF2B5EF4-FFF2-40B4-BE49-F238E27FC236}">
                  <a16:creationId xmlns:a16="http://schemas.microsoft.com/office/drawing/2014/main" id="{F253349E-D85B-1A40-A086-F689B655B8B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8875A09-5C32-D144-B13C-55E5EB13EEC9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User interfa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2115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7E0ADF6-E402-3146-B6DE-495BAF74F338}"/>
              </a:ext>
            </a:extLst>
          </p:cNvPr>
          <p:cNvGrpSpPr/>
          <p:nvPr userDrawn="1"/>
        </p:nvGrpSpPr>
        <p:grpSpPr>
          <a:xfrm>
            <a:off x="2060687" y="1219765"/>
            <a:ext cx="1580322" cy="1823574"/>
            <a:chOff x="2060687" y="335183"/>
            <a:chExt cx="1580322" cy="182357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7080020-DBD7-7D4A-A601-0D373779B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70415" y="335183"/>
              <a:ext cx="1560866" cy="1560866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4B66BA5-5251-7D4A-ADB0-F06CA12C04E2}"/>
                </a:ext>
              </a:extLst>
            </p:cNvPr>
            <p:cNvSpPr txBox="1"/>
            <p:nvPr/>
          </p:nvSpPr>
          <p:spPr>
            <a:xfrm>
              <a:off x="2060687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 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311CBF-35F9-7B42-AFD0-7388FA15E194}"/>
              </a:ext>
            </a:extLst>
          </p:cNvPr>
          <p:cNvGrpSpPr/>
          <p:nvPr userDrawn="1"/>
        </p:nvGrpSpPr>
        <p:grpSpPr>
          <a:xfrm>
            <a:off x="3896140" y="1219765"/>
            <a:ext cx="1580322" cy="1823574"/>
            <a:chOff x="3896140" y="335183"/>
            <a:chExt cx="1580322" cy="1823574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3C9B6E8E-D382-C54D-B03F-EC03B231D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05868" y="335183"/>
              <a:ext cx="1560866" cy="1560866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7E95FD9-B3BE-3946-88C9-18D9AF591AE3}"/>
                </a:ext>
              </a:extLst>
            </p:cNvPr>
            <p:cNvSpPr txBox="1"/>
            <p:nvPr/>
          </p:nvSpPr>
          <p:spPr>
            <a:xfrm>
              <a:off x="389614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Harvested Rainwater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7A2DF56-7F4E-B74F-9EF8-22EB940B3D8F}"/>
              </a:ext>
            </a:extLst>
          </p:cNvPr>
          <p:cNvGrpSpPr/>
          <p:nvPr userDrawn="1"/>
        </p:nvGrpSpPr>
        <p:grpSpPr>
          <a:xfrm>
            <a:off x="5750970" y="1219765"/>
            <a:ext cx="1580322" cy="1823574"/>
            <a:chOff x="5750970" y="335183"/>
            <a:chExt cx="1580322" cy="182357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397EC76-47B1-5F40-8B0A-CCCC7E2D7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60698" y="335183"/>
              <a:ext cx="1560866" cy="1560866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AC4E3AF-BD61-5C4F-A121-07463167A4A2}"/>
                </a:ext>
              </a:extLst>
            </p:cNvPr>
            <p:cNvSpPr txBox="1"/>
            <p:nvPr/>
          </p:nvSpPr>
          <p:spPr>
            <a:xfrm>
              <a:off x="575097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 (PETS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A3D937-5DA9-6540-A3B4-35AB5AD80573}"/>
              </a:ext>
            </a:extLst>
          </p:cNvPr>
          <p:cNvGrpSpPr/>
          <p:nvPr userDrawn="1"/>
        </p:nvGrpSpPr>
        <p:grpSpPr>
          <a:xfrm>
            <a:off x="7667309" y="1219765"/>
            <a:ext cx="1580322" cy="1823574"/>
            <a:chOff x="7667309" y="335183"/>
            <a:chExt cx="1580322" cy="1823574"/>
          </a:xfrm>
        </p:grpSpPr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4199837F-648B-3E49-8C70-6CCBA8CB9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677037" y="335183"/>
              <a:ext cx="1560866" cy="1560866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3DD6A3E-810A-E149-B8DC-16C65669000C}"/>
                </a:ext>
              </a:extLst>
            </p:cNvPr>
            <p:cNvSpPr txBox="1"/>
            <p:nvPr/>
          </p:nvSpPr>
          <p:spPr>
            <a:xfrm>
              <a:off x="7667309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ustainable Disposabl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A435C9-18ED-7C47-B379-E289CBD0D831}"/>
              </a:ext>
            </a:extLst>
          </p:cNvPr>
          <p:cNvGrpSpPr/>
          <p:nvPr userDrawn="1"/>
        </p:nvGrpSpPr>
        <p:grpSpPr>
          <a:xfrm>
            <a:off x="9480376" y="1219765"/>
            <a:ext cx="1580322" cy="1823574"/>
            <a:chOff x="9480376" y="335183"/>
            <a:chExt cx="1580322" cy="1823574"/>
          </a:xfrm>
        </p:grpSpPr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B2DFCE71-6805-1940-98AC-BE0857ADF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490104" y="335183"/>
              <a:ext cx="1560866" cy="1560866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D4A8CB-B54E-F342-AD99-33B14AF80D1A}"/>
                </a:ext>
              </a:extLst>
            </p:cNvPr>
            <p:cNvSpPr txBox="1"/>
            <p:nvPr/>
          </p:nvSpPr>
          <p:spPr>
            <a:xfrm>
              <a:off x="9480376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ldlife Conserv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C275B83-58F3-4C41-A29B-A8449C9A03FC}"/>
              </a:ext>
            </a:extLst>
          </p:cNvPr>
          <p:cNvGrpSpPr/>
          <p:nvPr userDrawn="1"/>
        </p:nvGrpSpPr>
        <p:grpSpPr>
          <a:xfrm>
            <a:off x="366479" y="2970743"/>
            <a:ext cx="1580322" cy="1876512"/>
            <a:chOff x="366479" y="2086161"/>
            <a:chExt cx="1580322" cy="187651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D0B128-566C-9946-8291-F34F48BC9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76207" y="2086161"/>
              <a:ext cx="1560866" cy="156086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A6ED507-A5BD-5E41-A120-C59F75E0D899}"/>
                </a:ext>
              </a:extLst>
            </p:cNvPr>
            <p:cNvSpPr txBox="1"/>
            <p:nvPr/>
          </p:nvSpPr>
          <p:spPr>
            <a:xfrm>
              <a:off x="36647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Waste to Landfill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88C6F2-E90C-9D4F-BB44-9C228DB01E7B}"/>
              </a:ext>
            </a:extLst>
          </p:cNvPr>
          <p:cNvGrpSpPr/>
          <p:nvPr userDrawn="1"/>
        </p:nvGrpSpPr>
        <p:grpSpPr>
          <a:xfrm>
            <a:off x="5750970" y="2970743"/>
            <a:ext cx="1580322" cy="1876512"/>
            <a:chOff x="5750970" y="2086161"/>
            <a:chExt cx="1580322" cy="1876512"/>
          </a:xfrm>
        </p:grpSpPr>
        <p:pic>
          <p:nvPicPr>
            <p:cNvPr id="21" name="Picture 20" descr="A close up of a logo&#10;&#10;Description automatically generated">
              <a:extLst>
                <a:ext uri="{FF2B5EF4-FFF2-40B4-BE49-F238E27FC236}">
                  <a16:creationId xmlns:a16="http://schemas.microsoft.com/office/drawing/2014/main" id="{40AF79D2-ABB6-6249-AB90-819D80E27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60698" y="2086161"/>
              <a:ext cx="1560866" cy="1560866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6D520A-1850-6240-AF9C-C53B4319489F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erve Precious Water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E86519-8C0E-7E4A-B35D-EA1C68D21516}"/>
              </a:ext>
            </a:extLst>
          </p:cNvPr>
          <p:cNvGrpSpPr/>
          <p:nvPr userDrawn="1"/>
        </p:nvGrpSpPr>
        <p:grpSpPr>
          <a:xfrm>
            <a:off x="366479" y="4789815"/>
            <a:ext cx="1580322" cy="1823732"/>
            <a:chOff x="366479" y="3905233"/>
            <a:chExt cx="1580322" cy="182373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4DD2E8F-EA5D-BE4D-9771-D7938B9CF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76207" y="3905233"/>
              <a:ext cx="1560866" cy="1560866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FCDF5E6-CEA8-974B-9E45-8BA498AE4982}"/>
                </a:ext>
              </a:extLst>
            </p:cNvPr>
            <p:cNvSpPr txBox="1"/>
            <p:nvPr/>
          </p:nvSpPr>
          <p:spPr>
            <a:xfrm>
              <a:off x="366479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ivert Waste </a:t>
              </a:r>
              <a:br>
                <a:rPr lang="en-US" sz="1200" dirty="0"/>
              </a:br>
              <a:r>
                <a:rPr lang="en-US" sz="1200" dirty="0"/>
                <a:t>From Landfill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6554505-D36A-6B4A-B149-925F6F387039}"/>
              </a:ext>
            </a:extLst>
          </p:cNvPr>
          <p:cNvGrpSpPr/>
          <p:nvPr userDrawn="1"/>
        </p:nvGrpSpPr>
        <p:grpSpPr>
          <a:xfrm>
            <a:off x="2060687" y="4789815"/>
            <a:ext cx="1580322" cy="1639066"/>
            <a:chOff x="2060687" y="3905233"/>
            <a:chExt cx="1580322" cy="1639066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A87986D-6D26-B049-ACB6-D09710666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070415" y="3905233"/>
              <a:ext cx="1560866" cy="156086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A0E7E4B-4EED-EF45-AD38-AB6BBD575001}"/>
                </a:ext>
              </a:extLst>
            </p:cNvPr>
            <p:cNvSpPr txBox="1"/>
            <p:nvPr/>
          </p:nvSpPr>
          <p:spPr>
            <a:xfrm>
              <a:off x="2060687" y="52673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Car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59AC5-5161-3542-A44B-87C140EF1AD7}"/>
              </a:ext>
            </a:extLst>
          </p:cNvPr>
          <p:cNvGrpSpPr/>
          <p:nvPr userDrawn="1"/>
        </p:nvGrpSpPr>
        <p:grpSpPr>
          <a:xfrm>
            <a:off x="3896140" y="4789815"/>
            <a:ext cx="1580322" cy="1823732"/>
            <a:chOff x="3896140" y="3905233"/>
            <a:chExt cx="1580322" cy="1823732"/>
          </a:xfrm>
        </p:grpSpPr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3118C172-C374-7148-8AF8-91DA1163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905868" y="3905233"/>
              <a:ext cx="1560866" cy="1560866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8D30B9-2D0D-5447-B451-99762172B567}"/>
                </a:ext>
              </a:extLst>
            </p:cNvPr>
            <p:cNvSpPr txBox="1"/>
            <p:nvPr/>
          </p:nvSpPr>
          <p:spPr>
            <a:xfrm>
              <a:off x="3896140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FE88D3-964D-F04D-982F-D50679D1A931}"/>
              </a:ext>
            </a:extLst>
          </p:cNvPr>
          <p:cNvGrpSpPr/>
          <p:nvPr userDrawn="1"/>
        </p:nvGrpSpPr>
        <p:grpSpPr>
          <a:xfrm>
            <a:off x="9480376" y="2970743"/>
            <a:ext cx="1580322" cy="1876512"/>
            <a:chOff x="9480376" y="2086161"/>
            <a:chExt cx="1580322" cy="1876512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B81C42D-1A62-0E42-9368-8AB6785A055B}"/>
                </a:ext>
              </a:extLst>
            </p:cNvPr>
            <p:cNvSpPr txBox="1"/>
            <p:nvPr/>
          </p:nvSpPr>
          <p:spPr>
            <a:xfrm>
              <a:off x="9480376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duce Carbon Emissions</a:t>
              </a:r>
            </a:p>
          </p:txBody>
        </p: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8C3D0B-F69D-584A-B789-F78D1EE92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490104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34229A7-5746-1545-9D95-5DB5D524B8B6}"/>
              </a:ext>
            </a:extLst>
          </p:cNvPr>
          <p:cNvGrpSpPr/>
          <p:nvPr userDrawn="1"/>
        </p:nvGrpSpPr>
        <p:grpSpPr>
          <a:xfrm>
            <a:off x="7667309" y="2970743"/>
            <a:ext cx="1580322" cy="1876512"/>
            <a:chOff x="7667309" y="2086161"/>
            <a:chExt cx="1580322" cy="187651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FCA6388-B3D7-E04A-9FFD-911C1AD95D4E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Upcycling Solutions</a:t>
              </a:r>
            </a:p>
          </p:txBody>
        </p:sp>
        <p:pic>
          <p:nvPicPr>
            <p:cNvPr id="37" name="Picture 36" descr="A close up of a logo&#10;&#10;Description automatically generated">
              <a:extLst>
                <a:ext uri="{FF2B5EF4-FFF2-40B4-BE49-F238E27FC236}">
                  <a16:creationId xmlns:a16="http://schemas.microsoft.com/office/drawing/2014/main" id="{87D98C90-3A4F-924E-866C-A3BD078DC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677037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5319109-DF02-FB4B-A59E-90747F79DBD5}"/>
              </a:ext>
            </a:extLst>
          </p:cNvPr>
          <p:cNvGrpSpPr/>
          <p:nvPr userDrawn="1"/>
        </p:nvGrpSpPr>
        <p:grpSpPr>
          <a:xfrm>
            <a:off x="3896140" y="2970743"/>
            <a:ext cx="1580322" cy="1691846"/>
            <a:chOff x="3896140" y="2086161"/>
            <a:chExt cx="1580322" cy="169184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69ACBB5-7413-064B-976E-6770C7943827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458CDF8-B795-7B49-9715-EAF36754E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05868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B72E4C2-6ABB-FC4C-ABD8-C3F418B7756B}"/>
              </a:ext>
            </a:extLst>
          </p:cNvPr>
          <p:cNvGrpSpPr/>
          <p:nvPr userDrawn="1"/>
        </p:nvGrpSpPr>
        <p:grpSpPr>
          <a:xfrm>
            <a:off x="2060687" y="2970743"/>
            <a:ext cx="1580322" cy="1876512"/>
            <a:chOff x="2060687" y="2086161"/>
            <a:chExt cx="1580322" cy="187651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7521234-615B-9B46-946E-CCDAC01ACD92}"/>
                </a:ext>
              </a:extLst>
            </p:cNvPr>
            <p:cNvSpPr txBox="1"/>
            <p:nvPr/>
          </p:nvSpPr>
          <p:spPr>
            <a:xfrm>
              <a:off x="2060687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Vehicles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8AC1DD03-B1F9-6B4C-AA85-870734290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070415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48BFC73-B6AF-004C-B3A9-6E0BA209E43D}"/>
              </a:ext>
            </a:extLst>
          </p:cNvPr>
          <p:cNvGrpSpPr/>
          <p:nvPr userDrawn="1"/>
        </p:nvGrpSpPr>
        <p:grpSpPr>
          <a:xfrm>
            <a:off x="366479" y="1219765"/>
            <a:ext cx="1580322" cy="1638908"/>
            <a:chOff x="366479" y="1219765"/>
            <a:chExt cx="1580322" cy="1638908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6E7A0CA-1D4D-C14A-847A-285EFAADE9AA}"/>
                </a:ext>
              </a:extLst>
            </p:cNvPr>
            <p:cNvSpPr txBox="1"/>
            <p:nvPr/>
          </p:nvSpPr>
          <p:spPr>
            <a:xfrm>
              <a:off x="366479" y="258167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T Plastic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AA491AB-E6B6-604B-BC91-441D57CCB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76207" y="1219765"/>
              <a:ext cx="1560866" cy="1560866"/>
            </a:xfrm>
            <a:prstGeom prst="rect">
              <a:avLst/>
            </a:prstGeom>
          </p:spPr>
        </p:pic>
      </p:grpSp>
      <p:sp>
        <p:nvSpPr>
          <p:cNvPr id="47" name="Title 4">
            <a:extLst>
              <a:ext uri="{FF2B5EF4-FFF2-40B4-BE49-F238E27FC236}">
                <a16:creationId xmlns:a16="http://schemas.microsoft.com/office/drawing/2014/main" id="{77074F7F-7772-E54E-8E65-51F80B009F05}"/>
              </a:ext>
            </a:extLst>
          </p:cNvPr>
          <p:cNvSpPr txBox="1">
            <a:spLocks/>
          </p:cNvSpPr>
          <p:nvPr userDrawn="1"/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net Passionate Icons</a:t>
            </a:r>
            <a:br>
              <a:rPr lang="en-I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236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80083D-ED1D-A14E-AB59-11EE03FDC6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073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365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4DB3BC1-51BC-FA4C-B894-20464786F5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uideline Slide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5058055-1CEA-8F4A-B28D-6EBF057B1F66}"/>
              </a:ext>
            </a:extLst>
          </p:cNvPr>
          <p:cNvSpPr txBox="1"/>
          <p:nvPr userDrawn="1"/>
        </p:nvSpPr>
        <p:spPr>
          <a:xfrm>
            <a:off x="4198976" y="1454019"/>
            <a:ext cx="3609474" cy="51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3200" dirty="0">
                <a:latin typeface="Century Gothic" panose="020B0502020202020204" pitchFamily="34" charset="0"/>
              </a:rPr>
              <a:t>Title </a:t>
            </a:r>
            <a:r>
              <a:rPr lang="en-US" sz="3200" b="0" i="0" dirty="0">
                <a:latin typeface="Century Gothic" panose="020B0502020202020204" pitchFamily="34" charset="0"/>
              </a:rPr>
              <a:t>Size 3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latin typeface="Century Gothic" panose="020B0502020202020204" pitchFamily="34" charset="0"/>
              </a:rPr>
              <a:t>Title </a:t>
            </a:r>
            <a:r>
              <a:rPr lang="en-US" sz="4000" b="0" i="0" dirty="0">
                <a:latin typeface="Century Gothic" panose="020B0502020202020204" pitchFamily="34" charset="0"/>
              </a:rPr>
              <a:t>Size 4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latin typeface="Century Gothic" panose="020B0502020202020204" pitchFamily="34" charset="0"/>
              </a:rPr>
              <a:t>Title </a:t>
            </a:r>
            <a:r>
              <a:rPr lang="en-US" sz="4800" b="0" i="0" dirty="0">
                <a:latin typeface="Century Gothic" panose="020B0502020202020204" pitchFamily="34" charset="0"/>
              </a:rPr>
              <a:t>Size 4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Subtitle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i="0" dirty="0">
                <a:latin typeface="Century Gothic" panose="020B0502020202020204" pitchFamily="34" charset="0"/>
              </a:rPr>
              <a:t>Subtitle Size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i="0" dirty="0">
                <a:latin typeface="Century Gothic" panose="020B0502020202020204" pitchFamily="34" charset="0"/>
              </a:rPr>
              <a:t>Subtitle Size 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0" i="0" dirty="0">
                <a:latin typeface="Century Gothic" panose="020B0502020202020204" pitchFamily="34" charset="0"/>
              </a:rPr>
              <a:t>Subtitle Size 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latin typeface="Century Gothic" panose="020B0502020202020204" pitchFamily="34" charset="0"/>
              </a:rPr>
              <a:t>Body Copy Size 1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dirty="0">
                <a:latin typeface="Century Gothic" panose="020B0502020202020204" pitchFamily="34" charset="0"/>
              </a:rPr>
              <a:t>Body Copy Size 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0" i="0" dirty="0">
                <a:latin typeface="Century Gothic" panose="020B0502020202020204" pitchFamily="34" charset="0"/>
              </a:rPr>
              <a:t>Body Copy Size 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Body Copy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endParaRPr lang="en-US" sz="3200" b="0" i="0" dirty="0">
              <a:latin typeface="Century Gothic" panose="020B0502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A9601FA-2C65-E743-B839-2BC0AA447EFA}"/>
              </a:ext>
            </a:extLst>
          </p:cNvPr>
          <p:cNvGrpSpPr/>
          <p:nvPr userDrawn="1"/>
        </p:nvGrpSpPr>
        <p:grpSpPr>
          <a:xfrm>
            <a:off x="623887" y="1457766"/>
            <a:ext cx="3625820" cy="4943755"/>
            <a:chOff x="-6257760" y="707017"/>
            <a:chExt cx="3625820" cy="494375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BD78F41-BB0F-F94F-B712-97D86AE976FB}"/>
                </a:ext>
              </a:extLst>
            </p:cNvPr>
            <p:cNvSpPr/>
            <p:nvPr/>
          </p:nvSpPr>
          <p:spPr>
            <a:xfrm>
              <a:off x="-6246609" y="707017"/>
              <a:ext cx="881743" cy="881743"/>
            </a:xfrm>
            <a:prstGeom prst="ellipse">
              <a:avLst/>
            </a:prstGeom>
            <a:solidFill>
              <a:srgbClr val="0941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BCF57C2-460B-E046-8C9E-C10EFA6D7193}"/>
                </a:ext>
              </a:extLst>
            </p:cNvPr>
            <p:cNvSpPr/>
            <p:nvPr/>
          </p:nvSpPr>
          <p:spPr>
            <a:xfrm>
              <a:off x="-6246609" y="1726714"/>
              <a:ext cx="881743" cy="881743"/>
            </a:xfrm>
            <a:prstGeom prst="ellipse">
              <a:avLst/>
            </a:prstGeom>
            <a:solidFill>
              <a:srgbClr val="2382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5F50ABA-AC03-BB42-A8AC-FAC93E74E2FA}"/>
                </a:ext>
              </a:extLst>
            </p:cNvPr>
            <p:cNvSpPr/>
            <p:nvPr/>
          </p:nvSpPr>
          <p:spPr>
            <a:xfrm>
              <a:off x="-6246609" y="2740819"/>
              <a:ext cx="881743" cy="881743"/>
            </a:xfrm>
            <a:prstGeom prst="ellipse">
              <a:avLst/>
            </a:prstGeom>
            <a:solidFill>
              <a:srgbClr val="F7A4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78521A9-75E7-4548-A46B-547A9ACB0A3D}"/>
                </a:ext>
              </a:extLst>
            </p:cNvPr>
            <p:cNvSpPr/>
            <p:nvPr/>
          </p:nvSpPr>
          <p:spPr>
            <a:xfrm>
              <a:off x="-6257760" y="3754924"/>
              <a:ext cx="881743" cy="881743"/>
            </a:xfrm>
            <a:prstGeom prst="ellipse">
              <a:avLst/>
            </a:prstGeom>
            <a:solidFill>
              <a:srgbClr val="0FA0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BF5A9BF-9E01-A946-A6D0-4A399D564919}"/>
                </a:ext>
              </a:extLst>
            </p:cNvPr>
            <p:cNvSpPr/>
            <p:nvPr/>
          </p:nvSpPr>
          <p:spPr>
            <a:xfrm>
              <a:off x="-6257760" y="4769029"/>
              <a:ext cx="881743" cy="881743"/>
            </a:xfrm>
            <a:prstGeom prst="ellipse">
              <a:avLst/>
            </a:prstGeom>
            <a:solidFill>
              <a:srgbClr val="C09A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474E757-2D7D-E84A-8F90-67963898E9A5}"/>
                </a:ext>
              </a:extLst>
            </p:cNvPr>
            <p:cNvSpPr txBox="1"/>
            <p:nvPr/>
          </p:nvSpPr>
          <p:spPr>
            <a:xfrm>
              <a:off x="-5235635" y="293357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Orang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0 / 42 / 87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247 / 164 / 45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FBDF904-4B20-C644-BF8D-76EF3776FFF5}"/>
                </a:ext>
              </a:extLst>
            </p:cNvPr>
            <p:cNvSpPr txBox="1"/>
            <p:nvPr/>
          </p:nvSpPr>
          <p:spPr>
            <a:xfrm>
              <a:off x="-5235635" y="191247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0 / 33 / 4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 / 141 / 198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8FEDB90-7B3E-404B-BEE7-B7222F3FF624}"/>
                </a:ext>
              </a:extLst>
            </p:cNvPr>
            <p:cNvSpPr txBox="1"/>
            <p:nvPr/>
          </p:nvSpPr>
          <p:spPr>
            <a:xfrm>
              <a:off x="-5235635" y="851395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100 / 72 / 0 / 18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0 / 66 / 137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2223326-CD12-D04E-AD0D-8F5551660336}"/>
                </a:ext>
              </a:extLst>
            </p:cNvPr>
            <p:cNvSpPr txBox="1"/>
            <p:nvPr/>
          </p:nvSpPr>
          <p:spPr>
            <a:xfrm>
              <a:off x="-5235635" y="396009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Green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1 / 5 / 95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5 / 160 / 66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42560D3-17B6-DD47-A272-449E80C687E5}"/>
                </a:ext>
              </a:extLst>
            </p:cNvPr>
            <p:cNvSpPr txBox="1"/>
            <p:nvPr/>
          </p:nvSpPr>
          <p:spPr>
            <a:xfrm>
              <a:off x="-5235635" y="496178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Gold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30 / 40 / 70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2 / 154 / 9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41649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FF804A-9FCC-3D4F-8E5D-878EB0BC5C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18954" y="1397777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</p:spTree>
    <p:extLst>
      <p:ext uri="{BB962C8B-B14F-4D97-AF65-F5344CB8AC3E}">
        <p14:creationId xmlns:p14="http://schemas.microsoft.com/office/powerpoint/2010/main" val="1472261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4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202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582F58F-84F7-A348-85DD-03FEC9C57F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521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5" t="27833" r="42531" b="51236"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nsert backdrop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F7D7FD-2E4D-764B-8614-8BB948EDA1D8}"/>
              </a:ext>
            </a:extLst>
          </p:cNvPr>
          <p:cNvSpPr/>
          <p:nvPr userDrawn="1"/>
        </p:nvSpPr>
        <p:spPr>
          <a:xfrm>
            <a:off x="5562600" y="3456947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Right click and use the crop function to size your image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Scale and position your image to fit inside this area.</a:t>
            </a:r>
            <a:br>
              <a:rPr lang="en-US" sz="1400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15243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370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109419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5B61BF-F308-884F-835C-950D755857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3244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2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14E8BA2-96AA-D443-B26D-17071E7390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422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</a:lstStyle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Right click and use the crop function to size your image box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Scale and position your image to fit inside this area.</a:t>
            </a:r>
            <a:br>
              <a:rPr lang="en-US" sz="2000" dirty="0"/>
            </a:br>
            <a:endParaRPr lang="en-US" sz="2000" dirty="0"/>
          </a:p>
          <a:p>
            <a:pPr lvl="0"/>
            <a:endParaRPr lang="en-US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966914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080788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21922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73162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249345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262559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92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744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4B06EC-548A-3A41-9515-77E050010F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026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00031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Planet Passionat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9DDE4E-439C-584A-9367-471280FC2F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53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D2F7360-C85C-A545-9AC3-C8303F5241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552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601444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A08F8D-242C-EC41-A05E-7744BFBBC7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080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01CB732-A621-8440-A42B-A3E72ABEF6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94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56A60E4-0332-914F-93F8-9A7AA9093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633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08C281-9C7A-294A-87E1-B2464303E763}"/>
              </a:ext>
            </a:extLst>
          </p:cNvPr>
          <p:cNvSpPr/>
          <p:nvPr userDrawn="1"/>
        </p:nvSpPr>
        <p:spPr>
          <a:xfrm>
            <a:off x="0" y="1"/>
            <a:ext cx="12181021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9" y="1745140"/>
            <a:ext cx="3527424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12113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8023"/>
            <a:ext cx="10934489" cy="54303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49577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E4BDEA-9ED9-9E4A-8299-1ED7EDA0B7BE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530DB3-6D36-8245-B9A4-DFAB045921B8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44A662-5109-9E46-BA25-7B6A075E7F85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C6B76F-1E4F-AC47-9415-689DE31A47F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168B1D-3168-D940-8927-A3A5BAAAFAF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Subtitle 2">
            <a:extLst>
              <a:ext uri="{FF2B5EF4-FFF2-40B4-BE49-F238E27FC236}">
                <a16:creationId xmlns:a16="http://schemas.microsoft.com/office/drawing/2014/main" id="{A69FF014-B939-B84A-B950-4DB7547889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B58088-83A5-AD46-ACC2-6FB2290F56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75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B3BBCE2E-3119-F04F-B262-DE7256C2C7A1}"/>
              </a:ext>
            </a:extLst>
          </p:cNvPr>
          <p:cNvSpPr/>
          <p:nvPr userDrawn="1"/>
        </p:nvSpPr>
        <p:spPr>
          <a:xfrm>
            <a:off x="373198" y="0"/>
            <a:ext cx="11807823" cy="4530723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8" y="1745140"/>
            <a:ext cx="3527425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745140"/>
            <a:ext cx="3556001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01453" y="1745140"/>
            <a:ext cx="3556002" cy="254746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32288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E05B4EB-48E0-2742-B1AE-279309679E4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332288" y="4688681"/>
            <a:ext cx="3527425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CAB8C08-8214-6A4E-A4D8-C6B318A0AFD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3888" y="4688681"/>
            <a:ext cx="3556001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ECE91E5-64B2-9844-9A5C-E74D42AB53F9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8001453" y="4688681"/>
            <a:ext cx="3556002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06BC46-0E61-E540-B5BD-BCDF424A6C78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D66A452-9491-0747-91FC-E3C7677DDB5C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3775A9-4829-B74C-9440-0DEA4FFD7D3E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4026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736726"/>
            <a:ext cx="261815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736726"/>
            <a:ext cx="2627312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736726"/>
            <a:ext cx="259238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736726"/>
            <a:ext cx="2627313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B9EAB2A-56B1-E542-B42E-A1585F7F0D9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406405" y="1272949"/>
            <a:ext cx="2598735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0E97C0-517F-494A-9ECE-ABF5BF8D5F5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3888" y="1272949"/>
            <a:ext cx="2627311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6CB81E-2868-C24A-A2D5-F8A38CC80E0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6197605" y="1272949"/>
            <a:ext cx="259873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5484F9-15AE-E747-8437-F25FF8A7112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940800" y="1272949"/>
            <a:ext cx="262731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8A60D2C3-77F9-EA4D-8FDD-D99DA6EE91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3623"/>
            <a:ext cx="10968449" cy="512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Main Titl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AC9DD0D-4687-204C-B610-9E8509660368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23888" y="4801560"/>
            <a:ext cx="10944223" cy="12492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50B2B7B-B299-584F-83B1-8A6E2DAD24C1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1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7E5DAF-191D-4648-A2A4-AC5ABD21B32D}"/>
              </a:ext>
            </a:extLst>
          </p:cNvPr>
          <p:cNvCxnSpPr>
            <a:cxnSpLocks/>
          </p:cNvCxnSpPr>
          <p:nvPr userDrawn="1"/>
        </p:nvCxnSpPr>
        <p:spPr>
          <a:xfrm>
            <a:off x="3406405" y="1125538"/>
            <a:ext cx="261815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3C4C2E8-8905-214A-A6DA-BC1350B2EC69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A5E08C-7312-384E-B73D-6651839252B3}"/>
              </a:ext>
            </a:extLst>
          </p:cNvPr>
          <p:cNvCxnSpPr>
            <a:cxnSpLocks/>
          </p:cNvCxnSpPr>
          <p:nvPr userDrawn="1"/>
        </p:nvCxnSpPr>
        <p:spPr>
          <a:xfrm>
            <a:off x="89408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838D76C-8F40-194F-A2DC-75834602A1A6}"/>
              </a:ext>
            </a:extLst>
          </p:cNvPr>
          <p:cNvCxnSpPr>
            <a:cxnSpLocks/>
          </p:cNvCxnSpPr>
          <p:nvPr userDrawn="1"/>
        </p:nvCxnSpPr>
        <p:spPr>
          <a:xfrm>
            <a:off x="629925" y="4944428"/>
            <a:ext cx="31156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94EDC1BE-5A2F-9141-AD5F-0F7879D6BE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415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3B371F-F73D-7848-955E-6F4A47C7D7A0}"/>
              </a:ext>
            </a:extLst>
          </p:cNvPr>
          <p:cNvSpPr/>
          <p:nvPr userDrawn="1"/>
        </p:nvSpPr>
        <p:spPr>
          <a:xfrm>
            <a:off x="5232400" y="512763"/>
            <a:ext cx="4500563" cy="271747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9BCB5-7570-8940-9AC8-67AF9BFB7BFC}"/>
              </a:ext>
            </a:extLst>
          </p:cNvPr>
          <p:cNvSpPr/>
          <p:nvPr userDrawn="1"/>
        </p:nvSpPr>
        <p:spPr>
          <a:xfrm>
            <a:off x="5228384" y="3362277"/>
            <a:ext cx="3567953" cy="237387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02A2A2-091B-3843-8E8D-C5130D918C0B}"/>
              </a:ext>
            </a:extLst>
          </p:cNvPr>
          <p:cNvSpPr/>
          <p:nvPr userDrawn="1"/>
        </p:nvSpPr>
        <p:spPr>
          <a:xfrm>
            <a:off x="8947152" y="3362277"/>
            <a:ext cx="3244848" cy="237648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B59B44-4EB0-684F-AB52-741961638BCF}"/>
              </a:ext>
            </a:extLst>
          </p:cNvPr>
          <p:cNvSpPr/>
          <p:nvPr userDrawn="1"/>
        </p:nvSpPr>
        <p:spPr>
          <a:xfrm>
            <a:off x="9861552" y="501927"/>
            <a:ext cx="2330448" cy="272831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04AF4BF-EF8E-5246-A68A-86D5DCC9D8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560844" y="1459681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0D1934E5-DFFE-D64A-AC88-7270E46A22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7306656" y="1513469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BE6F2F-98ED-E740-8C3A-11E55932FF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021806" y="4122199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D554C6E-14A7-F240-A7FE-4B4921CCB3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9955726" y="4108752"/>
            <a:ext cx="1150938" cy="1004936"/>
          </a:xfrm>
          <a:prstGeom prst="rect">
            <a:avLst/>
          </a:prstGeom>
        </p:spPr>
      </p:pic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D0040FA-429B-3340-98A6-8EDBE6F6C15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400" y="501926"/>
            <a:ext cx="4500563" cy="2714866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25E71D81-56C6-4741-8183-0B428AFAEF52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5838" y="499315"/>
            <a:ext cx="2316162" cy="2717477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663DCAF0-0A11-9744-996C-8D17C975A9D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1" y="3373115"/>
            <a:ext cx="3251200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BD990BB-3AB6-874E-8F35-63EA9033F064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5232400" y="3373116"/>
            <a:ext cx="3563937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108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06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198804" y="0"/>
            <a:ext cx="798221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Imag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CD41DA-5299-F245-B635-25684774BD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95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2D56AAE-6755-884D-9729-A3748131BB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016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 for any mention of Quadcor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 Select the logo and copy to clipboard.</a:t>
            </a:r>
            <a:br>
              <a:rPr lang="en-GB" dirty="0"/>
            </a:br>
            <a:r>
              <a:rPr lang="en-GB" dirty="0"/>
              <a:t>- Close master and place on a slide of your choosing.</a:t>
            </a:r>
            <a:endParaRPr lang="en-US" dirty="0"/>
          </a:p>
          <a:p>
            <a:pPr lvl="0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E78980-CB00-7148-8535-BC8EA3D80D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209547"/>
            <a:ext cx="825028" cy="303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164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1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lace on a slide of your choosing.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B07D24-D394-6B43-9672-1B4A838AF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65975" y="6259606"/>
            <a:ext cx="1875066" cy="513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831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D3A9F48F-DEB8-D54B-9A3F-D74D7B3BDB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E83591B-96D8-4D47-B22F-66A56E777A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114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CB6B763-9BD5-DD42-876D-86BF240D60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C0519C4-C654-324F-A1C1-D78DB6CBA7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66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8693107-CCA3-A44F-A088-CA97182B2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E3C12AD-F3DE-8345-83C1-ED4A54A6FA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131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27396510-F944-4741-BA3C-017EE0787E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F86B7C-BE1A-8143-ADB4-6DDB056CB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973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270B3F9-86D7-C949-8435-04D9B62A3D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44DA6B8-C25A-AE4C-8728-B2D0905C2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640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004AB388-D756-A24F-A1DD-F8134B91DB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28E617-A629-9444-BEB9-06AC835D6C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020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85126B2A-21C1-B843-B973-F8CD5363EB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9231C03-7741-E94C-A68A-77ABA0F6DD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00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348A17DD-BEA2-8848-AA12-6063DC78CA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1E35709-C6B8-1846-9E42-6EBD70173E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726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A39A48A-1B62-F642-8CA6-53864C1F171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EB265DC-753B-A04E-AEED-322969FA79D3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Subtitle 2">
            <a:extLst>
              <a:ext uri="{FF2B5EF4-FFF2-40B4-BE49-F238E27FC236}">
                <a16:creationId xmlns:a16="http://schemas.microsoft.com/office/drawing/2014/main" id="{FBA345E0-EE21-5C40-9A9E-7CBADF7B171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95459B0-3CE0-F742-A537-8BB9245B20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3135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F34DB94D-7DB1-464A-90FB-C24B1FEAA0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528E442-F367-0A4F-90E7-9580D5CCF9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381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56D5E389-1BA3-8945-B943-A8A836E009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0B6B91-2D0D-3E40-9B08-7A2F43897A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832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8F8528-A255-6045-B279-EFF4A71A06DD}"/>
              </a:ext>
            </a:extLst>
          </p:cNvPr>
          <p:cNvSpPr/>
          <p:nvPr userDrawn="1"/>
        </p:nvSpPr>
        <p:spPr>
          <a:xfrm>
            <a:off x="10979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0414" y="2432441"/>
            <a:ext cx="899998" cy="439534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2E7FB9-B022-AB4A-BAC0-F149A0629C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0413" y="2992990"/>
            <a:ext cx="899998" cy="4395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00D63A-3C2D-3140-BC56-D1370DC4894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413" y="4298362"/>
            <a:ext cx="899998" cy="43953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9E988D2-9BC7-BB40-B379-300A8F82E87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989441" y="2434511"/>
            <a:ext cx="899998" cy="28294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AA5258F-A7C4-504C-A201-2E2E3883AF7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989441" y="2744742"/>
            <a:ext cx="899998" cy="28294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514FBC5-ECB4-6E4B-918D-248C86BC33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989441" y="3621350"/>
            <a:ext cx="899998" cy="33076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Logo Asset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EEEF11F-B58A-FD47-AD30-84622B7E652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60413" y="3550163"/>
            <a:ext cx="899999" cy="4395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E37C99C-700A-5A47-8187-38196CD7BE7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35774" y="2452612"/>
            <a:ext cx="2184530" cy="52921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B8D4501-51DF-8449-83DA-B5724F011D8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35774" y="4190510"/>
            <a:ext cx="1998598" cy="547386"/>
          </a:xfrm>
          <a:prstGeom prst="rect">
            <a:avLst/>
          </a:prstGeom>
        </p:spPr>
      </p:pic>
      <p:pic>
        <p:nvPicPr>
          <p:cNvPr id="17" name="Picture 16" descr="A close up of a sign&#10;&#10;Description automatically generated">
            <a:extLst>
              <a:ext uri="{FF2B5EF4-FFF2-40B4-BE49-F238E27FC236}">
                <a16:creationId xmlns:a16="http://schemas.microsoft.com/office/drawing/2014/main" id="{D60CCDB2-0EE1-6543-84A2-4D6FAFFC9AC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969676" y="3220067"/>
            <a:ext cx="899998" cy="2113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AD87397-2A55-3448-9CF3-31235031B11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335774" y="3621350"/>
            <a:ext cx="2254404" cy="43650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881D252-0CE7-8149-AA1C-F3C162BA8436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361028" y="3050202"/>
            <a:ext cx="2261893" cy="43795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32639EA-3281-6442-A50C-851F285B3942}"/>
              </a:ext>
            </a:extLst>
          </p:cNvPr>
          <p:cNvSpPr txBox="1"/>
          <p:nvPr userDrawn="1"/>
        </p:nvSpPr>
        <p:spPr>
          <a:xfrm>
            <a:off x="7045693" y="1474269"/>
            <a:ext cx="22619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access logos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a logo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logos can then be pasted onto a slide of your choosing.</a:t>
            </a:r>
          </a:p>
        </p:txBody>
      </p:sp>
    </p:spTree>
    <p:extLst>
      <p:ext uri="{BB962C8B-B14F-4D97-AF65-F5344CB8AC3E}">
        <p14:creationId xmlns:p14="http://schemas.microsoft.com/office/powerpoint/2010/main" val="1377802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pic>
        <p:nvPicPr>
          <p:cNvPr id="187" name="Picture 186" descr="A group of people in a dark room&#10;&#10;Description automatically generated">
            <a:extLst>
              <a:ext uri="{FF2B5EF4-FFF2-40B4-BE49-F238E27FC236}">
                <a16:creationId xmlns:a16="http://schemas.microsoft.com/office/drawing/2014/main" id="{84355E12-4DC3-A24D-A7D7-89987EA9EB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82411" y="0"/>
            <a:ext cx="10609589" cy="6858000"/>
          </a:xfrm>
          <a:prstGeom prst="rect">
            <a:avLst/>
          </a:prstGeom>
        </p:spPr>
      </p:pic>
      <p:sp>
        <p:nvSpPr>
          <p:cNvPr id="188" name="Content Placeholder 2">
            <a:extLst>
              <a:ext uri="{FF2B5EF4-FFF2-40B4-BE49-F238E27FC236}">
                <a16:creationId xmlns:a16="http://schemas.microsoft.com/office/drawing/2014/main" id="{FF714AA7-CEE4-5F47-99FA-AE15DDF9FB8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292916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map&#10;&#10;Description automatically generated">
            <a:extLst>
              <a:ext uri="{FF2B5EF4-FFF2-40B4-BE49-F238E27FC236}">
                <a16:creationId xmlns:a16="http://schemas.microsoft.com/office/drawing/2014/main" id="{BD34BBF7-F237-CC4A-B3CD-B5C10BA9F6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6745" y="777711"/>
            <a:ext cx="10624276" cy="608028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5BAECDA-3C87-BF41-AD8F-C04F616F40D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</p:spTree>
    <p:extLst>
      <p:ext uri="{BB962C8B-B14F-4D97-AF65-F5344CB8AC3E}">
        <p14:creationId xmlns:p14="http://schemas.microsoft.com/office/powerpoint/2010/main" val="95068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0D7B03-0C58-0644-9EC7-D53C1D3087E4}"/>
              </a:ext>
            </a:extLst>
          </p:cNvPr>
          <p:cNvGrpSpPr/>
          <p:nvPr userDrawn="1"/>
        </p:nvGrpSpPr>
        <p:grpSpPr>
          <a:xfrm>
            <a:off x="1254681" y="1287006"/>
            <a:ext cx="9682637" cy="5156348"/>
            <a:chOff x="837718" y="2166032"/>
            <a:chExt cx="7093287" cy="3777427"/>
          </a:xfrm>
          <a:solidFill>
            <a:srgbClr val="09417A"/>
          </a:solidFill>
        </p:grpSpPr>
        <p:sp>
          <p:nvSpPr>
            <p:cNvPr id="6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DAF49FA4-B6FB-0F46-A0BA-21C9F57D1D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7718" y="2418601"/>
              <a:ext cx="990263" cy="467668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640446B4-3040-1D4B-840B-0E361CC5EE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72923" y="4820778"/>
              <a:ext cx="177968" cy="194284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01A6F51-C84B-9F47-9EC2-7970EFACE1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1736" y="4608454"/>
              <a:ext cx="268222" cy="281712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5AA18849-39FE-9B41-9D26-DBDF9DB3B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266" y="3838259"/>
              <a:ext cx="236443" cy="176243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D07A088-BF3A-0F44-AC89-393767370D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594016"/>
              <a:ext cx="193222" cy="180406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DD9D767A-7288-1348-84A7-DFED66876D8C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58018"/>
              <a:ext cx="13983" cy="33306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4A198BF-2931-E64C-805B-C2052042E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71" y="3090267"/>
              <a:ext cx="381360" cy="234528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3F5C7D8D-54BB-6146-8610-67E6A95F95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9211" y="3714749"/>
              <a:ext cx="195765" cy="419097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27D2E16E-A5D5-B24D-A2E3-A55D1BD5D3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2902" y="4032542"/>
              <a:ext cx="307630" cy="327507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BDD54B73-5DEE-864C-B0CA-377024D2AF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86029" y="2982023"/>
              <a:ext cx="1262300" cy="682768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2986076-BC4B-B947-B867-E7D21C467CD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2228" y="5232936"/>
              <a:ext cx="119493" cy="134611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62380EB0-BAB6-B54C-AC02-1A836BC10A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80120" y="2678108"/>
              <a:ext cx="185595" cy="290038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1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71DA14FD-819A-9346-80DF-9C39A7306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8946" y="3625934"/>
              <a:ext cx="108051" cy="112407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2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21ED622D-F845-4A49-B303-2D39675ADCB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3770" y="2901534"/>
              <a:ext cx="359749" cy="22065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4D19FE5E-7193-F34E-9986-9D11AFB391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8433" y="4260131"/>
              <a:ext cx="125848" cy="16236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F0D3446-BF62-3A4A-AFBA-4C01FAB82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996" y="3166593"/>
              <a:ext cx="325427" cy="212325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5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BB07076-388E-A34F-A6CC-09DDD04CF9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47499" y="3183246"/>
              <a:ext cx="428393" cy="17763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6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95C5FB4E-E02F-4648-A39E-B7564C1606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5038" y="3320631"/>
              <a:ext cx="87712" cy="19983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7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1671B8CE-94A9-1D4F-98F0-02BCD8AD49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5799" y="4064460"/>
              <a:ext cx="45763" cy="141549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9EA8586-F1DD-0147-8BEA-63245D8588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5142" y="3799402"/>
              <a:ext cx="199578" cy="417710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FA18E-509B-6F4E-B1F6-83832338418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7161" y="4407232"/>
              <a:ext cx="247883" cy="305303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619D18B-1B62-1C4A-AF21-FECBE870D2F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6237" y="3216551"/>
              <a:ext cx="177968" cy="123509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1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923B25CB-9D3E-3945-BBEE-20C381783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2011" y="3660628"/>
              <a:ext cx="38136" cy="9436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2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CEC19507-D2E4-3D46-B0B7-BD5DEBF24E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317856"/>
              <a:ext cx="144917" cy="14571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9D78D97-75EA-1742-BDB4-A9E6A56343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3025043"/>
              <a:ext cx="92797" cy="55510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4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026FE73A-891F-D144-B368-53D5C2C5B6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52581" y="2471335"/>
              <a:ext cx="223731" cy="348323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5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1F8F3C2-9E49-D547-BB98-83EDD700C9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416" y="5106653"/>
              <a:ext cx="33051" cy="47183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6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90AD4590-428C-7845-881F-AD9A60FF4E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397" y="4208785"/>
              <a:ext cx="94069" cy="117958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968A0D37-FD84-814B-B9F3-FC60D033BFB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2512" y="4106092"/>
              <a:ext cx="54661" cy="106856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8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3F5F92B-7E04-904F-A705-6A334CD194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25458" y="3138838"/>
              <a:ext cx="282206" cy="216487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6081DFCA-3607-5F4B-A84F-853A57D02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0300" y="4036705"/>
              <a:ext cx="230087" cy="38995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85663" y="4568210"/>
              <a:ext cx="119493" cy="122121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1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3B0B63E-08BE-024E-8D98-7EAE9C7725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5802" y="3048634"/>
              <a:ext cx="67373" cy="43020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2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F4BDB682-36AD-FF49-9375-C22F06C516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4447" y="2977860"/>
              <a:ext cx="115679" cy="51347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3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10CFEAE4-D597-064F-AA2C-04C7326E18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7068" y="4092214"/>
              <a:ext cx="67373" cy="9436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4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FF44D0B-D47E-0F4D-BE0D-80079287A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9694" y="3900706"/>
              <a:ext cx="134747" cy="129060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5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A848B51-A257-B141-A263-BE224F057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66344"/>
              <a:ext cx="477971" cy="448240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DE846F17-9F01-EF48-962A-D0A9F82C6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365" y="4407232"/>
              <a:ext cx="48306" cy="5134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7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372E6C68-F958-F445-8B73-E7939351B5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33963" y="2716965"/>
              <a:ext cx="97882" cy="421873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F42B9E93-C135-AE4A-A75B-415E4E29E0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17837" y="2196562"/>
              <a:ext cx="2916129" cy="1013050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ED648A8-9E07-0949-9E20-4C80C17ADD1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3013941"/>
              <a:ext cx="198307" cy="12906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B02953AA-348B-2F4E-BD82-9FC16DCE81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2420" y="3634260"/>
              <a:ext cx="21610" cy="4995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2DFD4982-A5B9-4E4F-8E73-67E0780CD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4345" y="3856299"/>
              <a:ext cx="44492" cy="2081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BEA959A1-E334-C94B-8EE0-1F52439F8E2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4018" y="3186021"/>
              <a:ext cx="73730" cy="144325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EFEBD36-86E7-2A46-B431-7A131B104F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9785" y="2834922"/>
              <a:ext cx="200849" cy="158202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4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D605A7B9-5938-034F-BA38-0471753AA7E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80570" y="3846585"/>
              <a:ext cx="230087" cy="42326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1BAB6D50-490A-6047-9A62-6C0F2F27253B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4765" y="4376702"/>
              <a:ext cx="302545" cy="52456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6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5C147906-B4DE-0A4C-B4E8-22D5959DAC6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7481" y="4923471"/>
              <a:ext cx="193222" cy="23869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19558" y="4430823"/>
              <a:ext cx="350851" cy="255344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8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5FEAE546-523E-AC42-A6B1-19CA1E780CA9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1713" y="4106092"/>
              <a:ext cx="130933" cy="680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50BCDF8-3135-5248-93F6-AE4B61D5D3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2168" y="3328958"/>
              <a:ext cx="338139" cy="370527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BCF68BDE-2130-F843-B4A7-1E94A1A95C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4213" y="3888217"/>
              <a:ext cx="30509" cy="22204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6BFC5A4-5C32-5749-9975-344F30D10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8014" y="3667566"/>
              <a:ext cx="174154" cy="237304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2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BB354FDB-0A58-9F46-9FC3-6BA252ED1BF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39445" y="2222930"/>
              <a:ext cx="438563" cy="52595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3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AB4B013-C271-2B47-9FB4-4E78AE94D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3173" y="3983971"/>
              <a:ext cx="269494" cy="2719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4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B3E8443-69F6-7041-AD17-3D1DC6B9C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969" y="3711974"/>
              <a:ext cx="357206" cy="331670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5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3DECCEF-2270-784E-BCAF-F10E57D8B3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3832" y="3957604"/>
              <a:ext cx="105509" cy="116570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21679" y="5350895"/>
              <a:ext cx="409326" cy="34554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BF31AF5-9264-CD44-86C0-EBDC749118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6297" y="2925126"/>
              <a:ext cx="137289" cy="134611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0A28748-E3AD-BD4A-85B0-B8D548584FB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8597" y="2872392"/>
              <a:ext cx="87712" cy="7355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9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E76FF854-0325-AE44-9D8C-AAB4FE65959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8019" y="3513528"/>
              <a:ext cx="189408" cy="11657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AE04FF1B-7800-154B-94D8-D2E361BBBA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5293" y="4858247"/>
              <a:ext cx="307630" cy="342772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811D5E9C-14A7-3A40-8667-0C42E33A39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5480" y="3569037"/>
              <a:ext cx="204663" cy="52734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2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25240E4B-B718-7F43-898D-8636267733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4789" y="4675065"/>
              <a:ext cx="246612" cy="47044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F7E9F73A-3DBC-3A43-B6D7-A4584C9A4D0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593" y="3360876"/>
              <a:ext cx="273307" cy="23314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4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176C0E46-7111-3D41-BC06-D17DC19DB77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2583" y="3143001"/>
              <a:ext cx="36864" cy="4718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5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D797893-1110-BE47-837C-5D9227211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89460" y="2905698"/>
              <a:ext cx="676278" cy="292813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FFF037F-C801-AE4A-A50B-D97EC55A8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96" y="3008390"/>
              <a:ext cx="69916" cy="8326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7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59AA8A-CB58-F746-8029-88751D885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0860" y="3452467"/>
              <a:ext cx="600006" cy="513464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8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E8824692-E2E0-5547-AD8D-0E5BD8CC3AA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17413" y="3351162"/>
              <a:ext cx="10170" cy="9715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9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2171320-371D-9B4B-A33C-220B752FE4E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606506"/>
              <a:ext cx="277121" cy="353874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0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5219B2B8-0AB4-874F-8AEB-AA738990DB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2492" y="3667566"/>
              <a:ext cx="373732" cy="42326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D08ED4CE-9296-2C4B-9BE4-04F85D2B35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9041" y="4186581"/>
              <a:ext cx="99153" cy="154040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990497EC-2119-3B4A-9C01-FCF50F5A68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0399" y="4168541"/>
              <a:ext cx="221189" cy="185957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2E37103F-4E40-6D49-A1C0-07C4AA1E7C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4535" y="4644535"/>
              <a:ext cx="75000" cy="22065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DE19BEA9-2759-8944-BD58-5E193AC6E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4452" y="4726412"/>
              <a:ext cx="191951" cy="383016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5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AF9052D-38A6-BB49-BC34-33F4416CB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346" y="3176306"/>
              <a:ext cx="53390" cy="44408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6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95E272BC-A097-824E-861A-D3A5637968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1987" y="2962594"/>
              <a:ext cx="16525" cy="1526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7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4BF7B08-758B-5042-9A32-DC5C0BD7D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9448" y="2790515"/>
              <a:ext cx="109323" cy="6938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8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3E7960AF-38D7-9E49-B1FD-EC0C15E6E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4445" y="3038921"/>
              <a:ext cx="5085" cy="8326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927E917-C6EC-1F4A-80D6-7E5988E20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3435814"/>
              <a:ext cx="354664" cy="38995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D28C5CB-C809-4F49-87FB-592C56054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0119" y="4133847"/>
              <a:ext cx="99153" cy="122121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2B34936F-976E-5945-8C5F-5214E9E139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3432" y="5189917"/>
              <a:ext cx="53390" cy="5689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14DE609C-CC3F-2D44-8380-22A8EC6CD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9959" y="3395569"/>
              <a:ext cx="34322" cy="55510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3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3CAFEBC2-E7F5-9849-B0D5-18B1C15F69E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2747495"/>
              <a:ext cx="137289" cy="6383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2EB0F508-E6AA-F04B-82F6-8E7C7F7D25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7261" y="3739729"/>
              <a:ext cx="193222" cy="244242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5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5995702-DA7F-4B41-BB2D-A3AD2E217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3101" y="3155491"/>
              <a:ext cx="216104" cy="10963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440E35C6-8F30-F14A-B7B1-6C286308BC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6911" y="3526017"/>
              <a:ext cx="44492" cy="43020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7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9FC9D387-1716-764D-A419-8571984317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19978" y="3285938"/>
              <a:ext cx="87712" cy="14987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1C36E996-9AD7-5745-A5D8-0FF94C28B5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46248" y="3162429"/>
              <a:ext cx="105509" cy="14710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9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10D2CB17-EB05-C64B-9880-8096F1E8A3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4244866"/>
              <a:ext cx="180510" cy="26783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7A27997-3D41-CA49-9CEA-857713EFB7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2819658"/>
              <a:ext cx="811025" cy="40938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4F29EEC-989F-7449-BDA9-F5E9B2181E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434426"/>
              <a:ext cx="90255" cy="117958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2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82F50A72-6FFD-8C4A-975D-2CF4DE9BDD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291" y="3856299"/>
              <a:ext cx="50848" cy="1804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3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504A868F-9630-B647-ABBE-0395C868D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69554" y="3090267"/>
              <a:ext cx="282206" cy="60089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63A4F46-4B32-FD4C-8313-C85B87DCBC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57242" y="3044472"/>
              <a:ext cx="250426" cy="292813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DFE9D0B4-0AEF-AE43-A484-16F8863A49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1060" y="3430263"/>
              <a:ext cx="33051" cy="112407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6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C40B0C6-ABA4-1E40-AF04-AD7D0F94F34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8001" y="2822433"/>
              <a:ext cx="90255" cy="104081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375E5BA3-5F93-5342-A775-E6524381F3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5129" y="3320631"/>
              <a:ext cx="221189" cy="231753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8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C269DEC-7FEA-AC4E-8BB1-4A1DB5957B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9198" y="3249857"/>
              <a:ext cx="463987" cy="414935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0989" y="4217111"/>
              <a:ext cx="1052552" cy="457954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A53D257F-B7C2-FB42-ACA9-5F81B765DD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36492" y="3356713"/>
              <a:ext cx="629243" cy="829868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1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BEEC59A-C859-5F41-A790-C40C37A32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3508" y="2532395"/>
              <a:ext cx="184323" cy="77713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0DE3950-C8D1-AC49-BB7F-8E7082EEA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4277" y="3005615"/>
              <a:ext cx="137289" cy="7771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3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CA5F6AD-6B1B-B847-B0A5-B10A62834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9509" y="3924298"/>
              <a:ext cx="143645" cy="8604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4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4BDD70F8-F59A-194D-ACA9-35B086EE3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1631" y="3814667"/>
              <a:ext cx="63560" cy="54122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5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4A896B05-7090-ED49-89FC-3C32DBB7D11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940" y="4214336"/>
              <a:ext cx="66102" cy="104081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6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E15ED31E-A063-F749-8C3E-9DBE6BF3C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1125" y="4138010"/>
              <a:ext cx="105509" cy="20538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7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D3C30FB3-8756-D646-8F89-F128731296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8423" y="4015889"/>
              <a:ext cx="59746" cy="55510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8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D9AF898F-AB32-0B4B-9B68-8490A53965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60" y="4018665"/>
              <a:ext cx="167798" cy="155427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9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E8CEF630-CD55-CC40-99C6-BFFFB89428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136" y="3870176"/>
              <a:ext cx="95339" cy="117958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54B9099-7E7B-7443-88B7-E3F47D0E83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14434" y="2166032"/>
              <a:ext cx="902551" cy="537056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1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6D8E5FEE-4A9D-2241-96D8-E5910411B1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7075" y="3194347"/>
              <a:ext cx="171611" cy="194284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2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360C1EA2-A8C0-0B40-B87A-ADA32B43BBA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2070" y="4063072"/>
              <a:ext cx="105509" cy="181794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3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F171FAA-1AC8-6F42-B558-1ADF7502645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2832147"/>
              <a:ext cx="181781" cy="206774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A732323D-F9C5-3A42-A22B-D99008E03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1316" y="3143001"/>
              <a:ext cx="148730" cy="7355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5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9C03-4491-9541-8611-3DE2526D62B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254" y="3986746"/>
              <a:ext cx="68645" cy="1804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6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B29C833E-78A1-3144-AE83-3685EFDC460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7920" y="4308702"/>
              <a:ext cx="134747" cy="180406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7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09A6D4BC-0CBA-1944-B8B0-BDCB5890BE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25884" y="2932064"/>
              <a:ext cx="293646" cy="27616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8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8FD2806-F4C2-BC4E-A283-7F5C4220F76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7667" y="2447744"/>
              <a:ext cx="203392" cy="252569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9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0327DD2A-68B7-684E-801A-1DC19D1D10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55976" y="3956216"/>
              <a:ext cx="340681" cy="32473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0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A2F3B1DF-EAE0-E346-B3A5-B5E2E210F9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346" y="2708639"/>
              <a:ext cx="111865" cy="54122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1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832A0616-B6C3-3142-94E2-F09D320E1A0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7163" y="3866013"/>
              <a:ext cx="155086" cy="16097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2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DF39F4F-EF0F-B64E-A406-70972C8CB50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4311477"/>
              <a:ext cx="47034" cy="38857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2C386AC4-3C1B-4D46-9A48-A3DE9F884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627" y="3968706"/>
              <a:ext cx="54661" cy="38857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C2C610D7-DD19-B147-9A77-39DCEA31B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313" y="3480222"/>
              <a:ext cx="254240" cy="283099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5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83D85B79-4B7A-9E43-B64E-A1A34F9C8D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38579" y="4332294"/>
              <a:ext cx="133475" cy="18595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35656" y="4611229"/>
              <a:ext cx="80085" cy="41632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7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C7FD8FF-083B-954C-A87E-E6863FCFDD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292" y="3814667"/>
              <a:ext cx="80085" cy="58285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8A8F7F21-18B6-C644-B3EE-228B6966FA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469" y="4018665"/>
              <a:ext cx="38136" cy="4857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F3EFAEAB-F135-F64F-94D1-82860E49B7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91564" y="2759985"/>
              <a:ext cx="88984" cy="83264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0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64F99F6-EC3C-3C4F-8DCB-C18A2DFF4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0378" y="2937615"/>
              <a:ext cx="136018" cy="680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1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CE846B08-B010-8540-A687-A13636C35D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670" y="3367814"/>
              <a:ext cx="48306" cy="30530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2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8E4C-3A8A-5746-B003-F1639CC13B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195358" y="3718913"/>
              <a:ext cx="237714" cy="9575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3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2EF9A2D4-36FF-8A4F-B138-7E7AB60CEF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3429" y="3062512"/>
              <a:ext cx="118221" cy="97142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4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05D78167-1A54-1D4A-9E20-B34CCF8E6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0035" y="4074174"/>
              <a:ext cx="141103" cy="181794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68C0568-35DB-C14D-B883-EC35C27CCC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35611" y="4060297"/>
              <a:ext cx="77543" cy="80489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6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8C0F3DB1-61AF-A742-9925-ACD308B9E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0548" y="4225437"/>
              <a:ext cx="434750" cy="53428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7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7605DDEA-60BD-DA43-A460-2E1C06BD57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2581" y="4272621"/>
              <a:ext cx="172883" cy="245630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8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5D5A8D6-264B-0342-A508-322110CB9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84342" y="4024216"/>
              <a:ext cx="279664" cy="47322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9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4A195178-707F-EA44-BDFC-6A2541D8C3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10615" y="4877675"/>
              <a:ext cx="372461" cy="106578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0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0319B322-D9B9-6248-867F-8D18BC0BBC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9712" y="2866841"/>
              <a:ext cx="1179672" cy="99362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F1B21333-AFF9-6746-804A-62D7F335F93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5971" y="3711974"/>
              <a:ext cx="238985" cy="45379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19C86435-F022-D445-AD83-576A5B8DE2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28853" y="4067235"/>
              <a:ext cx="294918" cy="245630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3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A28E9468-5E2A-0B46-B3D7-9AB65F3B1D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3402" y="2174358"/>
              <a:ext cx="1796203" cy="1014438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4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9746559D-C56A-3D42-BFC1-A5ACDDE6DA8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5378" y="4004787"/>
              <a:ext cx="175425" cy="326119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5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1E4A2EF-BD0B-EA49-A6F0-BCE0C0822F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2262" y="3965931"/>
              <a:ext cx="122035" cy="117958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5676EECF-3CD9-2D4D-A1D5-75A25C96944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79" y="4447476"/>
              <a:ext cx="43221" cy="58285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4D0E7A1-E73C-6241-8945-207006017BD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72493" y="3952053"/>
              <a:ext cx="184323" cy="158202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057A09AC-6876-F149-AD03-92551D0D49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6482" y="3127736"/>
              <a:ext cx="127120" cy="7910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9EDD2BF4-A4D8-0149-9A23-EFBEB04C4A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05105" y="4228213"/>
              <a:ext cx="897466" cy="110741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0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0EDA2F90-F4C0-8940-A03F-04E3C4578A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0888" y="4881839"/>
              <a:ext cx="208477" cy="256732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DC5CDCDB-9496-E042-B45B-274B38A2E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2837" y="3095817"/>
              <a:ext cx="85170" cy="8326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2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549DBB26-4102-8A4C-9E36-6524310DD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13157" y="4652861"/>
              <a:ext cx="287291" cy="373302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3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CDDAA2D9-E8A5-194E-8995-3C233B4BF0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8869" y="3574588"/>
              <a:ext cx="75000" cy="47183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4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FA3774AE-27A4-244E-B083-A8EDCA0EF6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410" y="4026991"/>
              <a:ext cx="71187" cy="174855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B6ED8C5F-70A3-E946-912C-AF64DA3A8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5865" y="3853523"/>
              <a:ext cx="34322" cy="7493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E06E570C-12DE-7149-8DEA-961D105725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4783" y="2926513"/>
              <a:ext cx="72458" cy="54122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7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182CE3BD-C442-7F45-B9CA-6FDE5314C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8699" y="3625934"/>
              <a:ext cx="120763" cy="14987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C0D8E9D-97C9-5741-9090-340132988C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7753" y="2798841"/>
              <a:ext cx="183053" cy="130448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BC42B544-8F2D-0846-96C3-0D1B5E39E9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2250" y="3627322"/>
              <a:ext cx="8898" cy="1942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C3A1C4F4-DDDB-E64E-9F8C-5D4166505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3190184"/>
              <a:ext cx="116950" cy="102693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7949E105-52FD-5046-A31F-9BC1F196A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9530" y="2993125"/>
              <a:ext cx="147459" cy="7077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94975" y="4679229"/>
              <a:ext cx="915263" cy="936725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3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55469E7-E7D1-3348-A69B-4D2A653C613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2673" y="3205449"/>
              <a:ext cx="71187" cy="7493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4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B3DEFFCF-AAB1-3642-91C5-DE4810571B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58921" y="4998409"/>
              <a:ext cx="352122" cy="859011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7521A6CE-6F98-0B44-99C1-A63D4DE0F1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65293" y="4498823"/>
              <a:ext cx="286019" cy="389955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CB02392A-E2CE-3148-85AE-BCEA1D57B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9189" y="3170755"/>
              <a:ext cx="10170" cy="5551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7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75732-6B7B-B545-80F9-EE99846E28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6221" y="3324795"/>
              <a:ext cx="476699" cy="513464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8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28186DFD-64FA-474B-8D41-2F04044AE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5295" y="3170755"/>
              <a:ext cx="47034" cy="8604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AA1E7552-2310-4D44-AD53-799CC30727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70803" y="5006735"/>
              <a:ext cx="366105" cy="359425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0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977D33B-3CDB-3345-B37D-D72D2A34168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2930" y="3285938"/>
              <a:ext cx="292376" cy="25950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181" name="Group 340">
              <a:extLst>
                <a:ext uri="{FF2B5EF4-FFF2-40B4-BE49-F238E27FC236}">
                  <a16:creationId xmlns:a16="http://schemas.microsoft.com/office/drawing/2014/main" id="{C58EA603-7266-DE48-8A2A-92C7FADF26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07667" y="3072226"/>
              <a:ext cx="88984" cy="119346"/>
              <a:chOff x="2184" y="1242"/>
              <a:chExt cx="257" cy="316"/>
            </a:xfrm>
            <a:grpFill/>
          </p:grpSpPr>
          <p:sp>
            <p:nvSpPr>
              <p:cNvPr id="18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69AE035-7B4F-164B-A9A9-E7FD0AFED4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A648D03-405F-FB4A-9FD3-D4DDC98B11C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2" name="Freeform 8">
              <a:extLst>
                <a:ext uri="{FF2B5EF4-FFF2-40B4-BE49-F238E27FC236}">
                  <a16:creationId xmlns:a16="http://schemas.microsoft.com/office/drawing/2014/main" id="{FD68E863-4757-814A-8DFE-A41707FF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042" y="3717611"/>
              <a:ext cx="388418" cy="415994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9">
              <a:extLst>
                <a:ext uri="{FF2B5EF4-FFF2-40B4-BE49-F238E27FC236}">
                  <a16:creationId xmlns:a16="http://schemas.microsoft.com/office/drawing/2014/main" id="{8B0634EF-FC5F-C744-8278-7C6F7A41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011" y="4027375"/>
              <a:ext cx="279661" cy="255310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560D582-DEA8-E74C-B2B7-4A0667BA1F5A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4209951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Europe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CD78BE-D550-3246-8FEB-D416FAC204D3}"/>
              </a:ext>
            </a:extLst>
          </p:cNvPr>
          <p:cNvGrpSpPr/>
          <p:nvPr userDrawn="1"/>
        </p:nvGrpSpPr>
        <p:grpSpPr>
          <a:xfrm>
            <a:off x="5188350" y="889056"/>
            <a:ext cx="7003650" cy="5968944"/>
            <a:chOff x="2140350" y="889056"/>
            <a:chExt cx="7003650" cy="5968944"/>
          </a:xfrm>
          <a:solidFill>
            <a:srgbClr val="09417A"/>
          </a:solidFill>
        </p:grpSpPr>
        <p:sp>
          <p:nvSpPr>
            <p:cNvPr id="24" name="Schweiz" descr="© INSCALE GmbH, 05.05.2010&#10;http://www.presentationload.com/">
              <a:extLst>
                <a:ext uri="{FF2B5EF4-FFF2-40B4-BE49-F238E27FC236}">
                  <a16:creationId xmlns:a16="http://schemas.microsoft.com/office/drawing/2014/main" id="{0535A40E-70FD-D749-B162-DC04351056F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795" y="4950314"/>
              <a:ext cx="496724" cy="308596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Niederlande" descr="© INSCALE GmbH, 05.05.2010&#10;http://www.presentationload.com/">
              <a:extLst>
                <a:ext uri="{FF2B5EF4-FFF2-40B4-BE49-F238E27FC236}">
                  <a16:creationId xmlns:a16="http://schemas.microsoft.com/office/drawing/2014/main" id="{0DCA152D-5DDD-B948-BCED-F5B1025605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99514" y="4054230"/>
              <a:ext cx="401010" cy="420814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Belgien" descr="© INSCALE GmbH, 05.05.2010&#10;http://www.presentationload.com/">
              <a:extLst>
                <a:ext uri="{FF2B5EF4-FFF2-40B4-BE49-F238E27FC236}">
                  <a16:creationId xmlns:a16="http://schemas.microsoft.com/office/drawing/2014/main" id="{2172DDBA-DAA5-E949-A629-02FCD0C8C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8652" y="4354575"/>
              <a:ext cx="384507" cy="316847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Luxemburg" descr="© INSCALE GmbH, 05.05.2010&#10;http://www.presentationload.com/">
              <a:extLst>
                <a:ext uri="{FF2B5EF4-FFF2-40B4-BE49-F238E27FC236}">
                  <a16:creationId xmlns:a16="http://schemas.microsoft.com/office/drawing/2014/main" id="{78A776CD-D227-524B-ADEE-E471815288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5598" y="4570757"/>
              <a:ext cx="84162" cy="118817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Däne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C6F5416-35DB-0D4D-A2D2-08A7E76DCB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539" y="3400732"/>
              <a:ext cx="640296" cy="488473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Öster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285B4E3B-DD89-CA4E-81BB-B697A13BA9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1953" y="4758886"/>
              <a:ext cx="820172" cy="407611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Vereinigtes König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C9A0A0F0-FBC1-DF4A-8C0E-F29B4DB0CB3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20917" y="2849549"/>
              <a:ext cx="853178" cy="1597439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I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3F1B05C-8F35-D049-B939-DC4F4DDD4F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94169" y="3570708"/>
              <a:ext cx="486822" cy="552833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51C3C924-F01B-9441-898E-A9937FDC4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350" y="5564207"/>
              <a:ext cx="483523" cy="802020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Zypern" descr="© INSCALE GmbH, 05.05.2010&#10;http://www.presentationload.com/">
              <a:extLst>
                <a:ext uri="{FF2B5EF4-FFF2-40B4-BE49-F238E27FC236}">
                  <a16:creationId xmlns:a16="http://schemas.microsoft.com/office/drawing/2014/main" id="{B4366EEE-FEB3-8048-B035-64847330C6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0649" y="6377778"/>
              <a:ext cx="267340" cy="255788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Bosnien und Herzegowina" descr="© INSCALE GmbH, 05.05.2010&#10;http://www.presentationload.com/">
              <a:extLst>
                <a:ext uri="{FF2B5EF4-FFF2-40B4-BE49-F238E27FC236}">
                  <a16:creationId xmlns:a16="http://schemas.microsoft.com/office/drawing/2014/main" id="{B471F671-CFAF-FF41-AAF4-11A16BD358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5156" y="5323271"/>
              <a:ext cx="473621" cy="405961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Alb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57A54FD-ABAE-6B45-8616-11F2359A57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3924" y="5696227"/>
              <a:ext cx="240936" cy="457119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Mazedo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20BD5DB-52E3-E246-A72E-7B5EEE4E1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4095" y="5706128"/>
              <a:ext cx="301996" cy="250837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Norwegen" descr="© INSCALE GmbH, 05.05.2010&#10;http://www.presentationload.com/">
              <a:extLst>
                <a:ext uri="{FF2B5EF4-FFF2-40B4-BE49-F238E27FC236}">
                  <a16:creationId xmlns:a16="http://schemas.microsoft.com/office/drawing/2014/main" id="{629EDFA3-5E72-A84A-A5CA-5AA9A68875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85008" y="1263662"/>
              <a:ext cx="1648597" cy="2099114"/>
            </a:xfrm>
            <a:custGeom>
              <a:avLst/>
              <a:gdLst/>
              <a:ahLst/>
              <a:cxnLst>
                <a:cxn ang="0">
                  <a:pos x="626" y="61"/>
                </a:cxn>
                <a:cxn ang="0">
                  <a:pos x="605" y="40"/>
                </a:cxn>
                <a:cxn ang="0">
                  <a:pos x="586" y="22"/>
                </a:cxn>
                <a:cxn ang="0">
                  <a:pos x="547" y="55"/>
                </a:cxn>
                <a:cxn ang="0">
                  <a:pos x="532" y="46"/>
                </a:cxn>
                <a:cxn ang="0">
                  <a:pos x="465" y="77"/>
                </a:cxn>
                <a:cxn ang="0">
                  <a:pos x="445" y="116"/>
                </a:cxn>
                <a:cxn ang="0">
                  <a:pos x="410" y="132"/>
                </a:cxn>
                <a:cxn ang="0">
                  <a:pos x="380" y="181"/>
                </a:cxn>
                <a:cxn ang="0">
                  <a:pos x="374" y="209"/>
                </a:cxn>
                <a:cxn ang="0">
                  <a:pos x="330" y="227"/>
                </a:cxn>
                <a:cxn ang="0">
                  <a:pos x="331" y="254"/>
                </a:cxn>
                <a:cxn ang="0">
                  <a:pos x="331" y="290"/>
                </a:cxn>
                <a:cxn ang="0">
                  <a:pos x="275" y="339"/>
                </a:cxn>
                <a:cxn ang="0">
                  <a:pos x="261" y="381"/>
                </a:cxn>
                <a:cxn ang="0">
                  <a:pos x="252" y="428"/>
                </a:cxn>
                <a:cxn ang="0">
                  <a:pos x="198" y="471"/>
                </a:cxn>
                <a:cxn ang="0">
                  <a:pos x="224" y="509"/>
                </a:cxn>
                <a:cxn ang="0">
                  <a:pos x="141" y="534"/>
                </a:cxn>
                <a:cxn ang="0">
                  <a:pos x="122" y="571"/>
                </a:cxn>
                <a:cxn ang="0">
                  <a:pos x="96" y="584"/>
                </a:cxn>
                <a:cxn ang="0">
                  <a:pos x="69" y="595"/>
                </a:cxn>
                <a:cxn ang="0">
                  <a:pos x="26" y="611"/>
                </a:cxn>
                <a:cxn ang="0">
                  <a:pos x="23" y="650"/>
                </a:cxn>
                <a:cxn ang="0">
                  <a:pos x="83" y="675"/>
                </a:cxn>
                <a:cxn ang="0">
                  <a:pos x="74" y="678"/>
                </a:cxn>
                <a:cxn ang="0">
                  <a:pos x="38" y="704"/>
                </a:cxn>
                <a:cxn ang="0">
                  <a:pos x="55" y="723"/>
                </a:cxn>
                <a:cxn ang="0">
                  <a:pos x="42" y="766"/>
                </a:cxn>
                <a:cxn ang="0">
                  <a:pos x="26" y="785"/>
                </a:cxn>
                <a:cxn ang="0">
                  <a:pos x="34" y="813"/>
                </a:cxn>
                <a:cxn ang="0">
                  <a:pos x="65" y="873"/>
                </a:cxn>
                <a:cxn ang="0">
                  <a:pos x="182" y="789"/>
                </a:cxn>
                <a:cxn ang="0">
                  <a:pos x="230" y="815"/>
                </a:cxn>
                <a:cxn ang="0">
                  <a:pos x="305" y="482"/>
                </a:cxn>
                <a:cxn ang="0">
                  <a:pos x="443" y="205"/>
                </a:cxn>
                <a:cxn ang="0">
                  <a:pos x="595" y="78"/>
                </a:cxn>
                <a:cxn ang="0">
                  <a:pos x="18" y="803"/>
                </a:cxn>
                <a:cxn ang="0">
                  <a:pos x="10" y="767"/>
                </a:cxn>
                <a:cxn ang="0">
                  <a:pos x="14" y="743"/>
                </a:cxn>
                <a:cxn ang="0">
                  <a:pos x="10" y="711"/>
                </a:cxn>
                <a:cxn ang="0">
                  <a:pos x="8" y="699"/>
                </a:cxn>
                <a:cxn ang="0">
                  <a:pos x="7" y="680"/>
                </a:cxn>
                <a:cxn ang="0">
                  <a:pos x="15" y="632"/>
                </a:cxn>
                <a:cxn ang="0">
                  <a:pos x="44" y="600"/>
                </a:cxn>
                <a:cxn ang="0">
                  <a:pos x="58" y="582"/>
                </a:cxn>
                <a:cxn ang="0">
                  <a:pos x="106" y="551"/>
                </a:cxn>
                <a:cxn ang="0">
                  <a:pos x="123" y="537"/>
                </a:cxn>
                <a:cxn ang="0">
                  <a:pos x="162" y="515"/>
                </a:cxn>
                <a:cxn ang="0">
                  <a:pos x="259" y="367"/>
                </a:cxn>
                <a:cxn ang="0">
                  <a:pos x="264" y="359"/>
                </a:cxn>
                <a:cxn ang="0">
                  <a:pos x="301" y="294"/>
                </a:cxn>
                <a:cxn ang="0">
                  <a:pos x="351" y="208"/>
                </a:cxn>
                <a:cxn ang="0">
                  <a:pos x="296" y="220"/>
                </a:cxn>
                <a:cxn ang="0">
                  <a:pos x="362" y="187"/>
                </a:cxn>
                <a:cxn ang="0">
                  <a:pos x="322" y="218"/>
                </a:cxn>
                <a:cxn ang="0">
                  <a:pos x="320" y="183"/>
                </a:cxn>
                <a:cxn ang="0">
                  <a:pos x="367" y="152"/>
                </a:cxn>
                <a:cxn ang="0">
                  <a:pos x="411" y="97"/>
                </a:cxn>
                <a:cxn ang="0">
                  <a:pos x="407" y="97"/>
                </a:cxn>
                <a:cxn ang="0">
                  <a:pos x="492" y="40"/>
                </a:cxn>
                <a:cxn ang="0">
                  <a:pos x="514" y="56"/>
                </a:cxn>
                <a:cxn ang="0">
                  <a:pos x="538" y="19"/>
                </a:cxn>
              </a:cxnLst>
              <a:rect l="0" t="0" r="r" b="b"/>
              <a:pathLst>
                <a:path w="690" h="880">
                  <a:moveTo>
                    <a:pt x="685" y="71"/>
                  </a:moveTo>
                  <a:cubicBezTo>
                    <a:pt x="685" y="68"/>
                    <a:pt x="685" y="68"/>
                    <a:pt x="685" y="68"/>
                  </a:cubicBezTo>
                  <a:cubicBezTo>
                    <a:pt x="681" y="68"/>
                    <a:pt x="681" y="68"/>
                    <a:pt x="681" y="68"/>
                  </a:cubicBezTo>
                  <a:cubicBezTo>
                    <a:pt x="681" y="68"/>
                    <a:pt x="681" y="66"/>
                    <a:pt x="678" y="66"/>
                  </a:cubicBezTo>
                  <a:cubicBezTo>
                    <a:pt x="673" y="66"/>
                    <a:pt x="673" y="66"/>
                    <a:pt x="673" y="66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3" y="76"/>
                    <a:pt x="673" y="76"/>
                    <a:pt x="673" y="76"/>
                  </a:cubicBezTo>
                  <a:cubicBezTo>
                    <a:pt x="673" y="72"/>
                    <a:pt x="673" y="72"/>
                    <a:pt x="673" y="72"/>
                  </a:cubicBezTo>
                  <a:cubicBezTo>
                    <a:pt x="668" y="64"/>
                    <a:pt x="668" y="64"/>
                    <a:pt x="668" y="64"/>
                  </a:cubicBezTo>
                  <a:cubicBezTo>
                    <a:pt x="666" y="64"/>
                    <a:pt x="666" y="64"/>
                    <a:pt x="666" y="64"/>
                  </a:cubicBezTo>
                  <a:cubicBezTo>
                    <a:pt x="668" y="72"/>
                    <a:pt x="668" y="72"/>
                    <a:pt x="668" y="72"/>
                  </a:cubicBezTo>
                  <a:cubicBezTo>
                    <a:pt x="666" y="76"/>
                    <a:pt x="666" y="76"/>
                    <a:pt x="666" y="76"/>
                  </a:cubicBezTo>
                  <a:cubicBezTo>
                    <a:pt x="664" y="73"/>
                    <a:pt x="664" y="73"/>
                    <a:pt x="664" y="73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59" y="77"/>
                    <a:pt x="659" y="77"/>
                    <a:pt x="659" y="77"/>
                  </a:cubicBezTo>
                  <a:cubicBezTo>
                    <a:pt x="659" y="77"/>
                    <a:pt x="656" y="81"/>
                    <a:pt x="655" y="81"/>
                  </a:cubicBezTo>
                  <a:cubicBezTo>
                    <a:pt x="654" y="80"/>
                    <a:pt x="655" y="77"/>
                    <a:pt x="656" y="75"/>
                  </a:cubicBezTo>
                  <a:cubicBezTo>
                    <a:pt x="657" y="74"/>
                    <a:pt x="657" y="67"/>
                    <a:pt x="654" y="66"/>
                  </a:cubicBezTo>
                  <a:cubicBezTo>
                    <a:pt x="652" y="64"/>
                    <a:pt x="649" y="71"/>
                    <a:pt x="649" y="71"/>
                  </a:cubicBezTo>
                  <a:cubicBezTo>
                    <a:pt x="647" y="71"/>
                    <a:pt x="647" y="71"/>
                    <a:pt x="647" y="71"/>
                  </a:cubicBezTo>
                  <a:cubicBezTo>
                    <a:pt x="647" y="71"/>
                    <a:pt x="653" y="64"/>
                    <a:pt x="649" y="62"/>
                  </a:cubicBezTo>
                  <a:cubicBezTo>
                    <a:pt x="645" y="59"/>
                    <a:pt x="641" y="62"/>
                    <a:pt x="641" y="62"/>
                  </a:cubicBezTo>
                  <a:cubicBezTo>
                    <a:pt x="637" y="59"/>
                    <a:pt x="637" y="59"/>
                    <a:pt x="637" y="59"/>
                  </a:cubicBezTo>
                  <a:cubicBezTo>
                    <a:pt x="633" y="61"/>
                    <a:pt x="633" y="61"/>
                    <a:pt x="633" y="61"/>
                  </a:cubicBezTo>
                  <a:cubicBezTo>
                    <a:pt x="632" y="59"/>
                    <a:pt x="632" y="59"/>
                    <a:pt x="632" y="59"/>
                  </a:cubicBezTo>
                  <a:cubicBezTo>
                    <a:pt x="632" y="59"/>
                    <a:pt x="629" y="62"/>
                    <a:pt x="626" y="61"/>
                  </a:cubicBezTo>
                  <a:cubicBezTo>
                    <a:pt x="624" y="60"/>
                    <a:pt x="626" y="58"/>
                    <a:pt x="626" y="58"/>
                  </a:cubicBezTo>
                  <a:cubicBezTo>
                    <a:pt x="626" y="57"/>
                    <a:pt x="624" y="56"/>
                    <a:pt x="625" y="53"/>
                  </a:cubicBezTo>
                  <a:cubicBezTo>
                    <a:pt x="625" y="51"/>
                    <a:pt x="646" y="57"/>
                    <a:pt x="646" y="57"/>
                  </a:cubicBezTo>
                  <a:cubicBezTo>
                    <a:pt x="646" y="57"/>
                    <a:pt x="655" y="57"/>
                    <a:pt x="662" y="52"/>
                  </a:cubicBezTo>
                  <a:cubicBezTo>
                    <a:pt x="668" y="47"/>
                    <a:pt x="666" y="41"/>
                    <a:pt x="666" y="41"/>
                  </a:cubicBezTo>
                  <a:cubicBezTo>
                    <a:pt x="666" y="41"/>
                    <a:pt x="678" y="35"/>
                    <a:pt x="677" y="30"/>
                  </a:cubicBezTo>
                  <a:cubicBezTo>
                    <a:pt x="675" y="26"/>
                    <a:pt x="667" y="28"/>
                    <a:pt x="667" y="28"/>
                  </a:cubicBezTo>
                  <a:cubicBezTo>
                    <a:pt x="667" y="28"/>
                    <a:pt x="664" y="24"/>
                    <a:pt x="661" y="24"/>
                  </a:cubicBezTo>
                  <a:cubicBezTo>
                    <a:pt x="656" y="24"/>
                    <a:pt x="652" y="27"/>
                    <a:pt x="652" y="27"/>
                  </a:cubicBezTo>
                  <a:cubicBezTo>
                    <a:pt x="655" y="19"/>
                    <a:pt x="655" y="19"/>
                    <a:pt x="655" y="19"/>
                  </a:cubicBezTo>
                  <a:cubicBezTo>
                    <a:pt x="651" y="19"/>
                    <a:pt x="651" y="19"/>
                    <a:pt x="651" y="19"/>
                  </a:cubicBezTo>
                  <a:cubicBezTo>
                    <a:pt x="651" y="19"/>
                    <a:pt x="652" y="16"/>
                    <a:pt x="648" y="16"/>
                  </a:cubicBezTo>
                  <a:cubicBezTo>
                    <a:pt x="644" y="15"/>
                    <a:pt x="645" y="21"/>
                    <a:pt x="642" y="21"/>
                  </a:cubicBezTo>
                  <a:cubicBezTo>
                    <a:pt x="640" y="22"/>
                    <a:pt x="642" y="16"/>
                    <a:pt x="640" y="16"/>
                  </a:cubicBezTo>
                  <a:cubicBezTo>
                    <a:pt x="639" y="16"/>
                    <a:pt x="632" y="22"/>
                    <a:pt x="632" y="22"/>
                  </a:cubicBezTo>
                  <a:cubicBezTo>
                    <a:pt x="632" y="15"/>
                    <a:pt x="632" y="15"/>
                    <a:pt x="632" y="15"/>
                  </a:cubicBezTo>
                  <a:cubicBezTo>
                    <a:pt x="632" y="15"/>
                    <a:pt x="629" y="10"/>
                    <a:pt x="622" y="11"/>
                  </a:cubicBezTo>
                  <a:cubicBezTo>
                    <a:pt x="615" y="11"/>
                    <a:pt x="616" y="22"/>
                    <a:pt x="616" y="22"/>
                  </a:cubicBezTo>
                  <a:cubicBezTo>
                    <a:pt x="617" y="25"/>
                    <a:pt x="617" y="25"/>
                    <a:pt x="617" y="25"/>
                  </a:cubicBezTo>
                  <a:cubicBezTo>
                    <a:pt x="616" y="36"/>
                    <a:pt x="616" y="36"/>
                    <a:pt x="616" y="36"/>
                  </a:cubicBezTo>
                  <a:cubicBezTo>
                    <a:pt x="619" y="36"/>
                    <a:pt x="619" y="36"/>
                    <a:pt x="619" y="36"/>
                  </a:cubicBezTo>
                  <a:cubicBezTo>
                    <a:pt x="619" y="39"/>
                    <a:pt x="619" y="39"/>
                    <a:pt x="619" y="39"/>
                  </a:cubicBezTo>
                  <a:cubicBezTo>
                    <a:pt x="614" y="39"/>
                    <a:pt x="614" y="39"/>
                    <a:pt x="614" y="39"/>
                  </a:cubicBezTo>
                  <a:cubicBezTo>
                    <a:pt x="613" y="35"/>
                    <a:pt x="613" y="35"/>
                    <a:pt x="613" y="35"/>
                  </a:cubicBezTo>
                  <a:cubicBezTo>
                    <a:pt x="608" y="40"/>
                    <a:pt x="608" y="40"/>
                    <a:pt x="608" y="40"/>
                  </a:cubicBezTo>
                  <a:cubicBezTo>
                    <a:pt x="605" y="40"/>
                    <a:pt x="605" y="40"/>
                    <a:pt x="605" y="40"/>
                  </a:cubicBezTo>
                  <a:cubicBezTo>
                    <a:pt x="605" y="42"/>
                    <a:pt x="605" y="42"/>
                    <a:pt x="605" y="42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603" y="37"/>
                    <a:pt x="606" y="34"/>
                    <a:pt x="608" y="33"/>
                  </a:cubicBezTo>
                  <a:cubicBezTo>
                    <a:pt x="610" y="31"/>
                    <a:pt x="612" y="25"/>
                    <a:pt x="610" y="22"/>
                  </a:cubicBezTo>
                  <a:cubicBezTo>
                    <a:pt x="609" y="21"/>
                    <a:pt x="605" y="26"/>
                    <a:pt x="604" y="28"/>
                  </a:cubicBezTo>
                  <a:cubicBezTo>
                    <a:pt x="604" y="30"/>
                    <a:pt x="599" y="32"/>
                    <a:pt x="599" y="32"/>
                  </a:cubicBezTo>
                  <a:cubicBezTo>
                    <a:pt x="599" y="32"/>
                    <a:pt x="601" y="29"/>
                    <a:pt x="602" y="28"/>
                  </a:cubicBezTo>
                  <a:cubicBezTo>
                    <a:pt x="603" y="27"/>
                    <a:pt x="606" y="21"/>
                    <a:pt x="606" y="21"/>
                  </a:cubicBezTo>
                  <a:cubicBezTo>
                    <a:pt x="602" y="21"/>
                    <a:pt x="602" y="21"/>
                    <a:pt x="602" y="21"/>
                  </a:cubicBezTo>
                  <a:cubicBezTo>
                    <a:pt x="601" y="21"/>
                    <a:pt x="598" y="25"/>
                    <a:pt x="598" y="25"/>
                  </a:cubicBezTo>
                  <a:cubicBezTo>
                    <a:pt x="598" y="25"/>
                    <a:pt x="598" y="22"/>
                    <a:pt x="599" y="21"/>
                  </a:cubicBezTo>
                  <a:cubicBezTo>
                    <a:pt x="599" y="19"/>
                    <a:pt x="604" y="19"/>
                    <a:pt x="608" y="18"/>
                  </a:cubicBezTo>
                  <a:cubicBezTo>
                    <a:pt x="613" y="17"/>
                    <a:pt x="612" y="5"/>
                    <a:pt x="612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5"/>
                    <a:pt x="604" y="8"/>
                    <a:pt x="603" y="6"/>
                  </a:cubicBezTo>
                  <a:cubicBezTo>
                    <a:pt x="601" y="6"/>
                    <a:pt x="604" y="2"/>
                    <a:pt x="602" y="1"/>
                  </a:cubicBezTo>
                  <a:cubicBezTo>
                    <a:pt x="600" y="0"/>
                    <a:pt x="598" y="5"/>
                    <a:pt x="596" y="5"/>
                  </a:cubicBezTo>
                  <a:cubicBezTo>
                    <a:pt x="593" y="6"/>
                    <a:pt x="591" y="1"/>
                    <a:pt x="587" y="2"/>
                  </a:cubicBezTo>
                  <a:cubicBezTo>
                    <a:pt x="584" y="4"/>
                    <a:pt x="591" y="11"/>
                    <a:pt x="589" y="11"/>
                  </a:cubicBezTo>
                  <a:cubicBezTo>
                    <a:pt x="587" y="12"/>
                    <a:pt x="585" y="9"/>
                    <a:pt x="581" y="8"/>
                  </a:cubicBezTo>
                  <a:cubicBezTo>
                    <a:pt x="577" y="8"/>
                    <a:pt x="584" y="13"/>
                    <a:pt x="584" y="13"/>
                  </a:cubicBezTo>
                  <a:cubicBezTo>
                    <a:pt x="581" y="14"/>
                    <a:pt x="581" y="14"/>
                    <a:pt x="581" y="14"/>
                  </a:cubicBezTo>
                  <a:cubicBezTo>
                    <a:pt x="583" y="17"/>
                    <a:pt x="583" y="17"/>
                    <a:pt x="583" y="17"/>
                  </a:cubicBezTo>
                  <a:cubicBezTo>
                    <a:pt x="586" y="17"/>
                    <a:pt x="586" y="17"/>
                    <a:pt x="586" y="17"/>
                  </a:cubicBezTo>
                  <a:cubicBezTo>
                    <a:pt x="593" y="21"/>
                    <a:pt x="593" y="21"/>
                    <a:pt x="593" y="21"/>
                  </a:cubicBezTo>
                  <a:cubicBezTo>
                    <a:pt x="586" y="22"/>
                    <a:pt x="586" y="22"/>
                    <a:pt x="586" y="22"/>
                  </a:cubicBezTo>
                  <a:cubicBezTo>
                    <a:pt x="587" y="27"/>
                    <a:pt x="587" y="27"/>
                    <a:pt x="587" y="27"/>
                  </a:cubicBezTo>
                  <a:cubicBezTo>
                    <a:pt x="583" y="27"/>
                    <a:pt x="583" y="27"/>
                    <a:pt x="583" y="27"/>
                  </a:cubicBezTo>
                  <a:cubicBezTo>
                    <a:pt x="583" y="30"/>
                    <a:pt x="583" y="30"/>
                    <a:pt x="583" y="30"/>
                  </a:cubicBezTo>
                  <a:cubicBezTo>
                    <a:pt x="585" y="31"/>
                    <a:pt x="585" y="31"/>
                    <a:pt x="585" y="31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7" y="36"/>
                    <a:pt x="587" y="36"/>
                    <a:pt x="587" y="36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87" y="45"/>
                    <a:pt x="587" y="45"/>
                    <a:pt x="587" y="45"/>
                  </a:cubicBezTo>
                  <a:cubicBezTo>
                    <a:pt x="580" y="45"/>
                    <a:pt x="580" y="45"/>
                    <a:pt x="580" y="45"/>
                  </a:cubicBezTo>
                  <a:cubicBezTo>
                    <a:pt x="576" y="55"/>
                    <a:pt x="576" y="55"/>
                    <a:pt x="576" y="55"/>
                  </a:cubicBezTo>
                  <a:cubicBezTo>
                    <a:pt x="574" y="35"/>
                    <a:pt x="574" y="35"/>
                    <a:pt x="574" y="35"/>
                  </a:cubicBezTo>
                  <a:cubicBezTo>
                    <a:pt x="569" y="37"/>
                    <a:pt x="569" y="37"/>
                    <a:pt x="569" y="37"/>
                  </a:cubicBezTo>
                  <a:cubicBezTo>
                    <a:pt x="575" y="26"/>
                    <a:pt x="575" y="26"/>
                    <a:pt x="575" y="26"/>
                  </a:cubicBezTo>
                  <a:cubicBezTo>
                    <a:pt x="573" y="24"/>
                    <a:pt x="573" y="24"/>
                    <a:pt x="573" y="24"/>
                  </a:cubicBezTo>
                  <a:cubicBezTo>
                    <a:pt x="573" y="24"/>
                    <a:pt x="574" y="17"/>
                    <a:pt x="569" y="17"/>
                  </a:cubicBezTo>
                  <a:cubicBezTo>
                    <a:pt x="564" y="18"/>
                    <a:pt x="564" y="32"/>
                    <a:pt x="564" y="32"/>
                  </a:cubicBezTo>
                  <a:cubicBezTo>
                    <a:pt x="560" y="33"/>
                    <a:pt x="560" y="33"/>
                    <a:pt x="560" y="33"/>
                  </a:cubicBezTo>
                  <a:cubicBezTo>
                    <a:pt x="560" y="33"/>
                    <a:pt x="561" y="41"/>
                    <a:pt x="558" y="45"/>
                  </a:cubicBezTo>
                  <a:cubicBezTo>
                    <a:pt x="556" y="50"/>
                    <a:pt x="550" y="60"/>
                    <a:pt x="550" y="60"/>
                  </a:cubicBezTo>
                  <a:cubicBezTo>
                    <a:pt x="550" y="60"/>
                    <a:pt x="555" y="62"/>
                    <a:pt x="554" y="65"/>
                  </a:cubicBezTo>
                  <a:cubicBezTo>
                    <a:pt x="553" y="68"/>
                    <a:pt x="551" y="73"/>
                    <a:pt x="551" y="73"/>
                  </a:cubicBezTo>
                  <a:cubicBezTo>
                    <a:pt x="549" y="78"/>
                    <a:pt x="549" y="78"/>
                    <a:pt x="549" y="78"/>
                  </a:cubicBezTo>
                  <a:cubicBezTo>
                    <a:pt x="546" y="74"/>
                    <a:pt x="546" y="74"/>
                    <a:pt x="546" y="74"/>
                  </a:cubicBezTo>
                  <a:cubicBezTo>
                    <a:pt x="544" y="77"/>
                    <a:pt x="544" y="77"/>
                    <a:pt x="544" y="77"/>
                  </a:cubicBezTo>
                  <a:cubicBezTo>
                    <a:pt x="541" y="71"/>
                    <a:pt x="541" y="71"/>
                    <a:pt x="541" y="71"/>
                  </a:cubicBezTo>
                  <a:cubicBezTo>
                    <a:pt x="547" y="55"/>
                    <a:pt x="547" y="55"/>
                    <a:pt x="547" y="55"/>
                  </a:cubicBezTo>
                  <a:cubicBezTo>
                    <a:pt x="542" y="55"/>
                    <a:pt x="542" y="55"/>
                    <a:pt x="542" y="55"/>
                  </a:cubicBezTo>
                  <a:cubicBezTo>
                    <a:pt x="541" y="52"/>
                    <a:pt x="541" y="52"/>
                    <a:pt x="541" y="52"/>
                  </a:cubicBezTo>
                  <a:cubicBezTo>
                    <a:pt x="553" y="34"/>
                    <a:pt x="553" y="34"/>
                    <a:pt x="553" y="34"/>
                  </a:cubicBezTo>
                  <a:cubicBezTo>
                    <a:pt x="551" y="32"/>
                    <a:pt x="551" y="32"/>
                    <a:pt x="551" y="32"/>
                  </a:cubicBezTo>
                  <a:cubicBezTo>
                    <a:pt x="551" y="32"/>
                    <a:pt x="556" y="25"/>
                    <a:pt x="554" y="24"/>
                  </a:cubicBezTo>
                  <a:cubicBezTo>
                    <a:pt x="552" y="22"/>
                    <a:pt x="546" y="29"/>
                    <a:pt x="546" y="29"/>
                  </a:cubicBezTo>
                  <a:cubicBezTo>
                    <a:pt x="546" y="22"/>
                    <a:pt x="546" y="22"/>
                    <a:pt x="546" y="22"/>
                  </a:cubicBezTo>
                  <a:cubicBezTo>
                    <a:pt x="540" y="22"/>
                    <a:pt x="540" y="22"/>
                    <a:pt x="540" y="22"/>
                  </a:cubicBezTo>
                  <a:cubicBezTo>
                    <a:pt x="542" y="26"/>
                    <a:pt x="542" y="26"/>
                    <a:pt x="542" y="26"/>
                  </a:cubicBezTo>
                  <a:cubicBezTo>
                    <a:pt x="541" y="31"/>
                    <a:pt x="541" y="31"/>
                    <a:pt x="541" y="31"/>
                  </a:cubicBezTo>
                  <a:cubicBezTo>
                    <a:pt x="537" y="26"/>
                    <a:pt x="537" y="26"/>
                    <a:pt x="537" y="26"/>
                  </a:cubicBezTo>
                  <a:cubicBezTo>
                    <a:pt x="534" y="29"/>
                    <a:pt x="534" y="29"/>
                    <a:pt x="534" y="29"/>
                  </a:cubicBezTo>
                  <a:cubicBezTo>
                    <a:pt x="535" y="24"/>
                    <a:pt x="535" y="24"/>
                    <a:pt x="535" y="24"/>
                  </a:cubicBezTo>
                  <a:cubicBezTo>
                    <a:pt x="534" y="22"/>
                    <a:pt x="534" y="22"/>
                    <a:pt x="534" y="22"/>
                  </a:cubicBezTo>
                  <a:cubicBezTo>
                    <a:pt x="532" y="26"/>
                    <a:pt x="532" y="26"/>
                    <a:pt x="532" y="26"/>
                  </a:cubicBezTo>
                  <a:cubicBezTo>
                    <a:pt x="525" y="21"/>
                    <a:pt x="525" y="21"/>
                    <a:pt x="525" y="21"/>
                  </a:cubicBezTo>
                  <a:cubicBezTo>
                    <a:pt x="523" y="27"/>
                    <a:pt x="523" y="27"/>
                    <a:pt x="523" y="27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6" y="31"/>
                    <a:pt x="526" y="31"/>
                    <a:pt x="526" y="31"/>
                  </a:cubicBezTo>
                  <a:cubicBezTo>
                    <a:pt x="526" y="35"/>
                    <a:pt x="526" y="35"/>
                    <a:pt x="526" y="35"/>
                  </a:cubicBezTo>
                  <a:cubicBezTo>
                    <a:pt x="523" y="34"/>
                    <a:pt x="523" y="34"/>
                    <a:pt x="523" y="3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9"/>
                    <a:pt x="519" y="39"/>
                    <a:pt x="519" y="39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46"/>
                    <a:pt x="532" y="46"/>
                    <a:pt x="532" y="46"/>
                  </a:cubicBezTo>
                  <a:cubicBezTo>
                    <a:pt x="532" y="48"/>
                    <a:pt x="532" y="48"/>
                    <a:pt x="532" y="48"/>
                  </a:cubicBezTo>
                  <a:cubicBezTo>
                    <a:pt x="532" y="48"/>
                    <a:pt x="530" y="46"/>
                    <a:pt x="527" y="45"/>
                  </a:cubicBezTo>
                  <a:cubicBezTo>
                    <a:pt x="525" y="43"/>
                    <a:pt x="521" y="43"/>
                    <a:pt x="521" y="43"/>
                  </a:cubicBezTo>
                  <a:cubicBezTo>
                    <a:pt x="520" y="53"/>
                    <a:pt x="520" y="53"/>
                    <a:pt x="520" y="53"/>
                  </a:cubicBezTo>
                  <a:cubicBezTo>
                    <a:pt x="522" y="52"/>
                    <a:pt x="522" y="52"/>
                    <a:pt x="522" y="52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25" y="58"/>
                    <a:pt x="522" y="57"/>
                    <a:pt x="519" y="56"/>
                  </a:cubicBezTo>
                  <a:cubicBezTo>
                    <a:pt x="515" y="56"/>
                    <a:pt x="514" y="59"/>
                    <a:pt x="514" y="59"/>
                  </a:cubicBezTo>
                  <a:cubicBezTo>
                    <a:pt x="505" y="75"/>
                    <a:pt x="505" y="75"/>
                    <a:pt x="505" y="75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4" y="78"/>
                    <a:pt x="504" y="78"/>
                    <a:pt x="504" y="78"/>
                  </a:cubicBezTo>
                  <a:cubicBezTo>
                    <a:pt x="508" y="83"/>
                    <a:pt x="508" y="83"/>
                    <a:pt x="508" y="83"/>
                  </a:cubicBezTo>
                  <a:cubicBezTo>
                    <a:pt x="505" y="85"/>
                    <a:pt x="505" y="85"/>
                    <a:pt x="505" y="85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04" y="92"/>
                    <a:pt x="504" y="92"/>
                    <a:pt x="504" y="92"/>
                  </a:cubicBezTo>
                  <a:cubicBezTo>
                    <a:pt x="499" y="83"/>
                    <a:pt x="499" y="83"/>
                    <a:pt x="499" y="83"/>
                  </a:cubicBezTo>
                  <a:cubicBezTo>
                    <a:pt x="486" y="91"/>
                    <a:pt x="486" y="91"/>
                    <a:pt x="486" y="91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6" y="89"/>
                    <a:pt x="497" y="83"/>
                    <a:pt x="498" y="79"/>
                  </a:cubicBezTo>
                  <a:cubicBezTo>
                    <a:pt x="499" y="76"/>
                    <a:pt x="489" y="78"/>
                    <a:pt x="489" y="78"/>
                  </a:cubicBezTo>
                  <a:cubicBezTo>
                    <a:pt x="489" y="78"/>
                    <a:pt x="486" y="75"/>
                    <a:pt x="484" y="78"/>
                  </a:cubicBezTo>
                  <a:cubicBezTo>
                    <a:pt x="481" y="81"/>
                    <a:pt x="487" y="84"/>
                    <a:pt x="487" y="84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1" y="76"/>
                    <a:pt x="476" y="76"/>
                  </a:cubicBezTo>
                  <a:cubicBezTo>
                    <a:pt x="472" y="76"/>
                    <a:pt x="472" y="82"/>
                    <a:pt x="472" y="82"/>
                  </a:cubicBezTo>
                  <a:cubicBezTo>
                    <a:pt x="465" y="77"/>
                    <a:pt x="465" y="77"/>
                    <a:pt x="465" y="77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464" y="80"/>
                    <a:pt x="460" y="79"/>
                    <a:pt x="458" y="82"/>
                  </a:cubicBezTo>
                  <a:cubicBezTo>
                    <a:pt x="456" y="87"/>
                    <a:pt x="465" y="87"/>
                    <a:pt x="465" y="87"/>
                  </a:cubicBezTo>
                  <a:cubicBezTo>
                    <a:pt x="462" y="90"/>
                    <a:pt x="462" y="90"/>
                    <a:pt x="462" y="90"/>
                  </a:cubicBezTo>
                  <a:cubicBezTo>
                    <a:pt x="472" y="92"/>
                    <a:pt x="472" y="92"/>
                    <a:pt x="472" y="92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3" y="94"/>
                    <a:pt x="473" y="94"/>
                    <a:pt x="473" y="94"/>
                  </a:cubicBezTo>
                  <a:cubicBezTo>
                    <a:pt x="474" y="95"/>
                    <a:pt x="474" y="95"/>
                    <a:pt x="474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7"/>
                    <a:pt x="478" y="97"/>
                    <a:pt x="478" y="97"/>
                  </a:cubicBezTo>
                  <a:cubicBezTo>
                    <a:pt x="475" y="97"/>
                    <a:pt x="475" y="97"/>
                    <a:pt x="475" y="97"/>
                  </a:cubicBezTo>
                  <a:cubicBezTo>
                    <a:pt x="478" y="103"/>
                    <a:pt x="478" y="103"/>
                    <a:pt x="478" y="103"/>
                  </a:cubicBezTo>
                  <a:cubicBezTo>
                    <a:pt x="478" y="106"/>
                    <a:pt x="478" y="106"/>
                    <a:pt x="478" y="106"/>
                  </a:cubicBezTo>
                  <a:cubicBezTo>
                    <a:pt x="478" y="106"/>
                    <a:pt x="484" y="110"/>
                    <a:pt x="482" y="111"/>
                  </a:cubicBezTo>
                  <a:cubicBezTo>
                    <a:pt x="479" y="112"/>
                    <a:pt x="474" y="103"/>
                    <a:pt x="474" y="103"/>
                  </a:cubicBezTo>
                  <a:cubicBezTo>
                    <a:pt x="469" y="100"/>
                    <a:pt x="469" y="100"/>
                    <a:pt x="469" y="100"/>
                  </a:cubicBezTo>
                  <a:cubicBezTo>
                    <a:pt x="469" y="100"/>
                    <a:pt x="465" y="94"/>
                    <a:pt x="460" y="94"/>
                  </a:cubicBezTo>
                  <a:cubicBezTo>
                    <a:pt x="457" y="94"/>
                    <a:pt x="459" y="100"/>
                    <a:pt x="459" y="100"/>
                  </a:cubicBezTo>
                  <a:cubicBezTo>
                    <a:pt x="461" y="104"/>
                    <a:pt x="461" y="104"/>
                    <a:pt x="461" y="104"/>
                  </a:cubicBezTo>
                  <a:cubicBezTo>
                    <a:pt x="458" y="106"/>
                    <a:pt x="458" y="106"/>
                    <a:pt x="458" y="106"/>
                  </a:cubicBezTo>
                  <a:cubicBezTo>
                    <a:pt x="456" y="111"/>
                    <a:pt x="456" y="111"/>
                    <a:pt x="456" y="111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57" y="102"/>
                    <a:pt x="457" y="102"/>
                    <a:pt x="457" y="102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1" y="106"/>
                    <a:pt x="451" y="106"/>
                    <a:pt x="451" y="106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448" y="124"/>
                    <a:pt x="448" y="124"/>
                    <a:pt x="448" y="124"/>
                  </a:cubicBezTo>
                  <a:cubicBezTo>
                    <a:pt x="452" y="129"/>
                    <a:pt x="452" y="129"/>
                    <a:pt x="452" y="129"/>
                  </a:cubicBezTo>
                  <a:cubicBezTo>
                    <a:pt x="444" y="126"/>
                    <a:pt x="444" y="126"/>
                    <a:pt x="444" y="126"/>
                  </a:cubicBezTo>
                  <a:cubicBezTo>
                    <a:pt x="442" y="140"/>
                    <a:pt x="442" y="140"/>
                    <a:pt x="442" y="140"/>
                  </a:cubicBezTo>
                  <a:cubicBezTo>
                    <a:pt x="440" y="140"/>
                    <a:pt x="440" y="140"/>
                    <a:pt x="440" y="140"/>
                  </a:cubicBezTo>
                  <a:cubicBezTo>
                    <a:pt x="436" y="147"/>
                    <a:pt x="436" y="147"/>
                    <a:pt x="436" y="147"/>
                  </a:cubicBezTo>
                  <a:cubicBezTo>
                    <a:pt x="434" y="144"/>
                    <a:pt x="434" y="144"/>
                    <a:pt x="434" y="144"/>
                  </a:cubicBezTo>
                  <a:cubicBezTo>
                    <a:pt x="439" y="138"/>
                    <a:pt x="439" y="138"/>
                    <a:pt x="439" y="138"/>
                  </a:cubicBezTo>
                  <a:cubicBezTo>
                    <a:pt x="441" y="129"/>
                    <a:pt x="441" y="129"/>
                    <a:pt x="441" y="129"/>
                  </a:cubicBezTo>
                  <a:cubicBezTo>
                    <a:pt x="440" y="128"/>
                    <a:pt x="440" y="128"/>
                    <a:pt x="440" y="128"/>
                  </a:cubicBezTo>
                  <a:cubicBezTo>
                    <a:pt x="443" y="125"/>
                    <a:pt x="443" y="125"/>
                    <a:pt x="443" y="125"/>
                  </a:cubicBezTo>
                  <a:cubicBezTo>
                    <a:pt x="441" y="120"/>
                    <a:pt x="441" y="120"/>
                    <a:pt x="441" y="120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09"/>
                    <a:pt x="439" y="102"/>
                    <a:pt x="439" y="102"/>
                  </a:cubicBezTo>
                  <a:cubicBezTo>
                    <a:pt x="434" y="106"/>
                    <a:pt x="434" y="106"/>
                    <a:pt x="434" y="106"/>
                  </a:cubicBezTo>
                  <a:cubicBezTo>
                    <a:pt x="434" y="106"/>
                    <a:pt x="435" y="112"/>
                    <a:pt x="432" y="115"/>
                  </a:cubicBezTo>
                  <a:cubicBezTo>
                    <a:pt x="428" y="118"/>
                    <a:pt x="431" y="124"/>
                    <a:pt x="431" y="124"/>
                  </a:cubicBezTo>
                  <a:cubicBezTo>
                    <a:pt x="434" y="126"/>
                    <a:pt x="434" y="126"/>
                    <a:pt x="434" y="126"/>
                  </a:cubicBezTo>
                  <a:cubicBezTo>
                    <a:pt x="429" y="128"/>
                    <a:pt x="429" y="128"/>
                    <a:pt x="429" y="128"/>
                  </a:cubicBezTo>
                  <a:cubicBezTo>
                    <a:pt x="429" y="137"/>
                    <a:pt x="429" y="137"/>
                    <a:pt x="429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7" y="124"/>
                    <a:pt x="427" y="124"/>
                    <a:pt x="427" y="124"/>
                  </a:cubicBezTo>
                  <a:cubicBezTo>
                    <a:pt x="426" y="124"/>
                    <a:pt x="426" y="124"/>
                    <a:pt x="426" y="124"/>
                  </a:cubicBezTo>
                  <a:cubicBezTo>
                    <a:pt x="426" y="113"/>
                    <a:pt x="426" y="113"/>
                    <a:pt x="426" y="113"/>
                  </a:cubicBezTo>
                  <a:cubicBezTo>
                    <a:pt x="426" y="113"/>
                    <a:pt x="421" y="115"/>
                    <a:pt x="413" y="119"/>
                  </a:cubicBezTo>
                  <a:cubicBezTo>
                    <a:pt x="405" y="121"/>
                    <a:pt x="410" y="132"/>
                    <a:pt x="410" y="132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3" y="132"/>
                    <a:pt x="413" y="134"/>
                    <a:pt x="412" y="137"/>
                  </a:cubicBezTo>
                  <a:cubicBezTo>
                    <a:pt x="411" y="139"/>
                    <a:pt x="416" y="142"/>
                    <a:pt x="420" y="142"/>
                  </a:cubicBezTo>
                  <a:cubicBezTo>
                    <a:pt x="424" y="143"/>
                    <a:pt x="424" y="150"/>
                    <a:pt x="424" y="150"/>
                  </a:cubicBezTo>
                  <a:cubicBezTo>
                    <a:pt x="427" y="151"/>
                    <a:pt x="427" y="151"/>
                    <a:pt x="427" y="151"/>
                  </a:cubicBezTo>
                  <a:cubicBezTo>
                    <a:pt x="425" y="152"/>
                    <a:pt x="425" y="152"/>
                    <a:pt x="425" y="152"/>
                  </a:cubicBezTo>
                  <a:cubicBezTo>
                    <a:pt x="425" y="152"/>
                    <a:pt x="421" y="150"/>
                    <a:pt x="421" y="147"/>
                  </a:cubicBezTo>
                  <a:cubicBezTo>
                    <a:pt x="421" y="144"/>
                    <a:pt x="416" y="144"/>
                    <a:pt x="412" y="143"/>
                  </a:cubicBezTo>
                  <a:cubicBezTo>
                    <a:pt x="410" y="143"/>
                    <a:pt x="407" y="134"/>
                    <a:pt x="407" y="134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9" y="136"/>
                    <a:pt x="400" y="140"/>
                    <a:pt x="402" y="143"/>
                  </a:cubicBezTo>
                  <a:cubicBezTo>
                    <a:pt x="405" y="146"/>
                    <a:pt x="409" y="147"/>
                    <a:pt x="409" y="147"/>
                  </a:cubicBezTo>
                  <a:cubicBezTo>
                    <a:pt x="409" y="147"/>
                    <a:pt x="405" y="148"/>
                    <a:pt x="402" y="146"/>
                  </a:cubicBezTo>
                  <a:cubicBezTo>
                    <a:pt x="399" y="145"/>
                    <a:pt x="394" y="138"/>
                    <a:pt x="394" y="138"/>
                  </a:cubicBezTo>
                  <a:cubicBezTo>
                    <a:pt x="390" y="139"/>
                    <a:pt x="390" y="139"/>
                    <a:pt x="390" y="139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92" y="159"/>
                    <a:pt x="392" y="159"/>
                    <a:pt x="392" y="159"/>
                  </a:cubicBezTo>
                  <a:cubicBezTo>
                    <a:pt x="380" y="160"/>
                    <a:pt x="380" y="160"/>
                    <a:pt x="380" y="160"/>
                  </a:cubicBezTo>
                  <a:cubicBezTo>
                    <a:pt x="384" y="165"/>
                    <a:pt x="384" y="165"/>
                    <a:pt x="384" y="165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84" y="174"/>
                    <a:pt x="384" y="174"/>
                    <a:pt x="384" y="174"/>
                  </a:cubicBezTo>
                  <a:cubicBezTo>
                    <a:pt x="387" y="176"/>
                    <a:pt x="387" y="176"/>
                    <a:pt x="387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0" y="181"/>
                    <a:pt x="380" y="181"/>
                    <a:pt x="380" y="181"/>
                  </a:cubicBezTo>
                  <a:cubicBezTo>
                    <a:pt x="385" y="183"/>
                    <a:pt x="385" y="183"/>
                    <a:pt x="385" y="183"/>
                  </a:cubicBezTo>
                  <a:cubicBezTo>
                    <a:pt x="377" y="183"/>
                    <a:pt x="377" y="183"/>
                    <a:pt x="377" y="183"/>
                  </a:cubicBezTo>
                  <a:cubicBezTo>
                    <a:pt x="371" y="184"/>
                    <a:pt x="377" y="187"/>
                    <a:pt x="377" y="187"/>
                  </a:cubicBezTo>
                  <a:cubicBezTo>
                    <a:pt x="382" y="189"/>
                    <a:pt x="382" y="189"/>
                    <a:pt x="382" y="189"/>
                  </a:cubicBezTo>
                  <a:cubicBezTo>
                    <a:pt x="382" y="189"/>
                    <a:pt x="375" y="187"/>
                    <a:pt x="372" y="188"/>
                  </a:cubicBezTo>
                  <a:cubicBezTo>
                    <a:pt x="370" y="188"/>
                    <a:pt x="371" y="190"/>
                    <a:pt x="371" y="190"/>
                  </a:cubicBezTo>
                  <a:cubicBezTo>
                    <a:pt x="375" y="191"/>
                    <a:pt x="375" y="191"/>
                    <a:pt x="375" y="191"/>
                  </a:cubicBezTo>
                  <a:cubicBezTo>
                    <a:pt x="374" y="195"/>
                    <a:pt x="374" y="195"/>
                    <a:pt x="374" y="195"/>
                  </a:cubicBezTo>
                  <a:cubicBezTo>
                    <a:pt x="374" y="192"/>
                    <a:pt x="374" y="192"/>
                    <a:pt x="374" y="192"/>
                  </a:cubicBezTo>
                  <a:cubicBezTo>
                    <a:pt x="370" y="191"/>
                    <a:pt x="370" y="191"/>
                    <a:pt x="370" y="191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91"/>
                    <a:pt x="367" y="191"/>
                    <a:pt x="367" y="191"/>
                  </a:cubicBezTo>
                  <a:cubicBezTo>
                    <a:pt x="367" y="191"/>
                    <a:pt x="366" y="192"/>
                    <a:pt x="361" y="192"/>
                  </a:cubicBezTo>
                  <a:cubicBezTo>
                    <a:pt x="357" y="192"/>
                    <a:pt x="357" y="200"/>
                    <a:pt x="357" y="200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68" y="203"/>
                    <a:pt x="369" y="205"/>
                    <a:pt x="372" y="205"/>
                  </a:cubicBezTo>
                  <a:cubicBezTo>
                    <a:pt x="375" y="205"/>
                    <a:pt x="382" y="199"/>
                    <a:pt x="382" y="199"/>
                  </a:cubicBezTo>
                  <a:cubicBezTo>
                    <a:pt x="380" y="203"/>
                    <a:pt x="380" y="203"/>
                    <a:pt x="380" y="203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76" y="207"/>
                    <a:pt x="376" y="207"/>
                    <a:pt x="376" y="207"/>
                  </a:cubicBezTo>
                  <a:cubicBezTo>
                    <a:pt x="376" y="213"/>
                    <a:pt x="376" y="213"/>
                    <a:pt x="376" y="213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4" y="209"/>
                    <a:pt x="374" y="209"/>
                    <a:pt x="374" y="209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211"/>
                    <a:pt x="364" y="208"/>
                    <a:pt x="361" y="208"/>
                  </a:cubicBezTo>
                  <a:cubicBezTo>
                    <a:pt x="358" y="207"/>
                    <a:pt x="353" y="209"/>
                    <a:pt x="351" y="213"/>
                  </a:cubicBezTo>
                  <a:cubicBezTo>
                    <a:pt x="348" y="215"/>
                    <a:pt x="355" y="215"/>
                    <a:pt x="358" y="216"/>
                  </a:cubicBezTo>
                  <a:cubicBezTo>
                    <a:pt x="362" y="217"/>
                    <a:pt x="361" y="221"/>
                    <a:pt x="361" y="221"/>
                  </a:cubicBezTo>
                  <a:cubicBezTo>
                    <a:pt x="364" y="223"/>
                    <a:pt x="364" y="223"/>
                    <a:pt x="364" y="223"/>
                  </a:cubicBezTo>
                  <a:cubicBezTo>
                    <a:pt x="363" y="224"/>
                    <a:pt x="363" y="224"/>
                    <a:pt x="363" y="224"/>
                  </a:cubicBezTo>
                  <a:cubicBezTo>
                    <a:pt x="363" y="224"/>
                    <a:pt x="359" y="221"/>
                    <a:pt x="357" y="219"/>
                  </a:cubicBezTo>
                  <a:cubicBezTo>
                    <a:pt x="355" y="217"/>
                    <a:pt x="348" y="216"/>
                    <a:pt x="348" y="216"/>
                  </a:cubicBezTo>
                  <a:cubicBezTo>
                    <a:pt x="347" y="218"/>
                    <a:pt x="347" y="218"/>
                    <a:pt x="347" y="218"/>
                  </a:cubicBezTo>
                  <a:cubicBezTo>
                    <a:pt x="353" y="219"/>
                    <a:pt x="353" y="219"/>
                    <a:pt x="353" y="219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52" y="223"/>
                    <a:pt x="352" y="223"/>
                    <a:pt x="352" y="223"/>
                  </a:cubicBezTo>
                  <a:cubicBezTo>
                    <a:pt x="355" y="222"/>
                    <a:pt x="355" y="222"/>
                    <a:pt x="355" y="222"/>
                  </a:cubicBezTo>
                  <a:cubicBezTo>
                    <a:pt x="358" y="223"/>
                    <a:pt x="358" y="223"/>
                    <a:pt x="358" y="223"/>
                  </a:cubicBezTo>
                  <a:cubicBezTo>
                    <a:pt x="351" y="226"/>
                    <a:pt x="351" y="226"/>
                    <a:pt x="351" y="226"/>
                  </a:cubicBezTo>
                  <a:cubicBezTo>
                    <a:pt x="352" y="230"/>
                    <a:pt x="352" y="230"/>
                    <a:pt x="352" y="230"/>
                  </a:cubicBezTo>
                  <a:cubicBezTo>
                    <a:pt x="352" y="230"/>
                    <a:pt x="354" y="229"/>
                    <a:pt x="356" y="231"/>
                  </a:cubicBezTo>
                  <a:cubicBezTo>
                    <a:pt x="357" y="233"/>
                    <a:pt x="352" y="236"/>
                    <a:pt x="348" y="235"/>
                  </a:cubicBezTo>
                  <a:cubicBezTo>
                    <a:pt x="345" y="233"/>
                    <a:pt x="346" y="221"/>
                    <a:pt x="346" y="221"/>
                  </a:cubicBezTo>
                  <a:cubicBezTo>
                    <a:pt x="343" y="221"/>
                    <a:pt x="343" y="221"/>
                    <a:pt x="343" y="221"/>
                  </a:cubicBezTo>
                  <a:cubicBezTo>
                    <a:pt x="338" y="230"/>
                    <a:pt x="338" y="230"/>
                    <a:pt x="338" y="230"/>
                  </a:cubicBezTo>
                  <a:cubicBezTo>
                    <a:pt x="337" y="224"/>
                    <a:pt x="337" y="224"/>
                    <a:pt x="337" y="224"/>
                  </a:cubicBezTo>
                  <a:cubicBezTo>
                    <a:pt x="335" y="224"/>
                    <a:pt x="335" y="224"/>
                    <a:pt x="335" y="224"/>
                  </a:cubicBezTo>
                  <a:cubicBezTo>
                    <a:pt x="334" y="229"/>
                    <a:pt x="334" y="229"/>
                    <a:pt x="334" y="229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27" y="235"/>
                    <a:pt x="327" y="235"/>
                    <a:pt x="327" y="235"/>
                  </a:cubicBezTo>
                  <a:cubicBezTo>
                    <a:pt x="329" y="238"/>
                    <a:pt x="329" y="238"/>
                    <a:pt x="329" y="238"/>
                  </a:cubicBezTo>
                  <a:cubicBezTo>
                    <a:pt x="331" y="237"/>
                    <a:pt x="331" y="237"/>
                    <a:pt x="331" y="237"/>
                  </a:cubicBezTo>
                  <a:cubicBezTo>
                    <a:pt x="331" y="234"/>
                    <a:pt x="331" y="234"/>
                    <a:pt x="331" y="234"/>
                  </a:cubicBezTo>
                  <a:cubicBezTo>
                    <a:pt x="335" y="232"/>
                    <a:pt x="335" y="232"/>
                    <a:pt x="335" y="232"/>
                  </a:cubicBezTo>
                  <a:cubicBezTo>
                    <a:pt x="337" y="234"/>
                    <a:pt x="337" y="234"/>
                    <a:pt x="337" y="234"/>
                  </a:cubicBezTo>
                  <a:cubicBezTo>
                    <a:pt x="333" y="237"/>
                    <a:pt x="333" y="237"/>
                    <a:pt x="333" y="237"/>
                  </a:cubicBezTo>
                  <a:cubicBezTo>
                    <a:pt x="335" y="238"/>
                    <a:pt x="335" y="238"/>
                    <a:pt x="335" y="238"/>
                  </a:cubicBezTo>
                  <a:cubicBezTo>
                    <a:pt x="335" y="238"/>
                    <a:pt x="339" y="238"/>
                    <a:pt x="341" y="239"/>
                  </a:cubicBezTo>
                  <a:cubicBezTo>
                    <a:pt x="343" y="239"/>
                    <a:pt x="340" y="236"/>
                    <a:pt x="340" y="234"/>
                  </a:cubicBezTo>
                  <a:cubicBezTo>
                    <a:pt x="340" y="233"/>
                    <a:pt x="344" y="234"/>
                    <a:pt x="345" y="236"/>
                  </a:cubicBezTo>
                  <a:cubicBezTo>
                    <a:pt x="346" y="238"/>
                    <a:pt x="344" y="242"/>
                    <a:pt x="343" y="242"/>
                  </a:cubicBezTo>
                  <a:cubicBezTo>
                    <a:pt x="341" y="244"/>
                    <a:pt x="342" y="242"/>
                    <a:pt x="339" y="240"/>
                  </a:cubicBezTo>
                  <a:cubicBezTo>
                    <a:pt x="336" y="239"/>
                    <a:pt x="334" y="244"/>
                    <a:pt x="330" y="244"/>
                  </a:cubicBezTo>
                  <a:cubicBezTo>
                    <a:pt x="327" y="244"/>
                    <a:pt x="322" y="245"/>
                    <a:pt x="322" y="245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2" y="248"/>
                    <a:pt x="322" y="248"/>
                    <a:pt x="322" y="248"/>
                  </a:cubicBezTo>
                  <a:cubicBezTo>
                    <a:pt x="318" y="248"/>
                    <a:pt x="318" y="248"/>
                    <a:pt x="318" y="248"/>
                  </a:cubicBezTo>
                  <a:cubicBezTo>
                    <a:pt x="315" y="252"/>
                    <a:pt x="315" y="252"/>
                    <a:pt x="315" y="252"/>
                  </a:cubicBezTo>
                  <a:cubicBezTo>
                    <a:pt x="321" y="253"/>
                    <a:pt x="321" y="253"/>
                    <a:pt x="321" y="253"/>
                  </a:cubicBezTo>
                  <a:cubicBezTo>
                    <a:pt x="315" y="256"/>
                    <a:pt x="315" y="256"/>
                    <a:pt x="315" y="256"/>
                  </a:cubicBezTo>
                  <a:cubicBezTo>
                    <a:pt x="315" y="256"/>
                    <a:pt x="318" y="260"/>
                    <a:pt x="322" y="258"/>
                  </a:cubicBezTo>
                  <a:cubicBezTo>
                    <a:pt x="327" y="256"/>
                    <a:pt x="331" y="249"/>
                    <a:pt x="331" y="249"/>
                  </a:cubicBezTo>
                  <a:cubicBezTo>
                    <a:pt x="342" y="256"/>
                    <a:pt x="342" y="256"/>
                    <a:pt x="342" y="256"/>
                  </a:cubicBezTo>
                  <a:cubicBezTo>
                    <a:pt x="334" y="253"/>
                    <a:pt x="334" y="253"/>
                    <a:pt x="334" y="253"/>
                  </a:cubicBezTo>
                  <a:cubicBezTo>
                    <a:pt x="331" y="254"/>
                    <a:pt x="331" y="254"/>
                    <a:pt x="331" y="254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29" y="256"/>
                    <a:pt x="329" y="256"/>
                    <a:pt x="329" y="256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0" y="263"/>
                    <a:pt x="330" y="263"/>
                    <a:pt x="330" y="263"/>
                  </a:cubicBezTo>
                  <a:cubicBezTo>
                    <a:pt x="328" y="267"/>
                    <a:pt x="328" y="267"/>
                    <a:pt x="328" y="267"/>
                  </a:cubicBezTo>
                  <a:cubicBezTo>
                    <a:pt x="329" y="269"/>
                    <a:pt x="335" y="267"/>
                    <a:pt x="335" y="267"/>
                  </a:cubicBezTo>
                  <a:cubicBezTo>
                    <a:pt x="339" y="265"/>
                    <a:pt x="339" y="265"/>
                    <a:pt x="339" y="265"/>
                  </a:cubicBezTo>
                  <a:cubicBezTo>
                    <a:pt x="336" y="274"/>
                    <a:pt x="336" y="274"/>
                    <a:pt x="336" y="274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7" y="278"/>
                    <a:pt x="337" y="278"/>
                    <a:pt x="337" y="278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1"/>
                    <a:pt x="339" y="281"/>
                    <a:pt x="337" y="280"/>
                  </a:cubicBezTo>
                  <a:cubicBezTo>
                    <a:pt x="335" y="280"/>
                    <a:pt x="333" y="271"/>
                    <a:pt x="331" y="270"/>
                  </a:cubicBezTo>
                  <a:cubicBezTo>
                    <a:pt x="329" y="270"/>
                    <a:pt x="327" y="271"/>
                    <a:pt x="327" y="271"/>
                  </a:cubicBezTo>
                  <a:cubicBezTo>
                    <a:pt x="327" y="271"/>
                    <a:pt x="325" y="267"/>
                    <a:pt x="322" y="266"/>
                  </a:cubicBezTo>
                  <a:cubicBezTo>
                    <a:pt x="319" y="266"/>
                    <a:pt x="313" y="273"/>
                    <a:pt x="313" y="273"/>
                  </a:cubicBezTo>
                  <a:cubicBezTo>
                    <a:pt x="321" y="274"/>
                    <a:pt x="321" y="274"/>
                    <a:pt x="321" y="274"/>
                  </a:cubicBezTo>
                  <a:cubicBezTo>
                    <a:pt x="321" y="274"/>
                    <a:pt x="318" y="276"/>
                    <a:pt x="314" y="276"/>
                  </a:cubicBezTo>
                  <a:cubicBezTo>
                    <a:pt x="312" y="276"/>
                    <a:pt x="313" y="279"/>
                    <a:pt x="312" y="281"/>
                  </a:cubicBezTo>
                  <a:cubicBezTo>
                    <a:pt x="310" y="283"/>
                    <a:pt x="306" y="285"/>
                    <a:pt x="306" y="285"/>
                  </a:cubicBezTo>
                  <a:cubicBezTo>
                    <a:pt x="317" y="285"/>
                    <a:pt x="317" y="285"/>
                    <a:pt x="317" y="285"/>
                  </a:cubicBezTo>
                  <a:cubicBezTo>
                    <a:pt x="322" y="285"/>
                    <a:pt x="327" y="282"/>
                    <a:pt x="327" y="282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35" y="285"/>
                    <a:pt x="335" y="285"/>
                    <a:pt x="335" y="285"/>
                  </a:cubicBezTo>
                  <a:cubicBezTo>
                    <a:pt x="334" y="295"/>
                    <a:pt x="334" y="295"/>
                    <a:pt x="334" y="295"/>
                  </a:cubicBezTo>
                  <a:cubicBezTo>
                    <a:pt x="331" y="290"/>
                    <a:pt x="331" y="290"/>
                    <a:pt x="331" y="290"/>
                  </a:cubicBezTo>
                  <a:cubicBezTo>
                    <a:pt x="323" y="287"/>
                    <a:pt x="323" y="287"/>
                    <a:pt x="323" y="287"/>
                  </a:cubicBezTo>
                  <a:cubicBezTo>
                    <a:pt x="318" y="294"/>
                    <a:pt x="318" y="294"/>
                    <a:pt x="318" y="294"/>
                  </a:cubicBezTo>
                  <a:cubicBezTo>
                    <a:pt x="321" y="287"/>
                    <a:pt x="321" y="287"/>
                    <a:pt x="321" y="287"/>
                  </a:cubicBezTo>
                  <a:cubicBezTo>
                    <a:pt x="308" y="288"/>
                    <a:pt x="308" y="288"/>
                    <a:pt x="308" y="288"/>
                  </a:cubicBezTo>
                  <a:cubicBezTo>
                    <a:pt x="303" y="302"/>
                    <a:pt x="303" y="302"/>
                    <a:pt x="303" y="302"/>
                  </a:cubicBezTo>
                  <a:cubicBezTo>
                    <a:pt x="297" y="301"/>
                    <a:pt x="297" y="301"/>
                    <a:pt x="297" y="301"/>
                  </a:cubicBezTo>
                  <a:cubicBezTo>
                    <a:pt x="296" y="304"/>
                    <a:pt x="296" y="304"/>
                    <a:pt x="296" y="304"/>
                  </a:cubicBezTo>
                  <a:cubicBezTo>
                    <a:pt x="296" y="304"/>
                    <a:pt x="295" y="303"/>
                    <a:pt x="290" y="305"/>
                  </a:cubicBezTo>
                  <a:cubicBezTo>
                    <a:pt x="284" y="308"/>
                    <a:pt x="284" y="311"/>
                    <a:pt x="284" y="311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286" y="316"/>
                    <a:pt x="286" y="316"/>
                    <a:pt x="286" y="316"/>
                  </a:cubicBezTo>
                  <a:cubicBezTo>
                    <a:pt x="281" y="317"/>
                    <a:pt x="281" y="317"/>
                    <a:pt x="281" y="317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79" y="321"/>
                    <a:pt x="279" y="321"/>
                    <a:pt x="279" y="321"/>
                  </a:cubicBezTo>
                  <a:cubicBezTo>
                    <a:pt x="276" y="321"/>
                    <a:pt x="276" y="321"/>
                    <a:pt x="276" y="321"/>
                  </a:cubicBezTo>
                  <a:cubicBezTo>
                    <a:pt x="282" y="327"/>
                    <a:pt x="282" y="327"/>
                    <a:pt x="282" y="327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75" y="331"/>
                    <a:pt x="275" y="331"/>
                    <a:pt x="275" y="331"/>
                  </a:cubicBezTo>
                  <a:cubicBezTo>
                    <a:pt x="277" y="333"/>
                    <a:pt x="277" y="333"/>
                    <a:pt x="277" y="333"/>
                  </a:cubicBezTo>
                  <a:cubicBezTo>
                    <a:pt x="281" y="332"/>
                    <a:pt x="281" y="332"/>
                    <a:pt x="281" y="332"/>
                  </a:cubicBezTo>
                  <a:cubicBezTo>
                    <a:pt x="287" y="335"/>
                    <a:pt x="287" y="335"/>
                    <a:pt x="287" y="335"/>
                  </a:cubicBezTo>
                  <a:cubicBezTo>
                    <a:pt x="287" y="335"/>
                    <a:pt x="282" y="334"/>
                    <a:pt x="279" y="335"/>
                  </a:cubicBezTo>
                  <a:cubicBezTo>
                    <a:pt x="276" y="336"/>
                    <a:pt x="278" y="339"/>
                    <a:pt x="278" y="339"/>
                  </a:cubicBezTo>
                  <a:cubicBezTo>
                    <a:pt x="275" y="339"/>
                    <a:pt x="275" y="339"/>
                    <a:pt x="275" y="339"/>
                  </a:cubicBezTo>
                  <a:cubicBezTo>
                    <a:pt x="275" y="335"/>
                    <a:pt x="275" y="335"/>
                    <a:pt x="275" y="335"/>
                  </a:cubicBezTo>
                  <a:cubicBezTo>
                    <a:pt x="271" y="334"/>
                    <a:pt x="271" y="334"/>
                    <a:pt x="271" y="334"/>
                  </a:cubicBezTo>
                  <a:cubicBezTo>
                    <a:pt x="270" y="336"/>
                    <a:pt x="270" y="336"/>
                    <a:pt x="270" y="336"/>
                  </a:cubicBezTo>
                  <a:cubicBezTo>
                    <a:pt x="273" y="340"/>
                    <a:pt x="273" y="340"/>
                    <a:pt x="273" y="340"/>
                  </a:cubicBezTo>
                  <a:cubicBezTo>
                    <a:pt x="273" y="340"/>
                    <a:pt x="270" y="346"/>
                    <a:pt x="272" y="348"/>
                  </a:cubicBezTo>
                  <a:cubicBezTo>
                    <a:pt x="275" y="350"/>
                    <a:pt x="284" y="347"/>
                    <a:pt x="284" y="348"/>
                  </a:cubicBezTo>
                  <a:cubicBezTo>
                    <a:pt x="284" y="349"/>
                    <a:pt x="275" y="350"/>
                    <a:pt x="275" y="350"/>
                  </a:cubicBezTo>
                  <a:cubicBezTo>
                    <a:pt x="271" y="356"/>
                    <a:pt x="271" y="356"/>
                    <a:pt x="271" y="35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85" y="351"/>
                    <a:pt x="285" y="351"/>
                    <a:pt x="285" y="351"/>
                  </a:cubicBezTo>
                  <a:cubicBezTo>
                    <a:pt x="287" y="351"/>
                    <a:pt x="287" y="351"/>
                    <a:pt x="287" y="351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0" y="353"/>
                    <a:pt x="290" y="353"/>
                    <a:pt x="290" y="353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285" y="360"/>
                    <a:pt x="285" y="360"/>
                    <a:pt x="285" y="360"/>
                  </a:cubicBezTo>
                  <a:cubicBezTo>
                    <a:pt x="285" y="360"/>
                    <a:pt x="286" y="355"/>
                    <a:pt x="285" y="353"/>
                  </a:cubicBezTo>
                  <a:cubicBezTo>
                    <a:pt x="282" y="351"/>
                    <a:pt x="277" y="356"/>
                    <a:pt x="275" y="357"/>
                  </a:cubicBezTo>
                  <a:cubicBezTo>
                    <a:pt x="273" y="359"/>
                    <a:pt x="263" y="360"/>
                    <a:pt x="262" y="363"/>
                  </a:cubicBezTo>
                  <a:cubicBezTo>
                    <a:pt x="260" y="366"/>
                    <a:pt x="269" y="364"/>
                    <a:pt x="269" y="364"/>
                  </a:cubicBezTo>
                  <a:cubicBezTo>
                    <a:pt x="268" y="371"/>
                    <a:pt x="268" y="371"/>
                    <a:pt x="268" y="371"/>
                  </a:cubicBezTo>
                  <a:cubicBezTo>
                    <a:pt x="274" y="375"/>
                    <a:pt x="274" y="375"/>
                    <a:pt x="274" y="375"/>
                  </a:cubicBezTo>
                  <a:cubicBezTo>
                    <a:pt x="274" y="375"/>
                    <a:pt x="262" y="372"/>
                    <a:pt x="261" y="375"/>
                  </a:cubicBezTo>
                  <a:cubicBezTo>
                    <a:pt x="259" y="378"/>
                    <a:pt x="261" y="381"/>
                    <a:pt x="261" y="381"/>
                  </a:cubicBezTo>
                  <a:cubicBezTo>
                    <a:pt x="259" y="381"/>
                    <a:pt x="259" y="381"/>
                    <a:pt x="259" y="381"/>
                  </a:cubicBezTo>
                  <a:cubicBezTo>
                    <a:pt x="257" y="383"/>
                    <a:pt x="257" y="383"/>
                    <a:pt x="257" y="383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7"/>
                    <a:pt x="256" y="386"/>
                    <a:pt x="253" y="389"/>
                  </a:cubicBezTo>
                  <a:cubicBezTo>
                    <a:pt x="249" y="391"/>
                    <a:pt x="254" y="398"/>
                    <a:pt x="254" y="398"/>
                  </a:cubicBezTo>
                  <a:cubicBezTo>
                    <a:pt x="258" y="399"/>
                    <a:pt x="258" y="399"/>
                    <a:pt x="258" y="399"/>
                  </a:cubicBezTo>
                  <a:cubicBezTo>
                    <a:pt x="259" y="405"/>
                    <a:pt x="259" y="405"/>
                    <a:pt x="259" y="405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49" y="396"/>
                    <a:pt x="249" y="396"/>
                    <a:pt x="249" y="396"/>
                  </a:cubicBezTo>
                  <a:cubicBezTo>
                    <a:pt x="247" y="404"/>
                    <a:pt x="247" y="404"/>
                    <a:pt x="247" y="404"/>
                  </a:cubicBezTo>
                  <a:cubicBezTo>
                    <a:pt x="252" y="404"/>
                    <a:pt x="252" y="404"/>
                    <a:pt x="252" y="404"/>
                  </a:cubicBezTo>
                  <a:cubicBezTo>
                    <a:pt x="252" y="404"/>
                    <a:pt x="248" y="406"/>
                    <a:pt x="246" y="409"/>
                  </a:cubicBezTo>
                  <a:cubicBezTo>
                    <a:pt x="244" y="411"/>
                    <a:pt x="246" y="416"/>
                    <a:pt x="246" y="416"/>
                  </a:cubicBezTo>
                  <a:cubicBezTo>
                    <a:pt x="241" y="418"/>
                    <a:pt x="241" y="418"/>
                    <a:pt x="241" y="418"/>
                  </a:cubicBezTo>
                  <a:cubicBezTo>
                    <a:pt x="243" y="420"/>
                    <a:pt x="243" y="420"/>
                    <a:pt x="243" y="420"/>
                  </a:cubicBezTo>
                  <a:cubicBezTo>
                    <a:pt x="248" y="416"/>
                    <a:pt x="248" y="416"/>
                    <a:pt x="248" y="416"/>
                  </a:cubicBezTo>
                  <a:cubicBezTo>
                    <a:pt x="248" y="413"/>
                    <a:pt x="248" y="413"/>
                    <a:pt x="248" y="413"/>
                  </a:cubicBezTo>
                  <a:cubicBezTo>
                    <a:pt x="253" y="411"/>
                    <a:pt x="253" y="411"/>
                    <a:pt x="253" y="411"/>
                  </a:cubicBezTo>
                  <a:cubicBezTo>
                    <a:pt x="249" y="415"/>
                    <a:pt x="249" y="415"/>
                    <a:pt x="249" y="415"/>
                  </a:cubicBezTo>
                  <a:cubicBezTo>
                    <a:pt x="254" y="419"/>
                    <a:pt x="254" y="419"/>
                    <a:pt x="254" y="419"/>
                  </a:cubicBezTo>
                  <a:cubicBezTo>
                    <a:pt x="253" y="423"/>
                    <a:pt x="253" y="423"/>
                    <a:pt x="253" y="423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1" y="414"/>
                    <a:pt x="271" y="414"/>
                    <a:pt x="271" y="414"/>
                  </a:cubicBezTo>
                  <a:cubicBezTo>
                    <a:pt x="256" y="427"/>
                    <a:pt x="256" y="427"/>
                    <a:pt x="256" y="427"/>
                  </a:cubicBezTo>
                  <a:cubicBezTo>
                    <a:pt x="252" y="428"/>
                    <a:pt x="252" y="428"/>
                    <a:pt x="252" y="428"/>
                  </a:cubicBezTo>
                  <a:cubicBezTo>
                    <a:pt x="249" y="421"/>
                    <a:pt x="249" y="421"/>
                    <a:pt x="249" y="421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43" y="424"/>
                    <a:pt x="243" y="424"/>
                    <a:pt x="243" y="424"/>
                  </a:cubicBezTo>
                  <a:cubicBezTo>
                    <a:pt x="243" y="424"/>
                    <a:pt x="239" y="424"/>
                    <a:pt x="239" y="426"/>
                  </a:cubicBezTo>
                  <a:cubicBezTo>
                    <a:pt x="239" y="427"/>
                    <a:pt x="235" y="435"/>
                    <a:pt x="231" y="435"/>
                  </a:cubicBezTo>
                  <a:cubicBezTo>
                    <a:pt x="228" y="436"/>
                    <a:pt x="222" y="440"/>
                    <a:pt x="222" y="440"/>
                  </a:cubicBezTo>
                  <a:cubicBezTo>
                    <a:pt x="224" y="442"/>
                    <a:pt x="224" y="442"/>
                    <a:pt x="224" y="442"/>
                  </a:cubicBezTo>
                  <a:cubicBezTo>
                    <a:pt x="224" y="442"/>
                    <a:pt x="216" y="446"/>
                    <a:pt x="221" y="450"/>
                  </a:cubicBezTo>
                  <a:cubicBezTo>
                    <a:pt x="224" y="452"/>
                    <a:pt x="231" y="441"/>
                    <a:pt x="231" y="441"/>
                  </a:cubicBezTo>
                  <a:cubicBezTo>
                    <a:pt x="242" y="436"/>
                    <a:pt x="242" y="436"/>
                    <a:pt x="242" y="436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8" y="446"/>
                    <a:pt x="232" y="447"/>
                    <a:pt x="228" y="450"/>
                  </a:cubicBezTo>
                  <a:cubicBezTo>
                    <a:pt x="223" y="452"/>
                    <a:pt x="226" y="457"/>
                    <a:pt x="226" y="457"/>
                  </a:cubicBezTo>
                  <a:cubicBezTo>
                    <a:pt x="223" y="458"/>
                    <a:pt x="223" y="458"/>
                    <a:pt x="223" y="458"/>
                  </a:cubicBezTo>
                  <a:cubicBezTo>
                    <a:pt x="219" y="455"/>
                    <a:pt x="219" y="455"/>
                    <a:pt x="219" y="455"/>
                  </a:cubicBezTo>
                  <a:cubicBezTo>
                    <a:pt x="215" y="457"/>
                    <a:pt x="215" y="457"/>
                    <a:pt x="215" y="457"/>
                  </a:cubicBezTo>
                  <a:cubicBezTo>
                    <a:pt x="215" y="457"/>
                    <a:pt x="219" y="463"/>
                    <a:pt x="221" y="465"/>
                  </a:cubicBezTo>
                  <a:cubicBezTo>
                    <a:pt x="222" y="467"/>
                    <a:pt x="231" y="459"/>
                    <a:pt x="231" y="459"/>
                  </a:cubicBezTo>
                  <a:cubicBezTo>
                    <a:pt x="226" y="468"/>
                    <a:pt x="226" y="468"/>
                    <a:pt x="226" y="468"/>
                  </a:cubicBezTo>
                  <a:cubicBezTo>
                    <a:pt x="221" y="471"/>
                    <a:pt x="221" y="471"/>
                    <a:pt x="221" y="471"/>
                  </a:cubicBezTo>
                  <a:cubicBezTo>
                    <a:pt x="213" y="459"/>
                    <a:pt x="213" y="459"/>
                    <a:pt x="213" y="459"/>
                  </a:cubicBezTo>
                  <a:cubicBezTo>
                    <a:pt x="204" y="467"/>
                    <a:pt x="204" y="467"/>
                    <a:pt x="204" y="467"/>
                  </a:cubicBezTo>
                  <a:cubicBezTo>
                    <a:pt x="207" y="470"/>
                    <a:pt x="207" y="470"/>
                    <a:pt x="207" y="470"/>
                  </a:cubicBezTo>
                  <a:cubicBezTo>
                    <a:pt x="200" y="468"/>
                    <a:pt x="200" y="468"/>
                    <a:pt x="200" y="468"/>
                  </a:cubicBezTo>
                  <a:cubicBezTo>
                    <a:pt x="198" y="471"/>
                    <a:pt x="198" y="471"/>
                    <a:pt x="198" y="471"/>
                  </a:cubicBezTo>
                  <a:cubicBezTo>
                    <a:pt x="203" y="474"/>
                    <a:pt x="203" y="474"/>
                    <a:pt x="203" y="474"/>
                  </a:cubicBezTo>
                  <a:cubicBezTo>
                    <a:pt x="198" y="475"/>
                    <a:pt x="198" y="475"/>
                    <a:pt x="198" y="475"/>
                  </a:cubicBezTo>
                  <a:cubicBezTo>
                    <a:pt x="198" y="475"/>
                    <a:pt x="189" y="485"/>
                    <a:pt x="188" y="486"/>
                  </a:cubicBezTo>
                  <a:cubicBezTo>
                    <a:pt x="188" y="487"/>
                    <a:pt x="191" y="490"/>
                    <a:pt x="191" y="490"/>
                  </a:cubicBezTo>
                  <a:cubicBezTo>
                    <a:pt x="184" y="489"/>
                    <a:pt x="184" y="489"/>
                    <a:pt x="184" y="489"/>
                  </a:cubicBezTo>
                  <a:cubicBezTo>
                    <a:pt x="182" y="498"/>
                    <a:pt x="182" y="498"/>
                    <a:pt x="182" y="498"/>
                  </a:cubicBezTo>
                  <a:cubicBezTo>
                    <a:pt x="182" y="498"/>
                    <a:pt x="188" y="498"/>
                    <a:pt x="188" y="500"/>
                  </a:cubicBezTo>
                  <a:cubicBezTo>
                    <a:pt x="188" y="502"/>
                    <a:pt x="179" y="504"/>
                    <a:pt x="174" y="505"/>
                  </a:cubicBezTo>
                  <a:cubicBezTo>
                    <a:pt x="169" y="507"/>
                    <a:pt x="169" y="517"/>
                    <a:pt x="169" y="517"/>
                  </a:cubicBezTo>
                  <a:cubicBezTo>
                    <a:pt x="169" y="517"/>
                    <a:pt x="184" y="509"/>
                    <a:pt x="183" y="514"/>
                  </a:cubicBezTo>
                  <a:cubicBezTo>
                    <a:pt x="183" y="518"/>
                    <a:pt x="176" y="517"/>
                    <a:pt x="176" y="517"/>
                  </a:cubicBezTo>
                  <a:cubicBezTo>
                    <a:pt x="177" y="520"/>
                    <a:pt x="177" y="520"/>
                    <a:pt x="177" y="520"/>
                  </a:cubicBezTo>
                  <a:cubicBezTo>
                    <a:pt x="182" y="522"/>
                    <a:pt x="182" y="522"/>
                    <a:pt x="182" y="52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181" y="529"/>
                    <a:pt x="181" y="529"/>
                    <a:pt x="181" y="529"/>
                  </a:cubicBezTo>
                  <a:cubicBezTo>
                    <a:pt x="198" y="520"/>
                    <a:pt x="198" y="520"/>
                    <a:pt x="198" y="520"/>
                  </a:cubicBezTo>
                  <a:cubicBezTo>
                    <a:pt x="198" y="520"/>
                    <a:pt x="202" y="517"/>
                    <a:pt x="203" y="516"/>
                  </a:cubicBezTo>
                  <a:cubicBezTo>
                    <a:pt x="205" y="515"/>
                    <a:pt x="206" y="513"/>
                    <a:pt x="209" y="512"/>
                  </a:cubicBezTo>
                  <a:cubicBezTo>
                    <a:pt x="211" y="512"/>
                    <a:pt x="213" y="508"/>
                    <a:pt x="213" y="505"/>
                  </a:cubicBezTo>
                  <a:cubicBezTo>
                    <a:pt x="213" y="502"/>
                    <a:pt x="202" y="507"/>
                    <a:pt x="202" y="507"/>
                  </a:cubicBezTo>
                  <a:cubicBezTo>
                    <a:pt x="202" y="507"/>
                    <a:pt x="209" y="502"/>
                    <a:pt x="212" y="500"/>
                  </a:cubicBezTo>
                  <a:cubicBezTo>
                    <a:pt x="214" y="499"/>
                    <a:pt x="215" y="494"/>
                    <a:pt x="221" y="494"/>
                  </a:cubicBezTo>
                  <a:cubicBezTo>
                    <a:pt x="225" y="494"/>
                    <a:pt x="226" y="498"/>
                    <a:pt x="226" y="498"/>
                  </a:cubicBezTo>
                  <a:cubicBezTo>
                    <a:pt x="215" y="503"/>
                    <a:pt x="215" y="503"/>
                    <a:pt x="215" y="503"/>
                  </a:cubicBezTo>
                  <a:cubicBezTo>
                    <a:pt x="214" y="506"/>
                    <a:pt x="214" y="506"/>
                    <a:pt x="214" y="506"/>
                  </a:cubicBezTo>
                  <a:cubicBezTo>
                    <a:pt x="214" y="506"/>
                    <a:pt x="223" y="506"/>
                    <a:pt x="224" y="509"/>
                  </a:cubicBezTo>
                  <a:cubicBezTo>
                    <a:pt x="224" y="513"/>
                    <a:pt x="214" y="515"/>
                    <a:pt x="211" y="516"/>
                  </a:cubicBezTo>
                  <a:cubicBezTo>
                    <a:pt x="208" y="516"/>
                    <a:pt x="203" y="521"/>
                    <a:pt x="202" y="524"/>
                  </a:cubicBezTo>
                  <a:cubicBezTo>
                    <a:pt x="202" y="528"/>
                    <a:pt x="206" y="522"/>
                    <a:pt x="208" y="523"/>
                  </a:cubicBezTo>
                  <a:cubicBezTo>
                    <a:pt x="209" y="525"/>
                    <a:pt x="206" y="526"/>
                    <a:pt x="205" y="528"/>
                  </a:cubicBezTo>
                  <a:cubicBezTo>
                    <a:pt x="203" y="530"/>
                    <a:pt x="208" y="531"/>
                    <a:pt x="208" y="531"/>
                  </a:cubicBezTo>
                  <a:cubicBezTo>
                    <a:pt x="205" y="533"/>
                    <a:pt x="205" y="533"/>
                    <a:pt x="205" y="533"/>
                  </a:cubicBezTo>
                  <a:cubicBezTo>
                    <a:pt x="205" y="533"/>
                    <a:pt x="194" y="530"/>
                    <a:pt x="188" y="532"/>
                  </a:cubicBezTo>
                  <a:cubicBezTo>
                    <a:pt x="181" y="534"/>
                    <a:pt x="187" y="539"/>
                    <a:pt x="187" y="539"/>
                  </a:cubicBezTo>
                  <a:cubicBezTo>
                    <a:pt x="180" y="538"/>
                    <a:pt x="180" y="538"/>
                    <a:pt x="180" y="538"/>
                  </a:cubicBezTo>
                  <a:cubicBezTo>
                    <a:pt x="175" y="540"/>
                    <a:pt x="175" y="540"/>
                    <a:pt x="175" y="540"/>
                  </a:cubicBezTo>
                  <a:cubicBezTo>
                    <a:pt x="180" y="532"/>
                    <a:pt x="180" y="532"/>
                    <a:pt x="180" y="532"/>
                  </a:cubicBezTo>
                  <a:cubicBezTo>
                    <a:pt x="175" y="518"/>
                    <a:pt x="175" y="518"/>
                    <a:pt x="175" y="518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6" y="523"/>
                    <a:pt x="166" y="523"/>
                    <a:pt x="166" y="523"/>
                  </a:cubicBezTo>
                  <a:cubicBezTo>
                    <a:pt x="158" y="526"/>
                    <a:pt x="158" y="526"/>
                    <a:pt x="158" y="526"/>
                  </a:cubicBezTo>
                  <a:cubicBezTo>
                    <a:pt x="157" y="530"/>
                    <a:pt x="157" y="530"/>
                    <a:pt x="157" y="530"/>
                  </a:cubicBezTo>
                  <a:cubicBezTo>
                    <a:pt x="164" y="531"/>
                    <a:pt x="164" y="531"/>
                    <a:pt x="164" y="531"/>
                  </a:cubicBezTo>
                  <a:cubicBezTo>
                    <a:pt x="157" y="532"/>
                    <a:pt x="157" y="532"/>
                    <a:pt x="157" y="532"/>
                  </a:cubicBezTo>
                  <a:cubicBezTo>
                    <a:pt x="156" y="536"/>
                    <a:pt x="156" y="536"/>
                    <a:pt x="156" y="536"/>
                  </a:cubicBezTo>
                  <a:cubicBezTo>
                    <a:pt x="162" y="537"/>
                    <a:pt x="162" y="537"/>
                    <a:pt x="162" y="537"/>
                  </a:cubicBezTo>
                  <a:cubicBezTo>
                    <a:pt x="150" y="539"/>
                    <a:pt x="150" y="539"/>
                    <a:pt x="150" y="539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47" y="534"/>
                    <a:pt x="147" y="534"/>
                    <a:pt x="147" y="534"/>
                  </a:cubicBezTo>
                  <a:cubicBezTo>
                    <a:pt x="145" y="532"/>
                    <a:pt x="145" y="532"/>
                    <a:pt x="145" y="532"/>
                  </a:cubicBezTo>
                  <a:cubicBezTo>
                    <a:pt x="141" y="534"/>
                    <a:pt x="141" y="534"/>
                    <a:pt x="141" y="534"/>
                  </a:cubicBezTo>
                  <a:cubicBezTo>
                    <a:pt x="145" y="538"/>
                    <a:pt x="145" y="538"/>
                    <a:pt x="145" y="538"/>
                  </a:cubicBezTo>
                  <a:cubicBezTo>
                    <a:pt x="138" y="538"/>
                    <a:pt x="138" y="538"/>
                    <a:pt x="138" y="538"/>
                  </a:cubicBezTo>
                  <a:cubicBezTo>
                    <a:pt x="134" y="541"/>
                    <a:pt x="134" y="541"/>
                    <a:pt x="134" y="541"/>
                  </a:cubicBezTo>
                  <a:cubicBezTo>
                    <a:pt x="139" y="547"/>
                    <a:pt x="139" y="547"/>
                    <a:pt x="139" y="547"/>
                  </a:cubicBezTo>
                  <a:cubicBezTo>
                    <a:pt x="143" y="548"/>
                    <a:pt x="143" y="548"/>
                    <a:pt x="143" y="548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5" y="552"/>
                    <a:pt x="135" y="552"/>
                    <a:pt x="135" y="552"/>
                  </a:cubicBezTo>
                  <a:cubicBezTo>
                    <a:pt x="126" y="551"/>
                    <a:pt x="126" y="551"/>
                    <a:pt x="126" y="551"/>
                  </a:cubicBezTo>
                  <a:cubicBezTo>
                    <a:pt x="126" y="555"/>
                    <a:pt x="126" y="555"/>
                    <a:pt x="126" y="555"/>
                  </a:cubicBezTo>
                  <a:cubicBezTo>
                    <a:pt x="132" y="563"/>
                    <a:pt x="132" y="563"/>
                    <a:pt x="132" y="563"/>
                  </a:cubicBezTo>
                  <a:cubicBezTo>
                    <a:pt x="138" y="561"/>
                    <a:pt x="138" y="561"/>
                    <a:pt x="138" y="561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2" y="566"/>
                    <a:pt x="132" y="566"/>
                    <a:pt x="132" y="566"/>
                  </a:cubicBezTo>
                  <a:cubicBezTo>
                    <a:pt x="137" y="568"/>
                    <a:pt x="137" y="568"/>
                    <a:pt x="137" y="568"/>
                  </a:cubicBezTo>
                  <a:cubicBezTo>
                    <a:pt x="135" y="569"/>
                    <a:pt x="135" y="569"/>
                    <a:pt x="135" y="569"/>
                  </a:cubicBezTo>
                  <a:cubicBezTo>
                    <a:pt x="130" y="567"/>
                    <a:pt x="130" y="567"/>
                    <a:pt x="130" y="567"/>
                  </a:cubicBezTo>
                  <a:cubicBezTo>
                    <a:pt x="129" y="561"/>
                    <a:pt x="129" y="561"/>
                    <a:pt x="129" y="561"/>
                  </a:cubicBezTo>
                  <a:cubicBezTo>
                    <a:pt x="123" y="552"/>
                    <a:pt x="123" y="552"/>
                    <a:pt x="123" y="552"/>
                  </a:cubicBezTo>
                  <a:cubicBezTo>
                    <a:pt x="114" y="557"/>
                    <a:pt x="114" y="557"/>
                    <a:pt x="114" y="557"/>
                  </a:cubicBezTo>
                  <a:cubicBezTo>
                    <a:pt x="116" y="558"/>
                    <a:pt x="116" y="558"/>
                    <a:pt x="116" y="558"/>
                  </a:cubicBezTo>
                  <a:cubicBezTo>
                    <a:pt x="118" y="558"/>
                    <a:pt x="118" y="558"/>
                    <a:pt x="118" y="558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32" y="577"/>
                    <a:pt x="132" y="577"/>
                    <a:pt x="132" y="577"/>
                  </a:cubicBezTo>
                  <a:cubicBezTo>
                    <a:pt x="133" y="579"/>
                    <a:pt x="133" y="579"/>
                    <a:pt x="133" y="579"/>
                  </a:cubicBezTo>
                  <a:cubicBezTo>
                    <a:pt x="122" y="571"/>
                    <a:pt x="122" y="571"/>
                    <a:pt x="122" y="571"/>
                  </a:cubicBezTo>
                  <a:cubicBezTo>
                    <a:pt x="122" y="562"/>
                    <a:pt x="122" y="562"/>
                    <a:pt x="122" y="562"/>
                  </a:cubicBezTo>
                  <a:cubicBezTo>
                    <a:pt x="113" y="562"/>
                    <a:pt x="113" y="562"/>
                    <a:pt x="113" y="562"/>
                  </a:cubicBezTo>
                  <a:cubicBezTo>
                    <a:pt x="111" y="565"/>
                    <a:pt x="111" y="565"/>
                    <a:pt x="111" y="565"/>
                  </a:cubicBezTo>
                  <a:cubicBezTo>
                    <a:pt x="112" y="560"/>
                    <a:pt x="112" y="560"/>
                    <a:pt x="112" y="560"/>
                  </a:cubicBezTo>
                  <a:cubicBezTo>
                    <a:pt x="108" y="560"/>
                    <a:pt x="108" y="560"/>
                    <a:pt x="108" y="560"/>
                  </a:cubicBezTo>
                  <a:cubicBezTo>
                    <a:pt x="107" y="563"/>
                    <a:pt x="107" y="563"/>
                    <a:pt x="107" y="563"/>
                  </a:cubicBezTo>
                  <a:cubicBezTo>
                    <a:pt x="101" y="564"/>
                    <a:pt x="101" y="564"/>
                    <a:pt x="101" y="564"/>
                  </a:cubicBezTo>
                  <a:cubicBezTo>
                    <a:pt x="96" y="557"/>
                    <a:pt x="96" y="557"/>
                    <a:pt x="96" y="557"/>
                  </a:cubicBezTo>
                  <a:cubicBezTo>
                    <a:pt x="96" y="557"/>
                    <a:pt x="92" y="557"/>
                    <a:pt x="85" y="562"/>
                  </a:cubicBezTo>
                  <a:cubicBezTo>
                    <a:pt x="80" y="567"/>
                    <a:pt x="93" y="567"/>
                    <a:pt x="94" y="569"/>
                  </a:cubicBezTo>
                  <a:cubicBezTo>
                    <a:pt x="94" y="571"/>
                    <a:pt x="91" y="570"/>
                    <a:pt x="88" y="570"/>
                  </a:cubicBezTo>
                  <a:cubicBezTo>
                    <a:pt x="83" y="571"/>
                    <a:pt x="87" y="577"/>
                    <a:pt x="87" y="577"/>
                  </a:cubicBezTo>
                  <a:cubicBezTo>
                    <a:pt x="87" y="577"/>
                    <a:pt x="104" y="571"/>
                    <a:pt x="105" y="573"/>
                  </a:cubicBezTo>
                  <a:cubicBezTo>
                    <a:pt x="106" y="575"/>
                    <a:pt x="99" y="575"/>
                    <a:pt x="99" y="575"/>
                  </a:cubicBezTo>
                  <a:cubicBezTo>
                    <a:pt x="99" y="578"/>
                    <a:pt x="99" y="578"/>
                    <a:pt x="99" y="578"/>
                  </a:cubicBezTo>
                  <a:cubicBezTo>
                    <a:pt x="99" y="578"/>
                    <a:pt x="108" y="575"/>
                    <a:pt x="113" y="573"/>
                  </a:cubicBezTo>
                  <a:cubicBezTo>
                    <a:pt x="118" y="573"/>
                    <a:pt x="122" y="579"/>
                    <a:pt x="122" y="579"/>
                  </a:cubicBezTo>
                  <a:cubicBezTo>
                    <a:pt x="122" y="579"/>
                    <a:pt x="117" y="576"/>
                    <a:pt x="114" y="575"/>
                  </a:cubicBezTo>
                  <a:cubicBezTo>
                    <a:pt x="112" y="575"/>
                    <a:pt x="104" y="578"/>
                    <a:pt x="104" y="578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2" y="581"/>
                    <a:pt x="102" y="581"/>
                    <a:pt x="102" y="581"/>
                  </a:cubicBezTo>
                  <a:cubicBezTo>
                    <a:pt x="100" y="582"/>
                    <a:pt x="100" y="582"/>
                    <a:pt x="100" y="582"/>
                  </a:cubicBezTo>
                  <a:cubicBezTo>
                    <a:pt x="102" y="586"/>
                    <a:pt x="102" y="586"/>
                    <a:pt x="102" y="586"/>
                  </a:cubicBezTo>
                  <a:cubicBezTo>
                    <a:pt x="108" y="586"/>
                    <a:pt x="108" y="586"/>
                    <a:pt x="108" y="586"/>
                  </a:cubicBezTo>
                  <a:cubicBezTo>
                    <a:pt x="104" y="591"/>
                    <a:pt x="104" y="591"/>
                    <a:pt x="104" y="591"/>
                  </a:cubicBezTo>
                  <a:cubicBezTo>
                    <a:pt x="96" y="584"/>
                    <a:pt x="96" y="584"/>
                    <a:pt x="96" y="584"/>
                  </a:cubicBezTo>
                  <a:cubicBezTo>
                    <a:pt x="92" y="582"/>
                    <a:pt x="92" y="582"/>
                    <a:pt x="92" y="582"/>
                  </a:cubicBezTo>
                  <a:cubicBezTo>
                    <a:pt x="92" y="585"/>
                    <a:pt x="92" y="585"/>
                    <a:pt x="92" y="585"/>
                  </a:cubicBezTo>
                  <a:cubicBezTo>
                    <a:pt x="92" y="585"/>
                    <a:pt x="90" y="581"/>
                    <a:pt x="87" y="580"/>
                  </a:cubicBezTo>
                  <a:cubicBezTo>
                    <a:pt x="83" y="579"/>
                    <a:pt x="83" y="583"/>
                    <a:pt x="83" y="583"/>
                  </a:cubicBezTo>
                  <a:cubicBezTo>
                    <a:pt x="83" y="583"/>
                    <a:pt x="81" y="581"/>
                    <a:pt x="80" y="580"/>
                  </a:cubicBezTo>
                  <a:cubicBezTo>
                    <a:pt x="78" y="580"/>
                    <a:pt x="74" y="583"/>
                    <a:pt x="74" y="583"/>
                  </a:cubicBezTo>
                  <a:cubicBezTo>
                    <a:pt x="74" y="583"/>
                    <a:pt x="72" y="582"/>
                    <a:pt x="69" y="581"/>
                  </a:cubicBezTo>
                  <a:cubicBezTo>
                    <a:pt x="66" y="581"/>
                    <a:pt x="65" y="584"/>
                    <a:pt x="63" y="587"/>
                  </a:cubicBezTo>
                  <a:cubicBezTo>
                    <a:pt x="62" y="589"/>
                    <a:pt x="74" y="586"/>
                    <a:pt x="74" y="586"/>
                  </a:cubicBezTo>
                  <a:cubicBezTo>
                    <a:pt x="74" y="586"/>
                    <a:pt x="82" y="592"/>
                    <a:pt x="84" y="594"/>
                  </a:cubicBezTo>
                  <a:cubicBezTo>
                    <a:pt x="85" y="595"/>
                    <a:pt x="84" y="600"/>
                    <a:pt x="84" y="600"/>
                  </a:cubicBezTo>
                  <a:cubicBezTo>
                    <a:pt x="87" y="603"/>
                    <a:pt x="87" y="603"/>
                    <a:pt x="87" y="603"/>
                  </a:cubicBezTo>
                  <a:cubicBezTo>
                    <a:pt x="92" y="604"/>
                    <a:pt x="92" y="604"/>
                    <a:pt x="92" y="604"/>
                  </a:cubicBezTo>
                  <a:cubicBezTo>
                    <a:pt x="94" y="603"/>
                    <a:pt x="94" y="603"/>
                    <a:pt x="94" y="603"/>
                  </a:cubicBezTo>
                  <a:cubicBezTo>
                    <a:pt x="93" y="605"/>
                    <a:pt x="93" y="605"/>
                    <a:pt x="93" y="605"/>
                  </a:cubicBezTo>
                  <a:cubicBezTo>
                    <a:pt x="85" y="605"/>
                    <a:pt x="85" y="605"/>
                    <a:pt x="85" y="605"/>
                  </a:cubicBezTo>
                  <a:cubicBezTo>
                    <a:pt x="87" y="608"/>
                    <a:pt x="87" y="608"/>
                    <a:pt x="87" y="608"/>
                  </a:cubicBezTo>
                  <a:cubicBezTo>
                    <a:pt x="83" y="614"/>
                    <a:pt x="83" y="614"/>
                    <a:pt x="83" y="614"/>
                  </a:cubicBezTo>
                  <a:cubicBezTo>
                    <a:pt x="85" y="616"/>
                    <a:pt x="85" y="616"/>
                    <a:pt x="85" y="616"/>
                  </a:cubicBezTo>
                  <a:cubicBezTo>
                    <a:pt x="80" y="615"/>
                    <a:pt x="80" y="615"/>
                    <a:pt x="80" y="615"/>
                  </a:cubicBezTo>
                  <a:cubicBezTo>
                    <a:pt x="84" y="607"/>
                    <a:pt x="84" y="607"/>
                    <a:pt x="84" y="607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82" y="594"/>
                    <a:pt x="82" y="594"/>
                    <a:pt x="82" y="594"/>
                  </a:cubicBezTo>
                  <a:cubicBezTo>
                    <a:pt x="73" y="593"/>
                    <a:pt x="73" y="593"/>
                    <a:pt x="73" y="593"/>
                  </a:cubicBezTo>
                  <a:cubicBezTo>
                    <a:pt x="73" y="597"/>
                    <a:pt x="73" y="597"/>
                    <a:pt x="73" y="597"/>
                  </a:cubicBezTo>
                  <a:cubicBezTo>
                    <a:pt x="69" y="595"/>
                    <a:pt x="69" y="595"/>
                    <a:pt x="69" y="595"/>
                  </a:cubicBezTo>
                  <a:cubicBezTo>
                    <a:pt x="66" y="595"/>
                    <a:pt x="66" y="595"/>
                    <a:pt x="66" y="595"/>
                  </a:cubicBezTo>
                  <a:cubicBezTo>
                    <a:pt x="72" y="611"/>
                    <a:pt x="72" y="611"/>
                    <a:pt x="72" y="611"/>
                  </a:cubicBezTo>
                  <a:cubicBezTo>
                    <a:pt x="71" y="613"/>
                    <a:pt x="71" y="613"/>
                    <a:pt x="71" y="613"/>
                  </a:cubicBezTo>
                  <a:cubicBezTo>
                    <a:pt x="68" y="607"/>
                    <a:pt x="68" y="607"/>
                    <a:pt x="68" y="607"/>
                  </a:cubicBezTo>
                  <a:cubicBezTo>
                    <a:pt x="65" y="602"/>
                    <a:pt x="65" y="602"/>
                    <a:pt x="65" y="602"/>
                  </a:cubicBezTo>
                  <a:cubicBezTo>
                    <a:pt x="65" y="602"/>
                    <a:pt x="66" y="598"/>
                    <a:pt x="63" y="597"/>
                  </a:cubicBezTo>
                  <a:cubicBezTo>
                    <a:pt x="61" y="596"/>
                    <a:pt x="52" y="603"/>
                    <a:pt x="52" y="603"/>
                  </a:cubicBezTo>
                  <a:cubicBezTo>
                    <a:pt x="56" y="607"/>
                    <a:pt x="56" y="607"/>
                    <a:pt x="56" y="607"/>
                  </a:cubicBezTo>
                  <a:cubicBezTo>
                    <a:pt x="50" y="607"/>
                    <a:pt x="50" y="607"/>
                    <a:pt x="50" y="607"/>
                  </a:cubicBezTo>
                  <a:cubicBezTo>
                    <a:pt x="50" y="607"/>
                    <a:pt x="52" y="608"/>
                    <a:pt x="55" y="610"/>
                  </a:cubicBezTo>
                  <a:cubicBezTo>
                    <a:pt x="57" y="613"/>
                    <a:pt x="61" y="616"/>
                    <a:pt x="61" y="616"/>
                  </a:cubicBezTo>
                  <a:cubicBezTo>
                    <a:pt x="55" y="615"/>
                    <a:pt x="55" y="615"/>
                    <a:pt x="55" y="615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8" y="617"/>
                    <a:pt x="48" y="617"/>
                    <a:pt x="48" y="617"/>
                  </a:cubicBezTo>
                  <a:cubicBezTo>
                    <a:pt x="51" y="610"/>
                    <a:pt x="51" y="610"/>
                    <a:pt x="51" y="610"/>
                  </a:cubicBezTo>
                  <a:cubicBezTo>
                    <a:pt x="51" y="610"/>
                    <a:pt x="50" y="608"/>
                    <a:pt x="46" y="608"/>
                  </a:cubicBezTo>
                  <a:cubicBezTo>
                    <a:pt x="42" y="608"/>
                    <a:pt x="43" y="612"/>
                    <a:pt x="43" y="612"/>
                  </a:cubicBezTo>
                  <a:cubicBezTo>
                    <a:pt x="43" y="612"/>
                    <a:pt x="40" y="608"/>
                    <a:pt x="38" y="608"/>
                  </a:cubicBezTo>
                  <a:cubicBezTo>
                    <a:pt x="34" y="608"/>
                    <a:pt x="33" y="612"/>
                    <a:pt x="33" y="612"/>
                  </a:cubicBezTo>
                  <a:cubicBezTo>
                    <a:pt x="39" y="615"/>
                    <a:pt x="39" y="615"/>
                    <a:pt x="39" y="615"/>
                  </a:cubicBezTo>
                  <a:cubicBezTo>
                    <a:pt x="38" y="616"/>
                    <a:pt x="38" y="616"/>
                    <a:pt x="38" y="616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32" y="609"/>
                    <a:pt x="32" y="609"/>
                    <a:pt x="32" y="609"/>
                  </a:cubicBezTo>
                  <a:cubicBezTo>
                    <a:pt x="28" y="605"/>
                    <a:pt x="28" y="605"/>
                    <a:pt x="28" y="605"/>
                  </a:cubicBezTo>
                  <a:cubicBezTo>
                    <a:pt x="25" y="609"/>
                    <a:pt x="25" y="609"/>
                    <a:pt x="25" y="609"/>
                  </a:cubicBezTo>
                  <a:cubicBezTo>
                    <a:pt x="26" y="611"/>
                    <a:pt x="26" y="611"/>
                    <a:pt x="26" y="611"/>
                  </a:cubicBezTo>
                  <a:cubicBezTo>
                    <a:pt x="26" y="611"/>
                    <a:pt x="32" y="616"/>
                    <a:pt x="32" y="618"/>
                  </a:cubicBezTo>
                  <a:cubicBezTo>
                    <a:pt x="31" y="621"/>
                    <a:pt x="25" y="620"/>
                    <a:pt x="25" y="624"/>
                  </a:cubicBezTo>
                  <a:cubicBezTo>
                    <a:pt x="25" y="627"/>
                    <a:pt x="34" y="623"/>
                    <a:pt x="34" y="623"/>
                  </a:cubicBezTo>
                  <a:cubicBezTo>
                    <a:pt x="50" y="627"/>
                    <a:pt x="50" y="627"/>
                    <a:pt x="50" y="627"/>
                  </a:cubicBezTo>
                  <a:cubicBezTo>
                    <a:pt x="49" y="628"/>
                    <a:pt x="49" y="628"/>
                    <a:pt x="49" y="628"/>
                  </a:cubicBezTo>
                  <a:cubicBezTo>
                    <a:pt x="64" y="632"/>
                    <a:pt x="64" y="632"/>
                    <a:pt x="64" y="632"/>
                  </a:cubicBezTo>
                  <a:cubicBezTo>
                    <a:pt x="71" y="629"/>
                    <a:pt x="71" y="629"/>
                    <a:pt x="71" y="629"/>
                  </a:cubicBezTo>
                  <a:cubicBezTo>
                    <a:pt x="78" y="631"/>
                    <a:pt x="78" y="631"/>
                    <a:pt x="78" y="631"/>
                  </a:cubicBezTo>
                  <a:cubicBezTo>
                    <a:pt x="78" y="632"/>
                    <a:pt x="78" y="632"/>
                    <a:pt x="78" y="632"/>
                  </a:cubicBezTo>
                  <a:cubicBezTo>
                    <a:pt x="72" y="631"/>
                    <a:pt x="72" y="631"/>
                    <a:pt x="72" y="631"/>
                  </a:cubicBezTo>
                  <a:cubicBezTo>
                    <a:pt x="65" y="633"/>
                    <a:pt x="65" y="633"/>
                    <a:pt x="65" y="633"/>
                  </a:cubicBezTo>
                  <a:cubicBezTo>
                    <a:pt x="56" y="631"/>
                    <a:pt x="56" y="631"/>
                    <a:pt x="56" y="631"/>
                  </a:cubicBezTo>
                  <a:cubicBezTo>
                    <a:pt x="55" y="633"/>
                    <a:pt x="55" y="633"/>
                    <a:pt x="55" y="633"/>
                  </a:cubicBezTo>
                  <a:cubicBezTo>
                    <a:pt x="55" y="633"/>
                    <a:pt x="42" y="626"/>
                    <a:pt x="35" y="626"/>
                  </a:cubicBezTo>
                  <a:cubicBezTo>
                    <a:pt x="28" y="626"/>
                    <a:pt x="29" y="629"/>
                    <a:pt x="29" y="629"/>
                  </a:cubicBezTo>
                  <a:cubicBezTo>
                    <a:pt x="29" y="629"/>
                    <a:pt x="28" y="629"/>
                    <a:pt x="25" y="631"/>
                  </a:cubicBezTo>
                  <a:cubicBezTo>
                    <a:pt x="23" y="632"/>
                    <a:pt x="25" y="635"/>
                    <a:pt x="25" y="635"/>
                  </a:cubicBezTo>
                  <a:cubicBezTo>
                    <a:pt x="25" y="635"/>
                    <a:pt x="19" y="634"/>
                    <a:pt x="17" y="638"/>
                  </a:cubicBezTo>
                  <a:cubicBezTo>
                    <a:pt x="16" y="641"/>
                    <a:pt x="19" y="642"/>
                    <a:pt x="19" y="642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2" y="646"/>
                    <a:pt x="32" y="646"/>
                    <a:pt x="32" y="646"/>
                  </a:cubicBezTo>
                  <a:cubicBezTo>
                    <a:pt x="26" y="644"/>
                    <a:pt x="26" y="644"/>
                    <a:pt x="26" y="644"/>
                  </a:cubicBezTo>
                  <a:cubicBezTo>
                    <a:pt x="24" y="646"/>
                    <a:pt x="24" y="646"/>
                    <a:pt x="24" y="646"/>
                  </a:cubicBezTo>
                  <a:cubicBezTo>
                    <a:pt x="28" y="648"/>
                    <a:pt x="28" y="648"/>
                    <a:pt x="28" y="648"/>
                  </a:cubicBezTo>
                  <a:cubicBezTo>
                    <a:pt x="23" y="648"/>
                    <a:pt x="23" y="648"/>
                    <a:pt x="23" y="648"/>
                  </a:cubicBezTo>
                  <a:cubicBezTo>
                    <a:pt x="23" y="650"/>
                    <a:pt x="23" y="650"/>
                    <a:pt x="23" y="650"/>
                  </a:cubicBezTo>
                  <a:cubicBezTo>
                    <a:pt x="32" y="652"/>
                    <a:pt x="32" y="652"/>
                    <a:pt x="32" y="652"/>
                  </a:cubicBezTo>
                  <a:cubicBezTo>
                    <a:pt x="17" y="655"/>
                    <a:pt x="17" y="655"/>
                    <a:pt x="17" y="655"/>
                  </a:cubicBezTo>
                  <a:cubicBezTo>
                    <a:pt x="17" y="657"/>
                    <a:pt x="17" y="657"/>
                    <a:pt x="17" y="657"/>
                  </a:cubicBezTo>
                  <a:cubicBezTo>
                    <a:pt x="20" y="657"/>
                    <a:pt x="20" y="657"/>
                    <a:pt x="20" y="657"/>
                  </a:cubicBezTo>
                  <a:cubicBezTo>
                    <a:pt x="20" y="660"/>
                    <a:pt x="20" y="660"/>
                    <a:pt x="20" y="660"/>
                  </a:cubicBezTo>
                  <a:cubicBezTo>
                    <a:pt x="30" y="660"/>
                    <a:pt x="30" y="660"/>
                    <a:pt x="30" y="660"/>
                  </a:cubicBezTo>
                  <a:cubicBezTo>
                    <a:pt x="17" y="663"/>
                    <a:pt x="17" y="663"/>
                    <a:pt x="17" y="663"/>
                  </a:cubicBezTo>
                  <a:cubicBezTo>
                    <a:pt x="15" y="667"/>
                    <a:pt x="15" y="667"/>
                    <a:pt x="15" y="667"/>
                  </a:cubicBezTo>
                  <a:cubicBezTo>
                    <a:pt x="22" y="670"/>
                    <a:pt x="22" y="670"/>
                    <a:pt x="22" y="670"/>
                  </a:cubicBezTo>
                  <a:cubicBezTo>
                    <a:pt x="18" y="670"/>
                    <a:pt x="18" y="670"/>
                    <a:pt x="18" y="670"/>
                  </a:cubicBezTo>
                  <a:cubicBezTo>
                    <a:pt x="23" y="675"/>
                    <a:pt x="23" y="675"/>
                    <a:pt x="23" y="675"/>
                  </a:cubicBezTo>
                  <a:cubicBezTo>
                    <a:pt x="26" y="675"/>
                    <a:pt x="26" y="675"/>
                    <a:pt x="26" y="675"/>
                  </a:cubicBezTo>
                  <a:cubicBezTo>
                    <a:pt x="28" y="677"/>
                    <a:pt x="28" y="677"/>
                    <a:pt x="28" y="677"/>
                  </a:cubicBezTo>
                  <a:cubicBezTo>
                    <a:pt x="48" y="672"/>
                    <a:pt x="48" y="672"/>
                    <a:pt x="48" y="672"/>
                  </a:cubicBezTo>
                  <a:cubicBezTo>
                    <a:pt x="46" y="675"/>
                    <a:pt x="46" y="675"/>
                    <a:pt x="46" y="675"/>
                  </a:cubicBezTo>
                  <a:cubicBezTo>
                    <a:pt x="55" y="674"/>
                    <a:pt x="55" y="674"/>
                    <a:pt x="55" y="674"/>
                  </a:cubicBezTo>
                  <a:cubicBezTo>
                    <a:pt x="55" y="674"/>
                    <a:pt x="56" y="677"/>
                    <a:pt x="61" y="677"/>
                  </a:cubicBezTo>
                  <a:cubicBezTo>
                    <a:pt x="65" y="677"/>
                    <a:pt x="63" y="668"/>
                    <a:pt x="63" y="668"/>
                  </a:cubicBezTo>
                  <a:cubicBezTo>
                    <a:pt x="66" y="667"/>
                    <a:pt x="66" y="667"/>
                    <a:pt x="66" y="667"/>
                  </a:cubicBezTo>
                  <a:cubicBezTo>
                    <a:pt x="71" y="661"/>
                    <a:pt x="71" y="661"/>
                    <a:pt x="71" y="661"/>
                  </a:cubicBezTo>
                  <a:cubicBezTo>
                    <a:pt x="72" y="662"/>
                    <a:pt x="72" y="662"/>
                    <a:pt x="72" y="662"/>
                  </a:cubicBezTo>
                  <a:cubicBezTo>
                    <a:pt x="67" y="670"/>
                    <a:pt x="67" y="670"/>
                    <a:pt x="67" y="670"/>
                  </a:cubicBezTo>
                  <a:cubicBezTo>
                    <a:pt x="69" y="674"/>
                    <a:pt x="69" y="674"/>
                    <a:pt x="69" y="674"/>
                  </a:cubicBezTo>
                  <a:cubicBezTo>
                    <a:pt x="79" y="675"/>
                    <a:pt x="79" y="675"/>
                    <a:pt x="79" y="675"/>
                  </a:cubicBezTo>
                  <a:cubicBezTo>
                    <a:pt x="83" y="671"/>
                    <a:pt x="83" y="671"/>
                    <a:pt x="83" y="671"/>
                  </a:cubicBezTo>
                  <a:cubicBezTo>
                    <a:pt x="83" y="675"/>
                    <a:pt x="83" y="675"/>
                    <a:pt x="83" y="675"/>
                  </a:cubicBezTo>
                  <a:cubicBezTo>
                    <a:pt x="76" y="677"/>
                    <a:pt x="76" y="677"/>
                    <a:pt x="76" y="677"/>
                  </a:cubicBezTo>
                  <a:cubicBezTo>
                    <a:pt x="78" y="679"/>
                    <a:pt x="78" y="679"/>
                    <a:pt x="78" y="679"/>
                  </a:cubicBezTo>
                  <a:cubicBezTo>
                    <a:pt x="90" y="675"/>
                    <a:pt x="90" y="675"/>
                    <a:pt x="90" y="675"/>
                  </a:cubicBezTo>
                  <a:cubicBezTo>
                    <a:pt x="89" y="668"/>
                    <a:pt x="89" y="668"/>
                    <a:pt x="89" y="668"/>
                  </a:cubicBezTo>
                  <a:cubicBezTo>
                    <a:pt x="89" y="668"/>
                    <a:pt x="91" y="664"/>
                    <a:pt x="93" y="661"/>
                  </a:cubicBezTo>
                  <a:cubicBezTo>
                    <a:pt x="94" y="659"/>
                    <a:pt x="98" y="656"/>
                    <a:pt x="98" y="656"/>
                  </a:cubicBezTo>
                  <a:cubicBezTo>
                    <a:pt x="99" y="658"/>
                    <a:pt x="99" y="658"/>
                    <a:pt x="99" y="658"/>
                  </a:cubicBezTo>
                  <a:cubicBezTo>
                    <a:pt x="99" y="658"/>
                    <a:pt x="97" y="660"/>
                    <a:pt x="95" y="662"/>
                  </a:cubicBezTo>
                  <a:cubicBezTo>
                    <a:pt x="93" y="663"/>
                    <a:pt x="90" y="668"/>
                    <a:pt x="90" y="668"/>
                  </a:cubicBezTo>
                  <a:cubicBezTo>
                    <a:pt x="92" y="671"/>
                    <a:pt x="92" y="671"/>
                    <a:pt x="92" y="671"/>
                  </a:cubicBezTo>
                  <a:cubicBezTo>
                    <a:pt x="93" y="675"/>
                    <a:pt x="93" y="675"/>
                    <a:pt x="93" y="675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98" y="676"/>
                    <a:pt x="98" y="676"/>
                    <a:pt x="98" y="676"/>
                  </a:cubicBezTo>
                  <a:cubicBezTo>
                    <a:pt x="96" y="676"/>
                    <a:pt x="96" y="676"/>
                    <a:pt x="96" y="676"/>
                  </a:cubicBezTo>
                  <a:cubicBezTo>
                    <a:pt x="92" y="677"/>
                    <a:pt x="92" y="677"/>
                    <a:pt x="92" y="677"/>
                  </a:cubicBezTo>
                  <a:cubicBezTo>
                    <a:pt x="92" y="680"/>
                    <a:pt x="92" y="680"/>
                    <a:pt x="92" y="680"/>
                  </a:cubicBezTo>
                  <a:cubicBezTo>
                    <a:pt x="88" y="678"/>
                    <a:pt x="88" y="678"/>
                    <a:pt x="88" y="678"/>
                  </a:cubicBezTo>
                  <a:cubicBezTo>
                    <a:pt x="80" y="680"/>
                    <a:pt x="80" y="680"/>
                    <a:pt x="80" y="680"/>
                  </a:cubicBezTo>
                  <a:cubicBezTo>
                    <a:pt x="80" y="686"/>
                    <a:pt x="80" y="686"/>
                    <a:pt x="80" y="686"/>
                  </a:cubicBezTo>
                  <a:cubicBezTo>
                    <a:pt x="82" y="691"/>
                    <a:pt x="82" y="691"/>
                    <a:pt x="82" y="691"/>
                  </a:cubicBezTo>
                  <a:cubicBezTo>
                    <a:pt x="79" y="688"/>
                    <a:pt x="79" y="688"/>
                    <a:pt x="79" y="688"/>
                  </a:cubicBezTo>
                  <a:cubicBezTo>
                    <a:pt x="76" y="690"/>
                    <a:pt x="76" y="690"/>
                    <a:pt x="76" y="690"/>
                  </a:cubicBezTo>
                  <a:cubicBezTo>
                    <a:pt x="78" y="686"/>
                    <a:pt x="78" y="686"/>
                    <a:pt x="78" y="686"/>
                  </a:cubicBezTo>
                  <a:cubicBezTo>
                    <a:pt x="77" y="681"/>
                    <a:pt x="77" y="681"/>
                    <a:pt x="77" y="68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4" y="678"/>
                    <a:pt x="74" y="678"/>
                    <a:pt x="74" y="678"/>
                  </a:cubicBezTo>
                  <a:cubicBezTo>
                    <a:pt x="74" y="678"/>
                    <a:pt x="67" y="676"/>
                    <a:pt x="66" y="675"/>
                  </a:cubicBezTo>
                  <a:cubicBezTo>
                    <a:pt x="65" y="675"/>
                    <a:pt x="64" y="679"/>
                    <a:pt x="64" y="679"/>
                  </a:cubicBezTo>
                  <a:cubicBezTo>
                    <a:pt x="56" y="680"/>
                    <a:pt x="56" y="680"/>
                    <a:pt x="56" y="680"/>
                  </a:cubicBezTo>
                  <a:cubicBezTo>
                    <a:pt x="56" y="678"/>
                    <a:pt x="56" y="678"/>
                    <a:pt x="56" y="678"/>
                  </a:cubicBezTo>
                  <a:cubicBezTo>
                    <a:pt x="42" y="676"/>
                    <a:pt x="42" y="676"/>
                    <a:pt x="42" y="676"/>
                  </a:cubicBezTo>
                  <a:cubicBezTo>
                    <a:pt x="41" y="678"/>
                    <a:pt x="41" y="678"/>
                    <a:pt x="41" y="678"/>
                  </a:cubicBezTo>
                  <a:cubicBezTo>
                    <a:pt x="39" y="676"/>
                    <a:pt x="39" y="676"/>
                    <a:pt x="39" y="676"/>
                  </a:cubicBezTo>
                  <a:cubicBezTo>
                    <a:pt x="33" y="678"/>
                    <a:pt x="33" y="678"/>
                    <a:pt x="33" y="678"/>
                  </a:cubicBezTo>
                  <a:cubicBezTo>
                    <a:pt x="31" y="681"/>
                    <a:pt x="31" y="681"/>
                    <a:pt x="31" y="681"/>
                  </a:cubicBezTo>
                  <a:cubicBezTo>
                    <a:pt x="24" y="680"/>
                    <a:pt x="24" y="680"/>
                    <a:pt x="24" y="680"/>
                  </a:cubicBezTo>
                  <a:cubicBezTo>
                    <a:pt x="24" y="680"/>
                    <a:pt x="23" y="678"/>
                    <a:pt x="19" y="678"/>
                  </a:cubicBezTo>
                  <a:cubicBezTo>
                    <a:pt x="16" y="678"/>
                    <a:pt x="15" y="682"/>
                    <a:pt x="15" y="682"/>
                  </a:cubicBezTo>
                  <a:cubicBezTo>
                    <a:pt x="18" y="686"/>
                    <a:pt x="18" y="686"/>
                    <a:pt x="18" y="686"/>
                  </a:cubicBezTo>
                  <a:cubicBezTo>
                    <a:pt x="14" y="687"/>
                    <a:pt x="14" y="687"/>
                    <a:pt x="14" y="687"/>
                  </a:cubicBezTo>
                  <a:cubicBezTo>
                    <a:pt x="14" y="687"/>
                    <a:pt x="14" y="692"/>
                    <a:pt x="18" y="693"/>
                  </a:cubicBezTo>
                  <a:cubicBezTo>
                    <a:pt x="22" y="695"/>
                    <a:pt x="24" y="691"/>
                    <a:pt x="24" y="691"/>
                  </a:cubicBezTo>
                  <a:cubicBezTo>
                    <a:pt x="28" y="691"/>
                    <a:pt x="28" y="691"/>
                    <a:pt x="28" y="691"/>
                  </a:cubicBezTo>
                  <a:cubicBezTo>
                    <a:pt x="27" y="692"/>
                    <a:pt x="27" y="692"/>
                    <a:pt x="27" y="692"/>
                  </a:cubicBezTo>
                  <a:cubicBezTo>
                    <a:pt x="27" y="692"/>
                    <a:pt x="23" y="692"/>
                    <a:pt x="22" y="697"/>
                  </a:cubicBezTo>
                  <a:cubicBezTo>
                    <a:pt x="20" y="703"/>
                    <a:pt x="27" y="704"/>
                    <a:pt x="27" y="704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7" y="707"/>
                    <a:pt x="27" y="707"/>
                    <a:pt x="27" y="707"/>
                  </a:cubicBezTo>
                  <a:cubicBezTo>
                    <a:pt x="30" y="707"/>
                    <a:pt x="30" y="707"/>
                    <a:pt x="30" y="707"/>
                  </a:cubicBezTo>
                  <a:cubicBezTo>
                    <a:pt x="30" y="707"/>
                    <a:pt x="29" y="705"/>
                    <a:pt x="29" y="703"/>
                  </a:cubicBezTo>
                  <a:cubicBezTo>
                    <a:pt x="29" y="702"/>
                    <a:pt x="32" y="701"/>
                    <a:pt x="32" y="701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8" y="704"/>
                    <a:pt x="36" y="708"/>
                    <a:pt x="35" y="711"/>
                  </a:cubicBezTo>
                  <a:cubicBezTo>
                    <a:pt x="34" y="714"/>
                    <a:pt x="34" y="719"/>
                    <a:pt x="34" y="719"/>
                  </a:cubicBezTo>
                  <a:cubicBezTo>
                    <a:pt x="25" y="720"/>
                    <a:pt x="25" y="720"/>
                    <a:pt x="25" y="720"/>
                  </a:cubicBezTo>
                  <a:cubicBezTo>
                    <a:pt x="25" y="720"/>
                    <a:pt x="24" y="713"/>
                    <a:pt x="19" y="714"/>
                  </a:cubicBezTo>
                  <a:cubicBezTo>
                    <a:pt x="15" y="715"/>
                    <a:pt x="19" y="723"/>
                    <a:pt x="19" y="723"/>
                  </a:cubicBezTo>
                  <a:cubicBezTo>
                    <a:pt x="19" y="723"/>
                    <a:pt x="15" y="723"/>
                    <a:pt x="15" y="727"/>
                  </a:cubicBezTo>
                  <a:cubicBezTo>
                    <a:pt x="15" y="731"/>
                    <a:pt x="18" y="730"/>
                    <a:pt x="18" y="730"/>
                  </a:cubicBezTo>
                  <a:cubicBezTo>
                    <a:pt x="17" y="733"/>
                    <a:pt x="17" y="733"/>
                    <a:pt x="17" y="733"/>
                  </a:cubicBezTo>
                  <a:cubicBezTo>
                    <a:pt x="22" y="738"/>
                    <a:pt x="22" y="738"/>
                    <a:pt x="22" y="738"/>
                  </a:cubicBezTo>
                  <a:cubicBezTo>
                    <a:pt x="26" y="735"/>
                    <a:pt x="26" y="735"/>
                    <a:pt x="26" y="735"/>
                  </a:cubicBezTo>
                  <a:cubicBezTo>
                    <a:pt x="29" y="727"/>
                    <a:pt x="29" y="727"/>
                    <a:pt x="29" y="727"/>
                  </a:cubicBezTo>
                  <a:cubicBezTo>
                    <a:pt x="27" y="734"/>
                    <a:pt x="27" y="734"/>
                    <a:pt x="27" y="734"/>
                  </a:cubicBezTo>
                  <a:cubicBezTo>
                    <a:pt x="27" y="738"/>
                    <a:pt x="27" y="738"/>
                    <a:pt x="27" y="738"/>
                  </a:cubicBezTo>
                  <a:cubicBezTo>
                    <a:pt x="32" y="738"/>
                    <a:pt x="32" y="738"/>
                    <a:pt x="32" y="738"/>
                  </a:cubicBezTo>
                  <a:cubicBezTo>
                    <a:pt x="33" y="739"/>
                    <a:pt x="31" y="743"/>
                    <a:pt x="31" y="743"/>
                  </a:cubicBezTo>
                  <a:cubicBezTo>
                    <a:pt x="32" y="744"/>
                    <a:pt x="32" y="744"/>
                    <a:pt x="32" y="744"/>
                  </a:cubicBezTo>
                  <a:cubicBezTo>
                    <a:pt x="30" y="744"/>
                    <a:pt x="30" y="744"/>
                    <a:pt x="30" y="744"/>
                  </a:cubicBezTo>
                  <a:cubicBezTo>
                    <a:pt x="30" y="746"/>
                    <a:pt x="30" y="746"/>
                    <a:pt x="30" y="746"/>
                  </a:cubicBezTo>
                  <a:cubicBezTo>
                    <a:pt x="34" y="750"/>
                    <a:pt x="34" y="750"/>
                    <a:pt x="34" y="750"/>
                  </a:cubicBezTo>
                  <a:cubicBezTo>
                    <a:pt x="38" y="745"/>
                    <a:pt x="38" y="745"/>
                    <a:pt x="38" y="745"/>
                  </a:cubicBezTo>
                  <a:cubicBezTo>
                    <a:pt x="38" y="738"/>
                    <a:pt x="38" y="738"/>
                    <a:pt x="38" y="738"/>
                  </a:cubicBezTo>
                  <a:cubicBezTo>
                    <a:pt x="40" y="737"/>
                    <a:pt x="40" y="737"/>
                    <a:pt x="40" y="737"/>
                  </a:cubicBezTo>
                  <a:cubicBezTo>
                    <a:pt x="42" y="731"/>
                    <a:pt x="42" y="731"/>
                    <a:pt x="42" y="731"/>
                  </a:cubicBezTo>
                  <a:cubicBezTo>
                    <a:pt x="42" y="731"/>
                    <a:pt x="45" y="734"/>
                    <a:pt x="47" y="731"/>
                  </a:cubicBezTo>
                  <a:cubicBezTo>
                    <a:pt x="48" y="730"/>
                    <a:pt x="47" y="726"/>
                    <a:pt x="47" y="726"/>
                  </a:cubicBezTo>
                  <a:cubicBezTo>
                    <a:pt x="47" y="726"/>
                    <a:pt x="49" y="725"/>
                    <a:pt x="55" y="723"/>
                  </a:cubicBezTo>
                  <a:cubicBezTo>
                    <a:pt x="59" y="720"/>
                    <a:pt x="64" y="720"/>
                    <a:pt x="64" y="720"/>
                  </a:cubicBezTo>
                  <a:cubicBezTo>
                    <a:pt x="64" y="722"/>
                    <a:pt x="64" y="722"/>
                    <a:pt x="64" y="722"/>
                  </a:cubicBezTo>
                  <a:cubicBezTo>
                    <a:pt x="71" y="719"/>
                    <a:pt x="71" y="719"/>
                    <a:pt x="71" y="719"/>
                  </a:cubicBezTo>
                  <a:cubicBezTo>
                    <a:pt x="72" y="715"/>
                    <a:pt x="72" y="715"/>
                    <a:pt x="72" y="715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3" y="719"/>
                    <a:pt x="73" y="719"/>
                    <a:pt x="73" y="719"/>
                  </a:cubicBezTo>
                  <a:cubicBezTo>
                    <a:pt x="77" y="720"/>
                    <a:pt x="77" y="720"/>
                    <a:pt x="77" y="720"/>
                  </a:cubicBezTo>
                  <a:cubicBezTo>
                    <a:pt x="77" y="720"/>
                    <a:pt x="68" y="721"/>
                    <a:pt x="65" y="726"/>
                  </a:cubicBezTo>
                  <a:cubicBezTo>
                    <a:pt x="62" y="731"/>
                    <a:pt x="63" y="735"/>
                    <a:pt x="62" y="738"/>
                  </a:cubicBezTo>
                  <a:cubicBezTo>
                    <a:pt x="62" y="740"/>
                    <a:pt x="58" y="743"/>
                    <a:pt x="58" y="743"/>
                  </a:cubicBezTo>
                  <a:cubicBezTo>
                    <a:pt x="62" y="726"/>
                    <a:pt x="62" y="726"/>
                    <a:pt x="62" y="726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62" y="723"/>
                    <a:pt x="58" y="724"/>
                    <a:pt x="56" y="726"/>
                  </a:cubicBezTo>
                  <a:cubicBezTo>
                    <a:pt x="52" y="727"/>
                    <a:pt x="47" y="735"/>
                    <a:pt x="47" y="735"/>
                  </a:cubicBezTo>
                  <a:cubicBezTo>
                    <a:pt x="47" y="735"/>
                    <a:pt x="44" y="736"/>
                    <a:pt x="44" y="739"/>
                  </a:cubicBezTo>
                  <a:cubicBezTo>
                    <a:pt x="45" y="742"/>
                    <a:pt x="50" y="740"/>
                    <a:pt x="48" y="742"/>
                  </a:cubicBezTo>
                  <a:cubicBezTo>
                    <a:pt x="47" y="743"/>
                    <a:pt x="43" y="743"/>
                    <a:pt x="41" y="745"/>
                  </a:cubicBezTo>
                  <a:cubicBezTo>
                    <a:pt x="39" y="747"/>
                    <a:pt x="39" y="752"/>
                    <a:pt x="39" y="752"/>
                  </a:cubicBezTo>
                  <a:cubicBezTo>
                    <a:pt x="32" y="752"/>
                    <a:pt x="32" y="752"/>
                    <a:pt x="32" y="752"/>
                  </a:cubicBezTo>
                  <a:cubicBezTo>
                    <a:pt x="28" y="757"/>
                    <a:pt x="28" y="757"/>
                    <a:pt x="28" y="757"/>
                  </a:cubicBezTo>
                  <a:cubicBezTo>
                    <a:pt x="33" y="762"/>
                    <a:pt x="33" y="762"/>
                    <a:pt x="33" y="762"/>
                  </a:cubicBezTo>
                  <a:cubicBezTo>
                    <a:pt x="39" y="759"/>
                    <a:pt x="39" y="759"/>
                    <a:pt x="39" y="759"/>
                  </a:cubicBezTo>
                  <a:cubicBezTo>
                    <a:pt x="38" y="764"/>
                    <a:pt x="38" y="764"/>
                    <a:pt x="38" y="764"/>
                  </a:cubicBezTo>
                  <a:cubicBezTo>
                    <a:pt x="40" y="765"/>
                    <a:pt x="40" y="765"/>
                    <a:pt x="40" y="765"/>
                  </a:cubicBezTo>
                  <a:cubicBezTo>
                    <a:pt x="46" y="760"/>
                    <a:pt x="46" y="760"/>
                    <a:pt x="46" y="760"/>
                  </a:cubicBezTo>
                  <a:cubicBezTo>
                    <a:pt x="42" y="766"/>
                    <a:pt x="42" y="766"/>
                    <a:pt x="42" y="766"/>
                  </a:cubicBezTo>
                  <a:cubicBezTo>
                    <a:pt x="44" y="768"/>
                    <a:pt x="44" y="768"/>
                    <a:pt x="44" y="768"/>
                  </a:cubicBezTo>
                  <a:cubicBezTo>
                    <a:pt x="34" y="765"/>
                    <a:pt x="34" y="765"/>
                    <a:pt x="34" y="765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72"/>
                    <a:pt x="34" y="772"/>
                    <a:pt x="34" y="772"/>
                  </a:cubicBezTo>
                  <a:cubicBezTo>
                    <a:pt x="26" y="768"/>
                    <a:pt x="26" y="768"/>
                    <a:pt x="26" y="768"/>
                  </a:cubicBezTo>
                  <a:cubicBezTo>
                    <a:pt x="23" y="770"/>
                    <a:pt x="23" y="770"/>
                    <a:pt x="23" y="770"/>
                  </a:cubicBezTo>
                  <a:cubicBezTo>
                    <a:pt x="20" y="778"/>
                    <a:pt x="20" y="778"/>
                    <a:pt x="20" y="778"/>
                  </a:cubicBezTo>
                  <a:cubicBezTo>
                    <a:pt x="18" y="780"/>
                    <a:pt x="18" y="780"/>
                    <a:pt x="18" y="780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9" y="767"/>
                    <a:pt x="19" y="767"/>
                    <a:pt x="19" y="767"/>
                  </a:cubicBezTo>
                  <a:cubicBezTo>
                    <a:pt x="18" y="771"/>
                    <a:pt x="18" y="771"/>
                    <a:pt x="18" y="771"/>
                  </a:cubicBezTo>
                  <a:cubicBezTo>
                    <a:pt x="15" y="771"/>
                    <a:pt x="15" y="771"/>
                    <a:pt x="15" y="771"/>
                  </a:cubicBezTo>
                  <a:cubicBezTo>
                    <a:pt x="10" y="780"/>
                    <a:pt x="10" y="780"/>
                    <a:pt x="10" y="780"/>
                  </a:cubicBezTo>
                  <a:cubicBezTo>
                    <a:pt x="13" y="793"/>
                    <a:pt x="13" y="793"/>
                    <a:pt x="13" y="793"/>
                  </a:cubicBezTo>
                  <a:cubicBezTo>
                    <a:pt x="14" y="792"/>
                    <a:pt x="14" y="792"/>
                    <a:pt x="14" y="792"/>
                  </a:cubicBezTo>
                  <a:cubicBezTo>
                    <a:pt x="14" y="800"/>
                    <a:pt x="14" y="800"/>
                    <a:pt x="14" y="800"/>
                  </a:cubicBezTo>
                  <a:cubicBezTo>
                    <a:pt x="17" y="800"/>
                    <a:pt x="17" y="800"/>
                    <a:pt x="17" y="800"/>
                  </a:cubicBezTo>
                  <a:cubicBezTo>
                    <a:pt x="17" y="793"/>
                    <a:pt x="17" y="793"/>
                    <a:pt x="17" y="793"/>
                  </a:cubicBezTo>
                  <a:cubicBezTo>
                    <a:pt x="22" y="792"/>
                    <a:pt x="22" y="792"/>
                    <a:pt x="22" y="792"/>
                  </a:cubicBezTo>
                  <a:cubicBezTo>
                    <a:pt x="22" y="789"/>
                    <a:pt x="22" y="789"/>
                    <a:pt x="22" y="789"/>
                  </a:cubicBezTo>
                  <a:cubicBezTo>
                    <a:pt x="25" y="791"/>
                    <a:pt x="25" y="791"/>
                    <a:pt x="25" y="791"/>
                  </a:cubicBezTo>
                  <a:cubicBezTo>
                    <a:pt x="23" y="794"/>
                    <a:pt x="23" y="794"/>
                    <a:pt x="23" y="794"/>
                  </a:cubicBezTo>
                  <a:cubicBezTo>
                    <a:pt x="24" y="796"/>
                    <a:pt x="24" y="796"/>
                    <a:pt x="24" y="796"/>
                  </a:cubicBezTo>
                  <a:cubicBezTo>
                    <a:pt x="32" y="788"/>
                    <a:pt x="32" y="788"/>
                    <a:pt x="32" y="788"/>
                  </a:cubicBezTo>
                  <a:cubicBezTo>
                    <a:pt x="30" y="784"/>
                    <a:pt x="30" y="784"/>
                    <a:pt x="30" y="784"/>
                  </a:cubicBezTo>
                  <a:cubicBezTo>
                    <a:pt x="26" y="785"/>
                    <a:pt x="26" y="785"/>
                    <a:pt x="26" y="785"/>
                  </a:cubicBezTo>
                  <a:cubicBezTo>
                    <a:pt x="31" y="782"/>
                    <a:pt x="31" y="782"/>
                    <a:pt x="31" y="782"/>
                  </a:cubicBezTo>
                  <a:cubicBezTo>
                    <a:pt x="32" y="778"/>
                    <a:pt x="32" y="778"/>
                    <a:pt x="32" y="778"/>
                  </a:cubicBezTo>
                  <a:cubicBezTo>
                    <a:pt x="34" y="783"/>
                    <a:pt x="34" y="783"/>
                    <a:pt x="34" y="783"/>
                  </a:cubicBezTo>
                  <a:cubicBezTo>
                    <a:pt x="39" y="784"/>
                    <a:pt x="39" y="784"/>
                    <a:pt x="39" y="784"/>
                  </a:cubicBezTo>
                  <a:cubicBezTo>
                    <a:pt x="35" y="785"/>
                    <a:pt x="35" y="785"/>
                    <a:pt x="35" y="785"/>
                  </a:cubicBezTo>
                  <a:cubicBezTo>
                    <a:pt x="36" y="788"/>
                    <a:pt x="36" y="788"/>
                    <a:pt x="36" y="788"/>
                  </a:cubicBezTo>
                  <a:cubicBezTo>
                    <a:pt x="41" y="786"/>
                    <a:pt x="41" y="786"/>
                    <a:pt x="41" y="786"/>
                  </a:cubicBezTo>
                  <a:cubicBezTo>
                    <a:pt x="43" y="780"/>
                    <a:pt x="43" y="780"/>
                    <a:pt x="43" y="780"/>
                  </a:cubicBezTo>
                  <a:cubicBezTo>
                    <a:pt x="45" y="778"/>
                    <a:pt x="45" y="778"/>
                    <a:pt x="45" y="778"/>
                  </a:cubicBezTo>
                  <a:cubicBezTo>
                    <a:pt x="47" y="773"/>
                    <a:pt x="47" y="773"/>
                    <a:pt x="47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7" y="780"/>
                    <a:pt x="47" y="780"/>
                    <a:pt x="47" y="780"/>
                  </a:cubicBezTo>
                  <a:cubicBezTo>
                    <a:pt x="52" y="777"/>
                    <a:pt x="52" y="777"/>
                    <a:pt x="52" y="777"/>
                  </a:cubicBezTo>
                  <a:cubicBezTo>
                    <a:pt x="52" y="778"/>
                    <a:pt x="52" y="778"/>
                    <a:pt x="52" y="778"/>
                  </a:cubicBezTo>
                  <a:cubicBezTo>
                    <a:pt x="45" y="782"/>
                    <a:pt x="45" y="782"/>
                    <a:pt x="45" y="782"/>
                  </a:cubicBezTo>
                  <a:cubicBezTo>
                    <a:pt x="44" y="788"/>
                    <a:pt x="44" y="788"/>
                    <a:pt x="44" y="788"/>
                  </a:cubicBezTo>
                  <a:cubicBezTo>
                    <a:pt x="38" y="790"/>
                    <a:pt x="38" y="790"/>
                    <a:pt x="38" y="790"/>
                  </a:cubicBezTo>
                  <a:cubicBezTo>
                    <a:pt x="40" y="792"/>
                    <a:pt x="40" y="792"/>
                    <a:pt x="40" y="792"/>
                  </a:cubicBezTo>
                  <a:cubicBezTo>
                    <a:pt x="40" y="792"/>
                    <a:pt x="41" y="790"/>
                    <a:pt x="44" y="791"/>
                  </a:cubicBezTo>
                  <a:cubicBezTo>
                    <a:pt x="46" y="792"/>
                    <a:pt x="41" y="796"/>
                    <a:pt x="41" y="796"/>
                  </a:cubicBezTo>
                  <a:cubicBezTo>
                    <a:pt x="49" y="793"/>
                    <a:pt x="49" y="793"/>
                    <a:pt x="49" y="793"/>
                  </a:cubicBezTo>
                  <a:cubicBezTo>
                    <a:pt x="49" y="793"/>
                    <a:pt x="42" y="797"/>
                    <a:pt x="41" y="798"/>
                  </a:cubicBezTo>
                  <a:cubicBezTo>
                    <a:pt x="39" y="799"/>
                    <a:pt x="36" y="803"/>
                    <a:pt x="36" y="803"/>
                  </a:cubicBezTo>
                  <a:cubicBezTo>
                    <a:pt x="38" y="805"/>
                    <a:pt x="38" y="805"/>
                    <a:pt x="38" y="805"/>
                  </a:cubicBezTo>
                  <a:cubicBezTo>
                    <a:pt x="31" y="807"/>
                    <a:pt x="31" y="807"/>
                    <a:pt x="31" y="807"/>
                  </a:cubicBezTo>
                  <a:cubicBezTo>
                    <a:pt x="34" y="813"/>
                    <a:pt x="34" y="813"/>
                    <a:pt x="34" y="813"/>
                  </a:cubicBezTo>
                  <a:cubicBezTo>
                    <a:pt x="35" y="817"/>
                    <a:pt x="35" y="817"/>
                    <a:pt x="35" y="817"/>
                  </a:cubicBezTo>
                  <a:cubicBezTo>
                    <a:pt x="43" y="813"/>
                    <a:pt x="43" y="813"/>
                    <a:pt x="43" y="813"/>
                  </a:cubicBezTo>
                  <a:cubicBezTo>
                    <a:pt x="50" y="814"/>
                    <a:pt x="50" y="814"/>
                    <a:pt x="50" y="814"/>
                  </a:cubicBezTo>
                  <a:cubicBezTo>
                    <a:pt x="44" y="815"/>
                    <a:pt x="44" y="815"/>
                    <a:pt x="44" y="815"/>
                  </a:cubicBezTo>
                  <a:cubicBezTo>
                    <a:pt x="38" y="819"/>
                    <a:pt x="38" y="819"/>
                    <a:pt x="38" y="819"/>
                  </a:cubicBezTo>
                  <a:cubicBezTo>
                    <a:pt x="38" y="822"/>
                    <a:pt x="38" y="822"/>
                    <a:pt x="38" y="822"/>
                  </a:cubicBezTo>
                  <a:cubicBezTo>
                    <a:pt x="30" y="816"/>
                    <a:pt x="30" y="816"/>
                    <a:pt x="30" y="816"/>
                  </a:cubicBezTo>
                  <a:cubicBezTo>
                    <a:pt x="25" y="820"/>
                    <a:pt x="25" y="820"/>
                    <a:pt x="25" y="820"/>
                  </a:cubicBezTo>
                  <a:cubicBezTo>
                    <a:pt x="25" y="814"/>
                    <a:pt x="25" y="814"/>
                    <a:pt x="25" y="814"/>
                  </a:cubicBezTo>
                  <a:cubicBezTo>
                    <a:pt x="19" y="812"/>
                    <a:pt x="19" y="812"/>
                    <a:pt x="19" y="812"/>
                  </a:cubicBezTo>
                  <a:cubicBezTo>
                    <a:pt x="20" y="820"/>
                    <a:pt x="20" y="820"/>
                    <a:pt x="20" y="820"/>
                  </a:cubicBezTo>
                  <a:cubicBezTo>
                    <a:pt x="18" y="821"/>
                    <a:pt x="18" y="821"/>
                    <a:pt x="18" y="821"/>
                  </a:cubicBezTo>
                  <a:cubicBezTo>
                    <a:pt x="17" y="824"/>
                    <a:pt x="17" y="824"/>
                    <a:pt x="17" y="824"/>
                  </a:cubicBezTo>
                  <a:cubicBezTo>
                    <a:pt x="14" y="829"/>
                    <a:pt x="14" y="829"/>
                    <a:pt x="14" y="829"/>
                  </a:cubicBezTo>
                  <a:cubicBezTo>
                    <a:pt x="14" y="829"/>
                    <a:pt x="18" y="841"/>
                    <a:pt x="23" y="844"/>
                  </a:cubicBezTo>
                  <a:cubicBezTo>
                    <a:pt x="26" y="847"/>
                    <a:pt x="29" y="849"/>
                    <a:pt x="31" y="853"/>
                  </a:cubicBezTo>
                  <a:cubicBezTo>
                    <a:pt x="33" y="857"/>
                    <a:pt x="49" y="863"/>
                    <a:pt x="49" y="863"/>
                  </a:cubicBezTo>
                  <a:cubicBezTo>
                    <a:pt x="50" y="866"/>
                    <a:pt x="50" y="866"/>
                    <a:pt x="50" y="866"/>
                  </a:cubicBezTo>
                  <a:cubicBezTo>
                    <a:pt x="53" y="862"/>
                    <a:pt x="53" y="862"/>
                    <a:pt x="53" y="862"/>
                  </a:cubicBezTo>
                  <a:cubicBezTo>
                    <a:pt x="58" y="865"/>
                    <a:pt x="58" y="865"/>
                    <a:pt x="58" y="865"/>
                  </a:cubicBezTo>
                  <a:cubicBezTo>
                    <a:pt x="48" y="872"/>
                    <a:pt x="48" y="872"/>
                    <a:pt x="48" y="872"/>
                  </a:cubicBezTo>
                  <a:cubicBezTo>
                    <a:pt x="50" y="876"/>
                    <a:pt x="50" y="876"/>
                    <a:pt x="50" y="876"/>
                  </a:cubicBezTo>
                  <a:cubicBezTo>
                    <a:pt x="58" y="876"/>
                    <a:pt x="58" y="876"/>
                    <a:pt x="58" y="876"/>
                  </a:cubicBezTo>
                  <a:cubicBezTo>
                    <a:pt x="56" y="873"/>
                    <a:pt x="56" y="873"/>
                    <a:pt x="56" y="873"/>
                  </a:cubicBezTo>
                  <a:cubicBezTo>
                    <a:pt x="60" y="871"/>
                    <a:pt x="60" y="871"/>
                    <a:pt x="60" y="871"/>
                  </a:cubicBezTo>
                  <a:cubicBezTo>
                    <a:pt x="65" y="873"/>
                    <a:pt x="65" y="873"/>
                    <a:pt x="65" y="873"/>
                  </a:cubicBezTo>
                  <a:cubicBezTo>
                    <a:pt x="60" y="875"/>
                    <a:pt x="60" y="875"/>
                    <a:pt x="60" y="875"/>
                  </a:cubicBezTo>
                  <a:cubicBezTo>
                    <a:pt x="64" y="879"/>
                    <a:pt x="64" y="879"/>
                    <a:pt x="64" y="879"/>
                  </a:cubicBezTo>
                  <a:cubicBezTo>
                    <a:pt x="68" y="877"/>
                    <a:pt x="68" y="877"/>
                    <a:pt x="68" y="877"/>
                  </a:cubicBezTo>
                  <a:cubicBezTo>
                    <a:pt x="68" y="877"/>
                    <a:pt x="74" y="880"/>
                    <a:pt x="80" y="880"/>
                  </a:cubicBezTo>
                  <a:cubicBezTo>
                    <a:pt x="85" y="880"/>
                    <a:pt x="88" y="878"/>
                    <a:pt x="92" y="877"/>
                  </a:cubicBezTo>
                  <a:cubicBezTo>
                    <a:pt x="96" y="876"/>
                    <a:pt x="101" y="870"/>
                    <a:pt x="101" y="870"/>
                  </a:cubicBezTo>
                  <a:cubicBezTo>
                    <a:pt x="101" y="877"/>
                    <a:pt x="101" y="877"/>
                    <a:pt x="101" y="877"/>
                  </a:cubicBezTo>
                  <a:cubicBezTo>
                    <a:pt x="124" y="857"/>
                    <a:pt x="124" y="857"/>
                    <a:pt x="124" y="857"/>
                  </a:cubicBezTo>
                  <a:cubicBezTo>
                    <a:pt x="124" y="853"/>
                    <a:pt x="124" y="853"/>
                    <a:pt x="124" y="853"/>
                  </a:cubicBezTo>
                  <a:cubicBezTo>
                    <a:pt x="142" y="839"/>
                    <a:pt x="142" y="839"/>
                    <a:pt x="142" y="839"/>
                  </a:cubicBezTo>
                  <a:cubicBezTo>
                    <a:pt x="141" y="835"/>
                    <a:pt x="141" y="835"/>
                    <a:pt x="141" y="835"/>
                  </a:cubicBezTo>
                  <a:cubicBezTo>
                    <a:pt x="145" y="836"/>
                    <a:pt x="145" y="836"/>
                    <a:pt x="145" y="836"/>
                  </a:cubicBezTo>
                  <a:cubicBezTo>
                    <a:pt x="150" y="830"/>
                    <a:pt x="150" y="830"/>
                    <a:pt x="150" y="830"/>
                  </a:cubicBezTo>
                  <a:cubicBezTo>
                    <a:pt x="146" y="828"/>
                    <a:pt x="146" y="828"/>
                    <a:pt x="146" y="828"/>
                  </a:cubicBezTo>
                  <a:cubicBezTo>
                    <a:pt x="161" y="817"/>
                    <a:pt x="161" y="817"/>
                    <a:pt x="161" y="817"/>
                  </a:cubicBezTo>
                  <a:cubicBezTo>
                    <a:pt x="156" y="810"/>
                    <a:pt x="156" y="810"/>
                    <a:pt x="156" y="810"/>
                  </a:cubicBezTo>
                  <a:cubicBezTo>
                    <a:pt x="159" y="812"/>
                    <a:pt x="159" y="812"/>
                    <a:pt x="159" y="812"/>
                  </a:cubicBezTo>
                  <a:cubicBezTo>
                    <a:pt x="167" y="821"/>
                    <a:pt x="167" y="821"/>
                    <a:pt x="167" y="821"/>
                  </a:cubicBezTo>
                  <a:cubicBezTo>
                    <a:pt x="180" y="817"/>
                    <a:pt x="180" y="817"/>
                    <a:pt x="180" y="817"/>
                  </a:cubicBezTo>
                  <a:cubicBezTo>
                    <a:pt x="181" y="805"/>
                    <a:pt x="181" y="805"/>
                    <a:pt x="181" y="805"/>
                  </a:cubicBezTo>
                  <a:cubicBezTo>
                    <a:pt x="184" y="808"/>
                    <a:pt x="184" y="808"/>
                    <a:pt x="184" y="808"/>
                  </a:cubicBezTo>
                  <a:cubicBezTo>
                    <a:pt x="188" y="806"/>
                    <a:pt x="188" y="806"/>
                    <a:pt x="188" y="806"/>
                  </a:cubicBezTo>
                  <a:cubicBezTo>
                    <a:pt x="186" y="803"/>
                    <a:pt x="186" y="803"/>
                    <a:pt x="186" y="803"/>
                  </a:cubicBezTo>
                  <a:cubicBezTo>
                    <a:pt x="189" y="803"/>
                    <a:pt x="189" y="803"/>
                    <a:pt x="189" y="803"/>
                  </a:cubicBezTo>
                  <a:cubicBezTo>
                    <a:pt x="188" y="791"/>
                    <a:pt x="188" y="791"/>
                    <a:pt x="188" y="791"/>
                  </a:cubicBezTo>
                  <a:cubicBezTo>
                    <a:pt x="182" y="789"/>
                    <a:pt x="182" y="789"/>
                    <a:pt x="182" y="789"/>
                  </a:cubicBezTo>
                  <a:cubicBezTo>
                    <a:pt x="179" y="782"/>
                    <a:pt x="179" y="782"/>
                    <a:pt x="179" y="782"/>
                  </a:cubicBezTo>
                  <a:cubicBezTo>
                    <a:pt x="183" y="785"/>
                    <a:pt x="183" y="785"/>
                    <a:pt x="183" y="785"/>
                  </a:cubicBezTo>
                  <a:cubicBezTo>
                    <a:pt x="183" y="776"/>
                    <a:pt x="183" y="776"/>
                    <a:pt x="183" y="776"/>
                  </a:cubicBezTo>
                  <a:cubicBezTo>
                    <a:pt x="178" y="771"/>
                    <a:pt x="178" y="771"/>
                    <a:pt x="178" y="771"/>
                  </a:cubicBezTo>
                  <a:cubicBezTo>
                    <a:pt x="181" y="770"/>
                    <a:pt x="181" y="770"/>
                    <a:pt x="181" y="770"/>
                  </a:cubicBezTo>
                  <a:cubicBezTo>
                    <a:pt x="186" y="773"/>
                    <a:pt x="186" y="773"/>
                    <a:pt x="186" y="773"/>
                  </a:cubicBezTo>
                  <a:cubicBezTo>
                    <a:pt x="186" y="785"/>
                    <a:pt x="186" y="785"/>
                    <a:pt x="186" y="785"/>
                  </a:cubicBezTo>
                  <a:cubicBezTo>
                    <a:pt x="186" y="785"/>
                    <a:pt x="191" y="784"/>
                    <a:pt x="192" y="781"/>
                  </a:cubicBezTo>
                  <a:cubicBezTo>
                    <a:pt x="192" y="776"/>
                    <a:pt x="189" y="773"/>
                    <a:pt x="189" y="773"/>
                  </a:cubicBezTo>
                  <a:cubicBezTo>
                    <a:pt x="189" y="773"/>
                    <a:pt x="189" y="767"/>
                    <a:pt x="190" y="762"/>
                  </a:cubicBezTo>
                  <a:cubicBezTo>
                    <a:pt x="190" y="758"/>
                    <a:pt x="197" y="759"/>
                    <a:pt x="199" y="762"/>
                  </a:cubicBezTo>
                  <a:cubicBezTo>
                    <a:pt x="200" y="765"/>
                    <a:pt x="197" y="769"/>
                    <a:pt x="197" y="769"/>
                  </a:cubicBezTo>
                  <a:cubicBezTo>
                    <a:pt x="195" y="764"/>
                    <a:pt x="195" y="764"/>
                    <a:pt x="195" y="764"/>
                  </a:cubicBezTo>
                  <a:cubicBezTo>
                    <a:pt x="193" y="769"/>
                    <a:pt x="193" y="769"/>
                    <a:pt x="193" y="769"/>
                  </a:cubicBezTo>
                  <a:cubicBezTo>
                    <a:pt x="194" y="776"/>
                    <a:pt x="194" y="776"/>
                    <a:pt x="194" y="776"/>
                  </a:cubicBezTo>
                  <a:cubicBezTo>
                    <a:pt x="194" y="788"/>
                    <a:pt x="194" y="788"/>
                    <a:pt x="194" y="788"/>
                  </a:cubicBezTo>
                  <a:cubicBezTo>
                    <a:pt x="192" y="789"/>
                    <a:pt x="192" y="789"/>
                    <a:pt x="192" y="789"/>
                  </a:cubicBezTo>
                  <a:cubicBezTo>
                    <a:pt x="195" y="800"/>
                    <a:pt x="195" y="800"/>
                    <a:pt x="195" y="800"/>
                  </a:cubicBezTo>
                  <a:cubicBezTo>
                    <a:pt x="198" y="798"/>
                    <a:pt x="198" y="798"/>
                    <a:pt x="198" y="798"/>
                  </a:cubicBezTo>
                  <a:cubicBezTo>
                    <a:pt x="199" y="809"/>
                    <a:pt x="199" y="809"/>
                    <a:pt x="199" y="809"/>
                  </a:cubicBezTo>
                  <a:cubicBezTo>
                    <a:pt x="208" y="810"/>
                    <a:pt x="208" y="810"/>
                    <a:pt x="208" y="810"/>
                  </a:cubicBezTo>
                  <a:cubicBezTo>
                    <a:pt x="211" y="808"/>
                    <a:pt x="211" y="808"/>
                    <a:pt x="211" y="808"/>
                  </a:cubicBezTo>
                  <a:cubicBezTo>
                    <a:pt x="212" y="814"/>
                    <a:pt x="212" y="814"/>
                    <a:pt x="212" y="814"/>
                  </a:cubicBezTo>
                  <a:cubicBezTo>
                    <a:pt x="212" y="814"/>
                    <a:pt x="220" y="809"/>
                    <a:pt x="221" y="814"/>
                  </a:cubicBezTo>
                  <a:cubicBezTo>
                    <a:pt x="222" y="819"/>
                    <a:pt x="219" y="828"/>
                    <a:pt x="223" y="828"/>
                  </a:cubicBezTo>
                  <a:cubicBezTo>
                    <a:pt x="227" y="828"/>
                    <a:pt x="228" y="822"/>
                    <a:pt x="230" y="815"/>
                  </a:cubicBezTo>
                  <a:cubicBezTo>
                    <a:pt x="232" y="808"/>
                    <a:pt x="236" y="800"/>
                    <a:pt x="236" y="800"/>
                  </a:cubicBezTo>
                  <a:cubicBezTo>
                    <a:pt x="236" y="800"/>
                    <a:pt x="227" y="782"/>
                    <a:pt x="230" y="780"/>
                  </a:cubicBezTo>
                  <a:cubicBezTo>
                    <a:pt x="232" y="776"/>
                    <a:pt x="238" y="777"/>
                    <a:pt x="238" y="773"/>
                  </a:cubicBezTo>
                  <a:cubicBezTo>
                    <a:pt x="239" y="768"/>
                    <a:pt x="232" y="767"/>
                    <a:pt x="237" y="764"/>
                  </a:cubicBezTo>
                  <a:cubicBezTo>
                    <a:pt x="241" y="760"/>
                    <a:pt x="252" y="766"/>
                    <a:pt x="256" y="754"/>
                  </a:cubicBezTo>
                  <a:cubicBezTo>
                    <a:pt x="259" y="741"/>
                    <a:pt x="255" y="738"/>
                    <a:pt x="256" y="734"/>
                  </a:cubicBezTo>
                  <a:cubicBezTo>
                    <a:pt x="257" y="729"/>
                    <a:pt x="265" y="733"/>
                    <a:pt x="262" y="725"/>
                  </a:cubicBezTo>
                  <a:cubicBezTo>
                    <a:pt x="260" y="718"/>
                    <a:pt x="254" y="704"/>
                    <a:pt x="254" y="704"/>
                  </a:cubicBezTo>
                  <a:cubicBezTo>
                    <a:pt x="252" y="695"/>
                    <a:pt x="252" y="695"/>
                    <a:pt x="252" y="695"/>
                  </a:cubicBezTo>
                  <a:cubicBezTo>
                    <a:pt x="247" y="689"/>
                    <a:pt x="247" y="689"/>
                    <a:pt x="247" y="689"/>
                  </a:cubicBezTo>
                  <a:cubicBezTo>
                    <a:pt x="256" y="686"/>
                    <a:pt x="256" y="686"/>
                    <a:pt x="256" y="686"/>
                  </a:cubicBezTo>
                  <a:cubicBezTo>
                    <a:pt x="256" y="686"/>
                    <a:pt x="264" y="692"/>
                    <a:pt x="266" y="680"/>
                  </a:cubicBezTo>
                  <a:cubicBezTo>
                    <a:pt x="270" y="668"/>
                    <a:pt x="269" y="664"/>
                    <a:pt x="265" y="660"/>
                  </a:cubicBezTo>
                  <a:cubicBezTo>
                    <a:pt x="261" y="657"/>
                    <a:pt x="256" y="654"/>
                    <a:pt x="256" y="654"/>
                  </a:cubicBezTo>
                  <a:cubicBezTo>
                    <a:pt x="246" y="644"/>
                    <a:pt x="246" y="644"/>
                    <a:pt x="246" y="644"/>
                  </a:cubicBezTo>
                  <a:cubicBezTo>
                    <a:pt x="252" y="609"/>
                    <a:pt x="252" y="609"/>
                    <a:pt x="252" y="609"/>
                  </a:cubicBezTo>
                  <a:cubicBezTo>
                    <a:pt x="244" y="586"/>
                    <a:pt x="244" y="586"/>
                    <a:pt x="244" y="586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4" y="567"/>
                    <a:pt x="244" y="567"/>
                    <a:pt x="244" y="567"/>
                  </a:cubicBezTo>
                  <a:cubicBezTo>
                    <a:pt x="248" y="561"/>
                    <a:pt x="248" y="561"/>
                    <a:pt x="248" y="561"/>
                  </a:cubicBezTo>
                  <a:cubicBezTo>
                    <a:pt x="241" y="542"/>
                    <a:pt x="241" y="542"/>
                    <a:pt x="241" y="542"/>
                  </a:cubicBezTo>
                  <a:cubicBezTo>
                    <a:pt x="249" y="531"/>
                    <a:pt x="249" y="531"/>
                    <a:pt x="249" y="531"/>
                  </a:cubicBezTo>
                  <a:cubicBezTo>
                    <a:pt x="246" y="522"/>
                    <a:pt x="246" y="522"/>
                    <a:pt x="246" y="522"/>
                  </a:cubicBezTo>
                  <a:cubicBezTo>
                    <a:pt x="246" y="522"/>
                    <a:pt x="258" y="494"/>
                    <a:pt x="270" y="491"/>
                  </a:cubicBezTo>
                  <a:cubicBezTo>
                    <a:pt x="280" y="488"/>
                    <a:pt x="300" y="494"/>
                    <a:pt x="300" y="494"/>
                  </a:cubicBezTo>
                  <a:cubicBezTo>
                    <a:pt x="305" y="482"/>
                    <a:pt x="305" y="482"/>
                    <a:pt x="305" y="48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309" y="425"/>
                    <a:pt x="309" y="425"/>
                    <a:pt x="309" y="425"/>
                  </a:cubicBezTo>
                  <a:cubicBezTo>
                    <a:pt x="310" y="415"/>
                    <a:pt x="310" y="415"/>
                    <a:pt x="310" y="415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3" y="390"/>
                    <a:pt x="313" y="390"/>
                    <a:pt x="313" y="390"/>
                  </a:cubicBezTo>
                  <a:cubicBezTo>
                    <a:pt x="315" y="378"/>
                    <a:pt x="315" y="378"/>
                    <a:pt x="315" y="378"/>
                  </a:cubicBezTo>
                  <a:cubicBezTo>
                    <a:pt x="311" y="358"/>
                    <a:pt x="311" y="358"/>
                    <a:pt x="311" y="358"/>
                  </a:cubicBezTo>
                  <a:cubicBezTo>
                    <a:pt x="324" y="356"/>
                    <a:pt x="324" y="356"/>
                    <a:pt x="324" y="356"/>
                  </a:cubicBezTo>
                  <a:cubicBezTo>
                    <a:pt x="337" y="346"/>
                    <a:pt x="337" y="346"/>
                    <a:pt x="337" y="346"/>
                  </a:cubicBezTo>
                  <a:cubicBezTo>
                    <a:pt x="334" y="333"/>
                    <a:pt x="334" y="333"/>
                    <a:pt x="334" y="333"/>
                  </a:cubicBezTo>
                  <a:cubicBezTo>
                    <a:pt x="334" y="333"/>
                    <a:pt x="339" y="332"/>
                    <a:pt x="341" y="326"/>
                  </a:cubicBezTo>
                  <a:cubicBezTo>
                    <a:pt x="343" y="319"/>
                    <a:pt x="341" y="314"/>
                    <a:pt x="347" y="308"/>
                  </a:cubicBezTo>
                  <a:cubicBezTo>
                    <a:pt x="355" y="300"/>
                    <a:pt x="361" y="298"/>
                    <a:pt x="359" y="292"/>
                  </a:cubicBezTo>
                  <a:cubicBezTo>
                    <a:pt x="358" y="284"/>
                    <a:pt x="351" y="273"/>
                    <a:pt x="351" y="273"/>
                  </a:cubicBezTo>
                  <a:cubicBezTo>
                    <a:pt x="351" y="266"/>
                    <a:pt x="351" y="266"/>
                    <a:pt x="351" y="266"/>
                  </a:cubicBezTo>
                  <a:cubicBezTo>
                    <a:pt x="351" y="266"/>
                    <a:pt x="359" y="268"/>
                    <a:pt x="360" y="263"/>
                  </a:cubicBezTo>
                  <a:cubicBezTo>
                    <a:pt x="360" y="258"/>
                    <a:pt x="364" y="241"/>
                    <a:pt x="364" y="241"/>
                  </a:cubicBezTo>
                  <a:cubicBezTo>
                    <a:pt x="378" y="226"/>
                    <a:pt x="378" y="226"/>
                    <a:pt x="378" y="226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4" y="234"/>
                    <a:pt x="397" y="223"/>
                    <a:pt x="399" y="218"/>
                  </a:cubicBezTo>
                  <a:cubicBezTo>
                    <a:pt x="400" y="213"/>
                    <a:pt x="397" y="198"/>
                    <a:pt x="397" y="198"/>
                  </a:cubicBezTo>
                  <a:cubicBezTo>
                    <a:pt x="405" y="193"/>
                    <a:pt x="405" y="193"/>
                    <a:pt x="405" y="193"/>
                  </a:cubicBezTo>
                  <a:cubicBezTo>
                    <a:pt x="409" y="198"/>
                    <a:pt x="409" y="198"/>
                    <a:pt x="409" y="198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43" y="205"/>
                    <a:pt x="443" y="205"/>
                    <a:pt x="443" y="205"/>
                  </a:cubicBezTo>
                  <a:cubicBezTo>
                    <a:pt x="450" y="195"/>
                    <a:pt x="450" y="195"/>
                    <a:pt x="450" y="195"/>
                  </a:cubicBezTo>
                  <a:cubicBezTo>
                    <a:pt x="442" y="191"/>
                    <a:pt x="442" y="191"/>
                    <a:pt x="442" y="191"/>
                  </a:cubicBezTo>
                  <a:cubicBezTo>
                    <a:pt x="442" y="191"/>
                    <a:pt x="450" y="182"/>
                    <a:pt x="449" y="174"/>
                  </a:cubicBezTo>
                  <a:cubicBezTo>
                    <a:pt x="448" y="168"/>
                    <a:pt x="441" y="159"/>
                    <a:pt x="441" y="159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5" y="154"/>
                    <a:pt x="455" y="154"/>
                    <a:pt x="455" y="154"/>
                  </a:cubicBezTo>
                  <a:cubicBezTo>
                    <a:pt x="455" y="154"/>
                    <a:pt x="464" y="159"/>
                    <a:pt x="466" y="157"/>
                  </a:cubicBezTo>
                  <a:cubicBezTo>
                    <a:pt x="467" y="155"/>
                    <a:pt x="459" y="148"/>
                    <a:pt x="465" y="144"/>
                  </a:cubicBezTo>
                  <a:cubicBezTo>
                    <a:pt x="469" y="139"/>
                    <a:pt x="478" y="142"/>
                    <a:pt x="478" y="142"/>
                  </a:cubicBezTo>
                  <a:cubicBezTo>
                    <a:pt x="478" y="142"/>
                    <a:pt x="485" y="152"/>
                    <a:pt x="490" y="157"/>
                  </a:cubicBezTo>
                  <a:cubicBezTo>
                    <a:pt x="497" y="163"/>
                    <a:pt x="499" y="172"/>
                    <a:pt x="499" y="172"/>
                  </a:cubicBezTo>
                  <a:cubicBezTo>
                    <a:pt x="504" y="171"/>
                    <a:pt x="504" y="171"/>
                    <a:pt x="504" y="171"/>
                  </a:cubicBezTo>
                  <a:cubicBezTo>
                    <a:pt x="515" y="171"/>
                    <a:pt x="515" y="171"/>
                    <a:pt x="515" y="171"/>
                  </a:cubicBezTo>
                  <a:cubicBezTo>
                    <a:pt x="522" y="175"/>
                    <a:pt x="522" y="175"/>
                    <a:pt x="522" y="175"/>
                  </a:cubicBezTo>
                  <a:cubicBezTo>
                    <a:pt x="531" y="169"/>
                    <a:pt x="531" y="169"/>
                    <a:pt x="531" y="169"/>
                  </a:cubicBezTo>
                  <a:cubicBezTo>
                    <a:pt x="531" y="169"/>
                    <a:pt x="533" y="161"/>
                    <a:pt x="539" y="161"/>
                  </a:cubicBezTo>
                  <a:cubicBezTo>
                    <a:pt x="544" y="161"/>
                    <a:pt x="546" y="166"/>
                    <a:pt x="546" y="166"/>
                  </a:cubicBezTo>
                  <a:cubicBezTo>
                    <a:pt x="558" y="167"/>
                    <a:pt x="558" y="167"/>
                    <a:pt x="558" y="167"/>
                  </a:cubicBezTo>
                  <a:cubicBezTo>
                    <a:pt x="565" y="174"/>
                    <a:pt x="565" y="174"/>
                    <a:pt x="565" y="174"/>
                  </a:cubicBezTo>
                  <a:cubicBezTo>
                    <a:pt x="565" y="174"/>
                    <a:pt x="567" y="161"/>
                    <a:pt x="570" y="157"/>
                  </a:cubicBezTo>
                  <a:cubicBezTo>
                    <a:pt x="572" y="154"/>
                    <a:pt x="575" y="150"/>
                    <a:pt x="575" y="144"/>
                  </a:cubicBezTo>
                  <a:cubicBezTo>
                    <a:pt x="574" y="139"/>
                    <a:pt x="572" y="130"/>
                    <a:pt x="572" y="130"/>
                  </a:cubicBezTo>
                  <a:cubicBezTo>
                    <a:pt x="574" y="97"/>
                    <a:pt x="574" y="97"/>
                    <a:pt x="574" y="97"/>
                  </a:cubicBezTo>
                  <a:cubicBezTo>
                    <a:pt x="577" y="93"/>
                    <a:pt x="577" y="93"/>
                    <a:pt x="577" y="93"/>
                  </a:cubicBezTo>
                  <a:cubicBezTo>
                    <a:pt x="577" y="93"/>
                    <a:pt x="576" y="81"/>
                    <a:pt x="582" y="79"/>
                  </a:cubicBezTo>
                  <a:cubicBezTo>
                    <a:pt x="588" y="76"/>
                    <a:pt x="595" y="78"/>
                    <a:pt x="595" y="78"/>
                  </a:cubicBezTo>
                  <a:cubicBezTo>
                    <a:pt x="595" y="78"/>
                    <a:pt x="604" y="66"/>
                    <a:pt x="610" y="65"/>
                  </a:cubicBezTo>
                  <a:cubicBezTo>
                    <a:pt x="616" y="64"/>
                    <a:pt x="625" y="77"/>
                    <a:pt x="625" y="77"/>
                  </a:cubicBezTo>
                  <a:cubicBezTo>
                    <a:pt x="648" y="80"/>
                    <a:pt x="648" y="80"/>
                    <a:pt x="648" y="80"/>
                  </a:cubicBezTo>
                  <a:cubicBezTo>
                    <a:pt x="655" y="91"/>
                    <a:pt x="655" y="91"/>
                    <a:pt x="655" y="91"/>
                  </a:cubicBezTo>
                  <a:cubicBezTo>
                    <a:pt x="655" y="91"/>
                    <a:pt x="647" y="105"/>
                    <a:pt x="647" y="110"/>
                  </a:cubicBezTo>
                  <a:cubicBezTo>
                    <a:pt x="647" y="116"/>
                    <a:pt x="650" y="121"/>
                    <a:pt x="650" y="121"/>
                  </a:cubicBezTo>
                  <a:cubicBezTo>
                    <a:pt x="650" y="121"/>
                    <a:pt x="654" y="125"/>
                    <a:pt x="656" y="123"/>
                  </a:cubicBezTo>
                  <a:cubicBezTo>
                    <a:pt x="659" y="121"/>
                    <a:pt x="658" y="107"/>
                    <a:pt x="658" y="107"/>
                  </a:cubicBezTo>
                  <a:cubicBezTo>
                    <a:pt x="658" y="107"/>
                    <a:pt x="655" y="108"/>
                    <a:pt x="656" y="105"/>
                  </a:cubicBezTo>
                  <a:cubicBezTo>
                    <a:pt x="657" y="102"/>
                    <a:pt x="661" y="102"/>
                    <a:pt x="663" y="100"/>
                  </a:cubicBezTo>
                  <a:cubicBezTo>
                    <a:pt x="666" y="98"/>
                    <a:pt x="665" y="93"/>
                    <a:pt x="666" y="93"/>
                  </a:cubicBezTo>
                  <a:cubicBezTo>
                    <a:pt x="668" y="92"/>
                    <a:pt x="674" y="94"/>
                    <a:pt x="674" y="90"/>
                  </a:cubicBezTo>
                  <a:cubicBezTo>
                    <a:pt x="674" y="85"/>
                    <a:pt x="669" y="78"/>
                    <a:pt x="669" y="78"/>
                  </a:cubicBezTo>
                  <a:cubicBezTo>
                    <a:pt x="669" y="78"/>
                    <a:pt x="673" y="78"/>
                    <a:pt x="675" y="79"/>
                  </a:cubicBezTo>
                  <a:cubicBezTo>
                    <a:pt x="678" y="79"/>
                    <a:pt x="685" y="87"/>
                    <a:pt x="687" y="80"/>
                  </a:cubicBezTo>
                  <a:cubicBezTo>
                    <a:pt x="690" y="74"/>
                    <a:pt x="685" y="71"/>
                    <a:pt x="685" y="71"/>
                  </a:cubicBezTo>
                  <a:close/>
                  <a:moveTo>
                    <a:pt x="8" y="787"/>
                  </a:moveTo>
                  <a:cubicBezTo>
                    <a:pt x="8" y="787"/>
                    <a:pt x="7" y="793"/>
                    <a:pt x="8" y="794"/>
                  </a:cubicBezTo>
                  <a:cubicBezTo>
                    <a:pt x="9" y="796"/>
                    <a:pt x="6" y="800"/>
                    <a:pt x="6" y="800"/>
                  </a:cubicBezTo>
                  <a:cubicBezTo>
                    <a:pt x="9" y="800"/>
                    <a:pt x="9" y="800"/>
                    <a:pt x="9" y="800"/>
                  </a:cubicBezTo>
                  <a:cubicBezTo>
                    <a:pt x="11" y="798"/>
                    <a:pt x="11" y="798"/>
                    <a:pt x="11" y="798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0" y="785"/>
                    <a:pt x="10" y="785"/>
                    <a:pt x="10" y="785"/>
                  </a:cubicBezTo>
                  <a:lnTo>
                    <a:pt x="8" y="787"/>
                  </a:lnTo>
                  <a:close/>
                  <a:moveTo>
                    <a:pt x="27" y="805"/>
                  </a:moveTo>
                  <a:cubicBezTo>
                    <a:pt x="18" y="803"/>
                    <a:pt x="18" y="803"/>
                    <a:pt x="18" y="803"/>
                  </a:cubicBezTo>
                  <a:cubicBezTo>
                    <a:pt x="26" y="808"/>
                    <a:pt x="26" y="808"/>
                    <a:pt x="26" y="808"/>
                  </a:cubicBezTo>
                  <a:lnTo>
                    <a:pt x="27" y="805"/>
                  </a:lnTo>
                  <a:close/>
                  <a:moveTo>
                    <a:pt x="36" y="794"/>
                  </a:moveTo>
                  <a:cubicBezTo>
                    <a:pt x="32" y="794"/>
                    <a:pt x="32" y="794"/>
                    <a:pt x="32" y="794"/>
                  </a:cubicBezTo>
                  <a:cubicBezTo>
                    <a:pt x="30" y="799"/>
                    <a:pt x="30" y="799"/>
                    <a:pt x="30" y="799"/>
                  </a:cubicBezTo>
                  <a:cubicBezTo>
                    <a:pt x="38" y="798"/>
                    <a:pt x="38" y="798"/>
                    <a:pt x="38" y="798"/>
                  </a:cubicBezTo>
                  <a:lnTo>
                    <a:pt x="36" y="794"/>
                  </a:lnTo>
                  <a:close/>
                  <a:moveTo>
                    <a:pt x="16" y="750"/>
                  </a:moveTo>
                  <a:cubicBezTo>
                    <a:pt x="16" y="753"/>
                    <a:pt x="16" y="753"/>
                    <a:pt x="16" y="753"/>
                  </a:cubicBezTo>
                  <a:cubicBezTo>
                    <a:pt x="14" y="754"/>
                    <a:pt x="14" y="754"/>
                    <a:pt x="14" y="754"/>
                  </a:cubicBezTo>
                  <a:cubicBezTo>
                    <a:pt x="14" y="754"/>
                    <a:pt x="16" y="762"/>
                    <a:pt x="20" y="762"/>
                  </a:cubicBezTo>
                  <a:cubicBezTo>
                    <a:pt x="26" y="762"/>
                    <a:pt x="22" y="753"/>
                    <a:pt x="22" y="753"/>
                  </a:cubicBezTo>
                  <a:cubicBezTo>
                    <a:pt x="17" y="750"/>
                    <a:pt x="17" y="750"/>
                    <a:pt x="17" y="750"/>
                  </a:cubicBezTo>
                  <a:lnTo>
                    <a:pt x="16" y="750"/>
                  </a:lnTo>
                  <a:close/>
                  <a:moveTo>
                    <a:pt x="15" y="768"/>
                  </a:moveTo>
                  <a:cubicBezTo>
                    <a:pt x="17" y="766"/>
                    <a:pt x="17" y="766"/>
                    <a:pt x="17" y="766"/>
                  </a:cubicBezTo>
                  <a:cubicBezTo>
                    <a:pt x="15" y="762"/>
                    <a:pt x="15" y="762"/>
                    <a:pt x="15" y="762"/>
                  </a:cubicBezTo>
                  <a:cubicBezTo>
                    <a:pt x="15" y="758"/>
                    <a:pt x="15" y="758"/>
                    <a:pt x="15" y="758"/>
                  </a:cubicBezTo>
                  <a:cubicBezTo>
                    <a:pt x="11" y="756"/>
                    <a:pt x="11" y="756"/>
                    <a:pt x="11" y="756"/>
                  </a:cubicBezTo>
                  <a:cubicBezTo>
                    <a:pt x="11" y="757"/>
                    <a:pt x="11" y="757"/>
                    <a:pt x="11" y="757"/>
                  </a:cubicBezTo>
                  <a:cubicBezTo>
                    <a:pt x="11" y="757"/>
                    <a:pt x="10" y="758"/>
                    <a:pt x="9" y="760"/>
                  </a:cubicBezTo>
                  <a:cubicBezTo>
                    <a:pt x="8" y="762"/>
                    <a:pt x="12" y="764"/>
                    <a:pt x="12" y="764"/>
                  </a:cubicBezTo>
                  <a:cubicBezTo>
                    <a:pt x="9" y="767"/>
                    <a:pt x="9" y="767"/>
                    <a:pt x="9" y="767"/>
                  </a:cubicBezTo>
                  <a:cubicBezTo>
                    <a:pt x="9" y="773"/>
                    <a:pt x="9" y="773"/>
                    <a:pt x="9" y="773"/>
                  </a:cubicBezTo>
                  <a:cubicBezTo>
                    <a:pt x="13" y="772"/>
                    <a:pt x="13" y="772"/>
                    <a:pt x="13" y="772"/>
                  </a:cubicBezTo>
                  <a:cubicBezTo>
                    <a:pt x="10" y="767"/>
                    <a:pt x="10" y="767"/>
                    <a:pt x="10" y="767"/>
                  </a:cubicBezTo>
                  <a:cubicBezTo>
                    <a:pt x="14" y="764"/>
                    <a:pt x="14" y="764"/>
                    <a:pt x="14" y="764"/>
                  </a:cubicBezTo>
                  <a:cubicBezTo>
                    <a:pt x="15" y="764"/>
                    <a:pt x="15" y="764"/>
                    <a:pt x="15" y="764"/>
                  </a:cubicBezTo>
                  <a:cubicBezTo>
                    <a:pt x="14" y="766"/>
                    <a:pt x="14" y="766"/>
                    <a:pt x="14" y="766"/>
                  </a:cubicBezTo>
                  <a:lnTo>
                    <a:pt x="15" y="768"/>
                  </a:lnTo>
                  <a:close/>
                  <a:moveTo>
                    <a:pt x="29" y="766"/>
                  </a:moveTo>
                  <a:cubicBezTo>
                    <a:pt x="33" y="764"/>
                    <a:pt x="33" y="764"/>
                    <a:pt x="33" y="764"/>
                  </a:cubicBezTo>
                  <a:cubicBezTo>
                    <a:pt x="27" y="759"/>
                    <a:pt x="27" y="759"/>
                    <a:pt x="27" y="759"/>
                  </a:cubicBezTo>
                  <a:cubicBezTo>
                    <a:pt x="25" y="761"/>
                    <a:pt x="25" y="761"/>
                    <a:pt x="25" y="761"/>
                  </a:cubicBezTo>
                  <a:lnTo>
                    <a:pt x="29" y="766"/>
                  </a:lnTo>
                  <a:close/>
                  <a:moveTo>
                    <a:pt x="28" y="743"/>
                  </a:moveTo>
                  <a:cubicBezTo>
                    <a:pt x="23" y="744"/>
                    <a:pt x="23" y="744"/>
                    <a:pt x="23" y="744"/>
                  </a:cubicBezTo>
                  <a:cubicBezTo>
                    <a:pt x="23" y="747"/>
                    <a:pt x="23" y="747"/>
                    <a:pt x="23" y="747"/>
                  </a:cubicBezTo>
                  <a:cubicBezTo>
                    <a:pt x="20" y="749"/>
                    <a:pt x="20" y="749"/>
                    <a:pt x="20" y="749"/>
                  </a:cubicBezTo>
                  <a:cubicBezTo>
                    <a:pt x="23" y="751"/>
                    <a:pt x="23" y="751"/>
                    <a:pt x="23" y="751"/>
                  </a:cubicBezTo>
                  <a:cubicBezTo>
                    <a:pt x="25" y="754"/>
                    <a:pt x="25" y="754"/>
                    <a:pt x="25" y="754"/>
                  </a:cubicBezTo>
                  <a:cubicBezTo>
                    <a:pt x="27" y="754"/>
                    <a:pt x="27" y="754"/>
                    <a:pt x="27" y="754"/>
                  </a:cubicBezTo>
                  <a:cubicBezTo>
                    <a:pt x="27" y="751"/>
                    <a:pt x="27" y="751"/>
                    <a:pt x="27" y="751"/>
                  </a:cubicBezTo>
                  <a:cubicBezTo>
                    <a:pt x="29" y="749"/>
                    <a:pt x="29" y="749"/>
                    <a:pt x="29" y="749"/>
                  </a:cubicBezTo>
                  <a:lnTo>
                    <a:pt x="28" y="743"/>
                  </a:lnTo>
                  <a:close/>
                  <a:moveTo>
                    <a:pt x="19" y="743"/>
                  </a:moveTo>
                  <a:cubicBezTo>
                    <a:pt x="16" y="746"/>
                    <a:pt x="19" y="747"/>
                    <a:pt x="20" y="746"/>
                  </a:cubicBezTo>
                  <a:cubicBezTo>
                    <a:pt x="23" y="744"/>
                    <a:pt x="22" y="740"/>
                    <a:pt x="19" y="743"/>
                  </a:cubicBezTo>
                  <a:close/>
                  <a:moveTo>
                    <a:pt x="10" y="738"/>
                  </a:moveTo>
                  <a:cubicBezTo>
                    <a:pt x="11" y="740"/>
                    <a:pt x="11" y="740"/>
                    <a:pt x="11" y="740"/>
                  </a:cubicBezTo>
                  <a:cubicBezTo>
                    <a:pt x="12" y="740"/>
                    <a:pt x="12" y="740"/>
                    <a:pt x="12" y="740"/>
                  </a:cubicBezTo>
                  <a:cubicBezTo>
                    <a:pt x="14" y="743"/>
                    <a:pt x="14" y="743"/>
                    <a:pt x="14" y="743"/>
                  </a:cubicBezTo>
                  <a:cubicBezTo>
                    <a:pt x="12" y="745"/>
                    <a:pt x="12" y="745"/>
                    <a:pt x="12" y="745"/>
                  </a:cubicBezTo>
                  <a:cubicBezTo>
                    <a:pt x="15" y="746"/>
                    <a:pt x="15" y="746"/>
                    <a:pt x="15" y="746"/>
                  </a:cubicBezTo>
                  <a:cubicBezTo>
                    <a:pt x="16" y="742"/>
                    <a:pt x="16" y="742"/>
                    <a:pt x="16" y="742"/>
                  </a:cubicBezTo>
                  <a:cubicBezTo>
                    <a:pt x="12" y="737"/>
                    <a:pt x="12" y="737"/>
                    <a:pt x="12" y="737"/>
                  </a:cubicBezTo>
                  <a:lnTo>
                    <a:pt x="10" y="738"/>
                  </a:lnTo>
                  <a:close/>
                  <a:moveTo>
                    <a:pt x="13" y="749"/>
                  </a:moveTo>
                  <a:cubicBezTo>
                    <a:pt x="11" y="746"/>
                    <a:pt x="11" y="746"/>
                    <a:pt x="11" y="746"/>
                  </a:cubicBezTo>
                  <a:cubicBezTo>
                    <a:pt x="8" y="749"/>
                    <a:pt x="8" y="749"/>
                    <a:pt x="8" y="749"/>
                  </a:cubicBezTo>
                  <a:cubicBezTo>
                    <a:pt x="9" y="751"/>
                    <a:pt x="9" y="751"/>
                    <a:pt x="9" y="751"/>
                  </a:cubicBezTo>
                  <a:lnTo>
                    <a:pt x="13" y="749"/>
                  </a:lnTo>
                  <a:close/>
                  <a:moveTo>
                    <a:pt x="41" y="738"/>
                  </a:moveTo>
                  <a:cubicBezTo>
                    <a:pt x="39" y="740"/>
                    <a:pt x="39" y="740"/>
                    <a:pt x="39" y="740"/>
                  </a:cubicBezTo>
                  <a:cubicBezTo>
                    <a:pt x="40" y="744"/>
                    <a:pt x="40" y="744"/>
                    <a:pt x="40" y="744"/>
                  </a:cubicBezTo>
                  <a:cubicBezTo>
                    <a:pt x="43" y="741"/>
                    <a:pt x="43" y="741"/>
                    <a:pt x="43" y="741"/>
                  </a:cubicBezTo>
                  <a:lnTo>
                    <a:pt x="41" y="738"/>
                  </a:lnTo>
                  <a:close/>
                  <a:moveTo>
                    <a:pt x="9" y="733"/>
                  </a:moveTo>
                  <a:cubicBezTo>
                    <a:pt x="11" y="734"/>
                    <a:pt x="13" y="734"/>
                    <a:pt x="13" y="734"/>
                  </a:cubicBezTo>
                  <a:cubicBezTo>
                    <a:pt x="11" y="729"/>
                    <a:pt x="11" y="729"/>
                    <a:pt x="11" y="729"/>
                  </a:cubicBezTo>
                  <a:cubicBezTo>
                    <a:pt x="13" y="727"/>
                    <a:pt x="13" y="727"/>
                    <a:pt x="13" y="727"/>
                  </a:cubicBezTo>
                  <a:cubicBezTo>
                    <a:pt x="10" y="719"/>
                    <a:pt x="10" y="719"/>
                    <a:pt x="10" y="719"/>
                  </a:cubicBezTo>
                  <a:cubicBezTo>
                    <a:pt x="9" y="722"/>
                    <a:pt x="9" y="722"/>
                    <a:pt x="9" y="722"/>
                  </a:cubicBezTo>
                  <a:cubicBezTo>
                    <a:pt x="11" y="726"/>
                    <a:pt x="11" y="726"/>
                    <a:pt x="11" y="726"/>
                  </a:cubicBezTo>
                  <a:cubicBezTo>
                    <a:pt x="7" y="727"/>
                    <a:pt x="7" y="727"/>
                    <a:pt x="7" y="727"/>
                  </a:cubicBezTo>
                  <a:cubicBezTo>
                    <a:pt x="7" y="727"/>
                    <a:pt x="7" y="731"/>
                    <a:pt x="9" y="733"/>
                  </a:cubicBezTo>
                  <a:close/>
                  <a:moveTo>
                    <a:pt x="16" y="715"/>
                  </a:moveTo>
                  <a:cubicBezTo>
                    <a:pt x="10" y="711"/>
                    <a:pt x="10" y="711"/>
                    <a:pt x="10" y="711"/>
                  </a:cubicBezTo>
                  <a:cubicBezTo>
                    <a:pt x="9" y="712"/>
                    <a:pt x="9" y="712"/>
                    <a:pt x="9" y="712"/>
                  </a:cubicBezTo>
                  <a:cubicBezTo>
                    <a:pt x="12" y="714"/>
                    <a:pt x="12" y="714"/>
                    <a:pt x="12" y="714"/>
                  </a:cubicBezTo>
                  <a:cubicBezTo>
                    <a:pt x="12" y="718"/>
                    <a:pt x="12" y="718"/>
                    <a:pt x="12" y="718"/>
                  </a:cubicBezTo>
                  <a:cubicBezTo>
                    <a:pt x="14" y="721"/>
                    <a:pt x="14" y="721"/>
                    <a:pt x="14" y="721"/>
                  </a:cubicBezTo>
                  <a:cubicBezTo>
                    <a:pt x="17" y="721"/>
                    <a:pt x="17" y="721"/>
                    <a:pt x="17" y="721"/>
                  </a:cubicBezTo>
                  <a:lnTo>
                    <a:pt x="16" y="715"/>
                  </a:lnTo>
                  <a:close/>
                  <a:moveTo>
                    <a:pt x="24" y="713"/>
                  </a:moveTo>
                  <a:cubicBezTo>
                    <a:pt x="28" y="719"/>
                    <a:pt x="28" y="719"/>
                    <a:pt x="28" y="719"/>
                  </a:cubicBezTo>
                  <a:cubicBezTo>
                    <a:pt x="32" y="717"/>
                    <a:pt x="32" y="717"/>
                    <a:pt x="32" y="717"/>
                  </a:cubicBezTo>
                  <a:cubicBezTo>
                    <a:pt x="34" y="706"/>
                    <a:pt x="34" y="706"/>
                    <a:pt x="34" y="706"/>
                  </a:cubicBezTo>
                  <a:cubicBezTo>
                    <a:pt x="33" y="705"/>
                    <a:pt x="33" y="705"/>
                    <a:pt x="33" y="705"/>
                  </a:cubicBezTo>
                  <a:cubicBezTo>
                    <a:pt x="29" y="710"/>
                    <a:pt x="29" y="710"/>
                    <a:pt x="29" y="710"/>
                  </a:cubicBezTo>
                  <a:cubicBezTo>
                    <a:pt x="29" y="710"/>
                    <a:pt x="28" y="710"/>
                    <a:pt x="26" y="711"/>
                  </a:cubicBezTo>
                  <a:cubicBezTo>
                    <a:pt x="24" y="711"/>
                    <a:pt x="24" y="713"/>
                    <a:pt x="24" y="713"/>
                  </a:cubicBezTo>
                  <a:close/>
                  <a:moveTo>
                    <a:pt x="22" y="703"/>
                  </a:moveTo>
                  <a:cubicBezTo>
                    <a:pt x="13" y="694"/>
                    <a:pt x="13" y="694"/>
                    <a:pt x="13" y="694"/>
                  </a:cubicBezTo>
                  <a:cubicBezTo>
                    <a:pt x="12" y="695"/>
                    <a:pt x="12" y="695"/>
                    <a:pt x="12" y="695"/>
                  </a:cubicBezTo>
                  <a:cubicBezTo>
                    <a:pt x="18" y="703"/>
                    <a:pt x="18" y="703"/>
                    <a:pt x="18" y="703"/>
                  </a:cubicBezTo>
                  <a:cubicBezTo>
                    <a:pt x="17" y="705"/>
                    <a:pt x="17" y="705"/>
                    <a:pt x="17" y="705"/>
                  </a:cubicBezTo>
                  <a:cubicBezTo>
                    <a:pt x="15" y="704"/>
                    <a:pt x="15" y="704"/>
                    <a:pt x="15" y="704"/>
                  </a:cubicBezTo>
                  <a:cubicBezTo>
                    <a:pt x="20" y="711"/>
                    <a:pt x="20" y="711"/>
                    <a:pt x="20" y="711"/>
                  </a:cubicBezTo>
                  <a:cubicBezTo>
                    <a:pt x="23" y="711"/>
                    <a:pt x="25" y="708"/>
                    <a:pt x="25" y="708"/>
                  </a:cubicBezTo>
                  <a:cubicBezTo>
                    <a:pt x="23" y="705"/>
                    <a:pt x="23" y="705"/>
                    <a:pt x="23" y="705"/>
                  </a:cubicBezTo>
                  <a:lnTo>
                    <a:pt x="22" y="703"/>
                  </a:lnTo>
                  <a:close/>
                  <a:moveTo>
                    <a:pt x="9" y="699"/>
                  </a:moveTo>
                  <a:cubicBezTo>
                    <a:pt x="8" y="699"/>
                    <a:pt x="8" y="699"/>
                    <a:pt x="8" y="699"/>
                  </a:cubicBezTo>
                  <a:cubicBezTo>
                    <a:pt x="8" y="699"/>
                    <a:pt x="10" y="703"/>
                    <a:pt x="11" y="704"/>
                  </a:cubicBezTo>
                  <a:cubicBezTo>
                    <a:pt x="12" y="705"/>
                    <a:pt x="14" y="707"/>
                    <a:pt x="14" y="707"/>
                  </a:cubicBezTo>
                  <a:cubicBezTo>
                    <a:pt x="14" y="707"/>
                    <a:pt x="15" y="705"/>
                    <a:pt x="13" y="703"/>
                  </a:cubicBezTo>
                  <a:cubicBezTo>
                    <a:pt x="12" y="701"/>
                    <a:pt x="9" y="699"/>
                    <a:pt x="9" y="699"/>
                  </a:cubicBezTo>
                  <a:close/>
                  <a:moveTo>
                    <a:pt x="10" y="707"/>
                  </a:moveTo>
                  <a:cubicBezTo>
                    <a:pt x="9" y="707"/>
                    <a:pt x="10" y="709"/>
                    <a:pt x="11" y="710"/>
                  </a:cubicBezTo>
                  <a:cubicBezTo>
                    <a:pt x="12" y="710"/>
                    <a:pt x="16" y="712"/>
                    <a:pt x="16" y="712"/>
                  </a:cubicBezTo>
                  <a:cubicBezTo>
                    <a:pt x="16" y="710"/>
                    <a:pt x="16" y="710"/>
                    <a:pt x="16" y="710"/>
                  </a:cubicBezTo>
                  <a:cubicBezTo>
                    <a:pt x="16" y="710"/>
                    <a:pt x="11" y="707"/>
                    <a:pt x="10" y="707"/>
                  </a:cubicBezTo>
                  <a:close/>
                  <a:moveTo>
                    <a:pt x="9" y="693"/>
                  </a:moveTo>
                  <a:cubicBezTo>
                    <a:pt x="7" y="695"/>
                    <a:pt x="7" y="695"/>
                    <a:pt x="7" y="695"/>
                  </a:cubicBezTo>
                  <a:cubicBezTo>
                    <a:pt x="11" y="698"/>
                    <a:pt x="11" y="698"/>
                    <a:pt x="11" y="698"/>
                  </a:cubicBezTo>
                  <a:lnTo>
                    <a:pt x="9" y="693"/>
                  </a:lnTo>
                  <a:close/>
                  <a:moveTo>
                    <a:pt x="10" y="692"/>
                  </a:moveTo>
                  <a:cubicBezTo>
                    <a:pt x="9" y="687"/>
                    <a:pt x="9" y="687"/>
                    <a:pt x="9" y="687"/>
                  </a:cubicBezTo>
                  <a:cubicBezTo>
                    <a:pt x="7" y="689"/>
                    <a:pt x="7" y="689"/>
                    <a:pt x="7" y="689"/>
                  </a:cubicBezTo>
                  <a:lnTo>
                    <a:pt x="10" y="692"/>
                  </a:lnTo>
                  <a:close/>
                  <a:moveTo>
                    <a:pt x="9" y="678"/>
                  </a:moveTo>
                  <a:cubicBezTo>
                    <a:pt x="11" y="676"/>
                    <a:pt x="11" y="676"/>
                    <a:pt x="11" y="676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15" y="676"/>
                    <a:pt x="15" y="674"/>
                  </a:cubicBezTo>
                  <a:cubicBezTo>
                    <a:pt x="15" y="671"/>
                    <a:pt x="12" y="670"/>
                    <a:pt x="12" y="670"/>
                  </a:cubicBezTo>
                  <a:cubicBezTo>
                    <a:pt x="10" y="671"/>
                    <a:pt x="10" y="671"/>
                    <a:pt x="10" y="671"/>
                  </a:cubicBezTo>
                  <a:cubicBezTo>
                    <a:pt x="10" y="671"/>
                    <a:pt x="8" y="675"/>
                    <a:pt x="9" y="678"/>
                  </a:cubicBezTo>
                  <a:close/>
                  <a:moveTo>
                    <a:pt x="6" y="680"/>
                  </a:moveTo>
                  <a:cubicBezTo>
                    <a:pt x="7" y="680"/>
                    <a:pt x="7" y="680"/>
                    <a:pt x="7" y="680"/>
                  </a:cubicBezTo>
                  <a:cubicBezTo>
                    <a:pt x="8" y="676"/>
                    <a:pt x="8" y="676"/>
                    <a:pt x="8" y="676"/>
                  </a:cubicBezTo>
                  <a:cubicBezTo>
                    <a:pt x="7" y="676"/>
                    <a:pt x="7" y="676"/>
                    <a:pt x="7" y="676"/>
                  </a:cubicBezTo>
                  <a:lnTo>
                    <a:pt x="6" y="680"/>
                  </a:lnTo>
                  <a:close/>
                  <a:moveTo>
                    <a:pt x="3" y="678"/>
                  </a:moveTo>
                  <a:cubicBezTo>
                    <a:pt x="0" y="678"/>
                    <a:pt x="1" y="681"/>
                    <a:pt x="2" y="681"/>
                  </a:cubicBezTo>
                  <a:cubicBezTo>
                    <a:pt x="4" y="682"/>
                    <a:pt x="7" y="677"/>
                    <a:pt x="3" y="678"/>
                  </a:cubicBezTo>
                  <a:close/>
                  <a:moveTo>
                    <a:pt x="7" y="661"/>
                  </a:moveTo>
                  <a:cubicBezTo>
                    <a:pt x="3" y="661"/>
                    <a:pt x="4" y="663"/>
                    <a:pt x="6" y="663"/>
                  </a:cubicBezTo>
                  <a:cubicBezTo>
                    <a:pt x="9" y="663"/>
                    <a:pt x="10" y="662"/>
                    <a:pt x="7" y="661"/>
                  </a:cubicBezTo>
                  <a:close/>
                  <a:moveTo>
                    <a:pt x="17" y="658"/>
                  </a:moveTo>
                  <a:cubicBezTo>
                    <a:pt x="14" y="657"/>
                    <a:pt x="14" y="657"/>
                    <a:pt x="14" y="657"/>
                  </a:cubicBezTo>
                  <a:cubicBezTo>
                    <a:pt x="11" y="660"/>
                    <a:pt x="11" y="660"/>
                    <a:pt x="11" y="660"/>
                  </a:cubicBezTo>
                  <a:cubicBezTo>
                    <a:pt x="13" y="662"/>
                    <a:pt x="13" y="662"/>
                    <a:pt x="13" y="662"/>
                  </a:cubicBezTo>
                  <a:lnTo>
                    <a:pt x="17" y="658"/>
                  </a:lnTo>
                  <a:close/>
                  <a:moveTo>
                    <a:pt x="18" y="649"/>
                  </a:moveTo>
                  <a:cubicBezTo>
                    <a:pt x="14" y="646"/>
                    <a:pt x="14" y="646"/>
                    <a:pt x="14" y="646"/>
                  </a:cubicBezTo>
                  <a:cubicBezTo>
                    <a:pt x="15" y="650"/>
                    <a:pt x="15" y="650"/>
                    <a:pt x="15" y="650"/>
                  </a:cubicBezTo>
                  <a:lnTo>
                    <a:pt x="18" y="649"/>
                  </a:lnTo>
                  <a:close/>
                  <a:moveTo>
                    <a:pt x="22" y="643"/>
                  </a:moveTo>
                  <a:cubicBezTo>
                    <a:pt x="17" y="645"/>
                    <a:pt x="17" y="645"/>
                    <a:pt x="17" y="645"/>
                  </a:cubicBezTo>
                  <a:cubicBezTo>
                    <a:pt x="22" y="647"/>
                    <a:pt x="22" y="647"/>
                    <a:pt x="22" y="647"/>
                  </a:cubicBezTo>
                  <a:lnTo>
                    <a:pt x="22" y="643"/>
                  </a:lnTo>
                  <a:close/>
                  <a:moveTo>
                    <a:pt x="14" y="639"/>
                  </a:moveTo>
                  <a:cubicBezTo>
                    <a:pt x="14" y="635"/>
                    <a:pt x="11" y="635"/>
                    <a:pt x="12" y="638"/>
                  </a:cubicBezTo>
                  <a:cubicBezTo>
                    <a:pt x="12" y="641"/>
                    <a:pt x="14" y="641"/>
                    <a:pt x="14" y="639"/>
                  </a:cubicBezTo>
                  <a:close/>
                  <a:moveTo>
                    <a:pt x="15" y="632"/>
                  </a:moveTo>
                  <a:cubicBezTo>
                    <a:pt x="24" y="629"/>
                    <a:pt x="24" y="629"/>
                    <a:pt x="24" y="629"/>
                  </a:cubicBezTo>
                  <a:cubicBezTo>
                    <a:pt x="25" y="626"/>
                    <a:pt x="25" y="626"/>
                    <a:pt x="25" y="626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15" y="623"/>
                    <a:pt x="15" y="623"/>
                    <a:pt x="15" y="623"/>
                  </a:cubicBezTo>
                  <a:cubicBezTo>
                    <a:pt x="15" y="626"/>
                    <a:pt x="15" y="626"/>
                    <a:pt x="15" y="626"/>
                  </a:cubicBezTo>
                  <a:cubicBezTo>
                    <a:pt x="12" y="627"/>
                    <a:pt x="12" y="627"/>
                    <a:pt x="12" y="627"/>
                  </a:cubicBezTo>
                  <a:cubicBezTo>
                    <a:pt x="16" y="628"/>
                    <a:pt x="16" y="628"/>
                    <a:pt x="16" y="628"/>
                  </a:cubicBezTo>
                  <a:lnTo>
                    <a:pt x="15" y="632"/>
                  </a:lnTo>
                  <a:close/>
                  <a:moveTo>
                    <a:pt x="12" y="630"/>
                  </a:moveTo>
                  <a:cubicBezTo>
                    <a:pt x="13" y="632"/>
                    <a:pt x="13" y="632"/>
                    <a:pt x="13" y="632"/>
                  </a:cubicBezTo>
                  <a:cubicBezTo>
                    <a:pt x="14" y="633"/>
                    <a:pt x="14" y="633"/>
                    <a:pt x="14" y="633"/>
                  </a:cubicBezTo>
                  <a:cubicBezTo>
                    <a:pt x="14" y="629"/>
                    <a:pt x="14" y="629"/>
                    <a:pt x="14" y="629"/>
                  </a:cubicBezTo>
                  <a:lnTo>
                    <a:pt x="12" y="630"/>
                  </a:lnTo>
                  <a:close/>
                  <a:moveTo>
                    <a:pt x="20" y="618"/>
                  </a:moveTo>
                  <a:cubicBezTo>
                    <a:pt x="22" y="619"/>
                    <a:pt x="22" y="623"/>
                    <a:pt x="22" y="623"/>
                  </a:cubicBezTo>
                  <a:cubicBezTo>
                    <a:pt x="25" y="623"/>
                    <a:pt x="25" y="623"/>
                    <a:pt x="25" y="623"/>
                  </a:cubicBezTo>
                  <a:cubicBezTo>
                    <a:pt x="25" y="616"/>
                    <a:pt x="25" y="616"/>
                    <a:pt x="25" y="616"/>
                  </a:cubicBezTo>
                  <a:cubicBezTo>
                    <a:pt x="20" y="615"/>
                    <a:pt x="20" y="615"/>
                    <a:pt x="20" y="615"/>
                  </a:cubicBezTo>
                  <a:cubicBezTo>
                    <a:pt x="20" y="615"/>
                    <a:pt x="18" y="617"/>
                    <a:pt x="20" y="618"/>
                  </a:cubicBezTo>
                  <a:close/>
                  <a:moveTo>
                    <a:pt x="36" y="604"/>
                  </a:moveTo>
                  <a:cubicBezTo>
                    <a:pt x="36" y="601"/>
                    <a:pt x="36" y="601"/>
                    <a:pt x="36" y="601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4"/>
                    <a:pt x="34" y="604"/>
                    <a:pt x="34" y="604"/>
                  </a:cubicBezTo>
                  <a:lnTo>
                    <a:pt x="36" y="604"/>
                  </a:lnTo>
                  <a:close/>
                  <a:moveTo>
                    <a:pt x="45" y="607"/>
                  </a:moveTo>
                  <a:cubicBezTo>
                    <a:pt x="48" y="605"/>
                    <a:pt x="48" y="601"/>
                    <a:pt x="44" y="600"/>
                  </a:cubicBezTo>
                  <a:cubicBezTo>
                    <a:pt x="40" y="598"/>
                    <a:pt x="40" y="603"/>
                    <a:pt x="40" y="603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7"/>
                    <a:pt x="42" y="608"/>
                    <a:pt x="45" y="607"/>
                  </a:cubicBezTo>
                  <a:close/>
                  <a:moveTo>
                    <a:pt x="42" y="598"/>
                  </a:moveTo>
                  <a:cubicBezTo>
                    <a:pt x="45" y="598"/>
                    <a:pt x="45" y="598"/>
                    <a:pt x="45" y="598"/>
                  </a:cubicBezTo>
                  <a:cubicBezTo>
                    <a:pt x="46" y="596"/>
                    <a:pt x="46" y="596"/>
                    <a:pt x="46" y="596"/>
                  </a:cubicBezTo>
                  <a:cubicBezTo>
                    <a:pt x="43" y="593"/>
                    <a:pt x="43" y="593"/>
                    <a:pt x="43" y="593"/>
                  </a:cubicBezTo>
                  <a:cubicBezTo>
                    <a:pt x="41" y="593"/>
                    <a:pt x="41" y="593"/>
                    <a:pt x="41" y="593"/>
                  </a:cubicBezTo>
                  <a:cubicBezTo>
                    <a:pt x="42" y="596"/>
                    <a:pt x="42" y="596"/>
                    <a:pt x="42" y="596"/>
                  </a:cubicBezTo>
                  <a:lnTo>
                    <a:pt x="42" y="598"/>
                  </a:lnTo>
                  <a:close/>
                  <a:moveTo>
                    <a:pt x="53" y="593"/>
                  </a:moveTo>
                  <a:cubicBezTo>
                    <a:pt x="49" y="594"/>
                    <a:pt x="49" y="594"/>
                    <a:pt x="49" y="594"/>
                  </a:cubicBezTo>
                  <a:cubicBezTo>
                    <a:pt x="49" y="603"/>
                    <a:pt x="49" y="603"/>
                    <a:pt x="49" y="603"/>
                  </a:cubicBezTo>
                  <a:cubicBezTo>
                    <a:pt x="57" y="598"/>
                    <a:pt x="57" y="598"/>
                    <a:pt x="57" y="598"/>
                  </a:cubicBezTo>
                  <a:lnTo>
                    <a:pt x="53" y="593"/>
                  </a:lnTo>
                  <a:close/>
                  <a:moveTo>
                    <a:pt x="57" y="593"/>
                  </a:moveTo>
                  <a:cubicBezTo>
                    <a:pt x="60" y="596"/>
                    <a:pt x="60" y="596"/>
                    <a:pt x="60" y="596"/>
                  </a:cubicBezTo>
                  <a:cubicBezTo>
                    <a:pt x="65" y="594"/>
                    <a:pt x="65" y="594"/>
                    <a:pt x="65" y="594"/>
                  </a:cubicBezTo>
                  <a:cubicBezTo>
                    <a:pt x="61" y="592"/>
                    <a:pt x="61" y="592"/>
                    <a:pt x="61" y="592"/>
                  </a:cubicBezTo>
                  <a:lnTo>
                    <a:pt x="57" y="593"/>
                  </a:lnTo>
                  <a:close/>
                  <a:moveTo>
                    <a:pt x="55" y="587"/>
                  </a:moveTo>
                  <a:cubicBezTo>
                    <a:pt x="51" y="591"/>
                    <a:pt x="51" y="591"/>
                    <a:pt x="51" y="591"/>
                  </a:cubicBezTo>
                  <a:cubicBezTo>
                    <a:pt x="58" y="591"/>
                    <a:pt x="58" y="591"/>
                    <a:pt x="58" y="591"/>
                  </a:cubicBezTo>
                  <a:lnTo>
                    <a:pt x="55" y="587"/>
                  </a:lnTo>
                  <a:close/>
                  <a:moveTo>
                    <a:pt x="57" y="586"/>
                  </a:moveTo>
                  <a:cubicBezTo>
                    <a:pt x="59" y="586"/>
                    <a:pt x="61" y="581"/>
                    <a:pt x="58" y="582"/>
                  </a:cubicBezTo>
                  <a:cubicBezTo>
                    <a:pt x="55" y="583"/>
                    <a:pt x="56" y="586"/>
                    <a:pt x="57" y="586"/>
                  </a:cubicBezTo>
                  <a:close/>
                  <a:moveTo>
                    <a:pt x="63" y="580"/>
                  </a:moveTo>
                  <a:cubicBezTo>
                    <a:pt x="59" y="579"/>
                    <a:pt x="59" y="579"/>
                    <a:pt x="59" y="579"/>
                  </a:cubicBezTo>
                  <a:cubicBezTo>
                    <a:pt x="62" y="582"/>
                    <a:pt x="62" y="582"/>
                    <a:pt x="62" y="582"/>
                  </a:cubicBezTo>
                  <a:lnTo>
                    <a:pt x="63" y="580"/>
                  </a:lnTo>
                  <a:close/>
                  <a:moveTo>
                    <a:pt x="63" y="577"/>
                  </a:moveTo>
                  <a:cubicBezTo>
                    <a:pt x="62" y="578"/>
                    <a:pt x="62" y="578"/>
                    <a:pt x="62" y="578"/>
                  </a:cubicBezTo>
                  <a:cubicBezTo>
                    <a:pt x="65" y="580"/>
                    <a:pt x="65" y="580"/>
                    <a:pt x="65" y="580"/>
                  </a:cubicBezTo>
                  <a:lnTo>
                    <a:pt x="63" y="577"/>
                  </a:lnTo>
                  <a:close/>
                  <a:moveTo>
                    <a:pt x="71" y="575"/>
                  </a:moveTo>
                  <a:cubicBezTo>
                    <a:pt x="71" y="571"/>
                    <a:pt x="71" y="571"/>
                    <a:pt x="71" y="571"/>
                  </a:cubicBezTo>
                  <a:cubicBezTo>
                    <a:pt x="69" y="571"/>
                    <a:pt x="69" y="571"/>
                    <a:pt x="69" y="571"/>
                  </a:cubicBezTo>
                  <a:cubicBezTo>
                    <a:pt x="69" y="575"/>
                    <a:pt x="69" y="575"/>
                    <a:pt x="69" y="575"/>
                  </a:cubicBezTo>
                  <a:lnTo>
                    <a:pt x="71" y="575"/>
                  </a:lnTo>
                  <a:close/>
                  <a:moveTo>
                    <a:pt x="80" y="578"/>
                  </a:moveTo>
                  <a:cubicBezTo>
                    <a:pt x="85" y="576"/>
                    <a:pt x="85" y="575"/>
                    <a:pt x="82" y="575"/>
                  </a:cubicBezTo>
                  <a:cubicBezTo>
                    <a:pt x="78" y="573"/>
                    <a:pt x="77" y="576"/>
                    <a:pt x="77" y="577"/>
                  </a:cubicBezTo>
                  <a:cubicBezTo>
                    <a:pt x="77" y="578"/>
                    <a:pt x="80" y="578"/>
                    <a:pt x="80" y="578"/>
                  </a:cubicBezTo>
                  <a:close/>
                  <a:moveTo>
                    <a:pt x="87" y="568"/>
                  </a:moveTo>
                  <a:cubicBezTo>
                    <a:pt x="82" y="567"/>
                    <a:pt x="82" y="567"/>
                    <a:pt x="82" y="567"/>
                  </a:cubicBezTo>
                  <a:cubicBezTo>
                    <a:pt x="80" y="568"/>
                    <a:pt x="80" y="568"/>
                    <a:pt x="80" y="568"/>
                  </a:cubicBezTo>
                  <a:cubicBezTo>
                    <a:pt x="83" y="571"/>
                    <a:pt x="83" y="571"/>
                    <a:pt x="83" y="571"/>
                  </a:cubicBezTo>
                  <a:lnTo>
                    <a:pt x="87" y="568"/>
                  </a:lnTo>
                  <a:close/>
                  <a:moveTo>
                    <a:pt x="110" y="557"/>
                  </a:moveTo>
                  <a:cubicBezTo>
                    <a:pt x="109" y="551"/>
                    <a:pt x="109" y="551"/>
                    <a:pt x="109" y="551"/>
                  </a:cubicBezTo>
                  <a:cubicBezTo>
                    <a:pt x="106" y="551"/>
                    <a:pt x="106" y="551"/>
                    <a:pt x="106" y="551"/>
                  </a:cubicBezTo>
                  <a:cubicBezTo>
                    <a:pt x="107" y="554"/>
                    <a:pt x="107" y="554"/>
                    <a:pt x="107" y="554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0" y="558"/>
                    <a:pt x="100" y="558"/>
                    <a:pt x="100" y="558"/>
                  </a:cubicBezTo>
                  <a:cubicBezTo>
                    <a:pt x="105" y="562"/>
                    <a:pt x="105" y="562"/>
                    <a:pt x="105" y="562"/>
                  </a:cubicBezTo>
                  <a:lnTo>
                    <a:pt x="110" y="557"/>
                  </a:lnTo>
                  <a:close/>
                  <a:moveTo>
                    <a:pt x="116" y="555"/>
                  </a:moveTo>
                  <a:cubicBezTo>
                    <a:pt x="116" y="552"/>
                    <a:pt x="116" y="552"/>
                    <a:pt x="116" y="552"/>
                  </a:cubicBezTo>
                  <a:cubicBezTo>
                    <a:pt x="111" y="553"/>
                    <a:pt x="111" y="553"/>
                    <a:pt x="111" y="553"/>
                  </a:cubicBezTo>
                  <a:cubicBezTo>
                    <a:pt x="112" y="557"/>
                    <a:pt x="112" y="557"/>
                    <a:pt x="112" y="557"/>
                  </a:cubicBezTo>
                  <a:lnTo>
                    <a:pt x="116" y="555"/>
                  </a:lnTo>
                  <a:close/>
                  <a:moveTo>
                    <a:pt x="113" y="548"/>
                  </a:moveTo>
                  <a:cubicBezTo>
                    <a:pt x="111" y="552"/>
                    <a:pt x="111" y="552"/>
                    <a:pt x="111" y="552"/>
                  </a:cubicBezTo>
                  <a:cubicBezTo>
                    <a:pt x="115" y="551"/>
                    <a:pt x="115" y="551"/>
                    <a:pt x="115" y="551"/>
                  </a:cubicBezTo>
                  <a:lnTo>
                    <a:pt x="113" y="548"/>
                  </a:lnTo>
                  <a:close/>
                  <a:moveTo>
                    <a:pt x="124" y="545"/>
                  </a:moveTo>
                  <a:cubicBezTo>
                    <a:pt x="117" y="545"/>
                    <a:pt x="121" y="549"/>
                    <a:pt x="123" y="549"/>
                  </a:cubicBezTo>
                  <a:cubicBezTo>
                    <a:pt x="126" y="550"/>
                    <a:pt x="130" y="545"/>
                    <a:pt x="124" y="545"/>
                  </a:cubicBezTo>
                  <a:close/>
                  <a:moveTo>
                    <a:pt x="135" y="547"/>
                  </a:moveTo>
                  <a:cubicBezTo>
                    <a:pt x="133" y="542"/>
                    <a:pt x="133" y="542"/>
                    <a:pt x="133" y="542"/>
                  </a:cubicBezTo>
                  <a:cubicBezTo>
                    <a:pt x="132" y="544"/>
                    <a:pt x="132" y="544"/>
                    <a:pt x="132" y="544"/>
                  </a:cubicBezTo>
                  <a:cubicBezTo>
                    <a:pt x="129" y="541"/>
                    <a:pt x="129" y="541"/>
                    <a:pt x="129" y="541"/>
                  </a:cubicBezTo>
                  <a:cubicBezTo>
                    <a:pt x="127" y="542"/>
                    <a:pt x="127" y="542"/>
                    <a:pt x="127" y="542"/>
                  </a:cubicBezTo>
                  <a:cubicBezTo>
                    <a:pt x="132" y="549"/>
                    <a:pt x="132" y="549"/>
                    <a:pt x="132" y="549"/>
                  </a:cubicBezTo>
                  <a:lnTo>
                    <a:pt x="135" y="547"/>
                  </a:lnTo>
                  <a:close/>
                  <a:moveTo>
                    <a:pt x="118" y="535"/>
                  </a:moveTo>
                  <a:cubicBezTo>
                    <a:pt x="123" y="537"/>
                    <a:pt x="123" y="537"/>
                    <a:pt x="123" y="537"/>
                  </a:cubicBezTo>
                  <a:cubicBezTo>
                    <a:pt x="127" y="536"/>
                    <a:pt x="127" y="536"/>
                    <a:pt x="127" y="536"/>
                  </a:cubicBezTo>
                  <a:cubicBezTo>
                    <a:pt x="127" y="536"/>
                    <a:pt x="127" y="529"/>
                    <a:pt x="123" y="530"/>
                  </a:cubicBezTo>
                  <a:cubicBezTo>
                    <a:pt x="117" y="530"/>
                    <a:pt x="115" y="531"/>
                    <a:pt x="115" y="531"/>
                  </a:cubicBezTo>
                  <a:cubicBezTo>
                    <a:pt x="116" y="535"/>
                    <a:pt x="116" y="535"/>
                    <a:pt x="116" y="535"/>
                  </a:cubicBezTo>
                  <a:lnTo>
                    <a:pt x="118" y="535"/>
                  </a:lnTo>
                  <a:close/>
                  <a:moveTo>
                    <a:pt x="138" y="522"/>
                  </a:moveTo>
                  <a:cubicBezTo>
                    <a:pt x="138" y="522"/>
                    <a:pt x="131" y="524"/>
                    <a:pt x="131" y="528"/>
                  </a:cubicBezTo>
                  <a:cubicBezTo>
                    <a:pt x="131" y="533"/>
                    <a:pt x="138" y="530"/>
                    <a:pt x="145" y="529"/>
                  </a:cubicBezTo>
                  <a:cubicBezTo>
                    <a:pt x="154" y="526"/>
                    <a:pt x="158" y="523"/>
                    <a:pt x="156" y="522"/>
                  </a:cubicBezTo>
                  <a:cubicBezTo>
                    <a:pt x="154" y="521"/>
                    <a:pt x="150" y="521"/>
                    <a:pt x="150" y="521"/>
                  </a:cubicBezTo>
                  <a:cubicBezTo>
                    <a:pt x="150" y="518"/>
                    <a:pt x="150" y="518"/>
                    <a:pt x="150" y="518"/>
                  </a:cubicBezTo>
                  <a:cubicBezTo>
                    <a:pt x="150" y="518"/>
                    <a:pt x="147" y="518"/>
                    <a:pt x="143" y="519"/>
                  </a:cubicBezTo>
                  <a:cubicBezTo>
                    <a:pt x="139" y="519"/>
                    <a:pt x="138" y="522"/>
                    <a:pt x="138" y="522"/>
                  </a:cubicBezTo>
                  <a:close/>
                  <a:moveTo>
                    <a:pt x="139" y="516"/>
                  </a:moveTo>
                  <a:cubicBezTo>
                    <a:pt x="147" y="514"/>
                    <a:pt x="147" y="514"/>
                    <a:pt x="147" y="514"/>
                  </a:cubicBezTo>
                  <a:cubicBezTo>
                    <a:pt x="146" y="508"/>
                    <a:pt x="146" y="508"/>
                    <a:pt x="146" y="508"/>
                  </a:cubicBezTo>
                  <a:cubicBezTo>
                    <a:pt x="146" y="508"/>
                    <a:pt x="142" y="513"/>
                    <a:pt x="139" y="513"/>
                  </a:cubicBezTo>
                  <a:cubicBezTo>
                    <a:pt x="137" y="514"/>
                    <a:pt x="131" y="515"/>
                    <a:pt x="131" y="515"/>
                  </a:cubicBezTo>
                  <a:cubicBezTo>
                    <a:pt x="132" y="516"/>
                    <a:pt x="132" y="516"/>
                    <a:pt x="132" y="516"/>
                  </a:cubicBezTo>
                  <a:lnTo>
                    <a:pt x="139" y="516"/>
                  </a:lnTo>
                  <a:close/>
                  <a:moveTo>
                    <a:pt x="159" y="517"/>
                  </a:moveTo>
                  <a:cubicBezTo>
                    <a:pt x="154" y="518"/>
                    <a:pt x="154" y="518"/>
                    <a:pt x="154" y="518"/>
                  </a:cubicBezTo>
                  <a:cubicBezTo>
                    <a:pt x="153" y="519"/>
                    <a:pt x="153" y="519"/>
                    <a:pt x="153" y="519"/>
                  </a:cubicBezTo>
                  <a:cubicBezTo>
                    <a:pt x="159" y="519"/>
                    <a:pt x="159" y="519"/>
                    <a:pt x="159" y="519"/>
                  </a:cubicBezTo>
                  <a:lnTo>
                    <a:pt x="159" y="517"/>
                  </a:lnTo>
                  <a:close/>
                  <a:moveTo>
                    <a:pt x="162" y="515"/>
                  </a:moveTo>
                  <a:cubicBezTo>
                    <a:pt x="162" y="521"/>
                    <a:pt x="162" y="521"/>
                    <a:pt x="162" y="521"/>
                  </a:cubicBezTo>
                  <a:cubicBezTo>
                    <a:pt x="166" y="519"/>
                    <a:pt x="166" y="519"/>
                    <a:pt x="166" y="519"/>
                  </a:cubicBezTo>
                  <a:lnTo>
                    <a:pt x="162" y="515"/>
                  </a:lnTo>
                  <a:close/>
                  <a:moveTo>
                    <a:pt x="235" y="425"/>
                  </a:moveTo>
                  <a:cubicBezTo>
                    <a:pt x="235" y="425"/>
                    <a:pt x="232" y="424"/>
                    <a:pt x="230" y="425"/>
                  </a:cubicBezTo>
                  <a:cubicBezTo>
                    <a:pt x="227" y="427"/>
                    <a:pt x="229" y="430"/>
                    <a:pt x="229" y="430"/>
                  </a:cubicBezTo>
                  <a:lnTo>
                    <a:pt x="235" y="425"/>
                  </a:lnTo>
                  <a:close/>
                  <a:moveTo>
                    <a:pt x="215" y="439"/>
                  </a:moveTo>
                  <a:cubicBezTo>
                    <a:pt x="216" y="439"/>
                    <a:pt x="214" y="441"/>
                    <a:pt x="214" y="441"/>
                  </a:cubicBezTo>
                  <a:cubicBezTo>
                    <a:pt x="216" y="443"/>
                    <a:pt x="216" y="443"/>
                    <a:pt x="216" y="443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9"/>
                    <a:pt x="220" y="434"/>
                    <a:pt x="214" y="435"/>
                  </a:cubicBezTo>
                  <a:cubicBezTo>
                    <a:pt x="210" y="436"/>
                    <a:pt x="207" y="440"/>
                    <a:pt x="207" y="440"/>
                  </a:cubicBezTo>
                  <a:cubicBezTo>
                    <a:pt x="210" y="442"/>
                    <a:pt x="210" y="442"/>
                    <a:pt x="210" y="442"/>
                  </a:cubicBezTo>
                  <a:cubicBezTo>
                    <a:pt x="210" y="442"/>
                    <a:pt x="214" y="438"/>
                    <a:pt x="215" y="439"/>
                  </a:cubicBezTo>
                  <a:close/>
                  <a:moveTo>
                    <a:pt x="239" y="396"/>
                  </a:moveTo>
                  <a:cubicBezTo>
                    <a:pt x="244" y="390"/>
                    <a:pt x="244" y="390"/>
                    <a:pt x="244" y="390"/>
                  </a:cubicBezTo>
                  <a:cubicBezTo>
                    <a:pt x="242" y="387"/>
                    <a:pt x="242" y="387"/>
                    <a:pt x="242" y="387"/>
                  </a:cubicBezTo>
                  <a:cubicBezTo>
                    <a:pt x="242" y="387"/>
                    <a:pt x="236" y="386"/>
                    <a:pt x="237" y="391"/>
                  </a:cubicBezTo>
                  <a:cubicBezTo>
                    <a:pt x="237" y="396"/>
                    <a:pt x="239" y="396"/>
                    <a:pt x="239" y="396"/>
                  </a:cubicBezTo>
                  <a:close/>
                  <a:moveTo>
                    <a:pt x="242" y="408"/>
                  </a:moveTo>
                  <a:cubicBezTo>
                    <a:pt x="244" y="408"/>
                    <a:pt x="244" y="408"/>
                    <a:pt x="244" y="408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4" y="402"/>
                    <a:pt x="244" y="402"/>
                    <a:pt x="244" y="402"/>
                  </a:cubicBezTo>
                  <a:lnTo>
                    <a:pt x="242" y="408"/>
                  </a:lnTo>
                  <a:close/>
                  <a:moveTo>
                    <a:pt x="259" y="367"/>
                  </a:moveTo>
                  <a:cubicBezTo>
                    <a:pt x="259" y="367"/>
                    <a:pt x="254" y="371"/>
                    <a:pt x="253" y="373"/>
                  </a:cubicBezTo>
                  <a:cubicBezTo>
                    <a:pt x="252" y="374"/>
                    <a:pt x="255" y="378"/>
                    <a:pt x="255" y="378"/>
                  </a:cubicBezTo>
                  <a:cubicBezTo>
                    <a:pt x="260" y="373"/>
                    <a:pt x="260" y="373"/>
                    <a:pt x="260" y="373"/>
                  </a:cubicBezTo>
                  <a:cubicBezTo>
                    <a:pt x="265" y="370"/>
                    <a:pt x="265" y="370"/>
                    <a:pt x="265" y="370"/>
                  </a:cubicBezTo>
                  <a:cubicBezTo>
                    <a:pt x="266" y="367"/>
                    <a:pt x="266" y="367"/>
                    <a:pt x="266" y="367"/>
                  </a:cubicBezTo>
                  <a:cubicBezTo>
                    <a:pt x="260" y="370"/>
                    <a:pt x="260" y="370"/>
                    <a:pt x="260" y="370"/>
                  </a:cubicBezTo>
                  <a:lnTo>
                    <a:pt x="259" y="367"/>
                  </a:lnTo>
                  <a:close/>
                  <a:moveTo>
                    <a:pt x="253" y="366"/>
                  </a:moveTo>
                  <a:cubicBezTo>
                    <a:pt x="259" y="363"/>
                    <a:pt x="259" y="363"/>
                    <a:pt x="259" y="363"/>
                  </a:cubicBezTo>
                  <a:cubicBezTo>
                    <a:pt x="260" y="360"/>
                    <a:pt x="260" y="360"/>
                    <a:pt x="260" y="360"/>
                  </a:cubicBezTo>
                  <a:cubicBezTo>
                    <a:pt x="258" y="359"/>
                    <a:pt x="258" y="359"/>
                    <a:pt x="258" y="359"/>
                  </a:cubicBezTo>
                  <a:cubicBezTo>
                    <a:pt x="260" y="357"/>
                    <a:pt x="260" y="357"/>
                    <a:pt x="260" y="357"/>
                  </a:cubicBezTo>
                  <a:cubicBezTo>
                    <a:pt x="259" y="353"/>
                    <a:pt x="259" y="353"/>
                    <a:pt x="259" y="353"/>
                  </a:cubicBezTo>
                  <a:cubicBezTo>
                    <a:pt x="255" y="356"/>
                    <a:pt x="255" y="356"/>
                    <a:pt x="255" y="356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2" y="363"/>
                    <a:pt x="252" y="363"/>
                    <a:pt x="252" y="363"/>
                  </a:cubicBezTo>
                  <a:lnTo>
                    <a:pt x="253" y="366"/>
                  </a:lnTo>
                  <a:close/>
                  <a:moveTo>
                    <a:pt x="263" y="349"/>
                  </a:moveTo>
                  <a:cubicBezTo>
                    <a:pt x="262" y="352"/>
                    <a:pt x="262" y="352"/>
                    <a:pt x="262" y="352"/>
                  </a:cubicBezTo>
                  <a:cubicBezTo>
                    <a:pt x="264" y="355"/>
                    <a:pt x="264" y="355"/>
                    <a:pt x="264" y="355"/>
                  </a:cubicBezTo>
                  <a:cubicBezTo>
                    <a:pt x="268" y="350"/>
                    <a:pt x="268" y="350"/>
                    <a:pt x="268" y="350"/>
                  </a:cubicBezTo>
                  <a:lnTo>
                    <a:pt x="263" y="349"/>
                  </a:lnTo>
                  <a:close/>
                  <a:moveTo>
                    <a:pt x="264" y="359"/>
                  </a:moveTo>
                  <a:cubicBezTo>
                    <a:pt x="265" y="357"/>
                    <a:pt x="265" y="357"/>
                    <a:pt x="265" y="357"/>
                  </a:cubicBezTo>
                  <a:cubicBezTo>
                    <a:pt x="262" y="357"/>
                    <a:pt x="262" y="357"/>
                    <a:pt x="262" y="357"/>
                  </a:cubicBezTo>
                  <a:lnTo>
                    <a:pt x="264" y="359"/>
                  </a:lnTo>
                  <a:close/>
                  <a:moveTo>
                    <a:pt x="266" y="343"/>
                  </a:moveTo>
                  <a:cubicBezTo>
                    <a:pt x="269" y="340"/>
                    <a:pt x="269" y="340"/>
                    <a:pt x="269" y="340"/>
                  </a:cubicBezTo>
                  <a:cubicBezTo>
                    <a:pt x="265" y="339"/>
                    <a:pt x="265" y="339"/>
                    <a:pt x="265" y="339"/>
                  </a:cubicBezTo>
                  <a:lnTo>
                    <a:pt x="266" y="343"/>
                  </a:lnTo>
                  <a:close/>
                  <a:moveTo>
                    <a:pt x="261" y="330"/>
                  </a:moveTo>
                  <a:cubicBezTo>
                    <a:pt x="258" y="329"/>
                    <a:pt x="258" y="329"/>
                    <a:pt x="258" y="329"/>
                  </a:cubicBezTo>
                  <a:cubicBezTo>
                    <a:pt x="257" y="333"/>
                    <a:pt x="257" y="333"/>
                    <a:pt x="257" y="333"/>
                  </a:cubicBezTo>
                  <a:cubicBezTo>
                    <a:pt x="260" y="332"/>
                    <a:pt x="260" y="332"/>
                    <a:pt x="260" y="332"/>
                  </a:cubicBezTo>
                  <a:lnTo>
                    <a:pt x="261" y="330"/>
                  </a:lnTo>
                  <a:close/>
                  <a:moveTo>
                    <a:pt x="272" y="351"/>
                  </a:moveTo>
                  <a:cubicBezTo>
                    <a:pt x="269" y="350"/>
                    <a:pt x="269" y="350"/>
                    <a:pt x="269" y="350"/>
                  </a:cubicBezTo>
                  <a:cubicBezTo>
                    <a:pt x="268" y="356"/>
                    <a:pt x="268" y="356"/>
                    <a:pt x="268" y="356"/>
                  </a:cubicBezTo>
                  <a:lnTo>
                    <a:pt x="272" y="351"/>
                  </a:lnTo>
                  <a:close/>
                  <a:moveTo>
                    <a:pt x="280" y="319"/>
                  </a:moveTo>
                  <a:cubicBezTo>
                    <a:pt x="278" y="317"/>
                    <a:pt x="278" y="317"/>
                    <a:pt x="278" y="317"/>
                  </a:cubicBezTo>
                  <a:cubicBezTo>
                    <a:pt x="276" y="320"/>
                    <a:pt x="276" y="320"/>
                    <a:pt x="276" y="320"/>
                  </a:cubicBezTo>
                  <a:lnTo>
                    <a:pt x="280" y="319"/>
                  </a:lnTo>
                  <a:close/>
                  <a:moveTo>
                    <a:pt x="284" y="313"/>
                  </a:moveTo>
                  <a:cubicBezTo>
                    <a:pt x="279" y="312"/>
                    <a:pt x="279" y="312"/>
                    <a:pt x="279" y="312"/>
                  </a:cubicBezTo>
                  <a:cubicBezTo>
                    <a:pt x="276" y="315"/>
                    <a:pt x="276" y="315"/>
                    <a:pt x="276" y="315"/>
                  </a:cubicBezTo>
                  <a:cubicBezTo>
                    <a:pt x="284" y="315"/>
                    <a:pt x="284" y="315"/>
                    <a:pt x="284" y="315"/>
                  </a:cubicBezTo>
                  <a:lnTo>
                    <a:pt x="284" y="313"/>
                  </a:lnTo>
                  <a:close/>
                  <a:moveTo>
                    <a:pt x="301" y="300"/>
                  </a:moveTo>
                  <a:cubicBezTo>
                    <a:pt x="304" y="290"/>
                    <a:pt x="304" y="290"/>
                    <a:pt x="304" y="290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1" y="294"/>
                    <a:pt x="301" y="294"/>
                    <a:pt x="301" y="294"/>
                  </a:cubicBezTo>
                  <a:cubicBezTo>
                    <a:pt x="297" y="292"/>
                    <a:pt x="297" y="292"/>
                    <a:pt x="297" y="292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300" y="298"/>
                    <a:pt x="300" y="298"/>
                    <a:pt x="300" y="298"/>
                  </a:cubicBezTo>
                  <a:cubicBezTo>
                    <a:pt x="300" y="300"/>
                    <a:pt x="300" y="300"/>
                    <a:pt x="300" y="300"/>
                  </a:cubicBezTo>
                  <a:lnTo>
                    <a:pt x="301" y="300"/>
                  </a:lnTo>
                  <a:close/>
                  <a:moveTo>
                    <a:pt x="305" y="276"/>
                  </a:moveTo>
                  <a:cubicBezTo>
                    <a:pt x="298" y="279"/>
                    <a:pt x="304" y="279"/>
                    <a:pt x="306" y="278"/>
                  </a:cubicBezTo>
                  <a:cubicBezTo>
                    <a:pt x="311" y="276"/>
                    <a:pt x="310" y="273"/>
                    <a:pt x="305" y="276"/>
                  </a:cubicBezTo>
                  <a:close/>
                  <a:moveTo>
                    <a:pt x="262" y="260"/>
                  </a:moveTo>
                  <a:cubicBezTo>
                    <a:pt x="260" y="266"/>
                    <a:pt x="260" y="266"/>
                    <a:pt x="260" y="266"/>
                  </a:cubicBezTo>
                  <a:cubicBezTo>
                    <a:pt x="265" y="263"/>
                    <a:pt x="265" y="263"/>
                    <a:pt x="265" y="263"/>
                  </a:cubicBezTo>
                  <a:lnTo>
                    <a:pt x="262" y="260"/>
                  </a:lnTo>
                  <a:close/>
                  <a:moveTo>
                    <a:pt x="320" y="244"/>
                  </a:moveTo>
                  <a:cubicBezTo>
                    <a:pt x="327" y="242"/>
                    <a:pt x="327" y="242"/>
                    <a:pt x="327" y="242"/>
                  </a:cubicBezTo>
                  <a:cubicBezTo>
                    <a:pt x="327" y="241"/>
                    <a:pt x="327" y="241"/>
                    <a:pt x="327" y="241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44"/>
                  </a:lnTo>
                  <a:close/>
                  <a:moveTo>
                    <a:pt x="323" y="236"/>
                  </a:moveTo>
                  <a:cubicBezTo>
                    <a:pt x="327" y="239"/>
                    <a:pt x="327" y="239"/>
                    <a:pt x="327" y="239"/>
                  </a:cubicBezTo>
                  <a:cubicBezTo>
                    <a:pt x="327" y="238"/>
                    <a:pt x="324" y="234"/>
                    <a:pt x="324" y="234"/>
                  </a:cubicBezTo>
                  <a:lnTo>
                    <a:pt x="323" y="236"/>
                  </a:lnTo>
                  <a:close/>
                  <a:moveTo>
                    <a:pt x="353" y="201"/>
                  </a:moveTo>
                  <a:cubicBezTo>
                    <a:pt x="346" y="195"/>
                    <a:pt x="347" y="207"/>
                    <a:pt x="347" y="207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45" y="210"/>
                    <a:pt x="345" y="210"/>
                    <a:pt x="345" y="210"/>
                  </a:cubicBezTo>
                  <a:cubicBezTo>
                    <a:pt x="351" y="208"/>
                    <a:pt x="351" y="208"/>
                    <a:pt x="351" y="208"/>
                  </a:cubicBezTo>
                  <a:cubicBezTo>
                    <a:pt x="351" y="208"/>
                    <a:pt x="358" y="206"/>
                    <a:pt x="353" y="201"/>
                  </a:cubicBezTo>
                  <a:close/>
                  <a:moveTo>
                    <a:pt x="343" y="217"/>
                  </a:moveTo>
                  <a:cubicBezTo>
                    <a:pt x="348" y="213"/>
                    <a:pt x="348" y="213"/>
                    <a:pt x="348" y="213"/>
                  </a:cubicBezTo>
                  <a:cubicBezTo>
                    <a:pt x="343" y="214"/>
                    <a:pt x="343" y="214"/>
                    <a:pt x="343" y="214"/>
                  </a:cubicBezTo>
                  <a:lnTo>
                    <a:pt x="343" y="217"/>
                  </a:lnTo>
                  <a:close/>
                  <a:moveTo>
                    <a:pt x="350" y="229"/>
                  </a:moveTo>
                  <a:cubicBezTo>
                    <a:pt x="348" y="232"/>
                    <a:pt x="348" y="232"/>
                    <a:pt x="348" y="232"/>
                  </a:cubicBezTo>
                  <a:cubicBezTo>
                    <a:pt x="354" y="232"/>
                    <a:pt x="354" y="232"/>
                    <a:pt x="354" y="232"/>
                  </a:cubicBezTo>
                  <a:lnTo>
                    <a:pt x="350" y="229"/>
                  </a:lnTo>
                  <a:close/>
                  <a:moveTo>
                    <a:pt x="265" y="251"/>
                  </a:moveTo>
                  <a:cubicBezTo>
                    <a:pt x="265" y="251"/>
                    <a:pt x="270" y="250"/>
                    <a:pt x="271" y="247"/>
                  </a:cubicBezTo>
                  <a:cubicBezTo>
                    <a:pt x="271" y="245"/>
                    <a:pt x="270" y="242"/>
                    <a:pt x="271" y="242"/>
                  </a:cubicBezTo>
                  <a:cubicBezTo>
                    <a:pt x="272" y="242"/>
                    <a:pt x="275" y="238"/>
                    <a:pt x="275" y="238"/>
                  </a:cubicBezTo>
                  <a:cubicBezTo>
                    <a:pt x="275" y="238"/>
                    <a:pt x="281" y="237"/>
                    <a:pt x="281" y="232"/>
                  </a:cubicBezTo>
                  <a:cubicBezTo>
                    <a:pt x="281" y="226"/>
                    <a:pt x="278" y="227"/>
                    <a:pt x="278" y="227"/>
                  </a:cubicBezTo>
                  <a:cubicBezTo>
                    <a:pt x="274" y="235"/>
                    <a:pt x="274" y="235"/>
                    <a:pt x="274" y="235"/>
                  </a:cubicBezTo>
                  <a:cubicBezTo>
                    <a:pt x="272" y="232"/>
                    <a:pt x="272" y="232"/>
                    <a:pt x="272" y="232"/>
                  </a:cubicBezTo>
                  <a:cubicBezTo>
                    <a:pt x="272" y="232"/>
                    <a:pt x="266" y="239"/>
                    <a:pt x="266" y="242"/>
                  </a:cubicBezTo>
                  <a:cubicBezTo>
                    <a:pt x="265" y="245"/>
                    <a:pt x="266" y="247"/>
                    <a:pt x="266" y="248"/>
                  </a:cubicBezTo>
                  <a:cubicBezTo>
                    <a:pt x="266" y="249"/>
                    <a:pt x="264" y="250"/>
                    <a:pt x="265" y="251"/>
                  </a:cubicBezTo>
                  <a:close/>
                  <a:moveTo>
                    <a:pt x="282" y="233"/>
                  </a:moveTo>
                  <a:cubicBezTo>
                    <a:pt x="282" y="233"/>
                    <a:pt x="287" y="233"/>
                    <a:pt x="289" y="232"/>
                  </a:cubicBezTo>
                  <a:cubicBezTo>
                    <a:pt x="292" y="231"/>
                    <a:pt x="290" y="226"/>
                    <a:pt x="290" y="226"/>
                  </a:cubicBezTo>
                  <a:cubicBezTo>
                    <a:pt x="290" y="226"/>
                    <a:pt x="297" y="222"/>
                    <a:pt x="301" y="221"/>
                  </a:cubicBezTo>
                  <a:cubicBezTo>
                    <a:pt x="303" y="220"/>
                    <a:pt x="298" y="215"/>
                    <a:pt x="296" y="215"/>
                  </a:cubicBezTo>
                  <a:cubicBezTo>
                    <a:pt x="293" y="215"/>
                    <a:pt x="298" y="219"/>
                    <a:pt x="296" y="220"/>
                  </a:cubicBezTo>
                  <a:cubicBezTo>
                    <a:pt x="294" y="221"/>
                    <a:pt x="292" y="215"/>
                    <a:pt x="292" y="215"/>
                  </a:cubicBezTo>
                  <a:cubicBezTo>
                    <a:pt x="288" y="219"/>
                    <a:pt x="288" y="219"/>
                    <a:pt x="288" y="219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85" y="223"/>
                    <a:pt x="285" y="223"/>
                    <a:pt x="285" y="223"/>
                  </a:cubicBezTo>
                  <a:cubicBezTo>
                    <a:pt x="282" y="224"/>
                    <a:pt x="282" y="224"/>
                    <a:pt x="282" y="224"/>
                  </a:cubicBezTo>
                  <a:cubicBezTo>
                    <a:pt x="282" y="227"/>
                    <a:pt x="282" y="227"/>
                    <a:pt x="282" y="227"/>
                  </a:cubicBezTo>
                  <a:cubicBezTo>
                    <a:pt x="284" y="229"/>
                    <a:pt x="284" y="229"/>
                    <a:pt x="284" y="229"/>
                  </a:cubicBezTo>
                  <a:lnTo>
                    <a:pt x="282" y="233"/>
                  </a:lnTo>
                  <a:close/>
                  <a:moveTo>
                    <a:pt x="303" y="221"/>
                  </a:moveTo>
                  <a:cubicBezTo>
                    <a:pt x="303" y="223"/>
                    <a:pt x="301" y="226"/>
                    <a:pt x="301" y="226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11" y="216"/>
                    <a:pt x="311" y="216"/>
                    <a:pt x="311" y="216"/>
                  </a:cubicBezTo>
                  <a:cubicBezTo>
                    <a:pt x="313" y="220"/>
                    <a:pt x="313" y="220"/>
                    <a:pt x="313" y="220"/>
                  </a:cubicBezTo>
                  <a:cubicBezTo>
                    <a:pt x="322" y="207"/>
                    <a:pt x="322" y="207"/>
                    <a:pt x="322" y="207"/>
                  </a:cubicBezTo>
                  <a:cubicBezTo>
                    <a:pt x="322" y="207"/>
                    <a:pt x="317" y="208"/>
                    <a:pt x="317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05" y="213"/>
                    <a:pt x="305" y="213"/>
                    <a:pt x="305" y="213"/>
                  </a:cubicBezTo>
                  <a:cubicBezTo>
                    <a:pt x="306" y="217"/>
                    <a:pt x="306" y="217"/>
                    <a:pt x="306" y="217"/>
                  </a:cubicBezTo>
                  <a:cubicBezTo>
                    <a:pt x="303" y="216"/>
                    <a:pt x="303" y="216"/>
                    <a:pt x="303" y="216"/>
                  </a:cubicBezTo>
                  <a:cubicBezTo>
                    <a:pt x="303" y="216"/>
                    <a:pt x="304" y="219"/>
                    <a:pt x="303" y="221"/>
                  </a:cubicBezTo>
                  <a:close/>
                  <a:moveTo>
                    <a:pt x="362" y="187"/>
                  </a:moveTo>
                  <a:cubicBezTo>
                    <a:pt x="362" y="187"/>
                    <a:pt x="366" y="187"/>
                    <a:pt x="367" y="186"/>
                  </a:cubicBezTo>
                  <a:cubicBezTo>
                    <a:pt x="369" y="186"/>
                    <a:pt x="372" y="184"/>
                    <a:pt x="372" y="184"/>
                  </a:cubicBezTo>
                  <a:cubicBezTo>
                    <a:pt x="367" y="178"/>
                    <a:pt x="367" y="178"/>
                    <a:pt x="367" y="178"/>
                  </a:cubicBezTo>
                  <a:lnTo>
                    <a:pt x="362" y="187"/>
                  </a:lnTo>
                  <a:close/>
                  <a:moveTo>
                    <a:pt x="378" y="177"/>
                  </a:moveTo>
                  <a:cubicBezTo>
                    <a:pt x="377" y="175"/>
                    <a:pt x="376" y="174"/>
                    <a:pt x="374" y="174"/>
                  </a:cubicBezTo>
                  <a:cubicBezTo>
                    <a:pt x="371" y="173"/>
                    <a:pt x="369" y="175"/>
                    <a:pt x="369" y="175"/>
                  </a:cubicBezTo>
                  <a:cubicBezTo>
                    <a:pt x="369" y="175"/>
                    <a:pt x="370" y="182"/>
                    <a:pt x="373" y="182"/>
                  </a:cubicBezTo>
                  <a:cubicBezTo>
                    <a:pt x="375" y="183"/>
                    <a:pt x="379" y="178"/>
                    <a:pt x="378" y="177"/>
                  </a:cubicBezTo>
                  <a:close/>
                  <a:moveTo>
                    <a:pt x="352" y="177"/>
                  </a:moveTo>
                  <a:cubicBezTo>
                    <a:pt x="355" y="179"/>
                    <a:pt x="357" y="179"/>
                    <a:pt x="357" y="179"/>
                  </a:cubicBezTo>
                  <a:cubicBezTo>
                    <a:pt x="357" y="174"/>
                    <a:pt x="357" y="174"/>
                    <a:pt x="357" y="174"/>
                  </a:cubicBezTo>
                  <a:cubicBezTo>
                    <a:pt x="350" y="171"/>
                    <a:pt x="350" y="171"/>
                    <a:pt x="350" y="171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50" y="177"/>
                    <a:pt x="352" y="177"/>
                  </a:cubicBezTo>
                  <a:close/>
                  <a:moveTo>
                    <a:pt x="348" y="178"/>
                  </a:moveTo>
                  <a:cubicBezTo>
                    <a:pt x="344" y="183"/>
                    <a:pt x="344" y="183"/>
                    <a:pt x="344" y="183"/>
                  </a:cubicBezTo>
                  <a:cubicBezTo>
                    <a:pt x="348" y="188"/>
                    <a:pt x="348" y="188"/>
                    <a:pt x="348" y="188"/>
                  </a:cubicBezTo>
                  <a:cubicBezTo>
                    <a:pt x="344" y="189"/>
                    <a:pt x="344" y="189"/>
                    <a:pt x="344" y="189"/>
                  </a:cubicBezTo>
                  <a:cubicBezTo>
                    <a:pt x="337" y="201"/>
                    <a:pt x="337" y="201"/>
                    <a:pt x="337" y="201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2" y="177"/>
                    <a:pt x="338" y="175"/>
                  </a:cubicBezTo>
                  <a:cubicBezTo>
                    <a:pt x="333" y="173"/>
                    <a:pt x="333" y="185"/>
                    <a:pt x="333" y="185"/>
                  </a:cubicBezTo>
                  <a:cubicBezTo>
                    <a:pt x="330" y="186"/>
                    <a:pt x="330" y="186"/>
                    <a:pt x="330" y="186"/>
                  </a:cubicBezTo>
                  <a:cubicBezTo>
                    <a:pt x="331" y="197"/>
                    <a:pt x="331" y="197"/>
                    <a:pt x="331" y="197"/>
                  </a:cubicBezTo>
                  <a:cubicBezTo>
                    <a:pt x="324" y="202"/>
                    <a:pt x="324" y="202"/>
                    <a:pt x="324" y="202"/>
                  </a:cubicBezTo>
                  <a:cubicBezTo>
                    <a:pt x="325" y="206"/>
                    <a:pt x="325" y="206"/>
                    <a:pt x="325" y="206"/>
                  </a:cubicBezTo>
                  <a:cubicBezTo>
                    <a:pt x="319" y="218"/>
                    <a:pt x="319" y="218"/>
                    <a:pt x="319" y="218"/>
                  </a:cubicBezTo>
                  <a:cubicBezTo>
                    <a:pt x="322" y="218"/>
                    <a:pt x="322" y="218"/>
                    <a:pt x="322" y="218"/>
                  </a:cubicBezTo>
                  <a:cubicBezTo>
                    <a:pt x="331" y="208"/>
                    <a:pt x="331" y="208"/>
                    <a:pt x="331" y="208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35" y="215"/>
                    <a:pt x="335" y="215"/>
                    <a:pt x="335" y="215"/>
                  </a:cubicBezTo>
                  <a:cubicBezTo>
                    <a:pt x="336" y="215"/>
                    <a:pt x="337" y="209"/>
                    <a:pt x="337" y="209"/>
                  </a:cubicBezTo>
                  <a:cubicBezTo>
                    <a:pt x="340" y="211"/>
                    <a:pt x="340" y="211"/>
                    <a:pt x="340" y="211"/>
                  </a:cubicBezTo>
                  <a:cubicBezTo>
                    <a:pt x="340" y="211"/>
                    <a:pt x="345" y="202"/>
                    <a:pt x="346" y="200"/>
                  </a:cubicBezTo>
                  <a:cubicBezTo>
                    <a:pt x="347" y="198"/>
                    <a:pt x="354" y="198"/>
                    <a:pt x="354" y="198"/>
                  </a:cubicBezTo>
                  <a:cubicBezTo>
                    <a:pt x="354" y="198"/>
                    <a:pt x="357" y="193"/>
                    <a:pt x="358" y="188"/>
                  </a:cubicBezTo>
                  <a:cubicBezTo>
                    <a:pt x="359" y="184"/>
                    <a:pt x="348" y="178"/>
                    <a:pt x="348" y="178"/>
                  </a:cubicBezTo>
                  <a:close/>
                  <a:moveTo>
                    <a:pt x="330" y="179"/>
                  </a:moveTo>
                  <a:cubicBezTo>
                    <a:pt x="330" y="174"/>
                    <a:pt x="330" y="174"/>
                    <a:pt x="330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43" y="162"/>
                    <a:pt x="343" y="162"/>
                    <a:pt x="343" y="162"/>
                  </a:cubicBezTo>
                  <a:cubicBezTo>
                    <a:pt x="343" y="162"/>
                    <a:pt x="351" y="146"/>
                    <a:pt x="341" y="155"/>
                  </a:cubicBezTo>
                  <a:cubicBezTo>
                    <a:pt x="331" y="162"/>
                    <a:pt x="326" y="174"/>
                    <a:pt x="327" y="177"/>
                  </a:cubicBezTo>
                  <a:cubicBezTo>
                    <a:pt x="328" y="181"/>
                    <a:pt x="330" y="179"/>
                    <a:pt x="330" y="179"/>
                  </a:cubicBezTo>
                  <a:close/>
                  <a:moveTo>
                    <a:pt x="312" y="197"/>
                  </a:moveTo>
                  <a:cubicBezTo>
                    <a:pt x="315" y="194"/>
                    <a:pt x="319" y="192"/>
                    <a:pt x="319" y="192"/>
                  </a:cubicBezTo>
                  <a:cubicBezTo>
                    <a:pt x="313" y="199"/>
                    <a:pt x="313" y="199"/>
                    <a:pt x="313" y="199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27" y="191"/>
                    <a:pt x="327" y="191"/>
                    <a:pt x="327" y="191"/>
                  </a:cubicBezTo>
                  <a:cubicBezTo>
                    <a:pt x="325" y="187"/>
                    <a:pt x="325" y="187"/>
                    <a:pt x="325" y="187"/>
                  </a:cubicBezTo>
                  <a:cubicBezTo>
                    <a:pt x="327" y="185"/>
                    <a:pt x="327" y="185"/>
                    <a:pt x="327" y="185"/>
                  </a:cubicBezTo>
                  <a:cubicBezTo>
                    <a:pt x="322" y="171"/>
                    <a:pt x="322" y="171"/>
                    <a:pt x="322" y="171"/>
                  </a:cubicBezTo>
                  <a:cubicBezTo>
                    <a:pt x="315" y="172"/>
                    <a:pt x="315" y="172"/>
                    <a:pt x="315" y="172"/>
                  </a:cubicBezTo>
                  <a:cubicBezTo>
                    <a:pt x="320" y="183"/>
                    <a:pt x="320" y="183"/>
                    <a:pt x="320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7" y="188"/>
                    <a:pt x="317" y="188"/>
                    <a:pt x="317" y="188"/>
                  </a:cubicBezTo>
                  <a:cubicBezTo>
                    <a:pt x="309" y="186"/>
                    <a:pt x="309" y="186"/>
                    <a:pt x="309" y="186"/>
                  </a:cubicBezTo>
                  <a:cubicBezTo>
                    <a:pt x="309" y="186"/>
                    <a:pt x="306" y="191"/>
                    <a:pt x="305" y="194"/>
                  </a:cubicBezTo>
                  <a:cubicBezTo>
                    <a:pt x="303" y="199"/>
                    <a:pt x="308" y="198"/>
                    <a:pt x="312" y="197"/>
                  </a:cubicBezTo>
                  <a:close/>
                  <a:moveTo>
                    <a:pt x="309" y="186"/>
                  </a:moveTo>
                  <a:cubicBezTo>
                    <a:pt x="309" y="186"/>
                    <a:pt x="309" y="186"/>
                    <a:pt x="309" y="186"/>
                  </a:cubicBezTo>
                  <a:moveTo>
                    <a:pt x="313" y="206"/>
                  </a:moveTo>
                  <a:cubicBezTo>
                    <a:pt x="322" y="206"/>
                    <a:pt x="319" y="202"/>
                    <a:pt x="313" y="202"/>
                  </a:cubicBezTo>
                  <a:cubicBezTo>
                    <a:pt x="307" y="202"/>
                    <a:pt x="306" y="206"/>
                    <a:pt x="313" y="206"/>
                  </a:cubicBezTo>
                  <a:close/>
                  <a:moveTo>
                    <a:pt x="361" y="157"/>
                  </a:moveTo>
                  <a:cubicBezTo>
                    <a:pt x="367" y="159"/>
                    <a:pt x="367" y="159"/>
                    <a:pt x="367" y="159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62" y="168"/>
                    <a:pt x="368" y="170"/>
                    <a:pt x="371" y="168"/>
                  </a:cubicBezTo>
                  <a:cubicBezTo>
                    <a:pt x="376" y="157"/>
                    <a:pt x="376" y="157"/>
                    <a:pt x="376" y="157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9" y="144"/>
                    <a:pt x="389" y="144"/>
                    <a:pt x="389" y="144"/>
                  </a:cubicBezTo>
                  <a:cubicBezTo>
                    <a:pt x="389" y="144"/>
                    <a:pt x="391" y="135"/>
                    <a:pt x="384" y="132"/>
                  </a:cubicBezTo>
                  <a:cubicBezTo>
                    <a:pt x="376" y="129"/>
                    <a:pt x="370" y="139"/>
                    <a:pt x="370" y="139"/>
                  </a:cubicBezTo>
                  <a:cubicBezTo>
                    <a:pt x="375" y="145"/>
                    <a:pt x="375" y="145"/>
                    <a:pt x="375" y="145"/>
                  </a:cubicBezTo>
                  <a:cubicBezTo>
                    <a:pt x="371" y="143"/>
                    <a:pt x="371" y="143"/>
                    <a:pt x="371" y="143"/>
                  </a:cubicBezTo>
                  <a:cubicBezTo>
                    <a:pt x="371" y="143"/>
                    <a:pt x="362" y="144"/>
                    <a:pt x="362" y="145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7" y="152"/>
                    <a:pt x="367" y="152"/>
                    <a:pt x="367" y="152"/>
                  </a:cubicBezTo>
                  <a:cubicBezTo>
                    <a:pt x="360" y="155"/>
                    <a:pt x="360" y="155"/>
                    <a:pt x="360" y="155"/>
                  </a:cubicBezTo>
                  <a:lnTo>
                    <a:pt x="361" y="157"/>
                  </a:lnTo>
                  <a:close/>
                  <a:moveTo>
                    <a:pt x="401" y="132"/>
                  </a:moveTo>
                  <a:cubicBezTo>
                    <a:pt x="406" y="130"/>
                    <a:pt x="406" y="127"/>
                    <a:pt x="406" y="127"/>
                  </a:cubicBezTo>
                  <a:cubicBezTo>
                    <a:pt x="404" y="127"/>
                    <a:pt x="404" y="127"/>
                    <a:pt x="404" y="127"/>
                  </a:cubicBezTo>
                  <a:cubicBezTo>
                    <a:pt x="404" y="127"/>
                    <a:pt x="405" y="121"/>
                    <a:pt x="407" y="120"/>
                  </a:cubicBezTo>
                  <a:cubicBezTo>
                    <a:pt x="408" y="119"/>
                    <a:pt x="410" y="118"/>
                    <a:pt x="410" y="118"/>
                  </a:cubicBezTo>
                  <a:cubicBezTo>
                    <a:pt x="410" y="118"/>
                    <a:pt x="408" y="111"/>
                    <a:pt x="403" y="112"/>
                  </a:cubicBezTo>
                  <a:cubicBezTo>
                    <a:pt x="399" y="112"/>
                    <a:pt x="401" y="119"/>
                    <a:pt x="401" y="119"/>
                  </a:cubicBezTo>
                  <a:cubicBezTo>
                    <a:pt x="397" y="118"/>
                    <a:pt x="397" y="118"/>
                    <a:pt x="397" y="118"/>
                  </a:cubicBezTo>
                  <a:cubicBezTo>
                    <a:pt x="393" y="121"/>
                    <a:pt x="393" y="121"/>
                    <a:pt x="393" y="121"/>
                  </a:cubicBezTo>
                  <a:cubicBezTo>
                    <a:pt x="394" y="124"/>
                    <a:pt x="394" y="124"/>
                    <a:pt x="394" y="124"/>
                  </a:cubicBezTo>
                  <a:cubicBezTo>
                    <a:pt x="390" y="123"/>
                    <a:pt x="390" y="123"/>
                    <a:pt x="390" y="123"/>
                  </a:cubicBezTo>
                  <a:cubicBezTo>
                    <a:pt x="389" y="126"/>
                    <a:pt x="389" y="126"/>
                    <a:pt x="389" y="126"/>
                  </a:cubicBezTo>
                  <a:cubicBezTo>
                    <a:pt x="390" y="129"/>
                    <a:pt x="390" y="129"/>
                    <a:pt x="390" y="129"/>
                  </a:cubicBezTo>
                  <a:cubicBezTo>
                    <a:pt x="388" y="128"/>
                    <a:pt x="388" y="128"/>
                    <a:pt x="388" y="128"/>
                  </a:cubicBezTo>
                  <a:cubicBezTo>
                    <a:pt x="388" y="132"/>
                    <a:pt x="388" y="132"/>
                    <a:pt x="388" y="132"/>
                  </a:cubicBezTo>
                  <a:cubicBezTo>
                    <a:pt x="388" y="132"/>
                    <a:pt x="395" y="134"/>
                    <a:pt x="401" y="132"/>
                  </a:cubicBezTo>
                  <a:close/>
                  <a:moveTo>
                    <a:pt x="408" y="111"/>
                  </a:moveTo>
                  <a:cubicBezTo>
                    <a:pt x="410" y="112"/>
                    <a:pt x="411" y="112"/>
                    <a:pt x="411" y="112"/>
                  </a:cubicBezTo>
                  <a:cubicBezTo>
                    <a:pt x="412" y="115"/>
                    <a:pt x="412" y="115"/>
                    <a:pt x="412" y="115"/>
                  </a:cubicBezTo>
                  <a:cubicBezTo>
                    <a:pt x="412" y="115"/>
                    <a:pt x="420" y="113"/>
                    <a:pt x="420" y="109"/>
                  </a:cubicBezTo>
                  <a:cubicBezTo>
                    <a:pt x="420" y="106"/>
                    <a:pt x="420" y="106"/>
                    <a:pt x="420" y="106"/>
                  </a:cubicBezTo>
                  <a:cubicBezTo>
                    <a:pt x="420" y="106"/>
                    <a:pt x="426" y="104"/>
                    <a:pt x="424" y="102"/>
                  </a:cubicBezTo>
                  <a:cubicBezTo>
                    <a:pt x="423" y="99"/>
                    <a:pt x="418" y="100"/>
                    <a:pt x="418" y="100"/>
                  </a:cubicBezTo>
                  <a:cubicBezTo>
                    <a:pt x="418" y="100"/>
                    <a:pt x="416" y="96"/>
                    <a:pt x="411" y="97"/>
                  </a:cubicBezTo>
                  <a:cubicBezTo>
                    <a:pt x="408" y="98"/>
                    <a:pt x="403" y="106"/>
                    <a:pt x="403" y="106"/>
                  </a:cubicBezTo>
                  <a:cubicBezTo>
                    <a:pt x="403" y="106"/>
                    <a:pt x="406" y="110"/>
                    <a:pt x="408" y="111"/>
                  </a:cubicBezTo>
                  <a:close/>
                  <a:moveTo>
                    <a:pt x="424" y="106"/>
                  </a:moveTo>
                  <a:cubicBezTo>
                    <a:pt x="421" y="111"/>
                    <a:pt x="421" y="111"/>
                    <a:pt x="421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33" y="100"/>
                    <a:pt x="433" y="100"/>
                    <a:pt x="433" y="100"/>
                  </a:cubicBezTo>
                  <a:cubicBezTo>
                    <a:pt x="429" y="100"/>
                    <a:pt x="429" y="100"/>
                    <a:pt x="429" y="100"/>
                  </a:cubicBezTo>
                  <a:lnTo>
                    <a:pt x="424" y="106"/>
                  </a:lnTo>
                  <a:close/>
                  <a:moveTo>
                    <a:pt x="426" y="97"/>
                  </a:moveTo>
                  <a:cubicBezTo>
                    <a:pt x="433" y="98"/>
                    <a:pt x="434" y="97"/>
                    <a:pt x="433" y="93"/>
                  </a:cubicBezTo>
                  <a:cubicBezTo>
                    <a:pt x="431" y="90"/>
                    <a:pt x="427" y="87"/>
                    <a:pt x="427" y="87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2" y="83"/>
                    <a:pt x="422" y="83"/>
                    <a:pt x="422" y="83"/>
                  </a:cubicBezTo>
                  <a:cubicBezTo>
                    <a:pt x="420" y="87"/>
                    <a:pt x="420" y="87"/>
                    <a:pt x="420" y="87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4" y="94"/>
                    <a:pt x="422" y="96"/>
                    <a:pt x="426" y="97"/>
                  </a:cubicBezTo>
                  <a:close/>
                  <a:moveTo>
                    <a:pt x="421" y="95"/>
                  </a:moveTo>
                  <a:cubicBezTo>
                    <a:pt x="417" y="91"/>
                    <a:pt x="417" y="91"/>
                    <a:pt x="417" y="91"/>
                  </a:cubicBezTo>
                  <a:cubicBezTo>
                    <a:pt x="417" y="94"/>
                    <a:pt x="417" y="94"/>
                    <a:pt x="417" y="94"/>
                  </a:cubicBezTo>
                  <a:lnTo>
                    <a:pt x="421" y="95"/>
                  </a:lnTo>
                  <a:close/>
                  <a:moveTo>
                    <a:pt x="413" y="95"/>
                  </a:moveTo>
                  <a:cubicBezTo>
                    <a:pt x="415" y="87"/>
                    <a:pt x="415" y="87"/>
                    <a:pt x="415" y="87"/>
                  </a:cubicBezTo>
                  <a:cubicBezTo>
                    <a:pt x="409" y="84"/>
                    <a:pt x="409" y="84"/>
                    <a:pt x="409" y="84"/>
                  </a:cubicBezTo>
                  <a:cubicBezTo>
                    <a:pt x="409" y="95"/>
                    <a:pt x="409" y="95"/>
                    <a:pt x="409" y="95"/>
                  </a:cubicBezTo>
                  <a:lnTo>
                    <a:pt x="413" y="95"/>
                  </a:lnTo>
                  <a:close/>
                  <a:moveTo>
                    <a:pt x="407" y="97"/>
                  </a:moveTo>
                  <a:cubicBezTo>
                    <a:pt x="403" y="94"/>
                    <a:pt x="403" y="94"/>
                    <a:pt x="403" y="94"/>
                  </a:cubicBezTo>
                  <a:cubicBezTo>
                    <a:pt x="403" y="98"/>
                    <a:pt x="403" y="98"/>
                    <a:pt x="403" y="98"/>
                  </a:cubicBezTo>
                  <a:cubicBezTo>
                    <a:pt x="397" y="96"/>
                    <a:pt x="397" y="96"/>
                    <a:pt x="397" y="96"/>
                  </a:cubicBezTo>
                  <a:cubicBezTo>
                    <a:pt x="400" y="103"/>
                    <a:pt x="400" y="103"/>
                    <a:pt x="400" y="103"/>
                  </a:cubicBezTo>
                  <a:lnTo>
                    <a:pt x="407" y="97"/>
                  </a:lnTo>
                  <a:close/>
                  <a:moveTo>
                    <a:pt x="443" y="96"/>
                  </a:moveTo>
                  <a:cubicBezTo>
                    <a:pt x="449" y="97"/>
                    <a:pt x="452" y="90"/>
                    <a:pt x="449" y="84"/>
                  </a:cubicBezTo>
                  <a:cubicBezTo>
                    <a:pt x="446" y="79"/>
                    <a:pt x="441" y="83"/>
                    <a:pt x="440" y="90"/>
                  </a:cubicBezTo>
                  <a:cubicBezTo>
                    <a:pt x="439" y="95"/>
                    <a:pt x="443" y="96"/>
                    <a:pt x="443" y="96"/>
                  </a:cubicBezTo>
                  <a:close/>
                  <a:moveTo>
                    <a:pt x="455" y="99"/>
                  </a:moveTo>
                  <a:cubicBezTo>
                    <a:pt x="451" y="96"/>
                    <a:pt x="451" y="96"/>
                    <a:pt x="451" y="96"/>
                  </a:cubicBezTo>
                  <a:cubicBezTo>
                    <a:pt x="451" y="96"/>
                    <a:pt x="449" y="99"/>
                    <a:pt x="448" y="100"/>
                  </a:cubicBezTo>
                  <a:lnTo>
                    <a:pt x="455" y="99"/>
                  </a:lnTo>
                  <a:close/>
                  <a:moveTo>
                    <a:pt x="445" y="105"/>
                  </a:moveTo>
                  <a:cubicBezTo>
                    <a:pt x="444" y="111"/>
                    <a:pt x="444" y="111"/>
                    <a:pt x="444" y="111"/>
                  </a:cubicBezTo>
                  <a:cubicBezTo>
                    <a:pt x="449" y="109"/>
                    <a:pt x="449" y="109"/>
                    <a:pt x="449" y="109"/>
                  </a:cubicBezTo>
                  <a:cubicBezTo>
                    <a:pt x="448" y="104"/>
                    <a:pt x="448" y="104"/>
                    <a:pt x="448" y="104"/>
                  </a:cubicBezTo>
                  <a:lnTo>
                    <a:pt x="445" y="105"/>
                  </a:lnTo>
                  <a:close/>
                  <a:moveTo>
                    <a:pt x="474" y="58"/>
                  </a:moveTo>
                  <a:cubicBezTo>
                    <a:pt x="479" y="58"/>
                    <a:pt x="479" y="58"/>
                    <a:pt x="479" y="58"/>
                  </a:cubicBezTo>
                  <a:cubicBezTo>
                    <a:pt x="476" y="63"/>
                    <a:pt x="476" y="63"/>
                    <a:pt x="476" y="63"/>
                  </a:cubicBezTo>
                  <a:cubicBezTo>
                    <a:pt x="478" y="65"/>
                    <a:pt x="484" y="64"/>
                    <a:pt x="492" y="60"/>
                  </a:cubicBezTo>
                  <a:cubicBezTo>
                    <a:pt x="500" y="56"/>
                    <a:pt x="497" y="50"/>
                    <a:pt x="497" y="50"/>
                  </a:cubicBezTo>
                  <a:cubicBezTo>
                    <a:pt x="504" y="41"/>
                    <a:pt x="504" y="41"/>
                    <a:pt x="504" y="41"/>
                  </a:cubicBezTo>
                  <a:cubicBezTo>
                    <a:pt x="500" y="36"/>
                    <a:pt x="500" y="36"/>
                    <a:pt x="500" y="36"/>
                  </a:cubicBezTo>
                  <a:cubicBezTo>
                    <a:pt x="492" y="40"/>
                    <a:pt x="492" y="40"/>
                    <a:pt x="492" y="40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88" y="44"/>
                    <a:pt x="488" y="44"/>
                    <a:pt x="488" y="44"/>
                  </a:cubicBezTo>
                  <a:cubicBezTo>
                    <a:pt x="486" y="46"/>
                    <a:pt x="486" y="46"/>
                    <a:pt x="486" y="46"/>
                  </a:cubicBezTo>
                  <a:cubicBezTo>
                    <a:pt x="490" y="52"/>
                    <a:pt x="490" y="52"/>
                    <a:pt x="490" y="52"/>
                  </a:cubicBezTo>
                  <a:cubicBezTo>
                    <a:pt x="483" y="48"/>
                    <a:pt x="483" y="48"/>
                    <a:pt x="483" y="48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79" y="53"/>
                    <a:pt x="479" y="53"/>
                    <a:pt x="479" y="53"/>
                  </a:cubicBezTo>
                  <a:cubicBezTo>
                    <a:pt x="472" y="55"/>
                    <a:pt x="472" y="55"/>
                    <a:pt x="472" y="55"/>
                  </a:cubicBezTo>
                  <a:lnTo>
                    <a:pt x="474" y="58"/>
                  </a:lnTo>
                  <a:close/>
                  <a:moveTo>
                    <a:pt x="484" y="73"/>
                  </a:moveTo>
                  <a:cubicBezTo>
                    <a:pt x="484" y="76"/>
                    <a:pt x="489" y="76"/>
                    <a:pt x="489" y="76"/>
                  </a:cubicBezTo>
                  <a:cubicBezTo>
                    <a:pt x="489" y="76"/>
                    <a:pt x="498" y="77"/>
                    <a:pt x="497" y="73"/>
                  </a:cubicBezTo>
                  <a:cubicBezTo>
                    <a:pt x="497" y="68"/>
                    <a:pt x="482" y="66"/>
                    <a:pt x="484" y="73"/>
                  </a:cubicBezTo>
                  <a:close/>
                  <a:moveTo>
                    <a:pt x="503" y="55"/>
                  </a:moveTo>
                  <a:cubicBezTo>
                    <a:pt x="501" y="59"/>
                    <a:pt x="501" y="59"/>
                    <a:pt x="501" y="59"/>
                  </a:cubicBezTo>
                  <a:cubicBezTo>
                    <a:pt x="499" y="57"/>
                    <a:pt x="499" y="57"/>
                    <a:pt x="499" y="57"/>
                  </a:cubicBezTo>
                  <a:cubicBezTo>
                    <a:pt x="493" y="66"/>
                    <a:pt x="493" y="66"/>
                    <a:pt x="493" y="66"/>
                  </a:cubicBezTo>
                  <a:cubicBezTo>
                    <a:pt x="499" y="68"/>
                    <a:pt x="499" y="68"/>
                    <a:pt x="499" y="68"/>
                  </a:cubicBezTo>
                  <a:cubicBezTo>
                    <a:pt x="500" y="66"/>
                    <a:pt x="500" y="66"/>
                    <a:pt x="500" y="66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4" y="72"/>
                    <a:pt x="504" y="72"/>
                    <a:pt x="504" y="72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05" y="48"/>
                    <a:pt x="505" y="48"/>
                    <a:pt x="505" y="48"/>
                  </a:cubicBezTo>
                  <a:cubicBezTo>
                    <a:pt x="501" y="50"/>
                    <a:pt x="501" y="50"/>
                    <a:pt x="501" y="50"/>
                  </a:cubicBezTo>
                  <a:lnTo>
                    <a:pt x="503" y="55"/>
                  </a:lnTo>
                  <a:close/>
                  <a:moveTo>
                    <a:pt x="514" y="56"/>
                  </a:moveTo>
                  <a:cubicBezTo>
                    <a:pt x="517" y="56"/>
                    <a:pt x="521" y="48"/>
                    <a:pt x="516" y="43"/>
                  </a:cubicBezTo>
                  <a:cubicBezTo>
                    <a:pt x="509" y="37"/>
                    <a:pt x="505" y="43"/>
                    <a:pt x="508" y="50"/>
                  </a:cubicBezTo>
                  <a:cubicBezTo>
                    <a:pt x="508" y="50"/>
                    <a:pt x="510" y="56"/>
                    <a:pt x="514" y="56"/>
                  </a:cubicBezTo>
                  <a:close/>
                  <a:moveTo>
                    <a:pt x="513" y="22"/>
                  </a:moveTo>
                  <a:cubicBezTo>
                    <a:pt x="506" y="22"/>
                    <a:pt x="511" y="30"/>
                    <a:pt x="511" y="30"/>
                  </a:cubicBezTo>
                  <a:cubicBezTo>
                    <a:pt x="517" y="29"/>
                    <a:pt x="518" y="22"/>
                    <a:pt x="513" y="22"/>
                  </a:cubicBezTo>
                  <a:close/>
                  <a:moveTo>
                    <a:pt x="528" y="14"/>
                  </a:moveTo>
                  <a:cubicBezTo>
                    <a:pt x="523" y="17"/>
                    <a:pt x="523" y="17"/>
                    <a:pt x="523" y="17"/>
                  </a:cubicBezTo>
                  <a:cubicBezTo>
                    <a:pt x="531" y="19"/>
                    <a:pt x="531" y="19"/>
                    <a:pt x="531" y="19"/>
                  </a:cubicBezTo>
                  <a:lnTo>
                    <a:pt x="528" y="14"/>
                  </a:lnTo>
                  <a:close/>
                  <a:moveTo>
                    <a:pt x="538" y="19"/>
                  </a:moveTo>
                  <a:cubicBezTo>
                    <a:pt x="539" y="19"/>
                    <a:pt x="541" y="17"/>
                    <a:pt x="541" y="17"/>
                  </a:cubicBezTo>
                  <a:cubicBezTo>
                    <a:pt x="541" y="20"/>
                    <a:pt x="541" y="20"/>
                    <a:pt x="541" y="20"/>
                  </a:cubicBezTo>
                  <a:cubicBezTo>
                    <a:pt x="548" y="22"/>
                    <a:pt x="548" y="22"/>
                    <a:pt x="548" y="22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559" y="12"/>
                    <a:pt x="559" y="12"/>
                    <a:pt x="559" y="12"/>
                  </a:cubicBezTo>
                  <a:cubicBezTo>
                    <a:pt x="553" y="16"/>
                    <a:pt x="553" y="16"/>
                    <a:pt x="553" y="16"/>
                  </a:cubicBezTo>
                  <a:cubicBezTo>
                    <a:pt x="550" y="14"/>
                    <a:pt x="550" y="14"/>
                    <a:pt x="550" y="14"/>
                  </a:cubicBezTo>
                  <a:cubicBezTo>
                    <a:pt x="555" y="10"/>
                    <a:pt x="555" y="10"/>
                    <a:pt x="555" y="10"/>
                  </a:cubicBezTo>
                  <a:cubicBezTo>
                    <a:pt x="552" y="6"/>
                    <a:pt x="552" y="6"/>
                    <a:pt x="552" y="6"/>
                  </a:cubicBezTo>
                  <a:cubicBezTo>
                    <a:pt x="550" y="10"/>
                    <a:pt x="550" y="10"/>
                    <a:pt x="550" y="10"/>
                  </a:cubicBezTo>
                  <a:cubicBezTo>
                    <a:pt x="548" y="5"/>
                    <a:pt x="548" y="5"/>
                    <a:pt x="548" y="5"/>
                  </a:cubicBezTo>
                  <a:cubicBezTo>
                    <a:pt x="544" y="8"/>
                    <a:pt x="544" y="8"/>
                    <a:pt x="544" y="8"/>
                  </a:cubicBezTo>
                  <a:cubicBezTo>
                    <a:pt x="546" y="12"/>
                    <a:pt x="546" y="12"/>
                    <a:pt x="546" y="12"/>
                  </a:cubicBezTo>
                  <a:cubicBezTo>
                    <a:pt x="537" y="14"/>
                    <a:pt x="537" y="14"/>
                    <a:pt x="537" y="14"/>
                  </a:cubicBezTo>
                  <a:lnTo>
                    <a:pt x="538" y="19"/>
                  </a:lnTo>
                  <a:close/>
                  <a:moveTo>
                    <a:pt x="658" y="62"/>
                  </a:moveTo>
                  <a:cubicBezTo>
                    <a:pt x="659" y="72"/>
                    <a:pt x="659" y="72"/>
                    <a:pt x="659" y="72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2" y="60"/>
                    <a:pt x="662" y="60"/>
                    <a:pt x="662" y="60"/>
                  </a:cubicBezTo>
                  <a:lnTo>
                    <a:pt x="658" y="6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Es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671E315-3C47-824F-A5A3-69AB71AF8C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9465" y="2996422"/>
              <a:ext cx="513227" cy="326749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Weiß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8C100FD-BEE3-1C42-8D88-5EE56446FF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3604" y="3489846"/>
              <a:ext cx="871330" cy="788819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Let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165B0C-0C09-8A4A-9C6B-43FD4A0558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8112" y="3255510"/>
              <a:ext cx="636995" cy="359755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Moldawien" descr="© INSCALE GmbH, 05.05.2010&#10;http://www.presentationload.com/">
              <a:extLst>
                <a:ext uri="{FF2B5EF4-FFF2-40B4-BE49-F238E27FC236}">
                  <a16:creationId xmlns:a16="http://schemas.microsoft.com/office/drawing/2014/main" id="{49A541BA-EE10-0C4F-96B4-A95A88D331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3924" y="4656571"/>
              <a:ext cx="429064" cy="448867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7" name="Fin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D681938-DCF9-3D4F-9FBD-19B7F7E68B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65919" y="1417135"/>
              <a:ext cx="912587" cy="1608991"/>
            </a:xfrm>
            <a:custGeom>
              <a:avLst/>
              <a:gdLst/>
              <a:ahLst/>
              <a:cxnLst>
                <a:cxn ang="0">
                  <a:pos x="318" y="380"/>
                </a:cxn>
                <a:cxn ang="0">
                  <a:pos x="302" y="312"/>
                </a:cxn>
                <a:cxn ang="0">
                  <a:pos x="283" y="281"/>
                </a:cxn>
                <a:cxn ang="0">
                  <a:pos x="264" y="225"/>
                </a:cxn>
                <a:cxn ang="0">
                  <a:pos x="205" y="113"/>
                </a:cxn>
                <a:cxn ang="0">
                  <a:pos x="202" y="27"/>
                </a:cxn>
                <a:cxn ang="0">
                  <a:pos x="124" y="29"/>
                </a:cxn>
                <a:cxn ang="0">
                  <a:pos x="105" y="103"/>
                </a:cxn>
                <a:cxn ang="0">
                  <a:pos x="51" y="107"/>
                </a:cxn>
                <a:cxn ang="0">
                  <a:pos x="2" y="90"/>
                </a:cxn>
                <a:cxn ang="0">
                  <a:pos x="23" y="108"/>
                </a:cxn>
                <a:cxn ang="0">
                  <a:pos x="63" y="131"/>
                </a:cxn>
                <a:cxn ang="0">
                  <a:pos x="86" y="186"/>
                </a:cxn>
                <a:cxn ang="0">
                  <a:pos x="106" y="229"/>
                </a:cxn>
                <a:cxn ang="0">
                  <a:pos x="116" y="275"/>
                </a:cxn>
                <a:cxn ang="0">
                  <a:pos x="147" y="294"/>
                </a:cxn>
                <a:cxn ang="0">
                  <a:pos x="163" y="331"/>
                </a:cxn>
                <a:cxn ang="0">
                  <a:pos x="147" y="355"/>
                </a:cxn>
                <a:cxn ang="0">
                  <a:pos x="131" y="401"/>
                </a:cxn>
                <a:cxn ang="0">
                  <a:pos x="108" y="414"/>
                </a:cxn>
                <a:cxn ang="0">
                  <a:pos x="111" y="430"/>
                </a:cxn>
                <a:cxn ang="0">
                  <a:pos x="96" y="438"/>
                </a:cxn>
                <a:cxn ang="0">
                  <a:pos x="80" y="462"/>
                </a:cxn>
                <a:cxn ang="0">
                  <a:pos x="77" y="486"/>
                </a:cxn>
                <a:cxn ang="0">
                  <a:pos x="80" y="523"/>
                </a:cxn>
                <a:cxn ang="0">
                  <a:pos x="91" y="559"/>
                </a:cxn>
                <a:cxn ang="0">
                  <a:pos x="93" y="572"/>
                </a:cxn>
                <a:cxn ang="0">
                  <a:pos x="95" y="598"/>
                </a:cxn>
                <a:cxn ang="0">
                  <a:pos x="95" y="613"/>
                </a:cxn>
                <a:cxn ang="0">
                  <a:pos x="104" y="635"/>
                </a:cxn>
                <a:cxn ang="0">
                  <a:pos x="118" y="635"/>
                </a:cxn>
                <a:cxn ang="0">
                  <a:pos x="144" y="645"/>
                </a:cxn>
                <a:cxn ang="0">
                  <a:pos x="157" y="656"/>
                </a:cxn>
                <a:cxn ang="0">
                  <a:pos x="161" y="666"/>
                </a:cxn>
                <a:cxn ang="0">
                  <a:pos x="189" y="654"/>
                </a:cxn>
                <a:cxn ang="0">
                  <a:pos x="206" y="645"/>
                </a:cxn>
                <a:cxn ang="0">
                  <a:pos x="248" y="626"/>
                </a:cxn>
                <a:cxn ang="0">
                  <a:pos x="260" y="617"/>
                </a:cxn>
                <a:cxn ang="0">
                  <a:pos x="293" y="603"/>
                </a:cxn>
                <a:cxn ang="0">
                  <a:pos x="328" y="554"/>
                </a:cxn>
                <a:cxn ang="0">
                  <a:pos x="382" y="418"/>
                </a:cxn>
                <a:cxn ang="0">
                  <a:pos x="60" y="653"/>
                </a:cxn>
                <a:cxn ang="0">
                  <a:pos x="45" y="651"/>
                </a:cxn>
                <a:cxn ang="0">
                  <a:pos x="50" y="670"/>
                </a:cxn>
                <a:cxn ang="0">
                  <a:pos x="39" y="658"/>
                </a:cxn>
                <a:cxn ang="0">
                  <a:pos x="55" y="670"/>
                </a:cxn>
                <a:cxn ang="0">
                  <a:pos x="107" y="657"/>
                </a:cxn>
                <a:cxn ang="0">
                  <a:pos x="113" y="654"/>
                </a:cxn>
                <a:cxn ang="0">
                  <a:pos x="148" y="643"/>
                </a:cxn>
                <a:cxn ang="0">
                  <a:pos x="136" y="655"/>
                </a:cxn>
                <a:cxn ang="0">
                  <a:pos x="147" y="649"/>
                </a:cxn>
                <a:cxn ang="0">
                  <a:pos x="112" y="643"/>
                </a:cxn>
                <a:cxn ang="0">
                  <a:pos x="99" y="634"/>
                </a:cxn>
                <a:cxn ang="0">
                  <a:pos x="94" y="628"/>
                </a:cxn>
                <a:cxn ang="0">
                  <a:pos x="175" y="667"/>
                </a:cxn>
                <a:cxn ang="0">
                  <a:pos x="62" y="461"/>
                </a:cxn>
                <a:cxn ang="0">
                  <a:pos x="72" y="456"/>
                </a:cxn>
                <a:cxn ang="0">
                  <a:pos x="157" y="329"/>
                </a:cxn>
                <a:cxn ang="0">
                  <a:pos x="153" y="336"/>
                </a:cxn>
                <a:cxn ang="0">
                  <a:pos x="243" y="631"/>
                </a:cxn>
                <a:cxn ang="0">
                  <a:pos x="265" y="614"/>
                </a:cxn>
              </a:cxnLst>
              <a:rect l="0" t="0" r="r" b="b"/>
              <a:pathLst>
                <a:path w="382" h="674">
                  <a:moveTo>
                    <a:pt x="382" y="418"/>
                  </a:moveTo>
                  <a:cubicBezTo>
                    <a:pt x="381" y="412"/>
                    <a:pt x="369" y="412"/>
                    <a:pt x="369" y="412"/>
                  </a:cubicBezTo>
                  <a:cubicBezTo>
                    <a:pt x="366" y="404"/>
                    <a:pt x="366" y="404"/>
                    <a:pt x="366" y="404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39" y="394"/>
                    <a:pt x="339" y="394"/>
                    <a:pt x="339" y="394"/>
                  </a:cubicBezTo>
                  <a:cubicBezTo>
                    <a:pt x="318" y="380"/>
                    <a:pt x="318" y="380"/>
                    <a:pt x="318" y="380"/>
                  </a:cubicBezTo>
                  <a:cubicBezTo>
                    <a:pt x="327" y="374"/>
                    <a:pt x="327" y="374"/>
                    <a:pt x="327" y="374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26" y="370"/>
                    <a:pt x="331" y="355"/>
                    <a:pt x="327" y="346"/>
                  </a:cubicBezTo>
                  <a:cubicBezTo>
                    <a:pt x="323" y="338"/>
                    <a:pt x="313" y="344"/>
                    <a:pt x="308" y="335"/>
                  </a:cubicBezTo>
                  <a:cubicBezTo>
                    <a:pt x="301" y="326"/>
                    <a:pt x="307" y="320"/>
                    <a:pt x="307" y="320"/>
                  </a:cubicBezTo>
                  <a:cubicBezTo>
                    <a:pt x="302" y="312"/>
                    <a:pt x="302" y="312"/>
                    <a:pt x="302" y="312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285" y="301"/>
                    <a:pt x="285" y="301"/>
                    <a:pt x="285" y="301"/>
                  </a:cubicBezTo>
                  <a:cubicBezTo>
                    <a:pt x="292" y="296"/>
                    <a:pt x="292" y="296"/>
                    <a:pt x="292" y="296"/>
                  </a:cubicBezTo>
                  <a:cubicBezTo>
                    <a:pt x="291" y="291"/>
                    <a:pt x="291" y="291"/>
                    <a:pt x="291" y="291"/>
                  </a:cubicBezTo>
                  <a:cubicBezTo>
                    <a:pt x="280" y="293"/>
                    <a:pt x="280" y="293"/>
                    <a:pt x="280" y="293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0" y="272"/>
                    <a:pt x="280" y="272"/>
                    <a:pt x="280" y="272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8" y="259"/>
                    <a:pt x="288" y="259"/>
                    <a:pt x="288" y="259"/>
                  </a:cubicBezTo>
                  <a:cubicBezTo>
                    <a:pt x="288" y="259"/>
                    <a:pt x="286" y="249"/>
                    <a:pt x="281" y="240"/>
                  </a:cubicBezTo>
                  <a:cubicBezTo>
                    <a:pt x="277" y="232"/>
                    <a:pt x="264" y="225"/>
                    <a:pt x="264" y="225"/>
                  </a:cubicBezTo>
                  <a:cubicBezTo>
                    <a:pt x="261" y="223"/>
                    <a:pt x="262" y="214"/>
                    <a:pt x="254" y="208"/>
                  </a:cubicBezTo>
                  <a:cubicBezTo>
                    <a:pt x="248" y="204"/>
                    <a:pt x="237" y="187"/>
                    <a:pt x="237" y="187"/>
                  </a:cubicBezTo>
                  <a:cubicBezTo>
                    <a:pt x="237" y="187"/>
                    <a:pt x="252" y="152"/>
                    <a:pt x="251" y="142"/>
                  </a:cubicBezTo>
                  <a:cubicBezTo>
                    <a:pt x="250" y="133"/>
                    <a:pt x="238" y="133"/>
                    <a:pt x="238" y="133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05" y="113"/>
                    <a:pt x="205" y="113"/>
                    <a:pt x="205" y="113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9" y="70"/>
                    <a:pt x="199" y="70"/>
                    <a:pt x="199" y="70"/>
                  </a:cubicBezTo>
                  <a:cubicBezTo>
                    <a:pt x="188" y="68"/>
                    <a:pt x="188" y="68"/>
                    <a:pt x="188" y="68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197" y="57"/>
                    <a:pt x="194" y="52"/>
                    <a:pt x="194" y="46"/>
                  </a:cubicBezTo>
                  <a:cubicBezTo>
                    <a:pt x="194" y="41"/>
                    <a:pt x="202" y="27"/>
                    <a:pt x="202" y="27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13"/>
                    <a:pt x="163" y="0"/>
                    <a:pt x="157" y="1"/>
                  </a:cubicBezTo>
                  <a:cubicBezTo>
                    <a:pt x="151" y="2"/>
                    <a:pt x="142" y="14"/>
                    <a:pt x="142" y="14"/>
                  </a:cubicBezTo>
                  <a:cubicBezTo>
                    <a:pt x="142" y="14"/>
                    <a:pt x="135" y="12"/>
                    <a:pt x="129" y="15"/>
                  </a:cubicBezTo>
                  <a:cubicBezTo>
                    <a:pt x="123" y="17"/>
                    <a:pt x="124" y="29"/>
                    <a:pt x="124" y="29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1" y="75"/>
                    <a:pt x="122" y="80"/>
                  </a:cubicBezTo>
                  <a:cubicBezTo>
                    <a:pt x="122" y="86"/>
                    <a:pt x="119" y="90"/>
                    <a:pt x="117" y="93"/>
                  </a:cubicBezTo>
                  <a:cubicBezTo>
                    <a:pt x="114" y="97"/>
                    <a:pt x="112" y="110"/>
                    <a:pt x="112" y="110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1" y="97"/>
                    <a:pt x="86" y="97"/>
                  </a:cubicBezTo>
                  <a:cubicBezTo>
                    <a:pt x="80" y="97"/>
                    <a:pt x="78" y="105"/>
                    <a:pt x="78" y="105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4" y="99"/>
                    <a:pt x="37" y="93"/>
                  </a:cubicBezTo>
                  <a:cubicBezTo>
                    <a:pt x="32" y="88"/>
                    <a:pt x="25" y="78"/>
                    <a:pt x="25" y="78"/>
                  </a:cubicBezTo>
                  <a:cubicBezTo>
                    <a:pt x="25" y="78"/>
                    <a:pt x="16" y="75"/>
                    <a:pt x="12" y="80"/>
                  </a:cubicBezTo>
                  <a:cubicBezTo>
                    <a:pt x="6" y="84"/>
                    <a:pt x="14" y="91"/>
                    <a:pt x="13" y="93"/>
                  </a:cubicBezTo>
                  <a:cubicBezTo>
                    <a:pt x="11" y="95"/>
                    <a:pt x="2" y="90"/>
                    <a:pt x="2" y="9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53" y="126"/>
                    <a:pt x="63" y="131"/>
                  </a:cubicBezTo>
                  <a:cubicBezTo>
                    <a:pt x="72" y="136"/>
                    <a:pt x="73" y="146"/>
                    <a:pt x="73" y="146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86" y="152"/>
                    <a:pt x="88" y="155"/>
                  </a:cubicBezTo>
                  <a:cubicBezTo>
                    <a:pt x="90" y="158"/>
                    <a:pt x="85" y="158"/>
                    <a:pt x="84" y="162"/>
                  </a:cubicBezTo>
                  <a:cubicBezTo>
                    <a:pt x="83" y="167"/>
                    <a:pt x="85" y="170"/>
                    <a:pt x="86" y="174"/>
                  </a:cubicBezTo>
                  <a:cubicBezTo>
                    <a:pt x="88" y="180"/>
                    <a:pt x="86" y="186"/>
                    <a:pt x="86" y="186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95" y="197"/>
                    <a:pt x="94" y="199"/>
                    <a:pt x="94" y="204"/>
                  </a:cubicBezTo>
                  <a:cubicBezTo>
                    <a:pt x="94" y="210"/>
                    <a:pt x="103" y="215"/>
                    <a:pt x="105" y="218"/>
                  </a:cubicBezTo>
                  <a:cubicBezTo>
                    <a:pt x="107" y="222"/>
                    <a:pt x="106" y="229"/>
                    <a:pt x="106" y="229"/>
                  </a:cubicBezTo>
                  <a:cubicBezTo>
                    <a:pt x="106" y="229"/>
                    <a:pt x="108" y="233"/>
                    <a:pt x="110" y="237"/>
                  </a:cubicBezTo>
                  <a:cubicBezTo>
                    <a:pt x="111" y="240"/>
                    <a:pt x="106" y="243"/>
                    <a:pt x="103" y="248"/>
                  </a:cubicBezTo>
                  <a:cubicBezTo>
                    <a:pt x="101" y="252"/>
                    <a:pt x="106" y="253"/>
                    <a:pt x="106" y="253"/>
                  </a:cubicBezTo>
                  <a:cubicBezTo>
                    <a:pt x="106" y="253"/>
                    <a:pt x="106" y="254"/>
                    <a:pt x="105" y="260"/>
                  </a:cubicBezTo>
                  <a:cubicBezTo>
                    <a:pt x="105" y="264"/>
                    <a:pt x="112" y="265"/>
                    <a:pt x="114" y="266"/>
                  </a:cubicBezTo>
                  <a:cubicBezTo>
                    <a:pt x="116" y="268"/>
                    <a:pt x="115" y="271"/>
                    <a:pt x="116" y="275"/>
                  </a:cubicBezTo>
                  <a:cubicBezTo>
                    <a:pt x="117" y="279"/>
                    <a:pt x="122" y="281"/>
                    <a:pt x="122" y="281"/>
                  </a:cubicBezTo>
                  <a:cubicBezTo>
                    <a:pt x="123" y="288"/>
                    <a:pt x="123" y="288"/>
                    <a:pt x="123" y="288"/>
                  </a:cubicBezTo>
                  <a:cubicBezTo>
                    <a:pt x="128" y="286"/>
                    <a:pt x="128" y="286"/>
                    <a:pt x="128" y="286"/>
                  </a:cubicBezTo>
                  <a:cubicBezTo>
                    <a:pt x="139" y="293"/>
                    <a:pt x="139" y="293"/>
                    <a:pt x="139" y="293"/>
                  </a:cubicBezTo>
                  <a:cubicBezTo>
                    <a:pt x="139" y="295"/>
                    <a:pt x="139" y="295"/>
                    <a:pt x="139" y="295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54" y="297"/>
                    <a:pt x="154" y="297"/>
                    <a:pt x="154" y="297"/>
                  </a:cubicBezTo>
                  <a:cubicBezTo>
                    <a:pt x="154" y="297"/>
                    <a:pt x="159" y="301"/>
                    <a:pt x="162" y="308"/>
                  </a:cubicBezTo>
                  <a:cubicBezTo>
                    <a:pt x="166" y="314"/>
                    <a:pt x="162" y="324"/>
                    <a:pt x="162" y="324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2" y="334"/>
                    <a:pt x="162" y="334"/>
                    <a:pt x="162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7" y="342"/>
                    <a:pt x="160" y="340"/>
                    <a:pt x="154" y="341"/>
                  </a:cubicBezTo>
                  <a:cubicBezTo>
                    <a:pt x="150" y="342"/>
                    <a:pt x="147" y="346"/>
                    <a:pt x="147" y="346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66"/>
                    <a:pt x="145" y="366"/>
                    <a:pt x="145" y="366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37" y="376"/>
                    <a:pt x="137" y="376"/>
                    <a:pt x="137" y="376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1" y="401"/>
                    <a:pt x="131" y="401"/>
                    <a:pt x="131" y="401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409"/>
                    <a:pt x="124" y="409"/>
                    <a:pt x="124" y="409"/>
                  </a:cubicBezTo>
                  <a:cubicBezTo>
                    <a:pt x="117" y="413"/>
                    <a:pt x="117" y="413"/>
                    <a:pt x="117" y="413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2" y="413"/>
                    <a:pt x="112" y="413"/>
                    <a:pt x="112" y="413"/>
                  </a:cubicBezTo>
                  <a:cubicBezTo>
                    <a:pt x="108" y="414"/>
                    <a:pt x="108" y="414"/>
                    <a:pt x="108" y="414"/>
                  </a:cubicBezTo>
                  <a:cubicBezTo>
                    <a:pt x="108" y="417"/>
                    <a:pt x="108" y="417"/>
                    <a:pt x="108" y="417"/>
                  </a:cubicBezTo>
                  <a:cubicBezTo>
                    <a:pt x="106" y="418"/>
                    <a:pt x="106" y="418"/>
                    <a:pt x="106" y="418"/>
                  </a:cubicBezTo>
                  <a:cubicBezTo>
                    <a:pt x="105" y="421"/>
                    <a:pt x="105" y="421"/>
                    <a:pt x="105" y="421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3" y="422"/>
                    <a:pt x="113" y="422"/>
                    <a:pt x="113" y="422"/>
                  </a:cubicBezTo>
                  <a:cubicBezTo>
                    <a:pt x="111" y="430"/>
                    <a:pt x="111" y="430"/>
                    <a:pt x="111" y="430"/>
                  </a:cubicBezTo>
                  <a:cubicBezTo>
                    <a:pt x="111" y="430"/>
                    <a:pt x="107" y="426"/>
                    <a:pt x="104" y="428"/>
                  </a:cubicBezTo>
                  <a:cubicBezTo>
                    <a:pt x="100" y="430"/>
                    <a:pt x="102" y="436"/>
                    <a:pt x="102" y="436"/>
                  </a:cubicBezTo>
                  <a:cubicBezTo>
                    <a:pt x="102" y="439"/>
                    <a:pt x="102" y="439"/>
                    <a:pt x="102" y="439"/>
                  </a:cubicBezTo>
                  <a:cubicBezTo>
                    <a:pt x="101" y="441"/>
                    <a:pt x="100" y="442"/>
                    <a:pt x="100" y="442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6" y="438"/>
                    <a:pt x="96" y="438"/>
                    <a:pt x="96" y="438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444"/>
                    <a:pt x="99" y="455"/>
                    <a:pt x="98" y="457"/>
                  </a:cubicBezTo>
                  <a:cubicBezTo>
                    <a:pt x="97" y="460"/>
                    <a:pt x="91" y="458"/>
                    <a:pt x="89" y="458"/>
                  </a:cubicBezTo>
                  <a:cubicBezTo>
                    <a:pt x="82" y="458"/>
                    <a:pt x="82" y="458"/>
                    <a:pt x="82" y="458"/>
                  </a:cubicBezTo>
                  <a:cubicBezTo>
                    <a:pt x="82" y="458"/>
                    <a:pt x="82" y="462"/>
                    <a:pt x="80" y="462"/>
                  </a:cubicBezTo>
                  <a:cubicBezTo>
                    <a:pt x="79" y="462"/>
                    <a:pt x="77" y="459"/>
                    <a:pt x="77" y="459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83" y="475"/>
                    <a:pt x="83" y="475"/>
                    <a:pt x="83" y="475"/>
                  </a:cubicBezTo>
                  <a:cubicBezTo>
                    <a:pt x="77" y="474"/>
                    <a:pt x="77" y="474"/>
                    <a:pt x="77" y="474"/>
                  </a:cubicBezTo>
                  <a:cubicBezTo>
                    <a:pt x="75" y="482"/>
                    <a:pt x="75" y="482"/>
                    <a:pt x="75" y="482"/>
                  </a:cubicBezTo>
                  <a:cubicBezTo>
                    <a:pt x="75" y="482"/>
                    <a:pt x="77" y="484"/>
                    <a:pt x="77" y="486"/>
                  </a:cubicBezTo>
                  <a:cubicBezTo>
                    <a:pt x="77" y="487"/>
                    <a:pt x="72" y="487"/>
                    <a:pt x="72" y="487"/>
                  </a:cubicBezTo>
                  <a:cubicBezTo>
                    <a:pt x="69" y="492"/>
                    <a:pt x="69" y="492"/>
                    <a:pt x="69" y="492"/>
                  </a:cubicBezTo>
                  <a:cubicBezTo>
                    <a:pt x="68" y="504"/>
                    <a:pt x="68" y="504"/>
                    <a:pt x="68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72" y="504"/>
                    <a:pt x="69" y="508"/>
                    <a:pt x="70" y="513"/>
                  </a:cubicBezTo>
                  <a:cubicBezTo>
                    <a:pt x="70" y="517"/>
                    <a:pt x="78" y="519"/>
                    <a:pt x="80" y="523"/>
                  </a:cubicBezTo>
                  <a:cubicBezTo>
                    <a:pt x="83" y="528"/>
                    <a:pt x="80" y="534"/>
                    <a:pt x="80" y="534"/>
                  </a:cubicBezTo>
                  <a:cubicBezTo>
                    <a:pt x="80" y="543"/>
                    <a:pt x="80" y="543"/>
                    <a:pt x="80" y="543"/>
                  </a:cubicBezTo>
                  <a:cubicBezTo>
                    <a:pt x="83" y="546"/>
                    <a:pt x="83" y="546"/>
                    <a:pt x="83" y="546"/>
                  </a:cubicBezTo>
                  <a:cubicBezTo>
                    <a:pt x="86" y="544"/>
                    <a:pt x="86" y="544"/>
                    <a:pt x="86" y="544"/>
                  </a:cubicBezTo>
                  <a:cubicBezTo>
                    <a:pt x="86" y="544"/>
                    <a:pt x="86" y="550"/>
                    <a:pt x="87" y="552"/>
                  </a:cubicBezTo>
                  <a:cubicBezTo>
                    <a:pt x="88" y="555"/>
                    <a:pt x="91" y="559"/>
                    <a:pt x="91" y="559"/>
                  </a:cubicBezTo>
                  <a:cubicBezTo>
                    <a:pt x="90" y="561"/>
                    <a:pt x="90" y="561"/>
                    <a:pt x="90" y="561"/>
                  </a:cubicBezTo>
                  <a:cubicBezTo>
                    <a:pt x="94" y="562"/>
                    <a:pt x="94" y="562"/>
                    <a:pt x="94" y="562"/>
                  </a:cubicBezTo>
                  <a:cubicBezTo>
                    <a:pt x="95" y="567"/>
                    <a:pt x="95" y="567"/>
                    <a:pt x="95" y="567"/>
                  </a:cubicBezTo>
                  <a:cubicBezTo>
                    <a:pt x="90" y="566"/>
                    <a:pt x="90" y="566"/>
                    <a:pt x="90" y="566"/>
                  </a:cubicBezTo>
                  <a:cubicBezTo>
                    <a:pt x="90" y="569"/>
                    <a:pt x="90" y="569"/>
                    <a:pt x="90" y="569"/>
                  </a:cubicBezTo>
                  <a:cubicBezTo>
                    <a:pt x="93" y="572"/>
                    <a:pt x="93" y="572"/>
                    <a:pt x="93" y="572"/>
                  </a:cubicBezTo>
                  <a:cubicBezTo>
                    <a:pt x="89" y="572"/>
                    <a:pt x="89" y="572"/>
                    <a:pt x="89" y="572"/>
                  </a:cubicBezTo>
                  <a:cubicBezTo>
                    <a:pt x="93" y="577"/>
                    <a:pt x="93" y="577"/>
                    <a:pt x="93" y="577"/>
                  </a:cubicBezTo>
                  <a:cubicBezTo>
                    <a:pt x="90" y="578"/>
                    <a:pt x="90" y="578"/>
                    <a:pt x="90" y="578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5" y="584"/>
                    <a:pt x="96" y="588"/>
                    <a:pt x="94" y="591"/>
                  </a:cubicBezTo>
                  <a:cubicBezTo>
                    <a:pt x="91" y="593"/>
                    <a:pt x="95" y="598"/>
                    <a:pt x="95" y="598"/>
                  </a:cubicBezTo>
                  <a:cubicBezTo>
                    <a:pt x="95" y="598"/>
                    <a:pt x="90" y="599"/>
                    <a:pt x="90" y="603"/>
                  </a:cubicBezTo>
                  <a:cubicBezTo>
                    <a:pt x="91" y="607"/>
                    <a:pt x="94" y="610"/>
                    <a:pt x="94" y="610"/>
                  </a:cubicBezTo>
                  <a:cubicBezTo>
                    <a:pt x="91" y="610"/>
                    <a:pt x="91" y="610"/>
                    <a:pt x="91" y="610"/>
                  </a:cubicBezTo>
                  <a:cubicBezTo>
                    <a:pt x="88" y="607"/>
                    <a:pt x="88" y="607"/>
                    <a:pt x="88" y="607"/>
                  </a:cubicBezTo>
                  <a:cubicBezTo>
                    <a:pt x="87" y="613"/>
                    <a:pt x="87" y="613"/>
                    <a:pt x="87" y="613"/>
                  </a:cubicBezTo>
                  <a:cubicBezTo>
                    <a:pt x="95" y="613"/>
                    <a:pt x="95" y="613"/>
                    <a:pt x="95" y="613"/>
                  </a:cubicBezTo>
                  <a:cubicBezTo>
                    <a:pt x="93" y="614"/>
                    <a:pt x="93" y="614"/>
                    <a:pt x="93" y="614"/>
                  </a:cubicBezTo>
                  <a:cubicBezTo>
                    <a:pt x="94" y="619"/>
                    <a:pt x="94" y="619"/>
                    <a:pt x="94" y="619"/>
                  </a:cubicBezTo>
                  <a:cubicBezTo>
                    <a:pt x="97" y="622"/>
                    <a:pt x="97" y="622"/>
                    <a:pt x="97" y="622"/>
                  </a:cubicBezTo>
                  <a:cubicBezTo>
                    <a:pt x="97" y="622"/>
                    <a:pt x="95" y="624"/>
                    <a:pt x="97" y="628"/>
                  </a:cubicBezTo>
                  <a:cubicBezTo>
                    <a:pt x="99" y="632"/>
                    <a:pt x="101" y="632"/>
                    <a:pt x="101" y="632"/>
                  </a:cubicBezTo>
                  <a:cubicBezTo>
                    <a:pt x="104" y="635"/>
                    <a:pt x="104" y="635"/>
                    <a:pt x="104" y="635"/>
                  </a:cubicBezTo>
                  <a:cubicBezTo>
                    <a:pt x="104" y="630"/>
                    <a:pt x="104" y="630"/>
                    <a:pt x="104" y="630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35"/>
                    <a:pt x="110" y="635"/>
                    <a:pt x="110" y="635"/>
                  </a:cubicBezTo>
                  <a:cubicBezTo>
                    <a:pt x="112" y="635"/>
                    <a:pt x="112" y="635"/>
                    <a:pt x="112" y="635"/>
                  </a:cubicBezTo>
                  <a:cubicBezTo>
                    <a:pt x="113" y="631"/>
                    <a:pt x="113" y="631"/>
                    <a:pt x="113" y="631"/>
                  </a:cubicBezTo>
                  <a:cubicBezTo>
                    <a:pt x="118" y="635"/>
                    <a:pt x="118" y="635"/>
                    <a:pt x="118" y="635"/>
                  </a:cubicBezTo>
                  <a:cubicBezTo>
                    <a:pt x="124" y="635"/>
                    <a:pt x="124" y="635"/>
                    <a:pt x="124" y="635"/>
                  </a:cubicBezTo>
                  <a:cubicBezTo>
                    <a:pt x="131" y="638"/>
                    <a:pt x="131" y="638"/>
                    <a:pt x="131" y="638"/>
                  </a:cubicBezTo>
                  <a:cubicBezTo>
                    <a:pt x="137" y="638"/>
                    <a:pt x="137" y="638"/>
                    <a:pt x="137" y="638"/>
                  </a:cubicBezTo>
                  <a:cubicBezTo>
                    <a:pt x="135" y="646"/>
                    <a:pt x="135" y="646"/>
                    <a:pt x="135" y="646"/>
                  </a:cubicBezTo>
                  <a:cubicBezTo>
                    <a:pt x="137" y="648"/>
                    <a:pt x="137" y="648"/>
                    <a:pt x="137" y="648"/>
                  </a:cubicBezTo>
                  <a:cubicBezTo>
                    <a:pt x="144" y="645"/>
                    <a:pt x="144" y="645"/>
                    <a:pt x="144" y="645"/>
                  </a:cubicBezTo>
                  <a:cubicBezTo>
                    <a:pt x="151" y="639"/>
                    <a:pt x="151" y="639"/>
                    <a:pt x="151" y="639"/>
                  </a:cubicBezTo>
                  <a:cubicBezTo>
                    <a:pt x="152" y="640"/>
                    <a:pt x="152" y="640"/>
                    <a:pt x="152" y="640"/>
                  </a:cubicBezTo>
                  <a:cubicBezTo>
                    <a:pt x="149" y="649"/>
                    <a:pt x="149" y="649"/>
                    <a:pt x="149" y="649"/>
                  </a:cubicBezTo>
                  <a:cubicBezTo>
                    <a:pt x="154" y="653"/>
                    <a:pt x="154" y="653"/>
                    <a:pt x="154" y="653"/>
                  </a:cubicBezTo>
                  <a:cubicBezTo>
                    <a:pt x="153" y="657"/>
                    <a:pt x="153" y="657"/>
                    <a:pt x="153" y="657"/>
                  </a:cubicBezTo>
                  <a:cubicBezTo>
                    <a:pt x="157" y="656"/>
                    <a:pt x="157" y="656"/>
                    <a:pt x="157" y="656"/>
                  </a:cubicBezTo>
                  <a:cubicBezTo>
                    <a:pt x="157" y="658"/>
                    <a:pt x="157" y="658"/>
                    <a:pt x="157" y="658"/>
                  </a:cubicBezTo>
                  <a:cubicBezTo>
                    <a:pt x="150" y="664"/>
                    <a:pt x="150" y="664"/>
                    <a:pt x="150" y="664"/>
                  </a:cubicBezTo>
                  <a:cubicBezTo>
                    <a:pt x="151" y="666"/>
                    <a:pt x="151" y="666"/>
                    <a:pt x="151" y="666"/>
                  </a:cubicBezTo>
                  <a:cubicBezTo>
                    <a:pt x="156" y="666"/>
                    <a:pt x="156" y="666"/>
                    <a:pt x="156" y="666"/>
                  </a:cubicBezTo>
                  <a:cubicBezTo>
                    <a:pt x="159" y="662"/>
                    <a:pt x="159" y="662"/>
                    <a:pt x="159" y="662"/>
                  </a:cubicBezTo>
                  <a:cubicBezTo>
                    <a:pt x="159" y="662"/>
                    <a:pt x="161" y="664"/>
                    <a:pt x="161" y="666"/>
                  </a:cubicBezTo>
                  <a:cubicBezTo>
                    <a:pt x="162" y="669"/>
                    <a:pt x="152" y="674"/>
                    <a:pt x="152" y="674"/>
                  </a:cubicBezTo>
                  <a:cubicBezTo>
                    <a:pt x="163" y="671"/>
                    <a:pt x="163" y="671"/>
                    <a:pt x="163" y="671"/>
                  </a:cubicBezTo>
                  <a:cubicBezTo>
                    <a:pt x="171" y="655"/>
                    <a:pt x="171" y="655"/>
                    <a:pt x="171" y="655"/>
                  </a:cubicBezTo>
                  <a:cubicBezTo>
                    <a:pt x="169" y="663"/>
                    <a:pt x="169" y="663"/>
                    <a:pt x="169" y="663"/>
                  </a:cubicBezTo>
                  <a:cubicBezTo>
                    <a:pt x="181" y="660"/>
                    <a:pt x="181" y="660"/>
                    <a:pt x="181" y="660"/>
                  </a:cubicBezTo>
                  <a:cubicBezTo>
                    <a:pt x="189" y="654"/>
                    <a:pt x="189" y="654"/>
                    <a:pt x="189" y="654"/>
                  </a:cubicBezTo>
                  <a:cubicBezTo>
                    <a:pt x="192" y="654"/>
                    <a:pt x="192" y="654"/>
                    <a:pt x="192" y="654"/>
                  </a:cubicBezTo>
                  <a:cubicBezTo>
                    <a:pt x="198" y="649"/>
                    <a:pt x="198" y="649"/>
                    <a:pt x="198" y="649"/>
                  </a:cubicBezTo>
                  <a:cubicBezTo>
                    <a:pt x="201" y="650"/>
                    <a:pt x="201" y="650"/>
                    <a:pt x="201" y="650"/>
                  </a:cubicBezTo>
                  <a:cubicBezTo>
                    <a:pt x="203" y="655"/>
                    <a:pt x="203" y="655"/>
                    <a:pt x="203" y="655"/>
                  </a:cubicBezTo>
                  <a:cubicBezTo>
                    <a:pt x="206" y="653"/>
                    <a:pt x="206" y="653"/>
                    <a:pt x="206" y="653"/>
                  </a:cubicBezTo>
                  <a:cubicBezTo>
                    <a:pt x="206" y="645"/>
                    <a:pt x="206" y="645"/>
                    <a:pt x="206" y="645"/>
                  </a:cubicBezTo>
                  <a:cubicBezTo>
                    <a:pt x="221" y="638"/>
                    <a:pt x="221" y="638"/>
                    <a:pt x="221" y="638"/>
                  </a:cubicBezTo>
                  <a:cubicBezTo>
                    <a:pt x="222" y="635"/>
                    <a:pt x="222" y="635"/>
                    <a:pt x="222" y="635"/>
                  </a:cubicBezTo>
                  <a:cubicBezTo>
                    <a:pt x="235" y="629"/>
                    <a:pt x="235" y="629"/>
                    <a:pt x="235" y="629"/>
                  </a:cubicBezTo>
                  <a:cubicBezTo>
                    <a:pt x="235" y="622"/>
                    <a:pt x="235" y="622"/>
                    <a:pt x="235" y="622"/>
                  </a:cubicBezTo>
                  <a:cubicBezTo>
                    <a:pt x="235" y="622"/>
                    <a:pt x="237" y="628"/>
                    <a:pt x="241" y="628"/>
                  </a:cubicBezTo>
                  <a:cubicBezTo>
                    <a:pt x="244" y="628"/>
                    <a:pt x="248" y="626"/>
                    <a:pt x="248" y="626"/>
                  </a:cubicBezTo>
                  <a:cubicBezTo>
                    <a:pt x="245" y="624"/>
                    <a:pt x="245" y="624"/>
                    <a:pt x="245" y="624"/>
                  </a:cubicBezTo>
                  <a:cubicBezTo>
                    <a:pt x="246" y="620"/>
                    <a:pt x="246" y="620"/>
                    <a:pt x="246" y="620"/>
                  </a:cubicBezTo>
                  <a:cubicBezTo>
                    <a:pt x="251" y="624"/>
                    <a:pt x="251" y="624"/>
                    <a:pt x="251" y="624"/>
                  </a:cubicBezTo>
                  <a:cubicBezTo>
                    <a:pt x="251" y="622"/>
                    <a:pt x="251" y="622"/>
                    <a:pt x="251" y="622"/>
                  </a:cubicBezTo>
                  <a:cubicBezTo>
                    <a:pt x="245" y="613"/>
                    <a:pt x="245" y="613"/>
                    <a:pt x="245" y="613"/>
                  </a:cubicBezTo>
                  <a:cubicBezTo>
                    <a:pt x="245" y="613"/>
                    <a:pt x="254" y="619"/>
                    <a:pt x="260" y="617"/>
                  </a:cubicBezTo>
                  <a:cubicBezTo>
                    <a:pt x="264" y="614"/>
                    <a:pt x="262" y="611"/>
                    <a:pt x="262" y="611"/>
                  </a:cubicBezTo>
                  <a:cubicBezTo>
                    <a:pt x="268" y="610"/>
                    <a:pt x="268" y="610"/>
                    <a:pt x="268" y="610"/>
                  </a:cubicBezTo>
                  <a:cubicBezTo>
                    <a:pt x="273" y="608"/>
                    <a:pt x="273" y="608"/>
                    <a:pt x="273" y="608"/>
                  </a:cubicBezTo>
                  <a:cubicBezTo>
                    <a:pt x="279" y="608"/>
                    <a:pt x="279" y="608"/>
                    <a:pt x="279" y="608"/>
                  </a:cubicBezTo>
                  <a:cubicBezTo>
                    <a:pt x="283" y="602"/>
                    <a:pt x="283" y="602"/>
                    <a:pt x="283" y="602"/>
                  </a:cubicBezTo>
                  <a:cubicBezTo>
                    <a:pt x="293" y="603"/>
                    <a:pt x="293" y="603"/>
                    <a:pt x="293" y="603"/>
                  </a:cubicBezTo>
                  <a:cubicBezTo>
                    <a:pt x="304" y="598"/>
                    <a:pt x="304" y="598"/>
                    <a:pt x="304" y="598"/>
                  </a:cubicBezTo>
                  <a:cubicBezTo>
                    <a:pt x="304" y="597"/>
                    <a:pt x="304" y="597"/>
                    <a:pt x="304" y="597"/>
                  </a:cubicBezTo>
                  <a:cubicBezTo>
                    <a:pt x="312" y="581"/>
                    <a:pt x="312" y="581"/>
                    <a:pt x="312" y="581"/>
                  </a:cubicBezTo>
                  <a:cubicBezTo>
                    <a:pt x="323" y="566"/>
                    <a:pt x="323" y="566"/>
                    <a:pt x="323" y="566"/>
                  </a:cubicBezTo>
                  <a:cubicBezTo>
                    <a:pt x="327" y="563"/>
                    <a:pt x="327" y="563"/>
                    <a:pt x="327" y="563"/>
                  </a:cubicBezTo>
                  <a:cubicBezTo>
                    <a:pt x="328" y="554"/>
                    <a:pt x="328" y="554"/>
                    <a:pt x="328" y="554"/>
                  </a:cubicBezTo>
                  <a:cubicBezTo>
                    <a:pt x="341" y="540"/>
                    <a:pt x="341" y="540"/>
                    <a:pt x="341" y="540"/>
                  </a:cubicBezTo>
                  <a:cubicBezTo>
                    <a:pt x="341" y="540"/>
                    <a:pt x="346" y="527"/>
                    <a:pt x="349" y="521"/>
                  </a:cubicBezTo>
                  <a:cubicBezTo>
                    <a:pt x="352" y="516"/>
                    <a:pt x="360" y="496"/>
                    <a:pt x="363" y="485"/>
                  </a:cubicBezTo>
                  <a:cubicBezTo>
                    <a:pt x="366" y="473"/>
                    <a:pt x="375" y="460"/>
                    <a:pt x="375" y="460"/>
                  </a:cubicBezTo>
                  <a:cubicBezTo>
                    <a:pt x="375" y="460"/>
                    <a:pt x="377" y="456"/>
                    <a:pt x="378" y="452"/>
                  </a:cubicBezTo>
                  <a:cubicBezTo>
                    <a:pt x="380" y="448"/>
                    <a:pt x="382" y="424"/>
                    <a:pt x="382" y="418"/>
                  </a:cubicBezTo>
                  <a:close/>
                  <a:moveTo>
                    <a:pt x="52" y="662"/>
                  </a:moveTo>
                  <a:cubicBezTo>
                    <a:pt x="52" y="658"/>
                    <a:pt x="52" y="658"/>
                    <a:pt x="52" y="658"/>
                  </a:cubicBezTo>
                  <a:cubicBezTo>
                    <a:pt x="54" y="657"/>
                    <a:pt x="54" y="657"/>
                    <a:pt x="54" y="657"/>
                  </a:cubicBezTo>
                  <a:cubicBezTo>
                    <a:pt x="54" y="657"/>
                    <a:pt x="54" y="659"/>
                    <a:pt x="55" y="661"/>
                  </a:cubicBezTo>
                  <a:cubicBezTo>
                    <a:pt x="56" y="662"/>
                    <a:pt x="61" y="660"/>
                    <a:pt x="61" y="660"/>
                  </a:cubicBezTo>
                  <a:cubicBezTo>
                    <a:pt x="60" y="653"/>
                    <a:pt x="60" y="653"/>
                    <a:pt x="60" y="653"/>
                  </a:cubicBezTo>
                  <a:cubicBezTo>
                    <a:pt x="55" y="653"/>
                    <a:pt x="55" y="653"/>
                    <a:pt x="55" y="653"/>
                  </a:cubicBezTo>
                  <a:cubicBezTo>
                    <a:pt x="55" y="650"/>
                    <a:pt x="55" y="650"/>
                    <a:pt x="55" y="650"/>
                  </a:cubicBezTo>
                  <a:cubicBezTo>
                    <a:pt x="51" y="651"/>
                    <a:pt x="51" y="651"/>
                    <a:pt x="51" y="651"/>
                  </a:cubicBezTo>
                  <a:cubicBezTo>
                    <a:pt x="51" y="651"/>
                    <a:pt x="50" y="649"/>
                    <a:pt x="50" y="647"/>
                  </a:cubicBezTo>
                  <a:cubicBezTo>
                    <a:pt x="50" y="646"/>
                    <a:pt x="47" y="644"/>
                    <a:pt x="45" y="648"/>
                  </a:cubicBezTo>
                  <a:cubicBezTo>
                    <a:pt x="45" y="651"/>
                    <a:pt x="45" y="651"/>
                    <a:pt x="45" y="651"/>
                  </a:cubicBezTo>
                  <a:cubicBezTo>
                    <a:pt x="48" y="657"/>
                    <a:pt x="48" y="657"/>
                    <a:pt x="48" y="657"/>
                  </a:cubicBezTo>
                  <a:cubicBezTo>
                    <a:pt x="45" y="659"/>
                    <a:pt x="45" y="659"/>
                    <a:pt x="45" y="659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1" y="658"/>
                    <a:pt x="41" y="658"/>
                    <a:pt x="41" y="658"/>
                  </a:cubicBezTo>
                  <a:cubicBezTo>
                    <a:pt x="46" y="669"/>
                    <a:pt x="46" y="669"/>
                    <a:pt x="46" y="669"/>
                  </a:cubicBezTo>
                  <a:cubicBezTo>
                    <a:pt x="50" y="670"/>
                    <a:pt x="50" y="670"/>
                    <a:pt x="50" y="670"/>
                  </a:cubicBezTo>
                  <a:cubicBezTo>
                    <a:pt x="54" y="666"/>
                    <a:pt x="54" y="666"/>
                    <a:pt x="54" y="666"/>
                  </a:cubicBezTo>
                  <a:cubicBezTo>
                    <a:pt x="54" y="662"/>
                    <a:pt x="54" y="662"/>
                    <a:pt x="54" y="662"/>
                  </a:cubicBezTo>
                  <a:lnTo>
                    <a:pt x="52" y="662"/>
                  </a:lnTo>
                  <a:close/>
                  <a:moveTo>
                    <a:pt x="37" y="666"/>
                  </a:moveTo>
                  <a:cubicBezTo>
                    <a:pt x="41" y="664"/>
                    <a:pt x="41" y="664"/>
                    <a:pt x="41" y="664"/>
                  </a:cubicBezTo>
                  <a:cubicBezTo>
                    <a:pt x="39" y="658"/>
                    <a:pt x="39" y="658"/>
                    <a:pt x="39" y="658"/>
                  </a:cubicBezTo>
                  <a:lnTo>
                    <a:pt x="37" y="666"/>
                  </a:lnTo>
                  <a:close/>
                  <a:moveTo>
                    <a:pt x="55" y="670"/>
                  </a:moveTo>
                  <a:cubicBezTo>
                    <a:pt x="61" y="674"/>
                    <a:pt x="61" y="674"/>
                    <a:pt x="61" y="674"/>
                  </a:cubicBezTo>
                  <a:cubicBezTo>
                    <a:pt x="63" y="671"/>
                    <a:pt x="63" y="671"/>
                    <a:pt x="63" y="671"/>
                  </a:cubicBezTo>
                  <a:cubicBezTo>
                    <a:pt x="56" y="667"/>
                    <a:pt x="56" y="667"/>
                    <a:pt x="56" y="667"/>
                  </a:cubicBezTo>
                  <a:lnTo>
                    <a:pt x="55" y="670"/>
                  </a:lnTo>
                  <a:close/>
                  <a:moveTo>
                    <a:pt x="63" y="663"/>
                  </a:moveTo>
                  <a:cubicBezTo>
                    <a:pt x="61" y="664"/>
                    <a:pt x="61" y="667"/>
                    <a:pt x="64" y="667"/>
                  </a:cubicBezTo>
                  <a:cubicBezTo>
                    <a:pt x="66" y="666"/>
                    <a:pt x="66" y="662"/>
                    <a:pt x="63" y="663"/>
                  </a:cubicBezTo>
                  <a:close/>
                  <a:moveTo>
                    <a:pt x="107" y="657"/>
                  </a:moveTo>
                  <a:cubicBezTo>
                    <a:pt x="104" y="657"/>
                    <a:pt x="100" y="662"/>
                    <a:pt x="106" y="661"/>
                  </a:cubicBezTo>
                  <a:cubicBezTo>
                    <a:pt x="106" y="661"/>
                    <a:pt x="111" y="657"/>
                    <a:pt x="107" y="657"/>
                  </a:cubicBezTo>
                  <a:close/>
                  <a:moveTo>
                    <a:pt x="113" y="654"/>
                  </a:moveTo>
                  <a:cubicBezTo>
                    <a:pt x="111" y="655"/>
                    <a:pt x="112" y="657"/>
                    <a:pt x="112" y="657"/>
                  </a:cubicBezTo>
                  <a:cubicBezTo>
                    <a:pt x="110" y="659"/>
                    <a:pt x="110" y="659"/>
                    <a:pt x="110" y="659"/>
                  </a:cubicBezTo>
                  <a:cubicBezTo>
                    <a:pt x="111" y="660"/>
                    <a:pt x="111" y="660"/>
                    <a:pt x="111" y="660"/>
                  </a:cubicBezTo>
                  <a:cubicBezTo>
                    <a:pt x="117" y="655"/>
                    <a:pt x="117" y="655"/>
                    <a:pt x="117" y="655"/>
                  </a:cubicBezTo>
                  <a:cubicBezTo>
                    <a:pt x="117" y="655"/>
                    <a:pt x="115" y="653"/>
                    <a:pt x="113" y="654"/>
                  </a:cubicBezTo>
                  <a:close/>
                  <a:moveTo>
                    <a:pt x="119" y="654"/>
                  </a:moveTo>
                  <a:cubicBezTo>
                    <a:pt x="120" y="657"/>
                    <a:pt x="120" y="657"/>
                    <a:pt x="120" y="657"/>
                  </a:cubicBezTo>
                  <a:cubicBezTo>
                    <a:pt x="122" y="656"/>
                    <a:pt x="122" y="656"/>
                    <a:pt x="122" y="656"/>
                  </a:cubicBezTo>
                  <a:cubicBezTo>
                    <a:pt x="122" y="654"/>
                    <a:pt x="122" y="654"/>
                    <a:pt x="122" y="654"/>
                  </a:cubicBezTo>
                  <a:lnTo>
                    <a:pt x="119" y="654"/>
                  </a:lnTo>
                  <a:close/>
                  <a:moveTo>
                    <a:pt x="148" y="643"/>
                  </a:moveTo>
                  <a:cubicBezTo>
                    <a:pt x="146" y="647"/>
                    <a:pt x="146" y="647"/>
                    <a:pt x="146" y="647"/>
                  </a:cubicBezTo>
                  <a:cubicBezTo>
                    <a:pt x="142" y="648"/>
                    <a:pt x="142" y="648"/>
                    <a:pt x="142" y="648"/>
                  </a:cubicBezTo>
                  <a:cubicBezTo>
                    <a:pt x="139" y="650"/>
                    <a:pt x="139" y="650"/>
                    <a:pt x="139" y="650"/>
                  </a:cubicBezTo>
                  <a:cubicBezTo>
                    <a:pt x="134" y="651"/>
                    <a:pt x="134" y="651"/>
                    <a:pt x="134" y="651"/>
                  </a:cubicBezTo>
                  <a:cubicBezTo>
                    <a:pt x="133" y="655"/>
                    <a:pt x="133" y="655"/>
                    <a:pt x="133" y="655"/>
                  </a:cubicBezTo>
                  <a:cubicBezTo>
                    <a:pt x="136" y="655"/>
                    <a:pt x="136" y="655"/>
                    <a:pt x="136" y="655"/>
                  </a:cubicBezTo>
                  <a:cubicBezTo>
                    <a:pt x="133" y="659"/>
                    <a:pt x="133" y="659"/>
                    <a:pt x="133" y="659"/>
                  </a:cubicBezTo>
                  <a:cubicBezTo>
                    <a:pt x="133" y="664"/>
                    <a:pt x="133" y="664"/>
                    <a:pt x="133" y="664"/>
                  </a:cubicBezTo>
                  <a:cubicBezTo>
                    <a:pt x="139" y="661"/>
                    <a:pt x="139" y="661"/>
                    <a:pt x="139" y="661"/>
                  </a:cubicBezTo>
                  <a:cubicBezTo>
                    <a:pt x="145" y="661"/>
                    <a:pt x="145" y="661"/>
                    <a:pt x="145" y="661"/>
                  </a:cubicBezTo>
                  <a:cubicBezTo>
                    <a:pt x="149" y="654"/>
                    <a:pt x="149" y="654"/>
                    <a:pt x="149" y="654"/>
                  </a:cubicBezTo>
                  <a:cubicBezTo>
                    <a:pt x="147" y="649"/>
                    <a:pt x="147" y="649"/>
                    <a:pt x="147" y="649"/>
                  </a:cubicBezTo>
                  <a:cubicBezTo>
                    <a:pt x="149" y="644"/>
                    <a:pt x="149" y="644"/>
                    <a:pt x="149" y="644"/>
                  </a:cubicBezTo>
                  <a:lnTo>
                    <a:pt x="148" y="643"/>
                  </a:lnTo>
                  <a:close/>
                  <a:moveTo>
                    <a:pt x="111" y="639"/>
                  </a:moveTo>
                  <a:cubicBezTo>
                    <a:pt x="112" y="640"/>
                    <a:pt x="112" y="640"/>
                    <a:pt x="112" y="640"/>
                  </a:cubicBezTo>
                  <a:cubicBezTo>
                    <a:pt x="110" y="643"/>
                    <a:pt x="110" y="643"/>
                    <a:pt x="110" y="643"/>
                  </a:cubicBezTo>
                  <a:cubicBezTo>
                    <a:pt x="112" y="643"/>
                    <a:pt x="112" y="643"/>
                    <a:pt x="112" y="643"/>
                  </a:cubicBezTo>
                  <a:cubicBezTo>
                    <a:pt x="114" y="642"/>
                    <a:pt x="114" y="642"/>
                    <a:pt x="114" y="642"/>
                  </a:cubicBezTo>
                  <a:cubicBezTo>
                    <a:pt x="117" y="644"/>
                    <a:pt x="117" y="644"/>
                    <a:pt x="117" y="644"/>
                  </a:cubicBezTo>
                  <a:cubicBezTo>
                    <a:pt x="118" y="641"/>
                    <a:pt x="118" y="641"/>
                    <a:pt x="118" y="641"/>
                  </a:cubicBezTo>
                  <a:cubicBezTo>
                    <a:pt x="113" y="638"/>
                    <a:pt x="113" y="638"/>
                    <a:pt x="113" y="638"/>
                  </a:cubicBezTo>
                  <a:lnTo>
                    <a:pt x="111" y="639"/>
                  </a:lnTo>
                  <a:close/>
                  <a:moveTo>
                    <a:pt x="99" y="634"/>
                  </a:moveTo>
                  <a:cubicBezTo>
                    <a:pt x="95" y="631"/>
                    <a:pt x="94" y="630"/>
                    <a:pt x="95" y="632"/>
                  </a:cubicBezTo>
                  <a:cubicBezTo>
                    <a:pt x="97" y="637"/>
                    <a:pt x="97" y="637"/>
                    <a:pt x="97" y="637"/>
                  </a:cubicBezTo>
                  <a:cubicBezTo>
                    <a:pt x="102" y="637"/>
                    <a:pt x="102" y="637"/>
                    <a:pt x="99" y="634"/>
                  </a:cubicBezTo>
                  <a:close/>
                  <a:moveTo>
                    <a:pt x="90" y="628"/>
                  </a:moveTo>
                  <a:cubicBezTo>
                    <a:pt x="93" y="631"/>
                    <a:pt x="93" y="631"/>
                    <a:pt x="93" y="631"/>
                  </a:cubicBezTo>
                  <a:cubicBezTo>
                    <a:pt x="94" y="628"/>
                    <a:pt x="94" y="628"/>
                    <a:pt x="94" y="628"/>
                  </a:cubicBezTo>
                  <a:cubicBezTo>
                    <a:pt x="91" y="627"/>
                    <a:pt x="91" y="627"/>
                    <a:pt x="91" y="627"/>
                  </a:cubicBezTo>
                  <a:lnTo>
                    <a:pt x="90" y="628"/>
                  </a:lnTo>
                  <a:close/>
                  <a:moveTo>
                    <a:pt x="175" y="667"/>
                  </a:moveTo>
                  <a:cubicBezTo>
                    <a:pt x="175" y="664"/>
                    <a:pt x="175" y="664"/>
                    <a:pt x="175" y="664"/>
                  </a:cubicBezTo>
                  <a:cubicBezTo>
                    <a:pt x="170" y="666"/>
                    <a:pt x="170" y="666"/>
                    <a:pt x="170" y="666"/>
                  </a:cubicBezTo>
                  <a:lnTo>
                    <a:pt x="175" y="667"/>
                  </a:lnTo>
                  <a:close/>
                  <a:moveTo>
                    <a:pt x="74" y="466"/>
                  </a:moveTo>
                  <a:cubicBezTo>
                    <a:pt x="72" y="462"/>
                    <a:pt x="72" y="462"/>
                    <a:pt x="72" y="462"/>
                  </a:cubicBezTo>
                  <a:cubicBezTo>
                    <a:pt x="72" y="462"/>
                    <a:pt x="69" y="464"/>
                    <a:pt x="68" y="464"/>
                  </a:cubicBezTo>
                  <a:cubicBezTo>
                    <a:pt x="66" y="464"/>
                    <a:pt x="67" y="461"/>
                    <a:pt x="67" y="461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6" y="468"/>
                    <a:pt x="66" y="468"/>
                    <a:pt x="66" y="468"/>
                  </a:cubicBezTo>
                  <a:cubicBezTo>
                    <a:pt x="71" y="469"/>
                    <a:pt x="74" y="466"/>
                    <a:pt x="74" y="466"/>
                  </a:cubicBezTo>
                  <a:close/>
                  <a:moveTo>
                    <a:pt x="72" y="456"/>
                  </a:moveTo>
                  <a:cubicBezTo>
                    <a:pt x="67" y="457"/>
                    <a:pt x="67" y="457"/>
                    <a:pt x="67" y="457"/>
                  </a:cubicBezTo>
                  <a:cubicBezTo>
                    <a:pt x="70" y="460"/>
                    <a:pt x="70" y="460"/>
                    <a:pt x="70" y="460"/>
                  </a:cubicBezTo>
                  <a:lnTo>
                    <a:pt x="72" y="456"/>
                  </a:lnTo>
                  <a:close/>
                  <a:moveTo>
                    <a:pt x="93" y="452"/>
                  </a:moveTo>
                  <a:cubicBezTo>
                    <a:pt x="90" y="456"/>
                    <a:pt x="90" y="456"/>
                    <a:pt x="90" y="456"/>
                  </a:cubicBezTo>
                  <a:cubicBezTo>
                    <a:pt x="94" y="456"/>
                    <a:pt x="94" y="456"/>
                    <a:pt x="94" y="456"/>
                  </a:cubicBezTo>
                  <a:cubicBezTo>
                    <a:pt x="97" y="454"/>
                    <a:pt x="97" y="454"/>
                    <a:pt x="97" y="454"/>
                  </a:cubicBezTo>
                  <a:lnTo>
                    <a:pt x="93" y="452"/>
                  </a:lnTo>
                  <a:close/>
                  <a:moveTo>
                    <a:pt x="157" y="329"/>
                  </a:moveTo>
                  <a:cubicBezTo>
                    <a:pt x="153" y="331"/>
                    <a:pt x="153" y="331"/>
                    <a:pt x="153" y="331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45" y="331"/>
                    <a:pt x="145" y="331"/>
                    <a:pt x="145" y="331"/>
                  </a:cubicBezTo>
                  <a:cubicBezTo>
                    <a:pt x="145" y="335"/>
                    <a:pt x="145" y="335"/>
                    <a:pt x="145" y="335"/>
                  </a:cubicBezTo>
                  <a:cubicBezTo>
                    <a:pt x="145" y="336"/>
                    <a:pt x="147" y="338"/>
                    <a:pt x="147" y="338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52" y="332"/>
                    <a:pt x="152" y="332"/>
                    <a:pt x="152" y="332"/>
                  </a:cubicBezTo>
                  <a:cubicBezTo>
                    <a:pt x="157" y="331"/>
                    <a:pt x="157" y="331"/>
                    <a:pt x="157" y="331"/>
                  </a:cubicBezTo>
                  <a:lnTo>
                    <a:pt x="157" y="329"/>
                  </a:lnTo>
                  <a:close/>
                  <a:moveTo>
                    <a:pt x="244" y="634"/>
                  </a:moveTo>
                  <a:cubicBezTo>
                    <a:pt x="247" y="630"/>
                    <a:pt x="247" y="630"/>
                    <a:pt x="247" y="630"/>
                  </a:cubicBezTo>
                  <a:cubicBezTo>
                    <a:pt x="243" y="631"/>
                    <a:pt x="243" y="631"/>
                    <a:pt x="243" y="631"/>
                  </a:cubicBezTo>
                  <a:lnTo>
                    <a:pt x="244" y="634"/>
                  </a:lnTo>
                  <a:close/>
                  <a:moveTo>
                    <a:pt x="260" y="618"/>
                  </a:moveTo>
                  <a:cubicBezTo>
                    <a:pt x="265" y="619"/>
                    <a:pt x="265" y="619"/>
                    <a:pt x="265" y="619"/>
                  </a:cubicBezTo>
                  <a:cubicBezTo>
                    <a:pt x="263" y="616"/>
                    <a:pt x="263" y="616"/>
                    <a:pt x="263" y="616"/>
                  </a:cubicBezTo>
                  <a:lnTo>
                    <a:pt x="260" y="618"/>
                  </a:lnTo>
                  <a:close/>
                  <a:moveTo>
                    <a:pt x="265" y="614"/>
                  </a:moveTo>
                  <a:cubicBezTo>
                    <a:pt x="267" y="617"/>
                    <a:pt x="267" y="617"/>
                    <a:pt x="267" y="617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0" y="613"/>
                    <a:pt x="270" y="613"/>
                    <a:pt x="270" y="613"/>
                  </a:cubicBezTo>
                  <a:lnTo>
                    <a:pt x="265" y="6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Bulgarien" descr="© INSCALE GmbH, 05.05.2010&#10;http://www.presentationload.com/">
              <a:extLst>
                <a:ext uri="{FF2B5EF4-FFF2-40B4-BE49-F238E27FC236}">
                  <a16:creationId xmlns:a16="http://schemas.microsoft.com/office/drawing/2014/main" id="{FFD8B23C-3580-D242-BC2F-EAD95064FB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9023" y="5331521"/>
              <a:ext cx="717858" cy="521478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9" name="Griech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E9E8D4A-2346-0D4F-BF18-89022210D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16437" y="5724279"/>
              <a:ext cx="1150222" cy="1079262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56AD95A7-9F61-E443-A7E4-A416134BA3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30303" y="3909008"/>
              <a:ext cx="1807022" cy="1227784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I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9B613DB-BDAB-E74A-9F2D-354F7F8AC6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4193" y="1559056"/>
              <a:ext cx="679902" cy="561084"/>
            </a:xfrm>
            <a:custGeom>
              <a:avLst/>
              <a:gdLst/>
              <a:ahLst/>
              <a:cxnLst>
                <a:cxn ang="0">
                  <a:pos x="273" y="136"/>
                </a:cxn>
                <a:cxn ang="0">
                  <a:pos x="262" y="113"/>
                </a:cxn>
                <a:cxn ang="0">
                  <a:pos x="268" y="98"/>
                </a:cxn>
                <a:cxn ang="0">
                  <a:pos x="252" y="81"/>
                </a:cxn>
                <a:cxn ang="0">
                  <a:pos x="229" y="89"/>
                </a:cxn>
                <a:cxn ang="0">
                  <a:pos x="206" y="89"/>
                </a:cxn>
                <a:cxn ang="0">
                  <a:pos x="189" y="71"/>
                </a:cxn>
                <a:cxn ang="0">
                  <a:pos x="178" y="102"/>
                </a:cxn>
                <a:cxn ang="0">
                  <a:pos x="177" y="75"/>
                </a:cxn>
                <a:cxn ang="0">
                  <a:pos x="170" y="63"/>
                </a:cxn>
                <a:cxn ang="0">
                  <a:pos x="144" y="81"/>
                </a:cxn>
                <a:cxn ang="0">
                  <a:pos x="141" y="52"/>
                </a:cxn>
                <a:cxn ang="0">
                  <a:pos x="133" y="54"/>
                </a:cxn>
                <a:cxn ang="0">
                  <a:pos x="115" y="81"/>
                </a:cxn>
                <a:cxn ang="0">
                  <a:pos x="110" y="75"/>
                </a:cxn>
                <a:cxn ang="0">
                  <a:pos x="95" y="81"/>
                </a:cxn>
                <a:cxn ang="0">
                  <a:pos x="90" y="75"/>
                </a:cxn>
                <a:cxn ang="0">
                  <a:pos x="92" y="54"/>
                </a:cxn>
                <a:cxn ang="0">
                  <a:pos x="109" y="44"/>
                </a:cxn>
                <a:cxn ang="0">
                  <a:pos x="104" y="23"/>
                </a:cxn>
                <a:cxn ang="0">
                  <a:pos x="97" y="10"/>
                </a:cxn>
                <a:cxn ang="0">
                  <a:pos x="81" y="5"/>
                </a:cxn>
                <a:cxn ang="0">
                  <a:pos x="88" y="13"/>
                </a:cxn>
                <a:cxn ang="0">
                  <a:pos x="87" y="29"/>
                </a:cxn>
                <a:cxn ang="0">
                  <a:pos x="79" y="32"/>
                </a:cxn>
                <a:cxn ang="0">
                  <a:pos x="73" y="27"/>
                </a:cxn>
                <a:cxn ang="0">
                  <a:pos x="71" y="13"/>
                </a:cxn>
                <a:cxn ang="0">
                  <a:pos x="53" y="22"/>
                </a:cxn>
                <a:cxn ang="0">
                  <a:pos x="57" y="38"/>
                </a:cxn>
                <a:cxn ang="0">
                  <a:pos x="38" y="23"/>
                </a:cxn>
                <a:cxn ang="0">
                  <a:pos x="30" y="36"/>
                </a:cxn>
                <a:cxn ang="0">
                  <a:pos x="30" y="49"/>
                </a:cxn>
                <a:cxn ang="0">
                  <a:pos x="60" y="50"/>
                </a:cxn>
                <a:cxn ang="0">
                  <a:pos x="72" y="64"/>
                </a:cxn>
                <a:cxn ang="0">
                  <a:pos x="72" y="75"/>
                </a:cxn>
                <a:cxn ang="0">
                  <a:pos x="69" y="87"/>
                </a:cxn>
                <a:cxn ang="0">
                  <a:pos x="45" y="87"/>
                </a:cxn>
                <a:cxn ang="0">
                  <a:pos x="31" y="83"/>
                </a:cxn>
                <a:cxn ang="0">
                  <a:pos x="4" y="84"/>
                </a:cxn>
                <a:cxn ang="0">
                  <a:pos x="34" y="97"/>
                </a:cxn>
                <a:cxn ang="0">
                  <a:pos x="36" y="117"/>
                </a:cxn>
                <a:cxn ang="0">
                  <a:pos x="48" y="121"/>
                </a:cxn>
                <a:cxn ang="0">
                  <a:pos x="36" y="132"/>
                </a:cxn>
                <a:cxn ang="0">
                  <a:pos x="36" y="141"/>
                </a:cxn>
                <a:cxn ang="0">
                  <a:pos x="14" y="149"/>
                </a:cxn>
                <a:cxn ang="0">
                  <a:pos x="0" y="154"/>
                </a:cxn>
                <a:cxn ang="0">
                  <a:pos x="28" y="168"/>
                </a:cxn>
                <a:cxn ang="0">
                  <a:pos x="45" y="177"/>
                </a:cxn>
                <a:cxn ang="0">
                  <a:pos x="55" y="194"/>
                </a:cxn>
                <a:cxn ang="0">
                  <a:pos x="79" y="224"/>
                </a:cxn>
                <a:cxn ang="0">
                  <a:pos x="123" y="221"/>
                </a:cxn>
                <a:cxn ang="0">
                  <a:pos x="155" y="227"/>
                </a:cxn>
                <a:cxn ang="0">
                  <a:pos x="195" y="217"/>
                </a:cxn>
                <a:cxn ang="0">
                  <a:pos x="212" y="218"/>
                </a:cxn>
                <a:cxn ang="0">
                  <a:pos x="240" y="207"/>
                </a:cxn>
                <a:cxn ang="0">
                  <a:pos x="243" y="194"/>
                </a:cxn>
                <a:cxn ang="0">
                  <a:pos x="258" y="190"/>
                </a:cxn>
                <a:cxn ang="0">
                  <a:pos x="263" y="183"/>
                </a:cxn>
                <a:cxn ang="0">
                  <a:pos x="272" y="183"/>
                </a:cxn>
                <a:cxn ang="0">
                  <a:pos x="278" y="173"/>
                </a:cxn>
                <a:cxn ang="0">
                  <a:pos x="284" y="155"/>
                </a:cxn>
                <a:cxn ang="0">
                  <a:pos x="50" y="205"/>
                </a:cxn>
              </a:cxnLst>
              <a:rect l="0" t="0" r="r" b="b"/>
              <a:pathLst>
                <a:path w="285" h="235">
                  <a:moveTo>
                    <a:pt x="284" y="155"/>
                  </a:moveTo>
                  <a:cubicBezTo>
                    <a:pt x="280" y="156"/>
                    <a:pt x="280" y="156"/>
                    <a:pt x="280" y="156"/>
                  </a:cubicBezTo>
                  <a:cubicBezTo>
                    <a:pt x="280" y="153"/>
                    <a:pt x="280" y="153"/>
                    <a:pt x="280" y="153"/>
                  </a:cubicBezTo>
                  <a:cubicBezTo>
                    <a:pt x="279" y="153"/>
                    <a:pt x="279" y="153"/>
                    <a:pt x="279" y="153"/>
                  </a:cubicBezTo>
                  <a:cubicBezTo>
                    <a:pt x="281" y="150"/>
                    <a:pt x="281" y="150"/>
                    <a:pt x="281" y="150"/>
                  </a:cubicBezTo>
                  <a:cubicBezTo>
                    <a:pt x="280" y="149"/>
                    <a:pt x="280" y="149"/>
                    <a:pt x="280" y="149"/>
                  </a:cubicBezTo>
                  <a:cubicBezTo>
                    <a:pt x="280" y="149"/>
                    <a:pt x="275" y="147"/>
                    <a:pt x="272" y="143"/>
                  </a:cubicBezTo>
                  <a:cubicBezTo>
                    <a:pt x="270" y="139"/>
                    <a:pt x="273" y="136"/>
                    <a:pt x="273" y="136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59" y="130"/>
                    <a:pt x="259" y="130"/>
                    <a:pt x="259" y="130"/>
                  </a:cubicBezTo>
                  <a:cubicBezTo>
                    <a:pt x="259" y="130"/>
                    <a:pt x="260" y="128"/>
                    <a:pt x="262" y="128"/>
                  </a:cubicBezTo>
                  <a:cubicBezTo>
                    <a:pt x="264" y="127"/>
                    <a:pt x="265" y="127"/>
                    <a:pt x="269" y="124"/>
                  </a:cubicBezTo>
                  <a:cubicBezTo>
                    <a:pt x="273" y="122"/>
                    <a:pt x="272" y="116"/>
                    <a:pt x="271" y="115"/>
                  </a:cubicBezTo>
                  <a:cubicBezTo>
                    <a:pt x="270" y="113"/>
                    <a:pt x="268" y="115"/>
                    <a:pt x="265" y="115"/>
                  </a:cubicBezTo>
                  <a:cubicBezTo>
                    <a:pt x="264" y="115"/>
                    <a:pt x="262" y="113"/>
                    <a:pt x="262" y="113"/>
                  </a:cubicBezTo>
                  <a:cubicBezTo>
                    <a:pt x="262" y="113"/>
                    <a:pt x="263" y="112"/>
                    <a:pt x="263" y="110"/>
                  </a:cubicBezTo>
                  <a:cubicBezTo>
                    <a:pt x="263" y="108"/>
                    <a:pt x="260" y="107"/>
                    <a:pt x="260" y="107"/>
                  </a:cubicBezTo>
                  <a:cubicBezTo>
                    <a:pt x="260" y="107"/>
                    <a:pt x="269" y="106"/>
                    <a:pt x="270" y="105"/>
                  </a:cubicBezTo>
                  <a:cubicBezTo>
                    <a:pt x="271" y="102"/>
                    <a:pt x="271" y="99"/>
                    <a:pt x="271" y="99"/>
                  </a:cubicBezTo>
                  <a:cubicBezTo>
                    <a:pt x="284" y="97"/>
                    <a:pt x="284" y="97"/>
                    <a:pt x="284" y="97"/>
                  </a:cubicBezTo>
                  <a:cubicBezTo>
                    <a:pt x="284" y="97"/>
                    <a:pt x="280" y="96"/>
                    <a:pt x="278" y="96"/>
                  </a:cubicBezTo>
                  <a:cubicBezTo>
                    <a:pt x="277" y="95"/>
                    <a:pt x="279" y="94"/>
                    <a:pt x="276" y="93"/>
                  </a:cubicBezTo>
                  <a:cubicBezTo>
                    <a:pt x="274" y="92"/>
                    <a:pt x="270" y="97"/>
                    <a:pt x="268" y="98"/>
                  </a:cubicBezTo>
                  <a:cubicBezTo>
                    <a:pt x="264" y="99"/>
                    <a:pt x="265" y="96"/>
                    <a:pt x="262" y="97"/>
                  </a:cubicBezTo>
                  <a:cubicBezTo>
                    <a:pt x="258" y="97"/>
                    <a:pt x="259" y="101"/>
                    <a:pt x="258" y="102"/>
                  </a:cubicBezTo>
                  <a:cubicBezTo>
                    <a:pt x="257" y="102"/>
                    <a:pt x="256" y="99"/>
                    <a:pt x="256" y="97"/>
                  </a:cubicBezTo>
                  <a:cubicBezTo>
                    <a:pt x="255" y="96"/>
                    <a:pt x="253" y="95"/>
                    <a:pt x="253" y="95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92"/>
                    <a:pt x="255" y="90"/>
                    <a:pt x="256" y="86"/>
                  </a:cubicBezTo>
                  <a:cubicBezTo>
                    <a:pt x="258" y="84"/>
                    <a:pt x="252" y="81"/>
                    <a:pt x="252" y="81"/>
                  </a:cubicBezTo>
                  <a:cubicBezTo>
                    <a:pt x="252" y="81"/>
                    <a:pt x="255" y="79"/>
                    <a:pt x="253" y="74"/>
                  </a:cubicBezTo>
                  <a:cubicBezTo>
                    <a:pt x="251" y="69"/>
                    <a:pt x="245" y="74"/>
                    <a:pt x="245" y="74"/>
                  </a:cubicBezTo>
                  <a:cubicBezTo>
                    <a:pt x="245" y="74"/>
                    <a:pt x="242" y="69"/>
                    <a:pt x="240" y="69"/>
                  </a:cubicBezTo>
                  <a:cubicBezTo>
                    <a:pt x="238" y="69"/>
                    <a:pt x="238" y="75"/>
                    <a:pt x="238" y="77"/>
                  </a:cubicBezTo>
                  <a:cubicBezTo>
                    <a:pt x="238" y="79"/>
                    <a:pt x="236" y="80"/>
                    <a:pt x="236" y="80"/>
                  </a:cubicBezTo>
                  <a:cubicBezTo>
                    <a:pt x="236" y="80"/>
                    <a:pt x="236" y="86"/>
                    <a:pt x="235" y="89"/>
                  </a:cubicBezTo>
                  <a:cubicBezTo>
                    <a:pt x="232" y="90"/>
                    <a:pt x="230" y="90"/>
                    <a:pt x="230" y="90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6" y="89"/>
                    <a:pt x="226" y="89"/>
                    <a:pt x="226" y="89"/>
                  </a:cubicBezTo>
                  <a:cubicBezTo>
                    <a:pt x="226" y="89"/>
                    <a:pt x="224" y="90"/>
                    <a:pt x="223" y="91"/>
                  </a:cubicBezTo>
                  <a:cubicBezTo>
                    <a:pt x="222" y="91"/>
                    <a:pt x="219" y="89"/>
                    <a:pt x="219" y="89"/>
                  </a:cubicBezTo>
                  <a:cubicBezTo>
                    <a:pt x="220" y="84"/>
                    <a:pt x="220" y="84"/>
                    <a:pt x="220" y="84"/>
                  </a:cubicBezTo>
                  <a:cubicBezTo>
                    <a:pt x="220" y="84"/>
                    <a:pt x="217" y="81"/>
                    <a:pt x="214" y="82"/>
                  </a:cubicBezTo>
                  <a:cubicBezTo>
                    <a:pt x="210" y="82"/>
                    <a:pt x="210" y="84"/>
                    <a:pt x="210" y="86"/>
                  </a:cubicBezTo>
                  <a:cubicBezTo>
                    <a:pt x="209" y="87"/>
                    <a:pt x="206" y="87"/>
                    <a:pt x="206" y="87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3"/>
                    <a:pt x="202" y="91"/>
                    <a:pt x="199" y="90"/>
                  </a:cubicBezTo>
                  <a:cubicBezTo>
                    <a:pt x="198" y="89"/>
                    <a:pt x="197" y="90"/>
                    <a:pt x="197" y="90"/>
                  </a:cubicBezTo>
                  <a:cubicBezTo>
                    <a:pt x="196" y="80"/>
                    <a:pt x="196" y="80"/>
                    <a:pt x="196" y="80"/>
                  </a:cubicBezTo>
                  <a:cubicBezTo>
                    <a:pt x="195" y="79"/>
                    <a:pt x="195" y="79"/>
                    <a:pt x="195" y="79"/>
                  </a:cubicBezTo>
                  <a:cubicBezTo>
                    <a:pt x="195" y="76"/>
                    <a:pt x="195" y="76"/>
                    <a:pt x="195" y="76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4" y="71"/>
                    <a:pt x="183" y="78"/>
                  </a:cubicBezTo>
                  <a:cubicBezTo>
                    <a:pt x="181" y="84"/>
                    <a:pt x="183" y="85"/>
                    <a:pt x="183" y="8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1" y="87"/>
                    <a:pt x="181" y="87"/>
                    <a:pt x="181" y="87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93"/>
                    <a:pt x="182" y="93"/>
                    <a:pt x="182" y="93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7" y="98"/>
                    <a:pt x="177" y="98"/>
                    <a:pt x="177" y="98"/>
                  </a:cubicBezTo>
                  <a:cubicBezTo>
                    <a:pt x="177" y="98"/>
                    <a:pt x="177" y="96"/>
                    <a:pt x="178" y="95"/>
                  </a:cubicBezTo>
                  <a:cubicBezTo>
                    <a:pt x="179" y="94"/>
                    <a:pt x="179" y="92"/>
                    <a:pt x="179" y="92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83"/>
                    <a:pt x="175" y="81"/>
                    <a:pt x="175" y="80"/>
                  </a:cubicBezTo>
                  <a:cubicBezTo>
                    <a:pt x="175" y="78"/>
                    <a:pt x="177" y="77"/>
                    <a:pt x="177" y="75"/>
                  </a:cubicBezTo>
                  <a:cubicBezTo>
                    <a:pt x="178" y="74"/>
                    <a:pt x="177" y="71"/>
                    <a:pt x="177" y="71"/>
                  </a:cubicBezTo>
                  <a:cubicBezTo>
                    <a:pt x="178" y="69"/>
                    <a:pt x="178" y="69"/>
                    <a:pt x="178" y="69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5" y="67"/>
                    <a:pt x="175" y="67"/>
                    <a:pt x="175" y="67"/>
                  </a:cubicBezTo>
                  <a:cubicBezTo>
                    <a:pt x="176" y="65"/>
                    <a:pt x="176" y="65"/>
                    <a:pt x="176" y="65"/>
                  </a:cubicBezTo>
                  <a:cubicBezTo>
                    <a:pt x="175" y="64"/>
                    <a:pt x="175" y="64"/>
                    <a:pt x="175" y="64"/>
                  </a:cubicBezTo>
                  <a:cubicBezTo>
                    <a:pt x="172" y="66"/>
                    <a:pt x="172" y="66"/>
                    <a:pt x="172" y="66"/>
                  </a:cubicBezTo>
                  <a:cubicBezTo>
                    <a:pt x="172" y="66"/>
                    <a:pt x="173" y="63"/>
                    <a:pt x="170" y="63"/>
                  </a:cubicBezTo>
                  <a:cubicBezTo>
                    <a:pt x="167" y="62"/>
                    <a:pt x="166" y="66"/>
                    <a:pt x="164" y="66"/>
                  </a:cubicBezTo>
                  <a:cubicBezTo>
                    <a:pt x="162" y="67"/>
                    <a:pt x="161" y="65"/>
                    <a:pt x="159" y="64"/>
                  </a:cubicBezTo>
                  <a:cubicBezTo>
                    <a:pt x="156" y="64"/>
                    <a:pt x="155" y="67"/>
                    <a:pt x="155" y="68"/>
                  </a:cubicBezTo>
                  <a:cubicBezTo>
                    <a:pt x="154" y="69"/>
                    <a:pt x="153" y="68"/>
                    <a:pt x="150" y="70"/>
                  </a:cubicBezTo>
                  <a:cubicBezTo>
                    <a:pt x="149" y="73"/>
                    <a:pt x="151" y="76"/>
                    <a:pt x="150" y="79"/>
                  </a:cubicBezTo>
                  <a:cubicBezTo>
                    <a:pt x="149" y="82"/>
                    <a:pt x="145" y="83"/>
                    <a:pt x="145" y="83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3" y="75"/>
                    <a:pt x="143" y="73"/>
                  </a:cubicBezTo>
                  <a:cubicBezTo>
                    <a:pt x="144" y="71"/>
                    <a:pt x="141" y="69"/>
                    <a:pt x="141" y="69"/>
                  </a:cubicBezTo>
                  <a:cubicBezTo>
                    <a:pt x="141" y="69"/>
                    <a:pt x="141" y="66"/>
                    <a:pt x="142" y="64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2" y="59"/>
                    <a:pt x="143" y="57"/>
                    <a:pt x="143" y="54"/>
                  </a:cubicBezTo>
                  <a:cubicBezTo>
                    <a:pt x="143" y="53"/>
                    <a:pt x="141" y="52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8" y="52"/>
                    <a:pt x="138" y="52"/>
                    <a:pt x="138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0" y="63"/>
                    <a:pt x="128" y="66"/>
                  </a:cubicBezTo>
                  <a:cubicBezTo>
                    <a:pt x="126" y="70"/>
                    <a:pt x="126" y="76"/>
                    <a:pt x="126" y="76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4" y="85"/>
                    <a:pt x="112" y="85"/>
                  </a:cubicBezTo>
                  <a:cubicBezTo>
                    <a:pt x="110" y="84"/>
                    <a:pt x="113" y="79"/>
                    <a:pt x="11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4" y="75"/>
                    <a:pt x="102" y="77"/>
                    <a:pt x="102" y="77"/>
                  </a:cubicBezTo>
                  <a:cubicBezTo>
                    <a:pt x="102" y="77"/>
                    <a:pt x="101" y="78"/>
                    <a:pt x="100" y="80"/>
                  </a:cubicBezTo>
                  <a:cubicBezTo>
                    <a:pt x="99" y="82"/>
                    <a:pt x="98" y="89"/>
                    <a:pt x="98" y="89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6"/>
                    <a:pt x="92" y="89"/>
                    <a:pt x="91" y="90"/>
                  </a:cubicBezTo>
                  <a:cubicBezTo>
                    <a:pt x="90" y="91"/>
                    <a:pt x="90" y="95"/>
                    <a:pt x="90" y="95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97"/>
                    <a:pt x="88" y="92"/>
                    <a:pt x="89" y="89"/>
                  </a:cubicBezTo>
                  <a:cubicBezTo>
                    <a:pt x="89" y="85"/>
                    <a:pt x="93" y="82"/>
                    <a:pt x="93" y="82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2" y="64"/>
                    <a:pt x="91" y="62"/>
                  </a:cubicBezTo>
                  <a:cubicBezTo>
                    <a:pt x="90" y="60"/>
                    <a:pt x="91" y="60"/>
                    <a:pt x="92" y="59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9"/>
                    <a:pt x="94" y="60"/>
                  </a:cubicBezTo>
                  <a:cubicBezTo>
                    <a:pt x="94" y="62"/>
                    <a:pt x="97" y="62"/>
                    <a:pt x="98" y="62"/>
                  </a:cubicBezTo>
                  <a:cubicBezTo>
                    <a:pt x="100" y="62"/>
                    <a:pt x="99" y="59"/>
                    <a:pt x="99" y="59"/>
                  </a:cubicBezTo>
                  <a:cubicBezTo>
                    <a:pt x="99" y="59"/>
                    <a:pt x="101" y="60"/>
                    <a:pt x="107" y="54"/>
                  </a:cubicBezTo>
                  <a:cubicBezTo>
                    <a:pt x="112" y="49"/>
                    <a:pt x="101" y="47"/>
                    <a:pt x="102" y="46"/>
                  </a:cubicBezTo>
                  <a:cubicBezTo>
                    <a:pt x="102" y="44"/>
                    <a:pt x="109" y="46"/>
                    <a:pt x="109" y="46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37"/>
                    <a:pt x="105" y="35"/>
                    <a:pt x="106" y="33"/>
                  </a:cubicBezTo>
                  <a:cubicBezTo>
                    <a:pt x="107" y="30"/>
                    <a:pt x="104" y="30"/>
                    <a:pt x="102" y="28"/>
                  </a:cubicBezTo>
                  <a:cubicBezTo>
                    <a:pt x="101" y="26"/>
                    <a:pt x="104" y="23"/>
                    <a:pt x="104" y="23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9" y="17"/>
                    <a:pt x="100" y="16"/>
                  </a:cubicBezTo>
                  <a:cubicBezTo>
                    <a:pt x="102" y="14"/>
                    <a:pt x="98" y="12"/>
                    <a:pt x="98" y="12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3" y="5"/>
                    <a:pt x="81" y="5"/>
                  </a:cubicBezTo>
                  <a:cubicBezTo>
                    <a:pt x="80" y="6"/>
                    <a:pt x="79" y="3"/>
                    <a:pt x="79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7" y="6"/>
                    <a:pt x="80" y="8"/>
                  </a:cubicBezTo>
                  <a:cubicBezTo>
                    <a:pt x="83" y="11"/>
                    <a:pt x="87" y="8"/>
                    <a:pt x="87" y="8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2" y="19"/>
                    <a:pt x="91" y="18"/>
                  </a:cubicBezTo>
                  <a:cubicBezTo>
                    <a:pt x="89" y="17"/>
                    <a:pt x="87" y="17"/>
                    <a:pt x="85" y="15"/>
                  </a:cubicBezTo>
                  <a:cubicBezTo>
                    <a:pt x="84" y="13"/>
                    <a:pt x="81" y="13"/>
                    <a:pt x="79" y="14"/>
                  </a:cubicBezTo>
                  <a:cubicBezTo>
                    <a:pt x="76" y="16"/>
                    <a:pt x="81" y="22"/>
                    <a:pt x="82" y="23"/>
                  </a:cubicBezTo>
                  <a:cubicBezTo>
                    <a:pt x="83" y="24"/>
                    <a:pt x="87" y="29"/>
                    <a:pt x="87" y="29"/>
                  </a:cubicBezTo>
                  <a:cubicBezTo>
                    <a:pt x="87" y="29"/>
                    <a:pt x="84" y="30"/>
                    <a:pt x="83" y="31"/>
                  </a:cubicBezTo>
                  <a:cubicBezTo>
                    <a:pt x="82" y="32"/>
                    <a:pt x="83" y="34"/>
                    <a:pt x="82" y="37"/>
                  </a:cubicBezTo>
                  <a:cubicBezTo>
                    <a:pt x="82" y="41"/>
                    <a:pt x="78" y="43"/>
                    <a:pt x="78" y="43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80" y="38"/>
                    <a:pt x="80" y="34"/>
                  </a:cubicBezTo>
                  <a:cubicBezTo>
                    <a:pt x="80" y="31"/>
                    <a:pt x="75" y="38"/>
                    <a:pt x="75" y="38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69" y="22"/>
                    <a:pt x="68" y="21"/>
                  </a:cubicBezTo>
                  <a:cubicBezTo>
                    <a:pt x="68" y="20"/>
                    <a:pt x="72" y="19"/>
                    <a:pt x="72" y="19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68" y="10"/>
                    <a:pt x="64" y="10"/>
                  </a:cubicBezTo>
                  <a:cubicBezTo>
                    <a:pt x="60" y="11"/>
                    <a:pt x="65" y="14"/>
                    <a:pt x="65" y="14"/>
                  </a:cubicBezTo>
                  <a:cubicBezTo>
                    <a:pt x="65" y="14"/>
                    <a:pt x="63" y="13"/>
                    <a:pt x="61" y="13"/>
                  </a:cubicBezTo>
                  <a:cubicBezTo>
                    <a:pt x="60" y="13"/>
                    <a:pt x="59" y="13"/>
                    <a:pt x="61" y="16"/>
                  </a:cubicBezTo>
                  <a:cubicBezTo>
                    <a:pt x="62" y="20"/>
                    <a:pt x="63" y="21"/>
                    <a:pt x="62" y="21"/>
                  </a:cubicBezTo>
                  <a:cubicBezTo>
                    <a:pt x="61" y="22"/>
                    <a:pt x="60" y="20"/>
                    <a:pt x="59" y="18"/>
                  </a:cubicBezTo>
                  <a:cubicBezTo>
                    <a:pt x="58" y="15"/>
                    <a:pt x="56" y="13"/>
                    <a:pt x="53" y="14"/>
                  </a:cubicBezTo>
                  <a:cubicBezTo>
                    <a:pt x="50" y="16"/>
                    <a:pt x="53" y="21"/>
                    <a:pt x="53" y="22"/>
                  </a:cubicBezTo>
                  <a:cubicBezTo>
                    <a:pt x="55" y="24"/>
                    <a:pt x="52" y="24"/>
                    <a:pt x="52" y="24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0" y="23"/>
                    <a:pt x="47" y="21"/>
                  </a:cubicBezTo>
                  <a:cubicBezTo>
                    <a:pt x="45" y="20"/>
                    <a:pt x="45" y="29"/>
                    <a:pt x="48" y="32"/>
                  </a:cubicBezTo>
                  <a:cubicBezTo>
                    <a:pt x="51" y="36"/>
                    <a:pt x="58" y="36"/>
                    <a:pt x="58" y="36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5" y="41"/>
                    <a:pt x="46" y="37"/>
                  </a:cubicBezTo>
                  <a:cubicBezTo>
                    <a:pt x="46" y="34"/>
                    <a:pt x="38" y="23"/>
                    <a:pt x="38" y="23"/>
                  </a:cubicBezTo>
                  <a:cubicBezTo>
                    <a:pt x="38" y="23"/>
                    <a:pt x="35" y="26"/>
                    <a:pt x="35" y="29"/>
                  </a:cubicBezTo>
                  <a:cubicBezTo>
                    <a:pt x="35" y="32"/>
                    <a:pt x="38" y="37"/>
                    <a:pt x="38" y="3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41"/>
                    <a:pt x="36" y="43"/>
                    <a:pt x="36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3"/>
                    <a:pt x="32" y="39"/>
                    <a:pt x="32" y="38"/>
                  </a:cubicBezTo>
                  <a:cubicBezTo>
                    <a:pt x="32" y="37"/>
                    <a:pt x="30" y="38"/>
                    <a:pt x="30" y="36"/>
                  </a:cubicBezTo>
                  <a:cubicBezTo>
                    <a:pt x="30" y="34"/>
                    <a:pt x="30" y="31"/>
                    <a:pt x="27" y="30"/>
                  </a:cubicBezTo>
                  <a:cubicBezTo>
                    <a:pt x="24" y="29"/>
                    <a:pt x="23" y="33"/>
                    <a:pt x="22" y="34"/>
                  </a:cubicBezTo>
                  <a:cubicBezTo>
                    <a:pt x="20" y="35"/>
                    <a:pt x="18" y="35"/>
                    <a:pt x="17" y="36"/>
                  </a:cubicBezTo>
                  <a:cubicBezTo>
                    <a:pt x="16" y="37"/>
                    <a:pt x="19" y="37"/>
                    <a:pt x="23" y="38"/>
                  </a:cubicBezTo>
                  <a:cubicBezTo>
                    <a:pt x="25" y="38"/>
                    <a:pt x="25" y="41"/>
                    <a:pt x="26" y="42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6" y="48"/>
                    <a:pt x="30" y="49"/>
                  </a:cubicBezTo>
                  <a:cubicBezTo>
                    <a:pt x="33" y="51"/>
                    <a:pt x="36" y="48"/>
                    <a:pt x="41" y="49"/>
                  </a:cubicBezTo>
                  <a:cubicBezTo>
                    <a:pt x="45" y="50"/>
                    <a:pt x="46" y="52"/>
                    <a:pt x="48" y="52"/>
                  </a:cubicBezTo>
                  <a:cubicBezTo>
                    <a:pt x="49" y="52"/>
                    <a:pt x="51" y="48"/>
                    <a:pt x="51" y="48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6" y="66"/>
                    <a:pt x="77" y="68"/>
                  </a:cubicBezTo>
                  <a:cubicBezTo>
                    <a:pt x="78" y="70"/>
                    <a:pt x="77" y="71"/>
                    <a:pt x="77" y="7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64" y="75"/>
                    <a:pt x="58" y="76"/>
                  </a:cubicBezTo>
                  <a:cubicBezTo>
                    <a:pt x="50" y="76"/>
                    <a:pt x="56" y="79"/>
                    <a:pt x="56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8" y="86"/>
                    <a:pt x="60" y="85"/>
                    <a:pt x="60" y="85"/>
                  </a:cubicBezTo>
                  <a:cubicBezTo>
                    <a:pt x="60" y="85"/>
                    <a:pt x="61" y="90"/>
                    <a:pt x="62" y="90"/>
                  </a:cubicBezTo>
                  <a:cubicBezTo>
                    <a:pt x="64" y="90"/>
                    <a:pt x="69" y="87"/>
                    <a:pt x="69" y="87"/>
                  </a:cubicBezTo>
                  <a:cubicBezTo>
                    <a:pt x="69" y="87"/>
                    <a:pt x="72" y="86"/>
                    <a:pt x="73" y="89"/>
                  </a:cubicBezTo>
                  <a:cubicBezTo>
                    <a:pt x="74" y="92"/>
                    <a:pt x="66" y="93"/>
                    <a:pt x="66" y="93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0" y="96"/>
                    <a:pt x="59" y="92"/>
                    <a:pt x="59" y="92"/>
                  </a:cubicBezTo>
                  <a:cubicBezTo>
                    <a:pt x="59" y="92"/>
                    <a:pt x="58" y="91"/>
                    <a:pt x="57" y="92"/>
                  </a:cubicBezTo>
                  <a:cubicBezTo>
                    <a:pt x="55" y="92"/>
                    <a:pt x="55" y="89"/>
                    <a:pt x="51" y="86"/>
                  </a:cubicBezTo>
                  <a:cubicBezTo>
                    <a:pt x="48" y="84"/>
                    <a:pt x="45" y="87"/>
                    <a:pt x="45" y="87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0" y="85"/>
                    <a:pt x="38" y="85"/>
                  </a:cubicBezTo>
                  <a:cubicBezTo>
                    <a:pt x="36" y="85"/>
                    <a:pt x="36" y="84"/>
                    <a:pt x="35" y="82"/>
                  </a:cubicBezTo>
                  <a:cubicBezTo>
                    <a:pt x="34" y="81"/>
                    <a:pt x="33" y="83"/>
                    <a:pt x="31" y="85"/>
                  </a:cubicBezTo>
                  <a:cubicBezTo>
                    <a:pt x="29" y="87"/>
                    <a:pt x="30" y="83"/>
                    <a:pt x="31" y="83"/>
                  </a:cubicBezTo>
                  <a:cubicBezTo>
                    <a:pt x="32" y="82"/>
                    <a:pt x="32" y="80"/>
                    <a:pt x="30" y="80"/>
                  </a:cubicBezTo>
                  <a:cubicBezTo>
                    <a:pt x="28" y="79"/>
                    <a:pt x="28" y="83"/>
                    <a:pt x="26" y="83"/>
                  </a:cubicBezTo>
                  <a:cubicBezTo>
                    <a:pt x="24" y="83"/>
                    <a:pt x="25" y="81"/>
                    <a:pt x="25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16" y="81"/>
                    <a:pt x="14" y="81"/>
                  </a:cubicBezTo>
                  <a:cubicBezTo>
                    <a:pt x="12" y="80"/>
                    <a:pt x="13" y="76"/>
                    <a:pt x="9" y="76"/>
                  </a:cubicBezTo>
                  <a:cubicBezTo>
                    <a:pt x="4" y="76"/>
                    <a:pt x="3" y="81"/>
                    <a:pt x="4" y="84"/>
                  </a:cubicBezTo>
                  <a:cubicBezTo>
                    <a:pt x="4" y="89"/>
                    <a:pt x="8" y="90"/>
                    <a:pt x="10" y="90"/>
                  </a:cubicBezTo>
                  <a:cubicBezTo>
                    <a:pt x="12" y="90"/>
                    <a:pt x="11" y="87"/>
                    <a:pt x="13" y="86"/>
                  </a:cubicBezTo>
                  <a:cubicBezTo>
                    <a:pt x="15" y="86"/>
                    <a:pt x="16" y="89"/>
                    <a:pt x="17" y="90"/>
                  </a:cubicBezTo>
                  <a:cubicBezTo>
                    <a:pt x="18" y="90"/>
                    <a:pt x="19" y="89"/>
                    <a:pt x="19" y="89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3" y="98"/>
                    <a:pt x="33" y="97"/>
                    <a:pt x="34" y="97"/>
                  </a:cubicBezTo>
                  <a:cubicBezTo>
                    <a:pt x="36" y="98"/>
                    <a:pt x="35" y="99"/>
                    <a:pt x="36" y="100"/>
                  </a:cubicBezTo>
                  <a:cubicBezTo>
                    <a:pt x="38" y="101"/>
                    <a:pt x="40" y="99"/>
                    <a:pt x="41" y="100"/>
                  </a:cubicBezTo>
                  <a:cubicBezTo>
                    <a:pt x="43" y="102"/>
                    <a:pt x="41" y="103"/>
                    <a:pt x="41" y="103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36" y="122"/>
                    <a:pt x="36" y="124"/>
                    <a:pt x="39" y="124"/>
                  </a:cubicBezTo>
                  <a:cubicBezTo>
                    <a:pt x="40" y="124"/>
                    <a:pt x="42" y="122"/>
                    <a:pt x="42" y="122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8" y="125"/>
                    <a:pt x="48" y="125"/>
                    <a:pt x="48" y="125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2" y="125"/>
                    <a:pt x="38" y="128"/>
                    <a:pt x="38" y="128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3" y="134"/>
                    <a:pt x="33" y="134"/>
                    <a:pt x="33" y="134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3" y="136"/>
                    <a:pt x="45" y="133"/>
                    <a:pt x="49" y="136"/>
                  </a:cubicBezTo>
                  <a:cubicBezTo>
                    <a:pt x="52" y="137"/>
                    <a:pt x="50" y="140"/>
                    <a:pt x="50" y="140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7" y="137"/>
                    <a:pt x="44" y="138"/>
                    <a:pt x="41" y="138"/>
                  </a:cubicBezTo>
                  <a:cubicBezTo>
                    <a:pt x="38" y="138"/>
                    <a:pt x="36" y="138"/>
                    <a:pt x="36" y="141"/>
                  </a:cubicBezTo>
                  <a:cubicBezTo>
                    <a:pt x="35" y="143"/>
                    <a:pt x="38" y="147"/>
                    <a:pt x="38" y="147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27" y="146"/>
                    <a:pt x="27" y="146"/>
                    <a:pt x="27" y="146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0"/>
                    <a:pt x="22" y="149"/>
                    <a:pt x="19" y="149"/>
                  </a:cubicBezTo>
                  <a:cubicBezTo>
                    <a:pt x="17" y="148"/>
                    <a:pt x="15" y="149"/>
                    <a:pt x="14" y="149"/>
                  </a:cubicBezTo>
                  <a:cubicBezTo>
                    <a:pt x="12" y="149"/>
                    <a:pt x="10" y="147"/>
                    <a:pt x="10" y="147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9" y="140"/>
                    <a:pt x="9" y="140"/>
                    <a:pt x="9" y="140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2" y="159"/>
                    <a:pt x="13" y="160"/>
                  </a:cubicBezTo>
                  <a:cubicBezTo>
                    <a:pt x="14" y="161"/>
                    <a:pt x="19" y="163"/>
                    <a:pt x="19" y="163"/>
                  </a:cubicBezTo>
                  <a:cubicBezTo>
                    <a:pt x="19" y="163"/>
                    <a:pt x="24" y="163"/>
                    <a:pt x="26" y="164"/>
                  </a:cubicBezTo>
                  <a:cubicBezTo>
                    <a:pt x="28" y="165"/>
                    <a:pt x="28" y="168"/>
                    <a:pt x="28" y="168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42" y="165"/>
                    <a:pt x="44" y="166"/>
                  </a:cubicBezTo>
                  <a:cubicBezTo>
                    <a:pt x="46" y="168"/>
                    <a:pt x="41" y="169"/>
                    <a:pt x="41" y="169"/>
                  </a:cubicBezTo>
                  <a:cubicBezTo>
                    <a:pt x="41" y="169"/>
                    <a:pt x="42" y="170"/>
                    <a:pt x="43" y="172"/>
                  </a:cubicBezTo>
                  <a:cubicBezTo>
                    <a:pt x="43" y="174"/>
                    <a:pt x="43" y="175"/>
                    <a:pt x="45" y="177"/>
                  </a:cubicBezTo>
                  <a:cubicBezTo>
                    <a:pt x="47" y="178"/>
                    <a:pt x="47" y="181"/>
                    <a:pt x="47" y="181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1" y="183"/>
                    <a:pt x="50" y="183"/>
                  </a:cubicBezTo>
                  <a:cubicBezTo>
                    <a:pt x="49" y="184"/>
                    <a:pt x="49" y="184"/>
                    <a:pt x="49" y="184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1" y="189"/>
                    <a:pt x="51" y="189"/>
                    <a:pt x="51" y="189"/>
                  </a:cubicBezTo>
                  <a:cubicBezTo>
                    <a:pt x="51" y="194"/>
                    <a:pt x="51" y="194"/>
                    <a:pt x="51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53" y="196"/>
                    <a:pt x="53" y="196"/>
                    <a:pt x="53" y="196"/>
                  </a:cubicBezTo>
                  <a:cubicBezTo>
                    <a:pt x="53" y="196"/>
                    <a:pt x="55" y="202"/>
                    <a:pt x="56" y="204"/>
                  </a:cubicBezTo>
                  <a:cubicBezTo>
                    <a:pt x="58" y="206"/>
                    <a:pt x="60" y="205"/>
                    <a:pt x="61" y="205"/>
                  </a:cubicBezTo>
                  <a:cubicBezTo>
                    <a:pt x="62" y="205"/>
                    <a:pt x="64" y="208"/>
                    <a:pt x="65" y="208"/>
                  </a:cubicBezTo>
                  <a:cubicBezTo>
                    <a:pt x="66" y="209"/>
                    <a:pt x="67" y="208"/>
                    <a:pt x="67" y="208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7" y="211"/>
                    <a:pt x="72" y="216"/>
                    <a:pt x="74" y="218"/>
                  </a:cubicBezTo>
                  <a:cubicBezTo>
                    <a:pt x="76" y="220"/>
                    <a:pt x="79" y="224"/>
                    <a:pt x="79" y="224"/>
                  </a:cubicBezTo>
                  <a:cubicBezTo>
                    <a:pt x="79" y="224"/>
                    <a:pt x="83" y="224"/>
                    <a:pt x="85" y="226"/>
                  </a:cubicBezTo>
                  <a:cubicBezTo>
                    <a:pt x="89" y="229"/>
                    <a:pt x="91" y="229"/>
                    <a:pt x="91" y="229"/>
                  </a:cubicBezTo>
                  <a:cubicBezTo>
                    <a:pt x="91" y="229"/>
                    <a:pt x="99" y="232"/>
                    <a:pt x="106" y="233"/>
                  </a:cubicBezTo>
                  <a:cubicBezTo>
                    <a:pt x="112" y="235"/>
                    <a:pt x="118" y="227"/>
                    <a:pt x="118" y="227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0" y="224"/>
                    <a:pt x="120" y="224"/>
                    <a:pt x="120" y="224"/>
                  </a:cubicBezTo>
                  <a:cubicBezTo>
                    <a:pt x="120" y="224"/>
                    <a:pt x="120" y="221"/>
                    <a:pt x="123" y="221"/>
                  </a:cubicBezTo>
                  <a:cubicBezTo>
                    <a:pt x="127" y="221"/>
                    <a:pt x="126" y="224"/>
                    <a:pt x="126" y="224"/>
                  </a:cubicBezTo>
                  <a:cubicBezTo>
                    <a:pt x="133" y="223"/>
                    <a:pt x="133" y="223"/>
                    <a:pt x="133" y="223"/>
                  </a:cubicBezTo>
                  <a:cubicBezTo>
                    <a:pt x="133" y="225"/>
                    <a:pt x="133" y="225"/>
                    <a:pt x="133" y="225"/>
                  </a:cubicBezTo>
                  <a:cubicBezTo>
                    <a:pt x="142" y="225"/>
                    <a:pt x="142" y="225"/>
                    <a:pt x="142" y="225"/>
                  </a:cubicBezTo>
                  <a:cubicBezTo>
                    <a:pt x="144" y="225"/>
                    <a:pt x="148" y="228"/>
                    <a:pt x="148" y="228"/>
                  </a:cubicBezTo>
                  <a:cubicBezTo>
                    <a:pt x="153" y="224"/>
                    <a:pt x="153" y="224"/>
                    <a:pt x="153" y="224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61" y="226"/>
                    <a:pt x="161" y="226"/>
                    <a:pt x="161" y="22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9"/>
                    <a:pt x="172" y="222"/>
                    <a:pt x="177" y="220"/>
                  </a:cubicBezTo>
                  <a:cubicBezTo>
                    <a:pt x="181" y="219"/>
                    <a:pt x="193" y="218"/>
                    <a:pt x="193" y="218"/>
                  </a:cubicBezTo>
                  <a:cubicBezTo>
                    <a:pt x="192" y="216"/>
                    <a:pt x="192" y="216"/>
                    <a:pt x="192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195" y="217"/>
                    <a:pt x="195" y="217"/>
                    <a:pt x="195" y="217"/>
                  </a:cubicBezTo>
                  <a:cubicBezTo>
                    <a:pt x="200" y="217"/>
                    <a:pt x="200" y="217"/>
                    <a:pt x="200" y="217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7" y="219"/>
                    <a:pt x="207" y="219"/>
                    <a:pt x="207" y="219"/>
                  </a:cubicBezTo>
                  <a:cubicBezTo>
                    <a:pt x="203" y="216"/>
                    <a:pt x="203" y="216"/>
                    <a:pt x="203" y="216"/>
                  </a:cubicBezTo>
                  <a:cubicBezTo>
                    <a:pt x="206" y="211"/>
                    <a:pt x="206" y="211"/>
                    <a:pt x="206" y="211"/>
                  </a:cubicBezTo>
                  <a:cubicBezTo>
                    <a:pt x="206" y="211"/>
                    <a:pt x="207" y="215"/>
                    <a:pt x="209" y="216"/>
                  </a:cubicBezTo>
                  <a:cubicBezTo>
                    <a:pt x="210" y="217"/>
                    <a:pt x="208" y="218"/>
                    <a:pt x="208" y="218"/>
                  </a:cubicBezTo>
                  <a:cubicBezTo>
                    <a:pt x="208" y="218"/>
                    <a:pt x="210" y="217"/>
                    <a:pt x="212" y="218"/>
                  </a:cubicBezTo>
                  <a:cubicBezTo>
                    <a:pt x="213" y="219"/>
                    <a:pt x="212" y="222"/>
                    <a:pt x="212" y="222"/>
                  </a:cubicBezTo>
                  <a:cubicBezTo>
                    <a:pt x="214" y="222"/>
                    <a:pt x="214" y="222"/>
                    <a:pt x="214" y="222"/>
                  </a:cubicBezTo>
                  <a:cubicBezTo>
                    <a:pt x="216" y="221"/>
                    <a:pt x="216" y="219"/>
                    <a:pt x="216" y="219"/>
                  </a:cubicBezTo>
                  <a:cubicBezTo>
                    <a:pt x="216" y="219"/>
                    <a:pt x="221" y="218"/>
                    <a:pt x="223" y="217"/>
                  </a:cubicBezTo>
                  <a:cubicBezTo>
                    <a:pt x="225" y="216"/>
                    <a:pt x="226" y="212"/>
                    <a:pt x="228" y="213"/>
                  </a:cubicBezTo>
                  <a:cubicBezTo>
                    <a:pt x="229" y="213"/>
                    <a:pt x="227" y="216"/>
                    <a:pt x="227" y="216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40" y="207"/>
                    <a:pt x="240" y="207"/>
                    <a:pt x="240" y="207"/>
                  </a:cubicBezTo>
                  <a:cubicBezTo>
                    <a:pt x="236" y="208"/>
                    <a:pt x="236" y="208"/>
                    <a:pt x="236" y="208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3" y="206"/>
                    <a:pt x="243" y="206"/>
                    <a:pt x="243" y="206"/>
                  </a:cubicBezTo>
                  <a:cubicBezTo>
                    <a:pt x="245" y="204"/>
                    <a:pt x="245" y="204"/>
                    <a:pt x="245" y="204"/>
                  </a:cubicBezTo>
                  <a:cubicBezTo>
                    <a:pt x="243" y="201"/>
                    <a:pt x="243" y="201"/>
                    <a:pt x="243" y="201"/>
                  </a:cubicBezTo>
                  <a:cubicBezTo>
                    <a:pt x="243" y="201"/>
                    <a:pt x="242" y="193"/>
                    <a:pt x="243" y="194"/>
                  </a:cubicBezTo>
                  <a:cubicBezTo>
                    <a:pt x="244" y="194"/>
                    <a:pt x="244" y="199"/>
                    <a:pt x="245" y="201"/>
                  </a:cubicBezTo>
                  <a:cubicBezTo>
                    <a:pt x="245" y="204"/>
                    <a:pt x="254" y="202"/>
                    <a:pt x="254" y="202"/>
                  </a:cubicBezTo>
                  <a:cubicBezTo>
                    <a:pt x="254" y="200"/>
                    <a:pt x="254" y="200"/>
                    <a:pt x="254" y="200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258" y="195"/>
                    <a:pt x="258" y="195"/>
                    <a:pt x="258" y="195"/>
                  </a:cubicBezTo>
                  <a:cubicBezTo>
                    <a:pt x="262" y="197"/>
                    <a:pt x="262" y="197"/>
                    <a:pt x="262" y="197"/>
                  </a:cubicBezTo>
                  <a:cubicBezTo>
                    <a:pt x="264" y="195"/>
                    <a:pt x="264" y="195"/>
                    <a:pt x="264" y="195"/>
                  </a:cubicBezTo>
                  <a:cubicBezTo>
                    <a:pt x="258" y="190"/>
                    <a:pt x="258" y="190"/>
                    <a:pt x="258" y="190"/>
                  </a:cubicBezTo>
                  <a:cubicBezTo>
                    <a:pt x="259" y="189"/>
                    <a:pt x="261" y="191"/>
                    <a:pt x="262" y="192"/>
                  </a:cubicBezTo>
                  <a:cubicBezTo>
                    <a:pt x="263" y="193"/>
                    <a:pt x="268" y="193"/>
                    <a:pt x="268" y="193"/>
                  </a:cubicBezTo>
                  <a:cubicBezTo>
                    <a:pt x="268" y="191"/>
                    <a:pt x="268" y="191"/>
                    <a:pt x="268" y="191"/>
                  </a:cubicBezTo>
                  <a:cubicBezTo>
                    <a:pt x="268" y="191"/>
                    <a:pt x="265" y="191"/>
                    <a:pt x="264" y="190"/>
                  </a:cubicBezTo>
                  <a:cubicBezTo>
                    <a:pt x="263" y="190"/>
                    <a:pt x="264" y="189"/>
                    <a:pt x="263" y="187"/>
                  </a:cubicBezTo>
                  <a:cubicBezTo>
                    <a:pt x="263" y="186"/>
                    <a:pt x="257" y="181"/>
                    <a:pt x="257" y="181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63" y="183"/>
                    <a:pt x="263" y="183"/>
                    <a:pt x="263" y="183"/>
                  </a:cubicBezTo>
                  <a:cubicBezTo>
                    <a:pt x="263" y="183"/>
                    <a:pt x="265" y="189"/>
                    <a:pt x="269" y="190"/>
                  </a:cubicBezTo>
                  <a:cubicBezTo>
                    <a:pt x="273" y="191"/>
                    <a:pt x="273" y="187"/>
                    <a:pt x="273" y="187"/>
                  </a:cubicBezTo>
                  <a:cubicBezTo>
                    <a:pt x="276" y="187"/>
                    <a:pt x="276" y="187"/>
                    <a:pt x="276" y="187"/>
                  </a:cubicBezTo>
                  <a:cubicBezTo>
                    <a:pt x="276" y="184"/>
                    <a:pt x="276" y="184"/>
                    <a:pt x="276" y="184"/>
                  </a:cubicBezTo>
                  <a:cubicBezTo>
                    <a:pt x="278" y="181"/>
                    <a:pt x="278" y="181"/>
                    <a:pt x="278" y="181"/>
                  </a:cubicBezTo>
                  <a:cubicBezTo>
                    <a:pt x="277" y="180"/>
                    <a:pt x="277" y="180"/>
                    <a:pt x="277" y="180"/>
                  </a:cubicBezTo>
                  <a:cubicBezTo>
                    <a:pt x="273" y="184"/>
                    <a:pt x="273" y="184"/>
                    <a:pt x="273" y="184"/>
                  </a:cubicBezTo>
                  <a:cubicBezTo>
                    <a:pt x="272" y="183"/>
                    <a:pt x="272" y="183"/>
                    <a:pt x="272" y="183"/>
                  </a:cubicBezTo>
                  <a:cubicBezTo>
                    <a:pt x="273" y="181"/>
                    <a:pt x="273" y="181"/>
                    <a:pt x="273" y="181"/>
                  </a:cubicBezTo>
                  <a:cubicBezTo>
                    <a:pt x="272" y="180"/>
                    <a:pt x="272" y="180"/>
                    <a:pt x="272" y="180"/>
                  </a:cubicBezTo>
                  <a:cubicBezTo>
                    <a:pt x="276" y="178"/>
                    <a:pt x="276" y="178"/>
                    <a:pt x="276" y="178"/>
                  </a:cubicBezTo>
                  <a:cubicBezTo>
                    <a:pt x="276" y="177"/>
                    <a:pt x="276" y="177"/>
                    <a:pt x="276" y="177"/>
                  </a:cubicBezTo>
                  <a:cubicBezTo>
                    <a:pt x="271" y="177"/>
                    <a:pt x="271" y="177"/>
                    <a:pt x="271" y="177"/>
                  </a:cubicBezTo>
                  <a:cubicBezTo>
                    <a:pt x="269" y="174"/>
                    <a:pt x="269" y="174"/>
                    <a:pt x="269" y="174"/>
                  </a:cubicBezTo>
                  <a:cubicBezTo>
                    <a:pt x="274" y="175"/>
                    <a:pt x="274" y="175"/>
                    <a:pt x="274" y="175"/>
                  </a:cubicBezTo>
                  <a:cubicBezTo>
                    <a:pt x="274" y="175"/>
                    <a:pt x="278" y="176"/>
                    <a:pt x="278" y="173"/>
                  </a:cubicBezTo>
                  <a:cubicBezTo>
                    <a:pt x="279" y="170"/>
                    <a:pt x="269" y="170"/>
                    <a:pt x="269" y="170"/>
                  </a:cubicBezTo>
                  <a:cubicBezTo>
                    <a:pt x="268" y="169"/>
                    <a:pt x="268" y="169"/>
                    <a:pt x="268" y="169"/>
                  </a:cubicBezTo>
                  <a:cubicBezTo>
                    <a:pt x="274" y="169"/>
                    <a:pt x="274" y="169"/>
                    <a:pt x="274" y="169"/>
                  </a:cubicBezTo>
                  <a:cubicBezTo>
                    <a:pt x="276" y="169"/>
                    <a:pt x="275" y="165"/>
                    <a:pt x="275" y="165"/>
                  </a:cubicBezTo>
                  <a:cubicBezTo>
                    <a:pt x="275" y="165"/>
                    <a:pt x="277" y="166"/>
                    <a:pt x="279" y="166"/>
                  </a:cubicBezTo>
                  <a:cubicBezTo>
                    <a:pt x="281" y="166"/>
                    <a:pt x="281" y="162"/>
                    <a:pt x="281" y="162"/>
                  </a:cubicBezTo>
                  <a:cubicBezTo>
                    <a:pt x="284" y="160"/>
                    <a:pt x="284" y="160"/>
                    <a:pt x="284" y="160"/>
                  </a:cubicBezTo>
                  <a:cubicBezTo>
                    <a:pt x="285" y="160"/>
                    <a:pt x="284" y="155"/>
                    <a:pt x="284" y="155"/>
                  </a:cubicBezTo>
                  <a:close/>
                  <a:moveTo>
                    <a:pt x="61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1" y="51"/>
                  </a:lnTo>
                  <a:close/>
                  <a:moveTo>
                    <a:pt x="48" y="210"/>
                  </a:moveTo>
                  <a:cubicBezTo>
                    <a:pt x="52" y="208"/>
                    <a:pt x="52" y="208"/>
                    <a:pt x="52" y="208"/>
                  </a:cubicBezTo>
                  <a:cubicBezTo>
                    <a:pt x="50" y="205"/>
                    <a:pt x="50" y="205"/>
                    <a:pt x="50" y="205"/>
                  </a:cubicBezTo>
                  <a:lnTo>
                    <a:pt x="48" y="210"/>
                  </a:lnTo>
                  <a:close/>
                  <a:moveTo>
                    <a:pt x="122" y="222"/>
                  </a:moveTo>
                  <a:cubicBezTo>
                    <a:pt x="122" y="222"/>
                    <a:pt x="121" y="225"/>
                    <a:pt x="124" y="224"/>
                  </a:cubicBezTo>
                  <a:cubicBezTo>
                    <a:pt x="126" y="224"/>
                    <a:pt x="125" y="221"/>
                    <a:pt x="122" y="2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Färöer" descr="© INSCALE GmbH, 05.05.2010&#10;http://www.presentationload.com/">
              <a:extLst>
                <a:ext uri="{FF2B5EF4-FFF2-40B4-BE49-F238E27FC236}">
                  <a16:creationId xmlns:a16="http://schemas.microsoft.com/office/drawing/2014/main" id="{C77D21BE-99F6-E342-B64C-CD873B8C1C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13677" y="2531052"/>
              <a:ext cx="123768" cy="146871"/>
            </a:xfrm>
            <a:custGeom>
              <a:avLst/>
              <a:gdLst/>
              <a:ahLst/>
              <a:cxnLst>
                <a:cxn ang="0">
                  <a:pos x="7" y="13"/>
                </a:cxn>
                <a:cxn ang="0">
                  <a:pos x="0" y="11"/>
                </a:cxn>
                <a:cxn ang="0">
                  <a:pos x="32" y="30"/>
                </a:cxn>
                <a:cxn ang="0">
                  <a:pos x="29" y="30"/>
                </a:cxn>
                <a:cxn ang="0">
                  <a:pos x="21" y="22"/>
                </a:cxn>
                <a:cxn ang="0">
                  <a:pos x="21" y="26"/>
                </a:cxn>
                <a:cxn ang="0">
                  <a:pos x="19" y="40"/>
                </a:cxn>
                <a:cxn ang="0">
                  <a:pos x="21" y="37"/>
                </a:cxn>
                <a:cxn ang="0">
                  <a:pos x="20" y="30"/>
                </a:cxn>
                <a:cxn ang="0">
                  <a:pos x="23" y="34"/>
                </a:cxn>
                <a:cxn ang="0">
                  <a:pos x="28" y="36"/>
                </a:cxn>
                <a:cxn ang="0">
                  <a:pos x="20" y="30"/>
                </a:cxn>
                <a:cxn ang="0">
                  <a:pos x="19" y="16"/>
                </a:cxn>
                <a:cxn ang="0">
                  <a:pos x="14" y="13"/>
                </a:cxn>
                <a:cxn ang="0">
                  <a:pos x="10" y="11"/>
                </a:cxn>
                <a:cxn ang="0">
                  <a:pos x="11" y="17"/>
                </a:cxn>
                <a:cxn ang="0">
                  <a:pos x="27" y="21"/>
                </a:cxn>
                <a:cxn ang="0">
                  <a:pos x="23" y="11"/>
                </a:cxn>
                <a:cxn ang="0">
                  <a:pos x="19" y="6"/>
                </a:cxn>
                <a:cxn ang="0">
                  <a:pos x="22" y="16"/>
                </a:cxn>
                <a:cxn ang="0">
                  <a:pos x="27" y="30"/>
                </a:cxn>
                <a:cxn ang="0">
                  <a:pos x="27" y="21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4" y="14"/>
                </a:cxn>
                <a:cxn ang="0">
                  <a:pos x="32" y="9"/>
                </a:cxn>
                <a:cxn ang="0">
                  <a:pos x="28" y="6"/>
                </a:cxn>
                <a:cxn ang="0">
                  <a:pos x="29" y="2"/>
                </a:cxn>
                <a:cxn ang="0">
                  <a:pos x="24" y="10"/>
                </a:cxn>
                <a:cxn ang="0">
                  <a:pos x="31" y="14"/>
                </a:cxn>
                <a:cxn ang="0">
                  <a:pos x="30" y="20"/>
                </a:cxn>
                <a:cxn ang="0">
                  <a:pos x="35" y="18"/>
                </a:cxn>
                <a:cxn ang="0">
                  <a:pos x="31" y="14"/>
                </a:cxn>
                <a:cxn ang="0">
                  <a:pos x="38" y="10"/>
                </a:cxn>
                <a:cxn ang="0">
                  <a:pos x="37" y="14"/>
                </a:cxn>
                <a:cxn ang="0">
                  <a:pos x="42" y="13"/>
                </a:cxn>
                <a:cxn ang="0">
                  <a:pos x="38" y="5"/>
                </a:cxn>
                <a:cxn ang="0">
                  <a:pos x="44" y="9"/>
                </a:cxn>
                <a:cxn ang="0">
                  <a:pos x="42" y="1"/>
                </a:cxn>
                <a:cxn ang="0">
                  <a:pos x="38" y="1"/>
                </a:cxn>
                <a:cxn ang="0">
                  <a:pos x="36" y="8"/>
                </a:cxn>
                <a:cxn ang="0">
                  <a:pos x="38" y="1"/>
                </a:cxn>
                <a:cxn ang="0">
                  <a:pos x="32" y="2"/>
                </a:cxn>
                <a:cxn ang="0">
                  <a:pos x="34" y="2"/>
                </a:cxn>
                <a:cxn ang="0">
                  <a:pos x="45" y="14"/>
                </a:cxn>
                <a:cxn ang="0">
                  <a:pos x="47" y="11"/>
                </a:cxn>
                <a:cxn ang="0">
                  <a:pos x="48" y="9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16" y="49"/>
                </a:cxn>
                <a:cxn ang="0">
                  <a:pos x="14" y="45"/>
                </a:cxn>
                <a:cxn ang="0">
                  <a:pos x="13" y="55"/>
                </a:cxn>
                <a:cxn ang="0">
                  <a:pos x="18" y="62"/>
                </a:cxn>
                <a:cxn ang="0">
                  <a:pos x="17" y="57"/>
                </a:cxn>
                <a:cxn ang="0">
                  <a:pos x="19" y="53"/>
                </a:cxn>
              </a:cxnLst>
              <a:rect l="0" t="0" r="r" b="b"/>
              <a:pathLst>
                <a:path w="51" h="62">
                  <a:moveTo>
                    <a:pt x="0" y="11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1"/>
                  </a:lnTo>
                  <a:close/>
                  <a:moveTo>
                    <a:pt x="29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30"/>
                  </a:lnTo>
                  <a:close/>
                  <a:moveTo>
                    <a:pt x="22" y="27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2" y="27"/>
                  </a:lnTo>
                  <a:close/>
                  <a:moveTo>
                    <a:pt x="19" y="40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7"/>
                    <a:pt x="21" y="37"/>
                    <a:pt x="21" y="37"/>
                  </a:cubicBezTo>
                  <a:lnTo>
                    <a:pt x="19" y="40"/>
                  </a:lnTo>
                  <a:close/>
                  <a:moveTo>
                    <a:pt x="20" y="30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7" y="34"/>
                    <a:pt x="24" y="32"/>
                  </a:cubicBezTo>
                  <a:cubicBezTo>
                    <a:pt x="23" y="31"/>
                    <a:pt x="20" y="30"/>
                    <a:pt x="20" y="30"/>
                  </a:cubicBezTo>
                  <a:close/>
                  <a:moveTo>
                    <a:pt x="15" y="20"/>
                  </a:moveTo>
                  <a:cubicBezTo>
                    <a:pt x="18" y="19"/>
                    <a:pt x="19" y="16"/>
                    <a:pt x="19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2" y="13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2" y="20"/>
                    <a:pt x="15" y="20"/>
                  </a:cubicBezTo>
                  <a:close/>
                  <a:moveTo>
                    <a:pt x="27" y="21"/>
                  </a:moveTo>
                  <a:cubicBezTo>
                    <a:pt x="27" y="21"/>
                    <a:pt x="28" y="19"/>
                    <a:pt x="27" y="18"/>
                  </a:cubicBezTo>
                  <a:cubicBezTo>
                    <a:pt x="26" y="17"/>
                    <a:pt x="23" y="11"/>
                    <a:pt x="23" y="11"/>
                  </a:cubicBezTo>
                  <a:cubicBezTo>
                    <a:pt x="23" y="11"/>
                    <a:pt x="23" y="3"/>
                    <a:pt x="21" y="3"/>
                  </a:cubicBezTo>
                  <a:cubicBezTo>
                    <a:pt x="20" y="3"/>
                    <a:pt x="19" y="6"/>
                    <a:pt x="19" y="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4"/>
                    <a:pt x="22" y="13"/>
                    <a:pt x="22" y="16"/>
                  </a:cubicBezTo>
                  <a:cubicBezTo>
                    <a:pt x="22" y="19"/>
                    <a:pt x="23" y="25"/>
                    <a:pt x="24" y="26"/>
                  </a:cubicBezTo>
                  <a:cubicBezTo>
                    <a:pt x="26" y="26"/>
                    <a:pt x="27" y="30"/>
                    <a:pt x="27" y="30"/>
                  </a:cubicBezTo>
                  <a:cubicBezTo>
                    <a:pt x="27" y="30"/>
                    <a:pt x="29" y="26"/>
                    <a:pt x="29" y="24"/>
                  </a:cubicBezTo>
                  <a:cubicBezTo>
                    <a:pt x="28" y="22"/>
                    <a:pt x="27" y="21"/>
                    <a:pt x="27" y="21"/>
                  </a:cubicBezTo>
                  <a:close/>
                  <a:moveTo>
                    <a:pt x="28" y="13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28" y="13"/>
                  </a:lnTo>
                  <a:close/>
                  <a:moveTo>
                    <a:pt x="31" y="14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1" y="14"/>
                  </a:lnTo>
                  <a:close/>
                  <a:moveTo>
                    <a:pt x="38" y="5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9" y="5"/>
                    <a:pt x="39" y="5"/>
                    <a:pt x="39" y="5"/>
                  </a:cubicBezTo>
                  <a:lnTo>
                    <a:pt x="38" y="5"/>
                  </a:lnTo>
                  <a:close/>
                  <a:moveTo>
                    <a:pt x="43" y="8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1"/>
                    <a:pt x="42" y="1"/>
                    <a:pt x="42" y="1"/>
                  </a:cubicBezTo>
                  <a:lnTo>
                    <a:pt x="43" y="8"/>
                  </a:lnTo>
                  <a:close/>
                  <a:moveTo>
                    <a:pt x="38" y="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8" y="1"/>
                  </a:lnTo>
                  <a:close/>
                  <a:moveTo>
                    <a:pt x="34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4" y="9"/>
                    <a:pt x="34" y="9"/>
                    <a:pt x="34" y="9"/>
                  </a:cubicBezTo>
                  <a:lnTo>
                    <a:pt x="34" y="2"/>
                  </a:lnTo>
                  <a:close/>
                  <a:moveTo>
                    <a:pt x="45" y="11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45" y="11"/>
                  </a:lnTo>
                  <a:close/>
                  <a:moveTo>
                    <a:pt x="48" y="5"/>
                  </a:moveTo>
                  <a:cubicBezTo>
                    <a:pt x="45" y="6"/>
                    <a:pt x="48" y="7"/>
                    <a:pt x="48" y="7"/>
                  </a:cubicBezTo>
                  <a:cubicBezTo>
                    <a:pt x="50" y="7"/>
                    <a:pt x="51" y="4"/>
                    <a:pt x="48" y="5"/>
                  </a:cubicBezTo>
                  <a:close/>
                  <a:moveTo>
                    <a:pt x="20" y="51"/>
                  </a:moveTo>
                  <a:cubicBezTo>
                    <a:pt x="18" y="50"/>
                    <a:pt x="16" y="50"/>
                    <a:pt x="16" y="49"/>
                  </a:cubicBezTo>
                  <a:cubicBezTo>
                    <a:pt x="16" y="48"/>
                    <a:pt x="17" y="47"/>
                    <a:pt x="17" y="46"/>
                  </a:cubicBezTo>
                  <a:cubicBezTo>
                    <a:pt x="17" y="45"/>
                    <a:pt x="15" y="42"/>
                    <a:pt x="14" y="45"/>
                  </a:cubicBezTo>
                  <a:cubicBezTo>
                    <a:pt x="13" y="47"/>
                    <a:pt x="14" y="53"/>
                    <a:pt x="14" y="53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1" y="53"/>
                    <a:pt x="20" y="5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" name="Georgien" descr="© INSCALE GmbH, 05.05.2010&#10;http://www.presentationload.com/">
              <a:extLst>
                <a:ext uri="{FF2B5EF4-FFF2-40B4-BE49-F238E27FC236}">
                  <a16:creationId xmlns:a16="http://schemas.microsoft.com/office/drawing/2014/main" id="{956358CE-417E-9643-A5AF-F3643670F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1069" y="4836447"/>
              <a:ext cx="872980" cy="364705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" name="Armenien" descr="© INSCALE GmbH, 05.05.2010&#10;http://www.presentationload.com/">
              <a:extLst>
                <a:ext uri="{FF2B5EF4-FFF2-40B4-BE49-F238E27FC236}">
                  <a16:creationId xmlns:a16="http://schemas.microsoft.com/office/drawing/2014/main" id="{57C09820-4D4F-3E41-AF2B-78E21DF7BB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44295" y="5046029"/>
              <a:ext cx="506627" cy="282191"/>
            </a:xfrm>
            <a:custGeom>
              <a:avLst/>
              <a:gdLst/>
              <a:ahLst/>
              <a:cxnLst>
                <a:cxn ang="0">
                  <a:pos x="103" y="103"/>
                </a:cxn>
                <a:cxn ang="0">
                  <a:pos x="0" y="47"/>
                </a:cxn>
                <a:cxn ang="0">
                  <a:pos x="207" y="104"/>
                </a:cxn>
                <a:cxn ang="0">
                  <a:pos x="196" y="91"/>
                </a:cxn>
                <a:cxn ang="0">
                  <a:pos x="198" y="83"/>
                </a:cxn>
                <a:cxn ang="0">
                  <a:pos x="190" y="74"/>
                </a:cxn>
                <a:cxn ang="0">
                  <a:pos x="174" y="74"/>
                </a:cxn>
                <a:cxn ang="0">
                  <a:pos x="149" y="70"/>
                </a:cxn>
                <a:cxn ang="0">
                  <a:pos x="133" y="66"/>
                </a:cxn>
                <a:cxn ang="0">
                  <a:pos x="142" y="41"/>
                </a:cxn>
                <a:cxn ang="0">
                  <a:pos x="104" y="35"/>
                </a:cxn>
                <a:cxn ang="0">
                  <a:pos x="109" y="13"/>
                </a:cxn>
                <a:cxn ang="0">
                  <a:pos x="96" y="9"/>
                </a:cxn>
                <a:cxn ang="0">
                  <a:pos x="88" y="13"/>
                </a:cxn>
                <a:cxn ang="0">
                  <a:pos x="82" y="11"/>
                </a:cxn>
                <a:cxn ang="0">
                  <a:pos x="81" y="5"/>
                </a:cxn>
                <a:cxn ang="0">
                  <a:pos x="66" y="5"/>
                </a:cxn>
                <a:cxn ang="0">
                  <a:pos x="57" y="8"/>
                </a:cxn>
                <a:cxn ang="0">
                  <a:pos x="43" y="24"/>
                </a:cxn>
                <a:cxn ang="0">
                  <a:pos x="28" y="29"/>
                </a:cxn>
                <a:cxn ang="0">
                  <a:pos x="16" y="40"/>
                </a:cxn>
                <a:cxn ang="0">
                  <a:pos x="1" y="49"/>
                </a:cxn>
                <a:cxn ang="0">
                  <a:pos x="22" y="60"/>
                </a:cxn>
                <a:cxn ang="0">
                  <a:pos x="59" y="103"/>
                </a:cxn>
                <a:cxn ang="0">
                  <a:pos x="103" y="103"/>
                </a:cxn>
                <a:cxn ang="0">
                  <a:pos x="125" y="101"/>
                </a:cxn>
                <a:cxn ang="0">
                  <a:pos x="130" y="97"/>
                </a:cxn>
                <a:cxn ang="0">
                  <a:pos x="144" y="97"/>
                </a:cxn>
                <a:cxn ang="0">
                  <a:pos x="161" y="99"/>
                </a:cxn>
                <a:cxn ang="0">
                  <a:pos x="177" y="105"/>
                </a:cxn>
                <a:cxn ang="0">
                  <a:pos x="201" y="112"/>
                </a:cxn>
                <a:cxn ang="0">
                  <a:pos x="212" y="106"/>
                </a:cxn>
              </a:cxnLst>
              <a:rect l="0" t="0" r="r" b="b"/>
              <a:pathLst>
                <a:path w="212" h="119">
                  <a:moveTo>
                    <a:pt x="103" y="103"/>
                  </a:moveTo>
                  <a:cubicBezTo>
                    <a:pt x="103" y="103"/>
                    <a:pt x="103" y="103"/>
                    <a:pt x="103" y="103"/>
                  </a:cubicBezTo>
                  <a:moveTo>
                    <a:pt x="1" y="49"/>
                  </a:moveTo>
                  <a:cubicBezTo>
                    <a:pt x="1" y="48"/>
                    <a:pt x="1" y="48"/>
                    <a:pt x="0" y="47"/>
                  </a:cubicBezTo>
                  <a:cubicBezTo>
                    <a:pt x="1" y="48"/>
                    <a:pt x="1" y="48"/>
                    <a:pt x="1" y="49"/>
                  </a:cubicBezTo>
                  <a:close/>
                  <a:moveTo>
                    <a:pt x="207" y="104"/>
                  </a:moveTo>
                  <a:cubicBezTo>
                    <a:pt x="207" y="104"/>
                    <a:pt x="206" y="99"/>
                    <a:pt x="205" y="96"/>
                  </a:cubicBezTo>
                  <a:cubicBezTo>
                    <a:pt x="205" y="92"/>
                    <a:pt x="196" y="94"/>
                    <a:pt x="196" y="91"/>
                  </a:cubicBezTo>
                  <a:cubicBezTo>
                    <a:pt x="196" y="88"/>
                    <a:pt x="200" y="90"/>
                    <a:pt x="203" y="88"/>
                  </a:cubicBezTo>
                  <a:cubicBezTo>
                    <a:pt x="207" y="86"/>
                    <a:pt x="203" y="85"/>
                    <a:pt x="198" y="83"/>
                  </a:cubicBezTo>
                  <a:cubicBezTo>
                    <a:pt x="193" y="82"/>
                    <a:pt x="189" y="83"/>
                    <a:pt x="186" y="81"/>
                  </a:cubicBezTo>
                  <a:cubicBezTo>
                    <a:pt x="185" y="77"/>
                    <a:pt x="188" y="75"/>
                    <a:pt x="190" y="74"/>
                  </a:cubicBezTo>
                  <a:cubicBezTo>
                    <a:pt x="192" y="73"/>
                    <a:pt x="191" y="69"/>
                    <a:pt x="183" y="69"/>
                  </a:cubicBezTo>
                  <a:cubicBezTo>
                    <a:pt x="176" y="69"/>
                    <a:pt x="176" y="73"/>
                    <a:pt x="174" y="74"/>
                  </a:cubicBezTo>
                  <a:cubicBezTo>
                    <a:pt x="170" y="75"/>
                    <a:pt x="163" y="70"/>
                    <a:pt x="160" y="68"/>
                  </a:cubicBezTo>
                  <a:cubicBezTo>
                    <a:pt x="157" y="67"/>
                    <a:pt x="151" y="70"/>
                    <a:pt x="149" y="70"/>
                  </a:cubicBezTo>
                  <a:cubicBezTo>
                    <a:pt x="147" y="70"/>
                    <a:pt x="148" y="67"/>
                    <a:pt x="146" y="66"/>
                  </a:cubicBezTo>
                  <a:cubicBezTo>
                    <a:pt x="144" y="65"/>
                    <a:pt x="136" y="68"/>
                    <a:pt x="133" y="66"/>
                  </a:cubicBezTo>
                  <a:cubicBezTo>
                    <a:pt x="130" y="64"/>
                    <a:pt x="144" y="59"/>
                    <a:pt x="146" y="56"/>
                  </a:cubicBezTo>
                  <a:cubicBezTo>
                    <a:pt x="148" y="53"/>
                    <a:pt x="146" y="43"/>
                    <a:pt x="142" y="41"/>
                  </a:cubicBezTo>
                  <a:cubicBezTo>
                    <a:pt x="139" y="38"/>
                    <a:pt x="131" y="43"/>
                    <a:pt x="123" y="41"/>
                  </a:cubicBezTo>
                  <a:cubicBezTo>
                    <a:pt x="114" y="39"/>
                    <a:pt x="104" y="35"/>
                    <a:pt x="104" y="35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4" y="23"/>
                    <a:pt x="111" y="20"/>
                    <a:pt x="109" y="13"/>
                  </a:cubicBezTo>
                  <a:cubicBezTo>
                    <a:pt x="107" y="8"/>
                    <a:pt x="96" y="13"/>
                    <a:pt x="96" y="1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12"/>
                    <a:pt x="88" y="13"/>
                  </a:cubicBezTo>
                  <a:cubicBezTo>
                    <a:pt x="84" y="13"/>
                    <a:pt x="87" y="19"/>
                    <a:pt x="84" y="19"/>
                  </a:cubicBezTo>
                  <a:cubicBezTo>
                    <a:pt x="81" y="19"/>
                    <a:pt x="84" y="12"/>
                    <a:pt x="82" y="11"/>
                  </a:cubicBezTo>
                  <a:cubicBezTo>
                    <a:pt x="80" y="10"/>
                    <a:pt x="77" y="17"/>
                    <a:pt x="74" y="17"/>
                  </a:cubicBezTo>
                  <a:cubicBezTo>
                    <a:pt x="70" y="16"/>
                    <a:pt x="82" y="10"/>
                    <a:pt x="81" y="5"/>
                  </a:cubicBezTo>
                  <a:cubicBezTo>
                    <a:pt x="80" y="0"/>
                    <a:pt x="74" y="5"/>
                    <a:pt x="71" y="6"/>
                  </a:cubicBezTo>
                  <a:cubicBezTo>
                    <a:pt x="70" y="6"/>
                    <a:pt x="68" y="5"/>
                    <a:pt x="66" y="5"/>
                  </a:cubicBezTo>
                  <a:cubicBezTo>
                    <a:pt x="66" y="6"/>
                    <a:pt x="66" y="6"/>
                    <a:pt x="65" y="7"/>
                  </a:cubicBezTo>
                  <a:cubicBezTo>
                    <a:pt x="62" y="10"/>
                    <a:pt x="57" y="8"/>
                    <a:pt x="57" y="8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48" y="22"/>
                    <a:pt x="43" y="24"/>
                  </a:cubicBezTo>
                  <a:cubicBezTo>
                    <a:pt x="36" y="27"/>
                    <a:pt x="31" y="22"/>
                    <a:pt x="31" y="22"/>
                  </a:cubicBezTo>
                  <a:cubicBezTo>
                    <a:pt x="31" y="22"/>
                    <a:pt x="30" y="27"/>
                    <a:pt x="28" y="29"/>
                  </a:cubicBezTo>
                  <a:cubicBezTo>
                    <a:pt x="26" y="31"/>
                    <a:pt x="17" y="36"/>
                    <a:pt x="17" y="36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0" y="43"/>
                    <a:pt x="6" y="43"/>
                  </a:cubicBezTo>
                  <a:cubicBezTo>
                    <a:pt x="5" y="43"/>
                    <a:pt x="3" y="45"/>
                    <a:pt x="1" y="49"/>
                  </a:cubicBezTo>
                  <a:cubicBezTo>
                    <a:pt x="1" y="50"/>
                    <a:pt x="1" y="52"/>
                    <a:pt x="4" y="52"/>
                  </a:cubicBezTo>
                  <a:cubicBezTo>
                    <a:pt x="10" y="52"/>
                    <a:pt x="19" y="51"/>
                    <a:pt x="22" y="60"/>
                  </a:cubicBezTo>
                  <a:cubicBezTo>
                    <a:pt x="25" y="71"/>
                    <a:pt x="22" y="84"/>
                    <a:pt x="32" y="94"/>
                  </a:cubicBezTo>
                  <a:cubicBezTo>
                    <a:pt x="43" y="103"/>
                    <a:pt x="51" y="108"/>
                    <a:pt x="59" y="103"/>
                  </a:cubicBezTo>
                  <a:cubicBezTo>
                    <a:pt x="67" y="97"/>
                    <a:pt x="71" y="90"/>
                    <a:pt x="83" y="94"/>
                  </a:cubicBezTo>
                  <a:cubicBezTo>
                    <a:pt x="95" y="96"/>
                    <a:pt x="103" y="103"/>
                    <a:pt x="103" y="103"/>
                  </a:cubicBezTo>
                  <a:cubicBezTo>
                    <a:pt x="103" y="103"/>
                    <a:pt x="110" y="91"/>
                    <a:pt x="115" y="90"/>
                  </a:cubicBezTo>
                  <a:cubicBezTo>
                    <a:pt x="121" y="89"/>
                    <a:pt x="125" y="101"/>
                    <a:pt x="125" y="101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4" y="97"/>
                    <a:pt x="150" y="86"/>
                    <a:pt x="155" y="86"/>
                  </a:cubicBezTo>
                  <a:cubicBezTo>
                    <a:pt x="160" y="86"/>
                    <a:pt x="161" y="99"/>
                    <a:pt x="161" y="99"/>
                  </a:cubicBezTo>
                  <a:cubicBezTo>
                    <a:pt x="161" y="99"/>
                    <a:pt x="169" y="97"/>
                    <a:pt x="173" y="97"/>
                  </a:cubicBezTo>
                  <a:cubicBezTo>
                    <a:pt x="177" y="98"/>
                    <a:pt x="177" y="105"/>
                    <a:pt x="177" y="105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01" y="112"/>
                    <a:pt x="201" y="112"/>
                    <a:pt x="201" y="112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12" y="106"/>
                    <a:pt x="212" y="106"/>
                    <a:pt x="212" y="106"/>
                  </a:cubicBezTo>
                  <a:lnTo>
                    <a:pt x="207" y="1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" name="Türkei" descr="© INSCALE GmbH, 05.05.2010&#10;http://www.presentationload.com/">
              <a:extLst>
                <a:ext uri="{FF2B5EF4-FFF2-40B4-BE49-F238E27FC236}">
                  <a16:creationId xmlns:a16="http://schemas.microsoft.com/office/drawing/2014/main" id="{B45B3F96-2873-B042-BF63-AC5FC2A442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39245" y="5128541"/>
              <a:ext cx="2440715" cy="1366405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" name="Li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051CAE99-3A6A-294A-8FCF-1890FAB22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4370" y="6452040"/>
              <a:ext cx="151823" cy="306945"/>
            </a:xfrm>
            <a:custGeom>
              <a:avLst/>
              <a:gdLst/>
              <a:ahLst/>
              <a:cxnLst>
                <a:cxn ang="0">
                  <a:pos x="26" y="106"/>
                </a:cxn>
                <a:cxn ang="0">
                  <a:pos x="37" y="87"/>
                </a:cxn>
                <a:cxn ang="0">
                  <a:pos x="36" y="83"/>
                </a:cxn>
                <a:cxn ang="0">
                  <a:pos x="43" y="75"/>
                </a:cxn>
                <a:cxn ang="0">
                  <a:pos x="29" y="74"/>
                </a:cxn>
                <a:cxn ang="0">
                  <a:pos x="31" y="67"/>
                </a:cxn>
                <a:cxn ang="0">
                  <a:pos x="35" y="64"/>
                </a:cxn>
                <a:cxn ang="0">
                  <a:pos x="54" y="56"/>
                </a:cxn>
                <a:cxn ang="0">
                  <a:pos x="48" y="51"/>
                </a:cxn>
                <a:cxn ang="0">
                  <a:pos x="46" y="47"/>
                </a:cxn>
                <a:cxn ang="0">
                  <a:pos x="58" y="45"/>
                </a:cxn>
                <a:cxn ang="0">
                  <a:pos x="48" y="42"/>
                </a:cxn>
                <a:cxn ang="0">
                  <a:pos x="61" y="27"/>
                </a:cxn>
                <a:cxn ang="0">
                  <a:pos x="48" y="17"/>
                </a:cxn>
                <a:cxn ang="0">
                  <a:pos x="48" y="11"/>
                </a:cxn>
                <a:cxn ang="0">
                  <a:pos x="35" y="10"/>
                </a:cxn>
                <a:cxn ang="0">
                  <a:pos x="38" y="0"/>
                </a:cxn>
                <a:cxn ang="0">
                  <a:pos x="29" y="1"/>
                </a:cxn>
                <a:cxn ang="0">
                  <a:pos x="28" y="6"/>
                </a:cxn>
                <a:cxn ang="0">
                  <a:pos x="20" y="7"/>
                </a:cxn>
                <a:cxn ang="0">
                  <a:pos x="14" y="12"/>
                </a:cxn>
                <a:cxn ang="0">
                  <a:pos x="15" y="20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1" y="38"/>
                </a:cxn>
                <a:cxn ang="0">
                  <a:pos x="2" y="49"/>
                </a:cxn>
                <a:cxn ang="0">
                  <a:pos x="10" y="56"/>
                </a:cxn>
                <a:cxn ang="0">
                  <a:pos x="6" y="63"/>
                </a:cxn>
                <a:cxn ang="0">
                  <a:pos x="3" y="77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3" y="109"/>
                </a:cxn>
                <a:cxn ang="0">
                  <a:pos x="0" y="112"/>
                </a:cxn>
                <a:cxn ang="0">
                  <a:pos x="0" y="115"/>
                </a:cxn>
                <a:cxn ang="0">
                  <a:pos x="3" y="115"/>
                </a:cxn>
                <a:cxn ang="0">
                  <a:pos x="2" y="126"/>
                </a:cxn>
                <a:cxn ang="0">
                  <a:pos x="8" y="125"/>
                </a:cxn>
                <a:cxn ang="0">
                  <a:pos x="12" y="121"/>
                </a:cxn>
                <a:cxn ang="0">
                  <a:pos x="19" y="122"/>
                </a:cxn>
                <a:cxn ang="0">
                  <a:pos x="19" y="112"/>
                </a:cxn>
                <a:cxn ang="0">
                  <a:pos x="19" y="106"/>
                </a:cxn>
                <a:cxn ang="0">
                  <a:pos x="26" y="106"/>
                </a:cxn>
              </a:cxnLst>
              <a:rect l="0" t="0" r="r" b="b"/>
              <a:pathLst>
                <a:path w="63" h="129">
                  <a:moveTo>
                    <a:pt x="26" y="106"/>
                  </a:moveTo>
                  <a:cubicBezTo>
                    <a:pt x="37" y="87"/>
                    <a:pt x="37" y="87"/>
                    <a:pt x="37" y="87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3"/>
                    <a:pt x="43" y="79"/>
                    <a:pt x="43" y="75"/>
                  </a:cubicBezTo>
                  <a:cubicBezTo>
                    <a:pt x="44" y="72"/>
                    <a:pt x="29" y="74"/>
                    <a:pt x="29" y="74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5" y="66"/>
                    <a:pt x="35" y="64"/>
                  </a:cubicBezTo>
                  <a:cubicBezTo>
                    <a:pt x="35" y="61"/>
                    <a:pt x="54" y="56"/>
                    <a:pt x="54" y="56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58" y="32"/>
                    <a:pt x="61" y="27"/>
                  </a:cubicBezTo>
                  <a:cubicBezTo>
                    <a:pt x="63" y="22"/>
                    <a:pt x="48" y="17"/>
                    <a:pt x="48" y="1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9" y="24"/>
                    <a:pt x="6" y="28"/>
                  </a:cubicBezTo>
                  <a:cubicBezTo>
                    <a:pt x="4" y="31"/>
                    <a:pt x="6" y="33"/>
                    <a:pt x="5" y="36"/>
                  </a:cubicBezTo>
                  <a:cubicBezTo>
                    <a:pt x="3" y="38"/>
                    <a:pt x="1" y="38"/>
                    <a:pt x="1" y="3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0" y="52"/>
                    <a:pt x="10" y="56"/>
                  </a:cubicBezTo>
                  <a:cubicBezTo>
                    <a:pt x="10" y="60"/>
                    <a:pt x="6" y="63"/>
                    <a:pt x="6" y="63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5"/>
                    <a:pt x="3" y="115"/>
                    <a:pt x="3" y="115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2" y="126"/>
                    <a:pt x="5" y="126"/>
                    <a:pt x="8" y="125"/>
                  </a:cubicBezTo>
                  <a:cubicBezTo>
                    <a:pt x="10" y="123"/>
                    <a:pt x="12" y="121"/>
                    <a:pt x="12" y="121"/>
                  </a:cubicBezTo>
                  <a:cubicBezTo>
                    <a:pt x="12" y="121"/>
                    <a:pt x="15" y="129"/>
                    <a:pt x="19" y="122"/>
                  </a:cubicBezTo>
                  <a:cubicBezTo>
                    <a:pt x="25" y="115"/>
                    <a:pt x="19" y="112"/>
                    <a:pt x="19" y="112"/>
                  </a:cubicBezTo>
                  <a:cubicBezTo>
                    <a:pt x="19" y="106"/>
                    <a:pt x="19" y="106"/>
                    <a:pt x="19" y="106"/>
                  </a:cubicBezTo>
                  <a:lnTo>
                    <a:pt x="26" y="10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" name="Syrien" descr="© INSCALE GmbH, 05.05.2010&#10;http://www.presentationload.com/">
              <a:extLst>
                <a:ext uri="{FF2B5EF4-FFF2-40B4-BE49-F238E27FC236}">
                  <a16:creationId xmlns:a16="http://schemas.microsoft.com/office/drawing/2014/main" id="{00529286-D76C-1F42-B6E2-D487CC64237A}"/>
                </a:ext>
              </a:extLst>
            </p:cNvPr>
            <p:cNvSpPr>
              <a:spLocks/>
            </p:cNvSpPr>
            <p:nvPr/>
          </p:nvSpPr>
          <p:spPr bwMode="gray">
            <a:xfrm>
              <a:off x="7879910" y="5773786"/>
              <a:ext cx="736010" cy="1028105"/>
            </a:xfrm>
            <a:custGeom>
              <a:avLst/>
              <a:gdLst/>
              <a:ahLst/>
              <a:cxnLst>
                <a:cxn ang="0">
                  <a:pos x="294" y="149"/>
                </a:cxn>
                <a:cxn ang="0">
                  <a:pos x="274" y="96"/>
                </a:cxn>
                <a:cxn ang="0">
                  <a:pos x="287" y="50"/>
                </a:cxn>
                <a:cxn ang="0">
                  <a:pos x="302" y="18"/>
                </a:cxn>
                <a:cxn ang="0">
                  <a:pos x="297" y="1"/>
                </a:cxn>
                <a:cxn ang="0">
                  <a:pos x="262" y="26"/>
                </a:cxn>
                <a:cxn ang="0">
                  <a:pos x="178" y="89"/>
                </a:cxn>
                <a:cxn ang="0">
                  <a:pos x="129" y="111"/>
                </a:cxn>
                <a:cxn ang="0">
                  <a:pos x="81" y="127"/>
                </a:cxn>
                <a:cxn ang="0">
                  <a:pos x="72" y="136"/>
                </a:cxn>
                <a:cxn ang="0">
                  <a:pos x="42" y="142"/>
                </a:cxn>
                <a:cxn ang="0">
                  <a:pos x="22" y="168"/>
                </a:cxn>
                <a:cxn ang="0">
                  <a:pos x="21" y="188"/>
                </a:cxn>
                <a:cxn ang="0">
                  <a:pos x="20" y="218"/>
                </a:cxn>
                <a:cxn ang="0">
                  <a:pos x="0" y="224"/>
                </a:cxn>
                <a:cxn ang="0">
                  <a:pos x="4" y="236"/>
                </a:cxn>
                <a:cxn ang="0">
                  <a:pos x="3" y="243"/>
                </a:cxn>
                <a:cxn ang="0">
                  <a:pos x="16" y="254"/>
                </a:cxn>
                <a:cxn ang="0">
                  <a:pos x="22" y="280"/>
                </a:cxn>
                <a:cxn ang="0">
                  <a:pos x="34" y="297"/>
                </a:cxn>
                <a:cxn ang="0">
                  <a:pos x="51" y="290"/>
                </a:cxn>
                <a:cxn ang="0">
                  <a:pos x="61" y="284"/>
                </a:cxn>
                <a:cxn ang="0">
                  <a:pos x="71" y="295"/>
                </a:cxn>
                <a:cxn ang="0">
                  <a:pos x="84" y="311"/>
                </a:cxn>
                <a:cxn ang="0">
                  <a:pos x="81" y="329"/>
                </a:cxn>
                <a:cxn ang="0">
                  <a:pos x="71" y="335"/>
                </a:cxn>
                <a:cxn ang="0">
                  <a:pos x="58" y="348"/>
                </a:cxn>
                <a:cxn ang="0">
                  <a:pos x="52" y="358"/>
                </a:cxn>
                <a:cxn ang="0">
                  <a:pos x="59" y="367"/>
                </a:cxn>
                <a:cxn ang="0">
                  <a:pos x="49" y="390"/>
                </a:cxn>
                <a:cxn ang="0">
                  <a:pos x="54" y="409"/>
                </a:cxn>
                <a:cxn ang="0">
                  <a:pos x="77" y="419"/>
                </a:cxn>
                <a:cxn ang="0">
                  <a:pos x="93" y="429"/>
                </a:cxn>
                <a:cxn ang="0">
                  <a:pos x="108" y="430"/>
                </a:cxn>
                <a:cxn ang="0">
                  <a:pos x="304" y="206"/>
                </a:cxn>
                <a:cxn ang="0">
                  <a:pos x="305" y="189"/>
                </a:cxn>
                <a:cxn ang="0">
                  <a:pos x="307" y="175"/>
                </a:cxn>
              </a:cxnLst>
              <a:rect l="0" t="0" r="r" b="b"/>
              <a:pathLst>
                <a:path w="308" h="430">
                  <a:moveTo>
                    <a:pt x="307" y="175"/>
                  </a:moveTo>
                  <a:cubicBezTo>
                    <a:pt x="307" y="175"/>
                    <a:pt x="297" y="164"/>
                    <a:pt x="294" y="149"/>
                  </a:cubicBezTo>
                  <a:cubicBezTo>
                    <a:pt x="290" y="133"/>
                    <a:pt x="295" y="121"/>
                    <a:pt x="289" y="113"/>
                  </a:cubicBezTo>
                  <a:cubicBezTo>
                    <a:pt x="285" y="105"/>
                    <a:pt x="278" y="106"/>
                    <a:pt x="274" y="96"/>
                  </a:cubicBezTo>
                  <a:cubicBezTo>
                    <a:pt x="270" y="88"/>
                    <a:pt x="264" y="74"/>
                    <a:pt x="268" y="66"/>
                  </a:cubicBezTo>
                  <a:cubicBezTo>
                    <a:pt x="273" y="60"/>
                    <a:pt x="282" y="62"/>
                    <a:pt x="287" y="50"/>
                  </a:cubicBezTo>
                  <a:cubicBezTo>
                    <a:pt x="294" y="39"/>
                    <a:pt x="296" y="26"/>
                    <a:pt x="296" y="26"/>
                  </a:cubicBezTo>
                  <a:cubicBezTo>
                    <a:pt x="296" y="26"/>
                    <a:pt x="302" y="21"/>
                    <a:pt x="302" y="18"/>
                  </a:cubicBezTo>
                  <a:cubicBezTo>
                    <a:pt x="302" y="14"/>
                    <a:pt x="301" y="5"/>
                    <a:pt x="301" y="5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2" y="17"/>
                    <a:pt x="262" y="26"/>
                  </a:cubicBezTo>
                  <a:cubicBezTo>
                    <a:pt x="242" y="34"/>
                    <a:pt x="222" y="42"/>
                    <a:pt x="222" y="42"/>
                  </a:cubicBezTo>
                  <a:cubicBezTo>
                    <a:pt x="222" y="42"/>
                    <a:pt x="193" y="77"/>
                    <a:pt x="178" y="89"/>
                  </a:cubicBezTo>
                  <a:cubicBezTo>
                    <a:pt x="163" y="100"/>
                    <a:pt x="148" y="102"/>
                    <a:pt x="148" y="102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11" y="101"/>
                    <a:pt x="104" y="106"/>
                  </a:cubicBezTo>
                  <a:cubicBezTo>
                    <a:pt x="95" y="109"/>
                    <a:pt x="81" y="127"/>
                    <a:pt x="81" y="127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2" y="142"/>
                    <a:pt x="42" y="142"/>
                    <a:pt x="42" y="142"/>
                  </a:cubicBezTo>
                  <a:cubicBezTo>
                    <a:pt x="42" y="142"/>
                    <a:pt x="23" y="139"/>
                    <a:pt x="23" y="145"/>
                  </a:cubicBezTo>
                  <a:cubicBezTo>
                    <a:pt x="22" y="152"/>
                    <a:pt x="22" y="168"/>
                    <a:pt x="22" y="168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" y="225"/>
                    <a:pt x="6" y="225"/>
                    <a:pt x="6" y="225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3" y="243"/>
                    <a:pt x="3" y="243"/>
                    <a:pt x="3" y="243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248"/>
                    <a:pt x="12" y="250"/>
                    <a:pt x="16" y="254"/>
                  </a:cubicBezTo>
                  <a:cubicBezTo>
                    <a:pt x="18" y="258"/>
                    <a:pt x="22" y="259"/>
                    <a:pt x="22" y="264"/>
                  </a:cubicBezTo>
                  <a:cubicBezTo>
                    <a:pt x="22" y="280"/>
                    <a:pt x="22" y="280"/>
                    <a:pt x="22" y="280"/>
                  </a:cubicBezTo>
                  <a:cubicBezTo>
                    <a:pt x="28" y="283"/>
                    <a:pt x="28" y="283"/>
                    <a:pt x="28" y="283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1" y="290"/>
                    <a:pt x="51" y="290"/>
                    <a:pt x="51" y="290"/>
                  </a:cubicBezTo>
                  <a:cubicBezTo>
                    <a:pt x="52" y="285"/>
                    <a:pt x="52" y="285"/>
                    <a:pt x="52" y="285"/>
                  </a:cubicBezTo>
                  <a:cubicBezTo>
                    <a:pt x="61" y="284"/>
                    <a:pt x="61" y="284"/>
                    <a:pt x="61" y="284"/>
                  </a:cubicBezTo>
                  <a:cubicBezTo>
                    <a:pt x="58" y="294"/>
                    <a:pt x="58" y="294"/>
                    <a:pt x="58" y="294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86" y="306"/>
                    <a:pt x="84" y="311"/>
                  </a:cubicBezTo>
                  <a:cubicBezTo>
                    <a:pt x="81" y="316"/>
                    <a:pt x="71" y="326"/>
                    <a:pt x="71" y="326"/>
                  </a:cubicBezTo>
                  <a:cubicBezTo>
                    <a:pt x="81" y="329"/>
                    <a:pt x="81" y="329"/>
                    <a:pt x="81" y="329"/>
                  </a:cubicBezTo>
                  <a:cubicBezTo>
                    <a:pt x="69" y="331"/>
                    <a:pt x="69" y="331"/>
                    <a:pt x="69" y="331"/>
                  </a:cubicBezTo>
                  <a:cubicBezTo>
                    <a:pt x="71" y="335"/>
                    <a:pt x="71" y="335"/>
                    <a:pt x="71" y="335"/>
                  </a:cubicBezTo>
                  <a:cubicBezTo>
                    <a:pt x="77" y="340"/>
                    <a:pt x="77" y="340"/>
                    <a:pt x="77" y="340"/>
                  </a:cubicBezTo>
                  <a:cubicBezTo>
                    <a:pt x="77" y="340"/>
                    <a:pt x="58" y="345"/>
                    <a:pt x="58" y="348"/>
                  </a:cubicBezTo>
                  <a:cubicBezTo>
                    <a:pt x="58" y="350"/>
                    <a:pt x="54" y="351"/>
                    <a:pt x="54" y="351"/>
                  </a:cubicBezTo>
                  <a:cubicBezTo>
                    <a:pt x="52" y="358"/>
                    <a:pt x="52" y="358"/>
                    <a:pt x="52" y="358"/>
                  </a:cubicBezTo>
                  <a:cubicBezTo>
                    <a:pt x="52" y="358"/>
                    <a:pt x="67" y="356"/>
                    <a:pt x="66" y="359"/>
                  </a:cubicBezTo>
                  <a:cubicBezTo>
                    <a:pt x="66" y="363"/>
                    <a:pt x="59" y="367"/>
                    <a:pt x="59" y="367"/>
                  </a:cubicBezTo>
                  <a:cubicBezTo>
                    <a:pt x="60" y="371"/>
                    <a:pt x="60" y="371"/>
                    <a:pt x="60" y="371"/>
                  </a:cubicBezTo>
                  <a:cubicBezTo>
                    <a:pt x="49" y="390"/>
                    <a:pt x="49" y="390"/>
                    <a:pt x="49" y="390"/>
                  </a:cubicBezTo>
                  <a:cubicBezTo>
                    <a:pt x="54" y="392"/>
                    <a:pt x="54" y="392"/>
                    <a:pt x="54" y="392"/>
                  </a:cubicBezTo>
                  <a:cubicBezTo>
                    <a:pt x="54" y="409"/>
                    <a:pt x="54" y="409"/>
                    <a:pt x="54" y="409"/>
                  </a:cubicBezTo>
                  <a:cubicBezTo>
                    <a:pt x="64" y="427"/>
                    <a:pt x="64" y="427"/>
                    <a:pt x="64" y="427"/>
                  </a:cubicBezTo>
                  <a:cubicBezTo>
                    <a:pt x="64" y="427"/>
                    <a:pt x="69" y="419"/>
                    <a:pt x="77" y="419"/>
                  </a:cubicBezTo>
                  <a:cubicBezTo>
                    <a:pt x="85" y="420"/>
                    <a:pt x="89" y="429"/>
                    <a:pt x="89" y="429"/>
                  </a:cubicBezTo>
                  <a:cubicBezTo>
                    <a:pt x="93" y="429"/>
                    <a:pt x="93" y="429"/>
                    <a:pt x="93" y="429"/>
                  </a:cubicBezTo>
                  <a:cubicBezTo>
                    <a:pt x="93" y="429"/>
                    <a:pt x="94" y="425"/>
                    <a:pt x="101" y="425"/>
                  </a:cubicBezTo>
                  <a:cubicBezTo>
                    <a:pt x="107" y="426"/>
                    <a:pt x="108" y="430"/>
                    <a:pt x="108" y="430"/>
                  </a:cubicBezTo>
                  <a:cubicBezTo>
                    <a:pt x="135" y="429"/>
                    <a:pt x="135" y="429"/>
                    <a:pt x="135" y="429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6" y="205"/>
                    <a:pt x="306" y="205"/>
                    <a:pt x="306" y="205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7" y="17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8" name="Kasac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11672C6-B181-004B-91A4-67E75729AB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168705" y="2215855"/>
              <a:ext cx="975295" cy="2222884"/>
            </a:xfrm>
            <a:custGeom>
              <a:avLst/>
              <a:gdLst/>
              <a:ahLst/>
              <a:cxnLst>
                <a:cxn ang="0">
                  <a:pos x="291" y="856"/>
                </a:cxn>
                <a:cxn ang="0">
                  <a:pos x="395" y="19"/>
                </a:cxn>
                <a:cxn ang="0">
                  <a:pos x="377" y="43"/>
                </a:cxn>
                <a:cxn ang="0">
                  <a:pos x="362" y="71"/>
                </a:cxn>
                <a:cxn ang="0">
                  <a:pos x="341" y="94"/>
                </a:cxn>
                <a:cxn ang="0">
                  <a:pos x="322" y="113"/>
                </a:cxn>
                <a:cxn ang="0">
                  <a:pos x="342" y="125"/>
                </a:cxn>
                <a:cxn ang="0">
                  <a:pos x="358" y="139"/>
                </a:cxn>
                <a:cxn ang="0">
                  <a:pos x="393" y="125"/>
                </a:cxn>
                <a:cxn ang="0">
                  <a:pos x="372" y="151"/>
                </a:cxn>
                <a:cxn ang="0">
                  <a:pos x="378" y="186"/>
                </a:cxn>
                <a:cxn ang="0">
                  <a:pos x="385" y="211"/>
                </a:cxn>
                <a:cxn ang="0">
                  <a:pos x="398" y="240"/>
                </a:cxn>
                <a:cxn ang="0">
                  <a:pos x="379" y="327"/>
                </a:cxn>
                <a:cxn ang="0">
                  <a:pos x="336" y="337"/>
                </a:cxn>
                <a:cxn ang="0">
                  <a:pos x="318" y="353"/>
                </a:cxn>
                <a:cxn ang="0">
                  <a:pos x="297" y="382"/>
                </a:cxn>
                <a:cxn ang="0">
                  <a:pos x="258" y="417"/>
                </a:cxn>
                <a:cxn ang="0">
                  <a:pos x="234" y="423"/>
                </a:cxn>
                <a:cxn ang="0">
                  <a:pos x="239" y="433"/>
                </a:cxn>
                <a:cxn ang="0">
                  <a:pos x="194" y="426"/>
                </a:cxn>
                <a:cxn ang="0">
                  <a:pos x="151" y="437"/>
                </a:cxn>
                <a:cxn ang="0">
                  <a:pos x="116" y="441"/>
                </a:cxn>
                <a:cxn ang="0">
                  <a:pos x="102" y="454"/>
                </a:cxn>
                <a:cxn ang="0">
                  <a:pos x="77" y="471"/>
                </a:cxn>
                <a:cxn ang="0">
                  <a:pos x="65" y="507"/>
                </a:cxn>
                <a:cxn ang="0">
                  <a:pos x="59" y="537"/>
                </a:cxn>
                <a:cxn ang="0">
                  <a:pos x="35" y="572"/>
                </a:cxn>
                <a:cxn ang="0">
                  <a:pos x="67" y="596"/>
                </a:cxn>
                <a:cxn ang="0">
                  <a:pos x="1" y="614"/>
                </a:cxn>
                <a:cxn ang="0">
                  <a:pos x="25" y="685"/>
                </a:cxn>
                <a:cxn ang="0">
                  <a:pos x="60" y="742"/>
                </a:cxn>
                <a:cxn ang="0">
                  <a:pos x="82" y="754"/>
                </a:cxn>
                <a:cxn ang="0">
                  <a:pos x="139" y="754"/>
                </a:cxn>
                <a:cxn ang="0">
                  <a:pos x="166" y="801"/>
                </a:cxn>
                <a:cxn ang="0">
                  <a:pos x="202" y="791"/>
                </a:cxn>
                <a:cxn ang="0">
                  <a:pos x="195" y="782"/>
                </a:cxn>
                <a:cxn ang="0">
                  <a:pos x="209" y="778"/>
                </a:cxn>
                <a:cxn ang="0">
                  <a:pos x="224" y="756"/>
                </a:cxn>
                <a:cxn ang="0">
                  <a:pos x="235" y="733"/>
                </a:cxn>
                <a:cxn ang="0">
                  <a:pos x="266" y="705"/>
                </a:cxn>
                <a:cxn ang="0">
                  <a:pos x="281" y="707"/>
                </a:cxn>
                <a:cxn ang="0">
                  <a:pos x="296" y="707"/>
                </a:cxn>
                <a:cxn ang="0">
                  <a:pos x="309" y="688"/>
                </a:cxn>
                <a:cxn ang="0">
                  <a:pos x="332" y="678"/>
                </a:cxn>
                <a:cxn ang="0">
                  <a:pos x="338" y="696"/>
                </a:cxn>
                <a:cxn ang="0">
                  <a:pos x="352" y="706"/>
                </a:cxn>
                <a:cxn ang="0">
                  <a:pos x="359" y="718"/>
                </a:cxn>
                <a:cxn ang="0">
                  <a:pos x="391" y="756"/>
                </a:cxn>
                <a:cxn ang="0">
                  <a:pos x="331" y="789"/>
                </a:cxn>
                <a:cxn ang="0">
                  <a:pos x="326" y="823"/>
                </a:cxn>
                <a:cxn ang="0">
                  <a:pos x="314" y="838"/>
                </a:cxn>
                <a:cxn ang="0">
                  <a:pos x="328" y="842"/>
                </a:cxn>
                <a:cxn ang="0">
                  <a:pos x="345" y="850"/>
                </a:cxn>
                <a:cxn ang="0">
                  <a:pos x="301" y="879"/>
                </a:cxn>
                <a:cxn ang="0">
                  <a:pos x="385" y="913"/>
                </a:cxn>
                <a:cxn ang="0">
                  <a:pos x="402" y="925"/>
                </a:cxn>
                <a:cxn ang="0">
                  <a:pos x="379" y="327"/>
                </a:cxn>
              </a:cxnLst>
              <a:rect l="0" t="0" r="r" b="b"/>
              <a:pathLst>
                <a:path w="408" h="931">
                  <a:moveTo>
                    <a:pt x="290" y="844"/>
                  </a:moveTo>
                  <a:cubicBezTo>
                    <a:pt x="285" y="844"/>
                    <a:pt x="285" y="844"/>
                    <a:pt x="285" y="844"/>
                  </a:cubicBezTo>
                  <a:cubicBezTo>
                    <a:pt x="287" y="851"/>
                    <a:pt x="287" y="851"/>
                    <a:pt x="287" y="851"/>
                  </a:cubicBezTo>
                  <a:cubicBezTo>
                    <a:pt x="291" y="856"/>
                    <a:pt x="291" y="856"/>
                    <a:pt x="291" y="856"/>
                  </a:cubicBezTo>
                  <a:cubicBezTo>
                    <a:pt x="293" y="855"/>
                    <a:pt x="293" y="855"/>
                    <a:pt x="293" y="855"/>
                  </a:cubicBezTo>
                  <a:cubicBezTo>
                    <a:pt x="291" y="851"/>
                    <a:pt x="291" y="851"/>
                    <a:pt x="291" y="851"/>
                  </a:cubicBezTo>
                  <a:lnTo>
                    <a:pt x="290" y="844"/>
                  </a:lnTo>
                  <a:close/>
                  <a:moveTo>
                    <a:pt x="395" y="19"/>
                  </a:moveTo>
                  <a:cubicBezTo>
                    <a:pt x="395" y="19"/>
                    <a:pt x="400" y="22"/>
                    <a:pt x="398" y="25"/>
                  </a:cubicBezTo>
                  <a:cubicBezTo>
                    <a:pt x="397" y="28"/>
                    <a:pt x="391" y="28"/>
                    <a:pt x="391" y="28"/>
                  </a:cubicBezTo>
                  <a:cubicBezTo>
                    <a:pt x="385" y="40"/>
                    <a:pt x="385" y="40"/>
                    <a:pt x="385" y="40"/>
                  </a:cubicBezTo>
                  <a:cubicBezTo>
                    <a:pt x="377" y="43"/>
                    <a:pt x="377" y="43"/>
                    <a:pt x="377" y="43"/>
                  </a:cubicBezTo>
                  <a:cubicBezTo>
                    <a:pt x="381" y="50"/>
                    <a:pt x="381" y="50"/>
                    <a:pt x="381" y="50"/>
                  </a:cubicBezTo>
                  <a:cubicBezTo>
                    <a:pt x="366" y="63"/>
                    <a:pt x="366" y="63"/>
                    <a:pt x="366" y="63"/>
                  </a:cubicBezTo>
                  <a:cubicBezTo>
                    <a:pt x="366" y="63"/>
                    <a:pt x="376" y="75"/>
                    <a:pt x="371" y="77"/>
                  </a:cubicBezTo>
                  <a:cubicBezTo>
                    <a:pt x="365" y="80"/>
                    <a:pt x="362" y="71"/>
                    <a:pt x="362" y="7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2" y="90"/>
                    <a:pt x="352" y="90"/>
                    <a:pt x="352" y="90"/>
                  </a:cubicBezTo>
                  <a:cubicBezTo>
                    <a:pt x="343" y="88"/>
                    <a:pt x="343" y="88"/>
                    <a:pt x="343" y="88"/>
                  </a:cubicBezTo>
                  <a:cubicBezTo>
                    <a:pt x="341" y="94"/>
                    <a:pt x="341" y="94"/>
                    <a:pt x="341" y="94"/>
                  </a:cubicBezTo>
                  <a:cubicBezTo>
                    <a:pt x="328" y="94"/>
                    <a:pt x="328" y="94"/>
                    <a:pt x="328" y="94"/>
                  </a:cubicBezTo>
                  <a:cubicBezTo>
                    <a:pt x="327" y="102"/>
                    <a:pt x="327" y="102"/>
                    <a:pt x="327" y="102"/>
                  </a:cubicBezTo>
                  <a:cubicBezTo>
                    <a:pt x="331" y="104"/>
                    <a:pt x="331" y="104"/>
                    <a:pt x="331" y="104"/>
                  </a:cubicBezTo>
                  <a:cubicBezTo>
                    <a:pt x="322" y="113"/>
                    <a:pt x="322" y="113"/>
                    <a:pt x="322" y="113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6" y="123"/>
                    <a:pt x="336" y="123"/>
                    <a:pt x="336" y="123"/>
                  </a:cubicBezTo>
                  <a:cubicBezTo>
                    <a:pt x="333" y="129"/>
                    <a:pt x="333" y="129"/>
                    <a:pt x="333" y="129"/>
                  </a:cubicBezTo>
                  <a:cubicBezTo>
                    <a:pt x="342" y="125"/>
                    <a:pt x="342" y="125"/>
                    <a:pt x="342" y="125"/>
                  </a:cubicBezTo>
                  <a:cubicBezTo>
                    <a:pt x="348" y="126"/>
                    <a:pt x="348" y="126"/>
                    <a:pt x="348" y="126"/>
                  </a:cubicBezTo>
                  <a:cubicBezTo>
                    <a:pt x="348" y="126"/>
                    <a:pt x="354" y="114"/>
                    <a:pt x="359" y="118"/>
                  </a:cubicBezTo>
                  <a:cubicBezTo>
                    <a:pt x="364" y="121"/>
                    <a:pt x="354" y="126"/>
                    <a:pt x="354" y="126"/>
                  </a:cubicBezTo>
                  <a:cubicBezTo>
                    <a:pt x="358" y="139"/>
                    <a:pt x="358" y="139"/>
                    <a:pt x="358" y="139"/>
                  </a:cubicBezTo>
                  <a:cubicBezTo>
                    <a:pt x="374" y="134"/>
                    <a:pt x="374" y="134"/>
                    <a:pt x="374" y="134"/>
                  </a:cubicBezTo>
                  <a:cubicBezTo>
                    <a:pt x="373" y="130"/>
                    <a:pt x="373" y="130"/>
                    <a:pt x="373" y="130"/>
                  </a:cubicBezTo>
                  <a:cubicBezTo>
                    <a:pt x="373" y="130"/>
                    <a:pt x="379" y="130"/>
                    <a:pt x="382" y="129"/>
                  </a:cubicBezTo>
                  <a:cubicBezTo>
                    <a:pt x="387" y="127"/>
                    <a:pt x="389" y="121"/>
                    <a:pt x="393" y="125"/>
                  </a:cubicBezTo>
                  <a:cubicBezTo>
                    <a:pt x="398" y="129"/>
                    <a:pt x="400" y="132"/>
                    <a:pt x="396" y="134"/>
                  </a:cubicBezTo>
                  <a:cubicBezTo>
                    <a:pt x="392" y="136"/>
                    <a:pt x="386" y="145"/>
                    <a:pt x="386" y="145"/>
                  </a:cubicBezTo>
                  <a:cubicBezTo>
                    <a:pt x="377" y="146"/>
                    <a:pt x="377" y="146"/>
                    <a:pt x="377" y="146"/>
                  </a:cubicBezTo>
                  <a:cubicBezTo>
                    <a:pt x="372" y="151"/>
                    <a:pt x="372" y="151"/>
                    <a:pt x="372" y="151"/>
                  </a:cubicBezTo>
                  <a:cubicBezTo>
                    <a:pt x="361" y="159"/>
                    <a:pt x="361" y="159"/>
                    <a:pt x="361" y="159"/>
                  </a:cubicBezTo>
                  <a:cubicBezTo>
                    <a:pt x="361" y="159"/>
                    <a:pt x="367" y="161"/>
                    <a:pt x="367" y="162"/>
                  </a:cubicBezTo>
                  <a:cubicBezTo>
                    <a:pt x="367" y="164"/>
                    <a:pt x="364" y="181"/>
                    <a:pt x="364" y="181"/>
                  </a:cubicBezTo>
                  <a:cubicBezTo>
                    <a:pt x="378" y="186"/>
                    <a:pt x="378" y="186"/>
                    <a:pt x="378" y="186"/>
                  </a:cubicBezTo>
                  <a:cubicBezTo>
                    <a:pt x="383" y="184"/>
                    <a:pt x="383" y="184"/>
                    <a:pt x="383" y="184"/>
                  </a:cubicBezTo>
                  <a:cubicBezTo>
                    <a:pt x="393" y="187"/>
                    <a:pt x="393" y="187"/>
                    <a:pt x="393" y="187"/>
                  </a:cubicBezTo>
                  <a:cubicBezTo>
                    <a:pt x="391" y="209"/>
                    <a:pt x="391" y="209"/>
                    <a:pt x="391" y="209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77" y="234"/>
                    <a:pt x="377" y="234"/>
                    <a:pt x="377" y="234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80" y="239"/>
                    <a:pt x="396" y="229"/>
                    <a:pt x="398" y="232"/>
                  </a:cubicBezTo>
                  <a:cubicBezTo>
                    <a:pt x="402" y="236"/>
                    <a:pt x="398" y="240"/>
                    <a:pt x="398" y="240"/>
                  </a:cubicBezTo>
                  <a:cubicBezTo>
                    <a:pt x="408" y="239"/>
                    <a:pt x="408" y="239"/>
                    <a:pt x="408" y="23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395" y="19"/>
                  </a:lnTo>
                  <a:close/>
                  <a:moveTo>
                    <a:pt x="379" y="327"/>
                  </a:moveTo>
                  <a:cubicBezTo>
                    <a:pt x="370" y="322"/>
                    <a:pt x="370" y="316"/>
                    <a:pt x="364" y="316"/>
                  </a:cubicBezTo>
                  <a:cubicBezTo>
                    <a:pt x="359" y="318"/>
                    <a:pt x="354" y="319"/>
                    <a:pt x="354" y="319"/>
                  </a:cubicBezTo>
                  <a:cubicBezTo>
                    <a:pt x="354" y="319"/>
                    <a:pt x="358" y="326"/>
                    <a:pt x="355" y="328"/>
                  </a:cubicBezTo>
                  <a:cubicBezTo>
                    <a:pt x="353" y="330"/>
                    <a:pt x="336" y="337"/>
                    <a:pt x="336" y="337"/>
                  </a:cubicBezTo>
                  <a:cubicBezTo>
                    <a:pt x="345" y="346"/>
                    <a:pt x="345" y="346"/>
                    <a:pt x="345" y="346"/>
                  </a:cubicBezTo>
                  <a:cubicBezTo>
                    <a:pt x="345" y="346"/>
                    <a:pt x="338" y="346"/>
                    <a:pt x="337" y="347"/>
                  </a:cubicBezTo>
                  <a:cubicBezTo>
                    <a:pt x="336" y="350"/>
                    <a:pt x="340" y="354"/>
                    <a:pt x="337" y="356"/>
                  </a:cubicBezTo>
                  <a:cubicBezTo>
                    <a:pt x="332" y="358"/>
                    <a:pt x="318" y="353"/>
                    <a:pt x="318" y="353"/>
                  </a:cubicBezTo>
                  <a:cubicBezTo>
                    <a:pt x="306" y="362"/>
                    <a:pt x="306" y="362"/>
                    <a:pt x="306" y="362"/>
                  </a:cubicBezTo>
                  <a:cubicBezTo>
                    <a:pt x="306" y="362"/>
                    <a:pt x="311" y="370"/>
                    <a:pt x="307" y="371"/>
                  </a:cubicBezTo>
                  <a:cubicBezTo>
                    <a:pt x="303" y="371"/>
                    <a:pt x="296" y="367"/>
                    <a:pt x="296" y="367"/>
                  </a:cubicBezTo>
                  <a:cubicBezTo>
                    <a:pt x="297" y="382"/>
                    <a:pt x="297" y="382"/>
                    <a:pt x="297" y="382"/>
                  </a:cubicBezTo>
                  <a:cubicBezTo>
                    <a:pt x="292" y="384"/>
                    <a:pt x="292" y="384"/>
                    <a:pt x="292" y="384"/>
                  </a:cubicBezTo>
                  <a:cubicBezTo>
                    <a:pt x="292" y="384"/>
                    <a:pt x="298" y="390"/>
                    <a:pt x="296" y="397"/>
                  </a:cubicBezTo>
                  <a:cubicBezTo>
                    <a:pt x="294" y="402"/>
                    <a:pt x="290" y="414"/>
                    <a:pt x="290" y="414"/>
                  </a:cubicBezTo>
                  <a:cubicBezTo>
                    <a:pt x="258" y="417"/>
                    <a:pt x="258" y="417"/>
                    <a:pt x="258" y="417"/>
                  </a:cubicBezTo>
                  <a:cubicBezTo>
                    <a:pt x="258" y="417"/>
                    <a:pt x="258" y="414"/>
                    <a:pt x="255" y="413"/>
                  </a:cubicBezTo>
                  <a:cubicBezTo>
                    <a:pt x="251" y="413"/>
                    <a:pt x="248" y="415"/>
                    <a:pt x="248" y="415"/>
                  </a:cubicBezTo>
                  <a:cubicBezTo>
                    <a:pt x="248" y="415"/>
                    <a:pt x="236" y="410"/>
                    <a:pt x="234" y="415"/>
                  </a:cubicBezTo>
                  <a:cubicBezTo>
                    <a:pt x="232" y="419"/>
                    <a:pt x="232" y="422"/>
                    <a:pt x="234" y="423"/>
                  </a:cubicBezTo>
                  <a:cubicBezTo>
                    <a:pt x="238" y="423"/>
                    <a:pt x="243" y="422"/>
                    <a:pt x="245" y="428"/>
                  </a:cubicBezTo>
                  <a:cubicBezTo>
                    <a:pt x="247" y="432"/>
                    <a:pt x="255" y="432"/>
                    <a:pt x="254" y="436"/>
                  </a:cubicBezTo>
                  <a:cubicBezTo>
                    <a:pt x="252" y="440"/>
                    <a:pt x="251" y="448"/>
                    <a:pt x="246" y="445"/>
                  </a:cubicBezTo>
                  <a:cubicBezTo>
                    <a:pt x="242" y="442"/>
                    <a:pt x="239" y="436"/>
                    <a:pt x="239" y="433"/>
                  </a:cubicBezTo>
                  <a:cubicBezTo>
                    <a:pt x="239" y="429"/>
                    <a:pt x="238" y="428"/>
                    <a:pt x="232" y="428"/>
                  </a:cubicBezTo>
                  <a:cubicBezTo>
                    <a:pt x="227" y="428"/>
                    <a:pt x="221" y="429"/>
                    <a:pt x="215" y="424"/>
                  </a:cubicBezTo>
                  <a:cubicBezTo>
                    <a:pt x="210" y="420"/>
                    <a:pt x="205" y="419"/>
                    <a:pt x="202" y="422"/>
                  </a:cubicBezTo>
                  <a:cubicBezTo>
                    <a:pt x="199" y="426"/>
                    <a:pt x="198" y="428"/>
                    <a:pt x="194" y="426"/>
                  </a:cubicBezTo>
                  <a:cubicBezTo>
                    <a:pt x="189" y="425"/>
                    <a:pt x="191" y="417"/>
                    <a:pt x="182" y="418"/>
                  </a:cubicBezTo>
                  <a:cubicBezTo>
                    <a:pt x="174" y="419"/>
                    <a:pt x="161" y="431"/>
                    <a:pt x="161" y="431"/>
                  </a:cubicBezTo>
                  <a:cubicBezTo>
                    <a:pt x="153" y="431"/>
                    <a:pt x="153" y="431"/>
                    <a:pt x="153" y="431"/>
                  </a:cubicBezTo>
                  <a:cubicBezTo>
                    <a:pt x="153" y="431"/>
                    <a:pt x="157" y="437"/>
                    <a:pt x="151" y="437"/>
                  </a:cubicBezTo>
                  <a:cubicBezTo>
                    <a:pt x="145" y="438"/>
                    <a:pt x="129" y="428"/>
                    <a:pt x="129" y="428"/>
                  </a:cubicBezTo>
                  <a:cubicBezTo>
                    <a:pt x="125" y="430"/>
                    <a:pt x="125" y="430"/>
                    <a:pt x="125" y="430"/>
                  </a:cubicBezTo>
                  <a:cubicBezTo>
                    <a:pt x="127" y="437"/>
                    <a:pt x="127" y="437"/>
                    <a:pt x="127" y="437"/>
                  </a:cubicBezTo>
                  <a:cubicBezTo>
                    <a:pt x="127" y="437"/>
                    <a:pt x="118" y="437"/>
                    <a:pt x="116" y="441"/>
                  </a:cubicBezTo>
                  <a:cubicBezTo>
                    <a:pt x="114" y="446"/>
                    <a:pt x="123" y="452"/>
                    <a:pt x="119" y="454"/>
                  </a:cubicBezTo>
                  <a:cubicBezTo>
                    <a:pt x="116" y="456"/>
                    <a:pt x="111" y="455"/>
                    <a:pt x="111" y="455"/>
                  </a:cubicBezTo>
                  <a:cubicBezTo>
                    <a:pt x="111" y="455"/>
                    <a:pt x="110" y="468"/>
                    <a:pt x="104" y="466"/>
                  </a:cubicBezTo>
                  <a:cubicBezTo>
                    <a:pt x="99" y="465"/>
                    <a:pt x="105" y="455"/>
                    <a:pt x="102" y="454"/>
                  </a:cubicBezTo>
                  <a:cubicBezTo>
                    <a:pt x="99" y="453"/>
                    <a:pt x="88" y="460"/>
                    <a:pt x="88" y="460"/>
                  </a:cubicBezTo>
                  <a:cubicBezTo>
                    <a:pt x="77" y="460"/>
                    <a:pt x="77" y="460"/>
                    <a:pt x="77" y="460"/>
                  </a:cubicBezTo>
                  <a:cubicBezTo>
                    <a:pt x="84" y="466"/>
                    <a:pt x="84" y="466"/>
                    <a:pt x="84" y="466"/>
                  </a:cubicBezTo>
                  <a:cubicBezTo>
                    <a:pt x="84" y="466"/>
                    <a:pt x="79" y="469"/>
                    <a:pt x="77" y="471"/>
                  </a:cubicBezTo>
                  <a:cubicBezTo>
                    <a:pt x="75" y="473"/>
                    <a:pt x="80" y="480"/>
                    <a:pt x="80" y="482"/>
                  </a:cubicBezTo>
                  <a:cubicBezTo>
                    <a:pt x="80" y="485"/>
                    <a:pt x="70" y="487"/>
                    <a:pt x="71" y="489"/>
                  </a:cubicBezTo>
                  <a:cubicBezTo>
                    <a:pt x="72" y="493"/>
                    <a:pt x="79" y="492"/>
                    <a:pt x="78" y="496"/>
                  </a:cubicBezTo>
                  <a:cubicBezTo>
                    <a:pt x="78" y="499"/>
                    <a:pt x="65" y="507"/>
                    <a:pt x="65" y="507"/>
                  </a:cubicBezTo>
                  <a:cubicBezTo>
                    <a:pt x="59" y="518"/>
                    <a:pt x="59" y="518"/>
                    <a:pt x="59" y="518"/>
                  </a:cubicBezTo>
                  <a:cubicBezTo>
                    <a:pt x="49" y="524"/>
                    <a:pt x="49" y="524"/>
                    <a:pt x="49" y="524"/>
                  </a:cubicBezTo>
                  <a:cubicBezTo>
                    <a:pt x="51" y="534"/>
                    <a:pt x="51" y="534"/>
                    <a:pt x="51" y="534"/>
                  </a:cubicBezTo>
                  <a:cubicBezTo>
                    <a:pt x="51" y="534"/>
                    <a:pt x="61" y="533"/>
                    <a:pt x="59" y="537"/>
                  </a:cubicBezTo>
                  <a:cubicBezTo>
                    <a:pt x="58" y="543"/>
                    <a:pt x="51" y="548"/>
                    <a:pt x="51" y="548"/>
                  </a:cubicBezTo>
                  <a:cubicBezTo>
                    <a:pt x="51" y="548"/>
                    <a:pt x="53" y="564"/>
                    <a:pt x="47" y="565"/>
                  </a:cubicBezTo>
                  <a:cubicBezTo>
                    <a:pt x="41" y="566"/>
                    <a:pt x="36" y="568"/>
                    <a:pt x="36" y="568"/>
                  </a:cubicBezTo>
                  <a:cubicBezTo>
                    <a:pt x="35" y="572"/>
                    <a:pt x="35" y="572"/>
                    <a:pt x="35" y="572"/>
                  </a:cubicBezTo>
                  <a:cubicBezTo>
                    <a:pt x="39" y="572"/>
                    <a:pt x="39" y="572"/>
                    <a:pt x="39" y="572"/>
                  </a:cubicBezTo>
                  <a:cubicBezTo>
                    <a:pt x="39" y="572"/>
                    <a:pt x="49" y="584"/>
                    <a:pt x="53" y="588"/>
                  </a:cubicBezTo>
                  <a:cubicBezTo>
                    <a:pt x="58" y="590"/>
                    <a:pt x="61" y="595"/>
                    <a:pt x="61" y="595"/>
                  </a:cubicBezTo>
                  <a:cubicBezTo>
                    <a:pt x="61" y="595"/>
                    <a:pt x="68" y="587"/>
                    <a:pt x="67" y="596"/>
                  </a:cubicBezTo>
                  <a:cubicBezTo>
                    <a:pt x="66" y="606"/>
                    <a:pt x="60" y="620"/>
                    <a:pt x="54" y="620"/>
                  </a:cubicBezTo>
                  <a:cubicBezTo>
                    <a:pt x="48" y="620"/>
                    <a:pt x="41" y="621"/>
                    <a:pt x="37" y="614"/>
                  </a:cubicBezTo>
                  <a:cubicBezTo>
                    <a:pt x="34" y="609"/>
                    <a:pt x="22" y="600"/>
                    <a:pt x="14" y="600"/>
                  </a:cubicBezTo>
                  <a:cubicBezTo>
                    <a:pt x="4" y="600"/>
                    <a:pt x="0" y="607"/>
                    <a:pt x="1" y="614"/>
                  </a:cubicBezTo>
                  <a:cubicBezTo>
                    <a:pt x="1" y="622"/>
                    <a:pt x="10" y="623"/>
                    <a:pt x="9" y="628"/>
                  </a:cubicBezTo>
                  <a:cubicBezTo>
                    <a:pt x="0" y="643"/>
                    <a:pt x="0" y="643"/>
                    <a:pt x="0" y="643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22" y="676"/>
                    <a:pt x="25" y="685"/>
                  </a:cubicBezTo>
                  <a:cubicBezTo>
                    <a:pt x="28" y="693"/>
                    <a:pt x="22" y="703"/>
                    <a:pt x="22" y="703"/>
                  </a:cubicBezTo>
                  <a:cubicBezTo>
                    <a:pt x="28" y="742"/>
                    <a:pt x="28" y="742"/>
                    <a:pt x="28" y="742"/>
                  </a:cubicBezTo>
                  <a:cubicBezTo>
                    <a:pt x="57" y="736"/>
                    <a:pt x="57" y="736"/>
                    <a:pt x="57" y="736"/>
                  </a:cubicBezTo>
                  <a:cubicBezTo>
                    <a:pt x="57" y="736"/>
                    <a:pt x="57" y="740"/>
                    <a:pt x="60" y="742"/>
                  </a:cubicBezTo>
                  <a:cubicBezTo>
                    <a:pt x="62" y="745"/>
                    <a:pt x="67" y="747"/>
                    <a:pt x="65" y="750"/>
                  </a:cubicBezTo>
                  <a:cubicBezTo>
                    <a:pt x="64" y="752"/>
                    <a:pt x="63" y="759"/>
                    <a:pt x="68" y="760"/>
                  </a:cubicBezTo>
                  <a:cubicBezTo>
                    <a:pt x="74" y="762"/>
                    <a:pt x="86" y="762"/>
                    <a:pt x="86" y="762"/>
                  </a:cubicBezTo>
                  <a:cubicBezTo>
                    <a:pt x="82" y="754"/>
                    <a:pt x="82" y="754"/>
                    <a:pt x="82" y="754"/>
                  </a:cubicBezTo>
                  <a:cubicBezTo>
                    <a:pt x="82" y="754"/>
                    <a:pt x="87" y="755"/>
                    <a:pt x="94" y="753"/>
                  </a:cubicBezTo>
                  <a:cubicBezTo>
                    <a:pt x="101" y="751"/>
                    <a:pt x="98" y="739"/>
                    <a:pt x="108" y="742"/>
                  </a:cubicBezTo>
                  <a:cubicBezTo>
                    <a:pt x="117" y="745"/>
                    <a:pt x="118" y="756"/>
                    <a:pt x="125" y="756"/>
                  </a:cubicBezTo>
                  <a:cubicBezTo>
                    <a:pt x="132" y="756"/>
                    <a:pt x="133" y="752"/>
                    <a:pt x="139" y="754"/>
                  </a:cubicBezTo>
                  <a:cubicBezTo>
                    <a:pt x="144" y="757"/>
                    <a:pt x="149" y="768"/>
                    <a:pt x="157" y="770"/>
                  </a:cubicBezTo>
                  <a:cubicBezTo>
                    <a:pt x="164" y="772"/>
                    <a:pt x="183" y="779"/>
                    <a:pt x="178" y="784"/>
                  </a:cubicBezTo>
                  <a:cubicBezTo>
                    <a:pt x="174" y="788"/>
                    <a:pt x="164" y="782"/>
                    <a:pt x="160" y="787"/>
                  </a:cubicBezTo>
                  <a:cubicBezTo>
                    <a:pt x="156" y="794"/>
                    <a:pt x="157" y="800"/>
                    <a:pt x="166" y="801"/>
                  </a:cubicBezTo>
                  <a:cubicBezTo>
                    <a:pt x="177" y="802"/>
                    <a:pt x="200" y="798"/>
                    <a:pt x="200" y="798"/>
                  </a:cubicBezTo>
                  <a:cubicBezTo>
                    <a:pt x="199" y="794"/>
                    <a:pt x="199" y="794"/>
                    <a:pt x="199" y="794"/>
                  </a:cubicBezTo>
                  <a:cubicBezTo>
                    <a:pt x="196" y="793"/>
                    <a:pt x="196" y="793"/>
                    <a:pt x="196" y="793"/>
                  </a:cubicBezTo>
                  <a:cubicBezTo>
                    <a:pt x="202" y="791"/>
                    <a:pt x="202" y="791"/>
                    <a:pt x="202" y="791"/>
                  </a:cubicBezTo>
                  <a:cubicBezTo>
                    <a:pt x="202" y="788"/>
                    <a:pt x="202" y="788"/>
                    <a:pt x="202" y="788"/>
                  </a:cubicBezTo>
                  <a:cubicBezTo>
                    <a:pt x="198" y="789"/>
                    <a:pt x="198" y="789"/>
                    <a:pt x="198" y="789"/>
                  </a:cubicBezTo>
                  <a:cubicBezTo>
                    <a:pt x="198" y="785"/>
                    <a:pt x="198" y="785"/>
                    <a:pt x="198" y="785"/>
                  </a:cubicBezTo>
                  <a:cubicBezTo>
                    <a:pt x="195" y="782"/>
                    <a:pt x="195" y="782"/>
                    <a:pt x="195" y="782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5" y="779"/>
                    <a:pt x="205" y="779"/>
                    <a:pt x="205" y="779"/>
                  </a:cubicBezTo>
                  <a:cubicBezTo>
                    <a:pt x="209" y="784"/>
                    <a:pt x="209" y="784"/>
                    <a:pt x="209" y="784"/>
                  </a:cubicBezTo>
                  <a:cubicBezTo>
                    <a:pt x="209" y="778"/>
                    <a:pt x="209" y="778"/>
                    <a:pt x="209" y="778"/>
                  </a:cubicBezTo>
                  <a:cubicBezTo>
                    <a:pt x="209" y="778"/>
                    <a:pt x="212" y="780"/>
                    <a:pt x="215" y="775"/>
                  </a:cubicBezTo>
                  <a:cubicBezTo>
                    <a:pt x="219" y="770"/>
                    <a:pt x="218" y="765"/>
                    <a:pt x="218" y="765"/>
                  </a:cubicBezTo>
                  <a:cubicBezTo>
                    <a:pt x="218" y="765"/>
                    <a:pt x="222" y="768"/>
                    <a:pt x="223" y="765"/>
                  </a:cubicBezTo>
                  <a:cubicBezTo>
                    <a:pt x="225" y="763"/>
                    <a:pt x="224" y="756"/>
                    <a:pt x="224" y="756"/>
                  </a:cubicBezTo>
                  <a:cubicBezTo>
                    <a:pt x="228" y="754"/>
                    <a:pt x="228" y="754"/>
                    <a:pt x="228" y="754"/>
                  </a:cubicBezTo>
                  <a:cubicBezTo>
                    <a:pt x="228" y="740"/>
                    <a:pt x="228" y="740"/>
                    <a:pt x="228" y="740"/>
                  </a:cubicBezTo>
                  <a:cubicBezTo>
                    <a:pt x="236" y="740"/>
                    <a:pt x="236" y="740"/>
                    <a:pt x="236" y="740"/>
                  </a:cubicBezTo>
                  <a:cubicBezTo>
                    <a:pt x="235" y="733"/>
                    <a:pt x="235" y="733"/>
                    <a:pt x="235" y="733"/>
                  </a:cubicBezTo>
                  <a:cubicBezTo>
                    <a:pt x="243" y="732"/>
                    <a:pt x="243" y="732"/>
                    <a:pt x="243" y="732"/>
                  </a:cubicBezTo>
                  <a:cubicBezTo>
                    <a:pt x="243" y="732"/>
                    <a:pt x="239" y="722"/>
                    <a:pt x="247" y="714"/>
                  </a:cubicBezTo>
                  <a:cubicBezTo>
                    <a:pt x="256" y="705"/>
                    <a:pt x="262" y="707"/>
                    <a:pt x="262" y="707"/>
                  </a:cubicBezTo>
                  <a:cubicBezTo>
                    <a:pt x="266" y="705"/>
                    <a:pt x="266" y="705"/>
                    <a:pt x="266" y="705"/>
                  </a:cubicBezTo>
                  <a:cubicBezTo>
                    <a:pt x="268" y="707"/>
                    <a:pt x="268" y="707"/>
                    <a:pt x="268" y="707"/>
                  </a:cubicBezTo>
                  <a:cubicBezTo>
                    <a:pt x="270" y="703"/>
                    <a:pt x="270" y="703"/>
                    <a:pt x="270" y="703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81" y="707"/>
                    <a:pt x="281" y="707"/>
                    <a:pt x="281" y="707"/>
                  </a:cubicBezTo>
                  <a:cubicBezTo>
                    <a:pt x="283" y="702"/>
                    <a:pt x="283" y="702"/>
                    <a:pt x="283" y="702"/>
                  </a:cubicBezTo>
                  <a:cubicBezTo>
                    <a:pt x="285" y="708"/>
                    <a:pt x="285" y="708"/>
                    <a:pt x="285" y="708"/>
                  </a:cubicBezTo>
                  <a:cubicBezTo>
                    <a:pt x="290" y="703"/>
                    <a:pt x="290" y="703"/>
                    <a:pt x="290" y="703"/>
                  </a:cubicBezTo>
                  <a:cubicBezTo>
                    <a:pt x="290" y="703"/>
                    <a:pt x="293" y="708"/>
                    <a:pt x="296" y="707"/>
                  </a:cubicBezTo>
                  <a:cubicBezTo>
                    <a:pt x="299" y="706"/>
                    <a:pt x="298" y="699"/>
                    <a:pt x="298" y="699"/>
                  </a:cubicBezTo>
                  <a:cubicBezTo>
                    <a:pt x="304" y="696"/>
                    <a:pt x="304" y="696"/>
                    <a:pt x="304" y="696"/>
                  </a:cubicBezTo>
                  <a:cubicBezTo>
                    <a:pt x="304" y="696"/>
                    <a:pt x="301" y="687"/>
                    <a:pt x="304" y="685"/>
                  </a:cubicBezTo>
                  <a:cubicBezTo>
                    <a:pt x="307" y="683"/>
                    <a:pt x="309" y="688"/>
                    <a:pt x="309" y="688"/>
                  </a:cubicBezTo>
                  <a:cubicBezTo>
                    <a:pt x="318" y="683"/>
                    <a:pt x="318" y="683"/>
                    <a:pt x="318" y="683"/>
                  </a:cubicBezTo>
                  <a:cubicBezTo>
                    <a:pt x="318" y="683"/>
                    <a:pt x="318" y="677"/>
                    <a:pt x="322" y="677"/>
                  </a:cubicBezTo>
                  <a:cubicBezTo>
                    <a:pt x="326" y="677"/>
                    <a:pt x="326" y="679"/>
                    <a:pt x="326" y="679"/>
                  </a:cubicBezTo>
                  <a:cubicBezTo>
                    <a:pt x="332" y="678"/>
                    <a:pt x="332" y="678"/>
                    <a:pt x="332" y="678"/>
                  </a:cubicBezTo>
                  <a:cubicBezTo>
                    <a:pt x="332" y="678"/>
                    <a:pt x="333" y="684"/>
                    <a:pt x="337" y="685"/>
                  </a:cubicBezTo>
                  <a:cubicBezTo>
                    <a:pt x="340" y="685"/>
                    <a:pt x="345" y="682"/>
                    <a:pt x="345" y="685"/>
                  </a:cubicBezTo>
                  <a:cubicBezTo>
                    <a:pt x="345" y="689"/>
                    <a:pt x="337" y="691"/>
                    <a:pt x="337" y="691"/>
                  </a:cubicBezTo>
                  <a:cubicBezTo>
                    <a:pt x="338" y="696"/>
                    <a:pt x="338" y="696"/>
                    <a:pt x="338" y="696"/>
                  </a:cubicBezTo>
                  <a:cubicBezTo>
                    <a:pt x="341" y="694"/>
                    <a:pt x="341" y="694"/>
                    <a:pt x="341" y="694"/>
                  </a:cubicBezTo>
                  <a:cubicBezTo>
                    <a:pt x="342" y="701"/>
                    <a:pt x="342" y="701"/>
                    <a:pt x="342" y="701"/>
                  </a:cubicBezTo>
                  <a:cubicBezTo>
                    <a:pt x="352" y="703"/>
                    <a:pt x="352" y="703"/>
                    <a:pt x="352" y="703"/>
                  </a:cubicBezTo>
                  <a:cubicBezTo>
                    <a:pt x="352" y="706"/>
                    <a:pt x="352" y="706"/>
                    <a:pt x="352" y="706"/>
                  </a:cubicBezTo>
                  <a:cubicBezTo>
                    <a:pt x="346" y="706"/>
                    <a:pt x="346" y="706"/>
                    <a:pt x="346" y="706"/>
                  </a:cubicBezTo>
                  <a:cubicBezTo>
                    <a:pt x="348" y="713"/>
                    <a:pt x="348" y="713"/>
                    <a:pt x="348" y="713"/>
                  </a:cubicBezTo>
                  <a:cubicBezTo>
                    <a:pt x="357" y="709"/>
                    <a:pt x="357" y="709"/>
                    <a:pt x="357" y="709"/>
                  </a:cubicBezTo>
                  <a:cubicBezTo>
                    <a:pt x="357" y="709"/>
                    <a:pt x="357" y="716"/>
                    <a:pt x="359" y="718"/>
                  </a:cubicBezTo>
                  <a:cubicBezTo>
                    <a:pt x="361" y="720"/>
                    <a:pt x="364" y="725"/>
                    <a:pt x="363" y="732"/>
                  </a:cubicBezTo>
                  <a:cubicBezTo>
                    <a:pt x="363" y="738"/>
                    <a:pt x="361" y="741"/>
                    <a:pt x="361" y="748"/>
                  </a:cubicBezTo>
                  <a:cubicBezTo>
                    <a:pt x="361" y="753"/>
                    <a:pt x="367" y="760"/>
                    <a:pt x="367" y="760"/>
                  </a:cubicBezTo>
                  <a:cubicBezTo>
                    <a:pt x="391" y="756"/>
                    <a:pt x="391" y="756"/>
                    <a:pt x="391" y="756"/>
                  </a:cubicBezTo>
                  <a:cubicBezTo>
                    <a:pt x="391" y="756"/>
                    <a:pt x="388" y="767"/>
                    <a:pt x="381" y="768"/>
                  </a:cubicBezTo>
                  <a:cubicBezTo>
                    <a:pt x="374" y="770"/>
                    <a:pt x="366" y="769"/>
                    <a:pt x="362" y="772"/>
                  </a:cubicBezTo>
                  <a:cubicBezTo>
                    <a:pt x="358" y="776"/>
                    <a:pt x="350" y="784"/>
                    <a:pt x="346" y="786"/>
                  </a:cubicBezTo>
                  <a:cubicBezTo>
                    <a:pt x="342" y="788"/>
                    <a:pt x="331" y="789"/>
                    <a:pt x="331" y="789"/>
                  </a:cubicBezTo>
                  <a:cubicBezTo>
                    <a:pt x="330" y="799"/>
                    <a:pt x="330" y="799"/>
                    <a:pt x="330" y="799"/>
                  </a:cubicBezTo>
                  <a:cubicBezTo>
                    <a:pt x="323" y="801"/>
                    <a:pt x="323" y="801"/>
                    <a:pt x="323" y="801"/>
                  </a:cubicBezTo>
                  <a:cubicBezTo>
                    <a:pt x="323" y="801"/>
                    <a:pt x="321" y="810"/>
                    <a:pt x="321" y="814"/>
                  </a:cubicBezTo>
                  <a:cubicBezTo>
                    <a:pt x="321" y="818"/>
                    <a:pt x="326" y="823"/>
                    <a:pt x="326" y="823"/>
                  </a:cubicBezTo>
                  <a:cubicBezTo>
                    <a:pt x="326" y="823"/>
                    <a:pt x="323" y="823"/>
                    <a:pt x="321" y="825"/>
                  </a:cubicBezTo>
                  <a:cubicBezTo>
                    <a:pt x="318" y="827"/>
                    <a:pt x="317" y="831"/>
                    <a:pt x="317" y="831"/>
                  </a:cubicBezTo>
                  <a:cubicBezTo>
                    <a:pt x="313" y="834"/>
                    <a:pt x="313" y="834"/>
                    <a:pt x="313" y="834"/>
                  </a:cubicBezTo>
                  <a:cubicBezTo>
                    <a:pt x="314" y="838"/>
                    <a:pt x="314" y="838"/>
                    <a:pt x="314" y="838"/>
                  </a:cubicBezTo>
                  <a:cubicBezTo>
                    <a:pt x="322" y="836"/>
                    <a:pt x="322" y="836"/>
                    <a:pt x="322" y="836"/>
                  </a:cubicBezTo>
                  <a:cubicBezTo>
                    <a:pt x="321" y="842"/>
                    <a:pt x="321" y="842"/>
                    <a:pt x="321" y="842"/>
                  </a:cubicBezTo>
                  <a:cubicBezTo>
                    <a:pt x="327" y="840"/>
                    <a:pt x="327" y="840"/>
                    <a:pt x="327" y="840"/>
                  </a:cubicBezTo>
                  <a:cubicBezTo>
                    <a:pt x="328" y="842"/>
                    <a:pt x="328" y="842"/>
                    <a:pt x="328" y="842"/>
                  </a:cubicBezTo>
                  <a:cubicBezTo>
                    <a:pt x="337" y="842"/>
                    <a:pt x="337" y="842"/>
                    <a:pt x="337" y="842"/>
                  </a:cubicBezTo>
                  <a:cubicBezTo>
                    <a:pt x="337" y="842"/>
                    <a:pt x="339" y="846"/>
                    <a:pt x="342" y="846"/>
                  </a:cubicBezTo>
                  <a:cubicBezTo>
                    <a:pt x="346" y="845"/>
                    <a:pt x="349" y="840"/>
                    <a:pt x="352" y="843"/>
                  </a:cubicBezTo>
                  <a:cubicBezTo>
                    <a:pt x="355" y="847"/>
                    <a:pt x="345" y="850"/>
                    <a:pt x="345" y="850"/>
                  </a:cubicBezTo>
                  <a:cubicBezTo>
                    <a:pt x="345" y="850"/>
                    <a:pt x="344" y="860"/>
                    <a:pt x="340" y="859"/>
                  </a:cubicBezTo>
                  <a:cubicBezTo>
                    <a:pt x="336" y="858"/>
                    <a:pt x="323" y="857"/>
                    <a:pt x="323" y="857"/>
                  </a:cubicBezTo>
                  <a:cubicBezTo>
                    <a:pt x="323" y="857"/>
                    <a:pt x="316" y="863"/>
                    <a:pt x="312" y="864"/>
                  </a:cubicBezTo>
                  <a:cubicBezTo>
                    <a:pt x="309" y="865"/>
                    <a:pt x="297" y="866"/>
                    <a:pt x="301" y="879"/>
                  </a:cubicBezTo>
                  <a:cubicBezTo>
                    <a:pt x="306" y="891"/>
                    <a:pt x="314" y="889"/>
                    <a:pt x="321" y="886"/>
                  </a:cubicBezTo>
                  <a:cubicBezTo>
                    <a:pt x="328" y="883"/>
                    <a:pt x="336" y="879"/>
                    <a:pt x="341" y="886"/>
                  </a:cubicBezTo>
                  <a:cubicBezTo>
                    <a:pt x="346" y="891"/>
                    <a:pt x="363" y="907"/>
                    <a:pt x="367" y="906"/>
                  </a:cubicBezTo>
                  <a:cubicBezTo>
                    <a:pt x="373" y="906"/>
                    <a:pt x="378" y="904"/>
                    <a:pt x="385" y="913"/>
                  </a:cubicBezTo>
                  <a:cubicBezTo>
                    <a:pt x="391" y="922"/>
                    <a:pt x="390" y="931"/>
                    <a:pt x="390" y="931"/>
                  </a:cubicBezTo>
                  <a:cubicBezTo>
                    <a:pt x="393" y="931"/>
                    <a:pt x="393" y="931"/>
                    <a:pt x="393" y="931"/>
                  </a:cubicBezTo>
                  <a:cubicBezTo>
                    <a:pt x="397" y="925"/>
                    <a:pt x="397" y="925"/>
                    <a:pt x="397" y="925"/>
                  </a:cubicBezTo>
                  <a:cubicBezTo>
                    <a:pt x="402" y="925"/>
                    <a:pt x="402" y="925"/>
                    <a:pt x="402" y="925"/>
                  </a:cubicBezTo>
                  <a:cubicBezTo>
                    <a:pt x="402" y="925"/>
                    <a:pt x="402" y="921"/>
                    <a:pt x="406" y="920"/>
                  </a:cubicBezTo>
                  <a:cubicBezTo>
                    <a:pt x="408" y="920"/>
                    <a:pt x="408" y="920"/>
                    <a:pt x="408" y="920"/>
                  </a:cubicBezTo>
                  <a:cubicBezTo>
                    <a:pt x="408" y="320"/>
                    <a:pt x="408" y="320"/>
                    <a:pt x="408" y="320"/>
                  </a:cubicBezTo>
                  <a:cubicBezTo>
                    <a:pt x="399" y="324"/>
                    <a:pt x="387" y="331"/>
                    <a:pt x="379" y="32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9" name="Aserbaidschan" descr="© INSCALE GmbH, 05.05.2010&#10;http://www.presentationload.com/">
              <a:extLst>
                <a:ext uri="{FF2B5EF4-FFF2-40B4-BE49-F238E27FC236}">
                  <a16:creationId xmlns:a16="http://schemas.microsoft.com/office/drawing/2014/main" id="{5529BB09-426F-5E45-9E22-E62931A758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01070" y="4768787"/>
              <a:ext cx="542930" cy="584187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0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BFDF641-D34A-5444-AC30-FB96ABFD25A0}"/>
                </a:ext>
              </a:extLst>
            </p:cNvPr>
            <p:cNvSpPr>
              <a:spLocks/>
            </p:cNvSpPr>
            <p:nvPr/>
          </p:nvSpPr>
          <p:spPr bwMode="gray">
            <a:xfrm>
              <a:off x="8635723" y="5098836"/>
              <a:ext cx="508277" cy="696405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Irak" descr="© INSCALE GmbH, 05.05.2010&#10;http://www.presentationload.com/">
              <a:extLst>
                <a:ext uri="{FF2B5EF4-FFF2-40B4-BE49-F238E27FC236}">
                  <a16:creationId xmlns:a16="http://schemas.microsoft.com/office/drawing/2014/main" id="{9C4718FA-0804-CE45-8B48-D61ECC20E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98088" y="5654970"/>
              <a:ext cx="745912" cy="1082562"/>
            </a:xfrm>
            <a:custGeom>
              <a:avLst/>
              <a:gdLst/>
              <a:ahLst/>
              <a:cxnLst>
                <a:cxn ang="0">
                  <a:pos x="312" y="46"/>
                </a:cxn>
                <a:cxn ang="0">
                  <a:pos x="312" y="47"/>
                </a:cxn>
                <a:cxn ang="0">
                  <a:pos x="306" y="42"/>
                </a:cxn>
                <a:cxn ang="0">
                  <a:pos x="292" y="55"/>
                </a:cxn>
                <a:cxn ang="0">
                  <a:pos x="276" y="50"/>
                </a:cxn>
                <a:cxn ang="0">
                  <a:pos x="264" y="60"/>
                </a:cxn>
                <a:cxn ang="0">
                  <a:pos x="264" y="49"/>
                </a:cxn>
                <a:cxn ang="0">
                  <a:pos x="253" y="44"/>
                </a:cxn>
                <a:cxn ang="0">
                  <a:pos x="245" y="31"/>
                </a:cxn>
                <a:cxn ang="0">
                  <a:pos x="234" y="35"/>
                </a:cxn>
                <a:cxn ang="0">
                  <a:pos x="227" y="20"/>
                </a:cxn>
                <a:cxn ang="0">
                  <a:pos x="213" y="21"/>
                </a:cxn>
                <a:cxn ang="0">
                  <a:pos x="211" y="18"/>
                </a:cxn>
                <a:cxn ang="0">
                  <a:pos x="214" y="8"/>
                </a:cxn>
                <a:cxn ang="0">
                  <a:pos x="203" y="7"/>
                </a:cxn>
                <a:cxn ang="0">
                  <a:pos x="200" y="2"/>
                </a:cxn>
                <a:cxn ang="0">
                  <a:pos x="191" y="3"/>
                </a:cxn>
                <a:cxn ang="0">
                  <a:pos x="182" y="22"/>
                </a:cxn>
                <a:cxn ang="0">
                  <a:pos x="175" y="20"/>
                </a:cxn>
                <a:cxn ang="0">
                  <a:pos x="168" y="5"/>
                </a:cxn>
                <a:cxn ang="0">
                  <a:pos x="155" y="18"/>
                </a:cxn>
                <a:cxn ang="0">
                  <a:pos x="126" y="22"/>
                </a:cxn>
                <a:cxn ang="0">
                  <a:pos x="126" y="26"/>
                </a:cxn>
                <a:cxn ang="0">
                  <a:pos x="113" y="26"/>
                </a:cxn>
                <a:cxn ang="0">
                  <a:pos x="110" y="33"/>
                </a:cxn>
                <a:cxn ang="0">
                  <a:pos x="90" y="33"/>
                </a:cxn>
                <a:cxn ang="0">
                  <a:pos x="96" y="50"/>
                </a:cxn>
                <a:cxn ang="0">
                  <a:pos x="84" y="56"/>
                </a:cxn>
                <a:cxn ang="0">
                  <a:pos x="85" y="69"/>
                </a:cxn>
                <a:cxn ang="0">
                  <a:pos x="79" y="77"/>
                </a:cxn>
                <a:cxn ang="0">
                  <a:pos x="70" y="101"/>
                </a:cxn>
                <a:cxn ang="0">
                  <a:pos x="51" y="117"/>
                </a:cxn>
                <a:cxn ang="0">
                  <a:pos x="57" y="147"/>
                </a:cxn>
                <a:cxn ang="0">
                  <a:pos x="72" y="164"/>
                </a:cxn>
                <a:cxn ang="0">
                  <a:pos x="77" y="200"/>
                </a:cxn>
                <a:cxn ang="0">
                  <a:pos x="90" y="226"/>
                </a:cxn>
                <a:cxn ang="0">
                  <a:pos x="91" y="239"/>
                </a:cxn>
                <a:cxn ang="0">
                  <a:pos x="88" y="240"/>
                </a:cxn>
                <a:cxn ang="0">
                  <a:pos x="89" y="256"/>
                </a:cxn>
                <a:cxn ang="0">
                  <a:pos x="87" y="257"/>
                </a:cxn>
                <a:cxn ang="0">
                  <a:pos x="0" y="371"/>
                </a:cxn>
                <a:cxn ang="0">
                  <a:pos x="57" y="432"/>
                </a:cxn>
                <a:cxn ang="0">
                  <a:pos x="101" y="425"/>
                </a:cxn>
                <a:cxn ang="0">
                  <a:pos x="203" y="436"/>
                </a:cxn>
                <a:cxn ang="0">
                  <a:pos x="298" y="438"/>
                </a:cxn>
                <a:cxn ang="0">
                  <a:pos x="312" y="455"/>
                </a:cxn>
                <a:cxn ang="0">
                  <a:pos x="312" y="46"/>
                </a:cxn>
              </a:cxnLst>
              <a:rect l="0" t="0" r="r" b="b"/>
              <a:pathLst>
                <a:path w="312" h="455">
                  <a:moveTo>
                    <a:pt x="312" y="46"/>
                  </a:moveTo>
                  <a:cubicBezTo>
                    <a:pt x="312" y="47"/>
                    <a:pt x="312" y="47"/>
                    <a:pt x="312" y="47"/>
                  </a:cubicBezTo>
                  <a:cubicBezTo>
                    <a:pt x="306" y="42"/>
                    <a:pt x="306" y="42"/>
                    <a:pt x="306" y="42"/>
                  </a:cubicBezTo>
                  <a:cubicBezTo>
                    <a:pt x="306" y="42"/>
                    <a:pt x="297" y="52"/>
                    <a:pt x="292" y="55"/>
                  </a:cubicBezTo>
                  <a:cubicBezTo>
                    <a:pt x="286" y="57"/>
                    <a:pt x="281" y="51"/>
                    <a:pt x="276" y="50"/>
                  </a:cubicBezTo>
                  <a:cubicBezTo>
                    <a:pt x="271" y="49"/>
                    <a:pt x="264" y="60"/>
                    <a:pt x="264" y="6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4" y="49"/>
                    <a:pt x="258" y="48"/>
                    <a:pt x="253" y="44"/>
                  </a:cubicBezTo>
                  <a:cubicBezTo>
                    <a:pt x="250" y="39"/>
                    <a:pt x="245" y="31"/>
                    <a:pt x="245" y="31"/>
                  </a:cubicBezTo>
                  <a:cubicBezTo>
                    <a:pt x="245" y="31"/>
                    <a:pt x="242" y="36"/>
                    <a:pt x="234" y="35"/>
                  </a:cubicBezTo>
                  <a:cubicBezTo>
                    <a:pt x="227" y="34"/>
                    <a:pt x="230" y="22"/>
                    <a:pt x="227" y="20"/>
                  </a:cubicBezTo>
                  <a:cubicBezTo>
                    <a:pt x="222" y="18"/>
                    <a:pt x="213" y="21"/>
                    <a:pt x="213" y="21"/>
                  </a:cubicBezTo>
                  <a:cubicBezTo>
                    <a:pt x="211" y="18"/>
                    <a:pt x="211" y="18"/>
                    <a:pt x="211" y="18"/>
                  </a:cubicBezTo>
                  <a:cubicBezTo>
                    <a:pt x="211" y="18"/>
                    <a:pt x="214" y="14"/>
                    <a:pt x="214" y="8"/>
                  </a:cubicBezTo>
                  <a:cubicBezTo>
                    <a:pt x="213" y="4"/>
                    <a:pt x="203" y="7"/>
                    <a:pt x="203" y="7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2"/>
                    <a:pt x="193" y="0"/>
                    <a:pt x="191" y="3"/>
                  </a:cubicBezTo>
                  <a:cubicBezTo>
                    <a:pt x="188" y="7"/>
                    <a:pt x="182" y="22"/>
                    <a:pt x="182" y="22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75" y="20"/>
                    <a:pt x="180" y="5"/>
                    <a:pt x="168" y="5"/>
                  </a:cubicBezTo>
                  <a:cubicBezTo>
                    <a:pt x="156" y="5"/>
                    <a:pt x="155" y="18"/>
                    <a:pt x="155" y="18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5" y="65"/>
                    <a:pt x="85" y="69"/>
                  </a:cubicBezTo>
                  <a:cubicBezTo>
                    <a:pt x="85" y="72"/>
                    <a:pt x="79" y="77"/>
                    <a:pt x="79" y="77"/>
                  </a:cubicBezTo>
                  <a:cubicBezTo>
                    <a:pt x="79" y="77"/>
                    <a:pt x="77" y="90"/>
                    <a:pt x="70" y="101"/>
                  </a:cubicBezTo>
                  <a:cubicBezTo>
                    <a:pt x="65" y="113"/>
                    <a:pt x="56" y="111"/>
                    <a:pt x="51" y="117"/>
                  </a:cubicBezTo>
                  <a:cubicBezTo>
                    <a:pt x="47" y="125"/>
                    <a:pt x="53" y="139"/>
                    <a:pt x="57" y="147"/>
                  </a:cubicBezTo>
                  <a:cubicBezTo>
                    <a:pt x="61" y="157"/>
                    <a:pt x="68" y="156"/>
                    <a:pt x="72" y="164"/>
                  </a:cubicBezTo>
                  <a:cubicBezTo>
                    <a:pt x="78" y="172"/>
                    <a:pt x="73" y="184"/>
                    <a:pt x="77" y="200"/>
                  </a:cubicBezTo>
                  <a:cubicBezTo>
                    <a:pt x="80" y="215"/>
                    <a:pt x="90" y="226"/>
                    <a:pt x="90" y="226"/>
                  </a:cubicBezTo>
                  <a:cubicBezTo>
                    <a:pt x="91" y="239"/>
                    <a:pt x="91" y="239"/>
                    <a:pt x="91" y="239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57" y="432"/>
                    <a:pt x="57" y="432"/>
                    <a:pt x="57" y="432"/>
                  </a:cubicBezTo>
                  <a:cubicBezTo>
                    <a:pt x="57" y="432"/>
                    <a:pt x="87" y="425"/>
                    <a:pt x="101" y="425"/>
                  </a:cubicBezTo>
                  <a:cubicBezTo>
                    <a:pt x="114" y="425"/>
                    <a:pt x="176" y="436"/>
                    <a:pt x="203" y="436"/>
                  </a:cubicBezTo>
                  <a:cubicBezTo>
                    <a:pt x="230" y="438"/>
                    <a:pt x="298" y="438"/>
                    <a:pt x="298" y="438"/>
                  </a:cubicBezTo>
                  <a:cubicBezTo>
                    <a:pt x="312" y="455"/>
                    <a:pt x="312" y="455"/>
                    <a:pt x="312" y="455"/>
                  </a:cubicBezTo>
                  <a:lnTo>
                    <a:pt x="312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2" name="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34E1E18-0A34-5041-93BF-BF8328D2C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85402" y="889056"/>
              <a:ext cx="3658598" cy="4107465"/>
            </a:xfrm>
            <a:custGeom>
              <a:avLst/>
              <a:gdLst/>
              <a:ahLst/>
              <a:cxnLst>
                <a:cxn ang="0">
                  <a:pos x="24" y="1219"/>
                </a:cxn>
                <a:cxn ang="0">
                  <a:pos x="8" y="1240"/>
                </a:cxn>
                <a:cxn ang="0">
                  <a:pos x="229" y="230"/>
                </a:cxn>
                <a:cxn ang="0">
                  <a:pos x="352" y="472"/>
                </a:cxn>
                <a:cxn ang="0">
                  <a:pos x="677" y="24"/>
                </a:cxn>
                <a:cxn ang="0">
                  <a:pos x="626" y="78"/>
                </a:cxn>
                <a:cxn ang="0">
                  <a:pos x="603" y="203"/>
                </a:cxn>
                <a:cxn ang="0">
                  <a:pos x="448" y="151"/>
                </a:cxn>
                <a:cxn ang="0">
                  <a:pos x="531" y="298"/>
                </a:cxn>
                <a:cxn ang="0">
                  <a:pos x="472" y="442"/>
                </a:cxn>
                <a:cxn ang="0">
                  <a:pos x="434" y="468"/>
                </a:cxn>
                <a:cxn ang="0">
                  <a:pos x="423" y="504"/>
                </a:cxn>
                <a:cxn ang="0">
                  <a:pos x="396" y="529"/>
                </a:cxn>
                <a:cxn ang="0">
                  <a:pos x="342" y="498"/>
                </a:cxn>
                <a:cxn ang="0">
                  <a:pos x="275" y="414"/>
                </a:cxn>
                <a:cxn ang="0">
                  <a:pos x="257" y="401"/>
                </a:cxn>
                <a:cxn ang="0">
                  <a:pos x="215" y="380"/>
                </a:cxn>
                <a:cxn ang="0">
                  <a:pos x="297" y="390"/>
                </a:cxn>
                <a:cxn ang="0">
                  <a:pos x="444" y="343"/>
                </a:cxn>
                <a:cxn ang="0">
                  <a:pos x="386" y="262"/>
                </a:cxn>
                <a:cxn ang="0">
                  <a:pos x="269" y="230"/>
                </a:cxn>
                <a:cxn ang="0">
                  <a:pos x="212" y="247"/>
                </a:cxn>
                <a:cxn ang="0">
                  <a:pos x="186" y="232"/>
                </a:cxn>
                <a:cxn ang="0">
                  <a:pos x="188" y="225"/>
                </a:cxn>
                <a:cxn ang="0">
                  <a:pos x="143" y="237"/>
                </a:cxn>
                <a:cxn ang="0">
                  <a:pos x="160" y="363"/>
                </a:cxn>
                <a:cxn ang="0">
                  <a:pos x="216" y="541"/>
                </a:cxn>
                <a:cxn ang="0">
                  <a:pos x="237" y="775"/>
                </a:cxn>
                <a:cxn ang="0">
                  <a:pos x="246" y="825"/>
                </a:cxn>
                <a:cxn ang="0">
                  <a:pos x="239" y="876"/>
                </a:cxn>
                <a:cxn ang="0">
                  <a:pos x="242" y="1006"/>
                </a:cxn>
                <a:cxn ang="0">
                  <a:pos x="289" y="1074"/>
                </a:cxn>
                <a:cxn ang="0">
                  <a:pos x="413" y="1136"/>
                </a:cxn>
                <a:cxn ang="0">
                  <a:pos x="490" y="1247"/>
                </a:cxn>
                <a:cxn ang="0">
                  <a:pos x="560" y="1265"/>
                </a:cxn>
                <a:cxn ang="0">
                  <a:pos x="648" y="1333"/>
                </a:cxn>
                <a:cxn ang="0">
                  <a:pos x="764" y="1354"/>
                </a:cxn>
                <a:cxn ang="0">
                  <a:pos x="862" y="1350"/>
                </a:cxn>
                <a:cxn ang="0">
                  <a:pos x="900" y="1455"/>
                </a:cxn>
                <a:cxn ang="0">
                  <a:pos x="871" y="1537"/>
                </a:cxn>
                <a:cxn ang="0">
                  <a:pos x="862" y="1623"/>
                </a:cxn>
                <a:cxn ang="0">
                  <a:pos x="903" y="1684"/>
                </a:cxn>
                <a:cxn ang="0">
                  <a:pos x="1047" y="1703"/>
                </a:cxn>
                <a:cxn ang="0">
                  <a:pos x="1233" y="1674"/>
                </a:cxn>
                <a:cxn ang="0">
                  <a:pos x="1408" y="1689"/>
                </a:cxn>
                <a:cxn ang="0">
                  <a:pos x="1341" y="1543"/>
                </a:cxn>
                <a:cxn ang="0">
                  <a:pos x="1283" y="1465"/>
                </a:cxn>
                <a:cxn ang="0">
                  <a:pos x="1320" y="1398"/>
                </a:cxn>
                <a:cxn ang="0">
                  <a:pos x="1281" y="1326"/>
                </a:cxn>
                <a:cxn ang="0">
                  <a:pos x="1133" y="1184"/>
                </a:cxn>
                <a:cxn ang="0">
                  <a:pos x="1183" y="1074"/>
                </a:cxn>
                <a:cxn ang="0">
                  <a:pos x="1253" y="984"/>
                </a:cxn>
                <a:cxn ang="0">
                  <a:pos x="1379" y="969"/>
                </a:cxn>
                <a:cxn ang="0">
                  <a:pos x="1488" y="872"/>
                </a:cxn>
                <a:cxn ang="0">
                  <a:pos x="1496" y="707"/>
                </a:cxn>
                <a:cxn ang="0">
                  <a:pos x="1446" y="669"/>
                </a:cxn>
                <a:cxn ang="0">
                  <a:pos x="1519" y="575"/>
                </a:cxn>
                <a:cxn ang="0">
                  <a:pos x="266" y="764"/>
                </a:cxn>
                <a:cxn ang="0">
                  <a:pos x="356" y="755"/>
                </a:cxn>
                <a:cxn ang="0">
                  <a:pos x="381" y="658"/>
                </a:cxn>
                <a:cxn ang="0">
                  <a:pos x="422" y="650"/>
                </a:cxn>
                <a:cxn ang="0">
                  <a:pos x="464" y="712"/>
                </a:cxn>
              </a:cxnLst>
              <a:rect l="0" t="0" r="r" b="b"/>
              <a:pathLst>
                <a:path w="1532" h="1721">
                  <a:moveTo>
                    <a:pt x="113" y="1210"/>
                  </a:moveTo>
                  <a:cubicBezTo>
                    <a:pt x="110" y="1208"/>
                    <a:pt x="101" y="1201"/>
                    <a:pt x="101" y="1201"/>
                  </a:cubicBezTo>
                  <a:cubicBezTo>
                    <a:pt x="90" y="1201"/>
                    <a:pt x="90" y="1201"/>
                    <a:pt x="90" y="1201"/>
                  </a:cubicBezTo>
                  <a:cubicBezTo>
                    <a:pt x="80" y="1205"/>
                    <a:pt x="80" y="1205"/>
                    <a:pt x="80" y="1205"/>
                  </a:cubicBezTo>
                  <a:cubicBezTo>
                    <a:pt x="79" y="1201"/>
                    <a:pt x="79" y="1201"/>
                    <a:pt x="79" y="1201"/>
                  </a:cubicBezTo>
                  <a:cubicBezTo>
                    <a:pt x="79" y="1201"/>
                    <a:pt x="73" y="1203"/>
                    <a:pt x="69" y="1200"/>
                  </a:cubicBezTo>
                  <a:cubicBezTo>
                    <a:pt x="64" y="1198"/>
                    <a:pt x="62" y="1197"/>
                    <a:pt x="62" y="1197"/>
                  </a:cubicBezTo>
                  <a:cubicBezTo>
                    <a:pt x="56" y="1198"/>
                    <a:pt x="56" y="1198"/>
                    <a:pt x="56" y="1198"/>
                  </a:cubicBezTo>
                  <a:cubicBezTo>
                    <a:pt x="51" y="1194"/>
                    <a:pt x="51" y="1194"/>
                    <a:pt x="51" y="1194"/>
                  </a:cubicBezTo>
                  <a:cubicBezTo>
                    <a:pt x="49" y="1199"/>
                    <a:pt x="49" y="1199"/>
                    <a:pt x="49" y="1199"/>
                  </a:cubicBezTo>
                  <a:cubicBezTo>
                    <a:pt x="46" y="1199"/>
                    <a:pt x="46" y="1199"/>
                    <a:pt x="46" y="1199"/>
                  </a:cubicBezTo>
                  <a:cubicBezTo>
                    <a:pt x="51" y="1215"/>
                    <a:pt x="51" y="1215"/>
                    <a:pt x="51" y="1215"/>
                  </a:cubicBezTo>
                  <a:cubicBezTo>
                    <a:pt x="44" y="1219"/>
                    <a:pt x="44" y="1219"/>
                    <a:pt x="44" y="1219"/>
                  </a:cubicBezTo>
                  <a:cubicBezTo>
                    <a:pt x="37" y="1219"/>
                    <a:pt x="37" y="1219"/>
                    <a:pt x="37" y="1219"/>
                  </a:cubicBezTo>
                  <a:cubicBezTo>
                    <a:pt x="37" y="1219"/>
                    <a:pt x="33" y="1218"/>
                    <a:pt x="32" y="1218"/>
                  </a:cubicBezTo>
                  <a:cubicBezTo>
                    <a:pt x="31" y="1218"/>
                    <a:pt x="24" y="1219"/>
                    <a:pt x="24" y="1219"/>
                  </a:cubicBezTo>
                  <a:cubicBezTo>
                    <a:pt x="36" y="1202"/>
                    <a:pt x="36" y="1202"/>
                    <a:pt x="36" y="1202"/>
                  </a:cubicBezTo>
                  <a:cubicBezTo>
                    <a:pt x="36" y="1198"/>
                    <a:pt x="36" y="1198"/>
                    <a:pt x="36" y="1198"/>
                  </a:cubicBezTo>
                  <a:cubicBezTo>
                    <a:pt x="41" y="1193"/>
                    <a:pt x="41" y="1193"/>
                    <a:pt x="41" y="1193"/>
                  </a:cubicBezTo>
                  <a:cubicBezTo>
                    <a:pt x="39" y="1191"/>
                    <a:pt x="39" y="1191"/>
                    <a:pt x="39" y="1191"/>
                  </a:cubicBezTo>
                  <a:cubicBezTo>
                    <a:pt x="37" y="1192"/>
                    <a:pt x="37" y="1192"/>
                    <a:pt x="37" y="1192"/>
                  </a:cubicBezTo>
                  <a:cubicBezTo>
                    <a:pt x="32" y="1202"/>
                    <a:pt x="32" y="1202"/>
                    <a:pt x="32" y="1202"/>
                  </a:cubicBezTo>
                  <a:cubicBezTo>
                    <a:pt x="23" y="1215"/>
                    <a:pt x="23" y="1215"/>
                    <a:pt x="23" y="1215"/>
                  </a:cubicBezTo>
                  <a:cubicBezTo>
                    <a:pt x="20" y="1218"/>
                    <a:pt x="20" y="1218"/>
                    <a:pt x="20" y="1218"/>
                  </a:cubicBezTo>
                  <a:cubicBezTo>
                    <a:pt x="2" y="1221"/>
                    <a:pt x="2" y="1221"/>
                    <a:pt x="2" y="1221"/>
                  </a:cubicBezTo>
                  <a:cubicBezTo>
                    <a:pt x="0" y="1226"/>
                    <a:pt x="0" y="1226"/>
                    <a:pt x="0" y="1226"/>
                  </a:cubicBezTo>
                  <a:cubicBezTo>
                    <a:pt x="3" y="1230"/>
                    <a:pt x="3" y="1230"/>
                    <a:pt x="3" y="1230"/>
                  </a:cubicBezTo>
                  <a:cubicBezTo>
                    <a:pt x="0" y="1241"/>
                    <a:pt x="0" y="1241"/>
                    <a:pt x="0" y="1241"/>
                  </a:cubicBezTo>
                  <a:cubicBezTo>
                    <a:pt x="3" y="1242"/>
                    <a:pt x="3" y="1242"/>
                    <a:pt x="3" y="1242"/>
                  </a:cubicBezTo>
                  <a:cubicBezTo>
                    <a:pt x="4" y="1239"/>
                    <a:pt x="4" y="1239"/>
                    <a:pt x="4" y="1239"/>
                  </a:cubicBezTo>
                  <a:cubicBezTo>
                    <a:pt x="6" y="1237"/>
                    <a:pt x="6" y="1237"/>
                    <a:pt x="6" y="1237"/>
                  </a:cubicBezTo>
                  <a:cubicBezTo>
                    <a:pt x="8" y="1240"/>
                    <a:pt x="8" y="1240"/>
                    <a:pt x="8" y="1240"/>
                  </a:cubicBezTo>
                  <a:cubicBezTo>
                    <a:pt x="13" y="1235"/>
                    <a:pt x="13" y="1235"/>
                    <a:pt x="13" y="1235"/>
                  </a:cubicBezTo>
                  <a:cubicBezTo>
                    <a:pt x="21" y="1237"/>
                    <a:pt x="21" y="1237"/>
                    <a:pt x="21" y="1237"/>
                  </a:cubicBezTo>
                  <a:cubicBezTo>
                    <a:pt x="16" y="1239"/>
                    <a:pt x="16" y="1239"/>
                    <a:pt x="16" y="1239"/>
                  </a:cubicBezTo>
                  <a:cubicBezTo>
                    <a:pt x="16" y="1241"/>
                    <a:pt x="16" y="1241"/>
                    <a:pt x="16" y="1241"/>
                  </a:cubicBezTo>
                  <a:cubicBezTo>
                    <a:pt x="8" y="1246"/>
                    <a:pt x="8" y="1246"/>
                    <a:pt x="8" y="1246"/>
                  </a:cubicBezTo>
                  <a:cubicBezTo>
                    <a:pt x="6" y="1245"/>
                    <a:pt x="6" y="1245"/>
                    <a:pt x="6" y="1245"/>
                  </a:cubicBezTo>
                  <a:cubicBezTo>
                    <a:pt x="3" y="1253"/>
                    <a:pt x="3" y="1253"/>
                    <a:pt x="3" y="1253"/>
                  </a:cubicBezTo>
                  <a:cubicBezTo>
                    <a:pt x="11" y="1253"/>
                    <a:pt x="45" y="1255"/>
                    <a:pt x="58" y="1254"/>
                  </a:cubicBezTo>
                  <a:cubicBezTo>
                    <a:pt x="74" y="1254"/>
                    <a:pt x="113" y="1244"/>
                    <a:pt x="113" y="1244"/>
                  </a:cubicBezTo>
                  <a:cubicBezTo>
                    <a:pt x="113" y="1244"/>
                    <a:pt x="106" y="1237"/>
                    <a:pt x="107" y="1229"/>
                  </a:cubicBezTo>
                  <a:cubicBezTo>
                    <a:pt x="107" y="1223"/>
                    <a:pt x="109" y="1218"/>
                    <a:pt x="109" y="1218"/>
                  </a:cubicBezTo>
                  <a:cubicBezTo>
                    <a:pt x="109" y="1218"/>
                    <a:pt x="117" y="1213"/>
                    <a:pt x="113" y="1210"/>
                  </a:cubicBezTo>
                  <a:close/>
                  <a:moveTo>
                    <a:pt x="229" y="228"/>
                  </a:moveTo>
                  <a:cubicBezTo>
                    <a:pt x="222" y="228"/>
                    <a:pt x="222" y="228"/>
                    <a:pt x="222" y="228"/>
                  </a:cubicBezTo>
                  <a:cubicBezTo>
                    <a:pt x="219" y="232"/>
                    <a:pt x="219" y="232"/>
                    <a:pt x="219" y="232"/>
                  </a:cubicBezTo>
                  <a:cubicBezTo>
                    <a:pt x="229" y="230"/>
                    <a:pt x="229" y="230"/>
                    <a:pt x="229" y="230"/>
                  </a:cubicBezTo>
                  <a:lnTo>
                    <a:pt x="229" y="228"/>
                  </a:lnTo>
                  <a:close/>
                  <a:moveTo>
                    <a:pt x="246" y="829"/>
                  </a:moveTo>
                  <a:cubicBezTo>
                    <a:pt x="238" y="825"/>
                    <a:pt x="238" y="825"/>
                    <a:pt x="238" y="825"/>
                  </a:cubicBezTo>
                  <a:cubicBezTo>
                    <a:pt x="239" y="830"/>
                    <a:pt x="239" y="830"/>
                    <a:pt x="239" y="830"/>
                  </a:cubicBezTo>
                  <a:cubicBezTo>
                    <a:pt x="244" y="832"/>
                    <a:pt x="244" y="832"/>
                    <a:pt x="244" y="832"/>
                  </a:cubicBezTo>
                  <a:lnTo>
                    <a:pt x="246" y="829"/>
                  </a:lnTo>
                  <a:close/>
                  <a:moveTo>
                    <a:pt x="363" y="466"/>
                  </a:moveTo>
                  <a:cubicBezTo>
                    <a:pt x="365" y="470"/>
                    <a:pt x="365" y="470"/>
                    <a:pt x="365" y="470"/>
                  </a:cubicBezTo>
                  <a:cubicBezTo>
                    <a:pt x="372" y="462"/>
                    <a:pt x="372" y="462"/>
                    <a:pt x="372" y="462"/>
                  </a:cubicBezTo>
                  <a:lnTo>
                    <a:pt x="363" y="466"/>
                  </a:lnTo>
                  <a:close/>
                  <a:moveTo>
                    <a:pt x="352" y="472"/>
                  </a:moveTo>
                  <a:cubicBezTo>
                    <a:pt x="351" y="476"/>
                    <a:pt x="351" y="476"/>
                    <a:pt x="351" y="476"/>
                  </a:cubicBezTo>
                  <a:cubicBezTo>
                    <a:pt x="356" y="478"/>
                    <a:pt x="356" y="478"/>
                    <a:pt x="356" y="478"/>
                  </a:cubicBezTo>
                  <a:cubicBezTo>
                    <a:pt x="363" y="473"/>
                    <a:pt x="363" y="473"/>
                    <a:pt x="363" y="473"/>
                  </a:cubicBezTo>
                  <a:cubicBezTo>
                    <a:pt x="357" y="468"/>
                    <a:pt x="357" y="468"/>
                    <a:pt x="357" y="468"/>
                  </a:cubicBezTo>
                  <a:lnTo>
                    <a:pt x="352" y="472"/>
                  </a:lnTo>
                  <a:close/>
                  <a:moveTo>
                    <a:pt x="365" y="482"/>
                  </a:moveTo>
                  <a:cubicBezTo>
                    <a:pt x="369" y="478"/>
                    <a:pt x="367" y="475"/>
                    <a:pt x="360" y="480"/>
                  </a:cubicBezTo>
                  <a:cubicBezTo>
                    <a:pt x="360" y="480"/>
                    <a:pt x="362" y="485"/>
                    <a:pt x="365" y="482"/>
                  </a:cubicBezTo>
                  <a:close/>
                  <a:moveTo>
                    <a:pt x="1532" y="0"/>
                  </a:moveTo>
                  <a:cubicBezTo>
                    <a:pt x="716" y="0"/>
                    <a:pt x="716" y="0"/>
                    <a:pt x="716" y="0"/>
                  </a:cubicBezTo>
                  <a:cubicBezTo>
                    <a:pt x="712" y="19"/>
                    <a:pt x="712" y="19"/>
                    <a:pt x="712" y="19"/>
                  </a:cubicBezTo>
                  <a:cubicBezTo>
                    <a:pt x="712" y="19"/>
                    <a:pt x="721" y="31"/>
                    <a:pt x="720" y="35"/>
                  </a:cubicBezTo>
                  <a:cubicBezTo>
                    <a:pt x="719" y="39"/>
                    <a:pt x="708" y="33"/>
                    <a:pt x="708" y="33"/>
                  </a:cubicBezTo>
                  <a:cubicBezTo>
                    <a:pt x="699" y="34"/>
                    <a:pt x="699" y="34"/>
                    <a:pt x="699" y="34"/>
                  </a:cubicBezTo>
                  <a:cubicBezTo>
                    <a:pt x="699" y="34"/>
                    <a:pt x="698" y="39"/>
                    <a:pt x="698" y="42"/>
                  </a:cubicBezTo>
                  <a:cubicBezTo>
                    <a:pt x="698" y="46"/>
                    <a:pt x="694" y="46"/>
                    <a:pt x="690" y="46"/>
                  </a:cubicBezTo>
                  <a:cubicBezTo>
                    <a:pt x="684" y="47"/>
                    <a:pt x="681" y="55"/>
                    <a:pt x="681" y="55"/>
                  </a:cubicBezTo>
                  <a:cubicBezTo>
                    <a:pt x="681" y="55"/>
                    <a:pt x="678" y="50"/>
                    <a:pt x="679" y="46"/>
                  </a:cubicBezTo>
                  <a:cubicBezTo>
                    <a:pt x="681" y="41"/>
                    <a:pt x="693" y="39"/>
                    <a:pt x="693" y="39"/>
                  </a:cubicBezTo>
                  <a:cubicBezTo>
                    <a:pt x="693" y="39"/>
                    <a:pt x="691" y="30"/>
                    <a:pt x="686" y="29"/>
                  </a:cubicBezTo>
                  <a:cubicBezTo>
                    <a:pt x="683" y="28"/>
                    <a:pt x="677" y="24"/>
                    <a:pt x="677" y="24"/>
                  </a:cubicBezTo>
                  <a:cubicBezTo>
                    <a:pt x="677" y="16"/>
                    <a:pt x="677" y="16"/>
                    <a:pt x="677" y="16"/>
                  </a:cubicBezTo>
                  <a:cubicBezTo>
                    <a:pt x="675" y="15"/>
                    <a:pt x="675" y="15"/>
                    <a:pt x="675" y="15"/>
                  </a:cubicBezTo>
                  <a:cubicBezTo>
                    <a:pt x="675" y="15"/>
                    <a:pt x="676" y="9"/>
                    <a:pt x="672" y="9"/>
                  </a:cubicBezTo>
                  <a:cubicBezTo>
                    <a:pt x="669" y="9"/>
                    <a:pt x="667" y="14"/>
                    <a:pt x="667" y="14"/>
                  </a:cubicBezTo>
                  <a:cubicBezTo>
                    <a:pt x="667" y="14"/>
                    <a:pt x="665" y="10"/>
                    <a:pt x="663" y="10"/>
                  </a:cubicBezTo>
                  <a:cubicBezTo>
                    <a:pt x="661" y="10"/>
                    <a:pt x="654" y="18"/>
                    <a:pt x="652" y="27"/>
                  </a:cubicBezTo>
                  <a:cubicBezTo>
                    <a:pt x="650" y="34"/>
                    <a:pt x="651" y="41"/>
                    <a:pt x="651" y="41"/>
                  </a:cubicBezTo>
                  <a:cubicBezTo>
                    <a:pt x="651" y="41"/>
                    <a:pt x="655" y="43"/>
                    <a:pt x="660" y="47"/>
                  </a:cubicBezTo>
                  <a:cubicBezTo>
                    <a:pt x="664" y="50"/>
                    <a:pt x="664" y="57"/>
                    <a:pt x="660" y="62"/>
                  </a:cubicBezTo>
                  <a:cubicBezTo>
                    <a:pt x="657" y="67"/>
                    <a:pt x="651" y="53"/>
                    <a:pt x="651" y="53"/>
                  </a:cubicBezTo>
                  <a:cubicBezTo>
                    <a:pt x="647" y="53"/>
                    <a:pt x="647" y="53"/>
                    <a:pt x="647" y="53"/>
                  </a:cubicBezTo>
                  <a:cubicBezTo>
                    <a:pt x="649" y="45"/>
                    <a:pt x="649" y="45"/>
                    <a:pt x="649" y="45"/>
                  </a:cubicBezTo>
                  <a:cubicBezTo>
                    <a:pt x="649" y="45"/>
                    <a:pt x="644" y="51"/>
                    <a:pt x="643" y="55"/>
                  </a:cubicBezTo>
                  <a:cubicBezTo>
                    <a:pt x="642" y="58"/>
                    <a:pt x="637" y="62"/>
                    <a:pt x="632" y="63"/>
                  </a:cubicBezTo>
                  <a:cubicBezTo>
                    <a:pt x="627" y="63"/>
                    <a:pt x="625" y="71"/>
                    <a:pt x="625" y="71"/>
                  </a:cubicBezTo>
                  <a:cubicBezTo>
                    <a:pt x="626" y="78"/>
                    <a:pt x="626" y="78"/>
                    <a:pt x="626" y="78"/>
                  </a:cubicBezTo>
                  <a:cubicBezTo>
                    <a:pt x="626" y="78"/>
                    <a:pt x="627" y="72"/>
                    <a:pt x="630" y="70"/>
                  </a:cubicBezTo>
                  <a:cubicBezTo>
                    <a:pt x="633" y="67"/>
                    <a:pt x="635" y="65"/>
                    <a:pt x="637" y="66"/>
                  </a:cubicBezTo>
                  <a:cubicBezTo>
                    <a:pt x="641" y="66"/>
                    <a:pt x="637" y="71"/>
                    <a:pt x="634" y="74"/>
                  </a:cubicBezTo>
                  <a:cubicBezTo>
                    <a:pt x="630" y="77"/>
                    <a:pt x="623" y="81"/>
                    <a:pt x="620" y="89"/>
                  </a:cubicBezTo>
                  <a:cubicBezTo>
                    <a:pt x="618" y="96"/>
                    <a:pt x="619" y="112"/>
                    <a:pt x="619" y="112"/>
                  </a:cubicBezTo>
                  <a:cubicBezTo>
                    <a:pt x="615" y="113"/>
                    <a:pt x="615" y="113"/>
                    <a:pt x="615" y="113"/>
                  </a:cubicBezTo>
                  <a:cubicBezTo>
                    <a:pt x="602" y="133"/>
                    <a:pt x="602" y="133"/>
                    <a:pt x="602" y="133"/>
                  </a:cubicBezTo>
                  <a:cubicBezTo>
                    <a:pt x="593" y="135"/>
                    <a:pt x="593" y="135"/>
                    <a:pt x="593" y="135"/>
                  </a:cubicBezTo>
                  <a:cubicBezTo>
                    <a:pt x="602" y="143"/>
                    <a:pt x="602" y="143"/>
                    <a:pt x="602" y="143"/>
                  </a:cubicBezTo>
                  <a:cubicBezTo>
                    <a:pt x="609" y="142"/>
                    <a:pt x="609" y="142"/>
                    <a:pt x="609" y="142"/>
                  </a:cubicBezTo>
                  <a:cubicBezTo>
                    <a:pt x="612" y="146"/>
                    <a:pt x="612" y="146"/>
                    <a:pt x="612" y="146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47"/>
                    <a:pt x="587" y="155"/>
                    <a:pt x="586" y="161"/>
                  </a:cubicBezTo>
                  <a:cubicBezTo>
                    <a:pt x="584" y="168"/>
                    <a:pt x="596" y="184"/>
                    <a:pt x="596" y="184"/>
                  </a:cubicBezTo>
                  <a:cubicBezTo>
                    <a:pt x="594" y="187"/>
                    <a:pt x="594" y="187"/>
                    <a:pt x="594" y="187"/>
                  </a:cubicBezTo>
                  <a:cubicBezTo>
                    <a:pt x="594" y="187"/>
                    <a:pt x="604" y="198"/>
                    <a:pt x="603" y="203"/>
                  </a:cubicBezTo>
                  <a:cubicBezTo>
                    <a:pt x="602" y="209"/>
                    <a:pt x="596" y="208"/>
                    <a:pt x="596" y="208"/>
                  </a:cubicBezTo>
                  <a:cubicBezTo>
                    <a:pt x="596" y="208"/>
                    <a:pt x="593" y="215"/>
                    <a:pt x="590" y="218"/>
                  </a:cubicBezTo>
                  <a:cubicBezTo>
                    <a:pt x="588" y="221"/>
                    <a:pt x="576" y="224"/>
                    <a:pt x="576" y="224"/>
                  </a:cubicBezTo>
                  <a:cubicBezTo>
                    <a:pt x="576" y="224"/>
                    <a:pt x="571" y="232"/>
                    <a:pt x="566" y="232"/>
                  </a:cubicBezTo>
                  <a:cubicBezTo>
                    <a:pt x="561" y="233"/>
                    <a:pt x="547" y="216"/>
                    <a:pt x="547" y="216"/>
                  </a:cubicBezTo>
                  <a:cubicBezTo>
                    <a:pt x="526" y="214"/>
                    <a:pt x="526" y="214"/>
                    <a:pt x="526" y="214"/>
                  </a:cubicBezTo>
                  <a:cubicBezTo>
                    <a:pt x="528" y="192"/>
                    <a:pt x="528" y="192"/>
                    <a:pt x="528" y="192"/>
                  </a:cubicBezTo>
                  <a:cubicBezTo>
                    <a:pt x="521" y="186"/>
                    <a:pt x="521" y="186"/>
                    <a:pt x="521" y="186"/>
                  </a:cubicBezTo>
                  <a:cubicBezTo>
                    <a:pt x="535" y="174"/>
                    <a:pt x="535" y="174"/>
                    <a:pt x="535" y="174"/>
                  </a:cubicBezTo>
                  <a:cubicBezTo>
                    <a:pt x="551" y="162"/>
                    <a:pt x="551" y="162"/>
                    <a:pt x="551" y="162"/>
                  </a:cubicBezTo>
                  <a:cubicBezTo>
                    <a:pt x="551" y="162"/>
                    <a:pt x="543" y="150"/>
                    <a:pt x="538" y="146"/>
                  </a:cubicBezTo>
                  <a:cubicBezTo>
                    <a:pt x="534" y="144"/>
                    <a:pt x="517" y="140"/>
                    <a:pt x="517" y="140"/>
                  </a:cubicBezTo>
                  <a:cubicBezTo>
                    <a:pt x="511" y="133"/>
                    <a:pt x="511" y="133"/>
                    <a:pt x="511" y="133"/>
                  </a:cubicBezTo>
                  <a:cubicBezTo>
                    <a:pt x="511" y="133"/>
                    <a:pt x="499" y="136"/>
                    <a:pt x="490" y="138"/>
                  </a:cubicBezTo>
                  <a:cubicBezTo>
                    <a:pt x="481" y="141"/>
                    <a:pt x="473" y="150"/>
                    <a:pt x="473" y="150"/>
                  </a:cubicBezTo>
                  <a:cubicBezTo>
                    <a:pt x="448" y="151"/>
                    <a:pt x="448" y="151"/>
                    <a:pt x="448" y="151"/>
                  </a:cubicBezTo>
                  <a:cubicBezTo>
                    <a:pt x="448" y="151"/>
                    <a:pt x="452" y="154"/>
                    <a:pt x="457" y="156"/>
                  </a:cubicBezTo>
                  <a:cubicBezTo>
                    <a:pt x="463" y="157"/>
                    <a:pt x="471" y="158"/>
                    <a:pt x="471" y="158"/>
                  </a:cubicBezTo>
                  <a:cubicBezTo>
                    <a:pt x="482" y="168"/>
                    <a:pt x="482" y="168"/>
                    <a:pt x="482" y="168"/>
                  </a:cubicBezTo>
                  <a:cubicBezTo>
                    <a:pt x="482" y="172"/>
                    <a:pt x="482" y="172"/>
                    <a:pt x="482" y="172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91" y="188"/>
                    <a:pt x="491" y="188"/>
                    <a:pt x="491" y="188"/>
                  </a:cubicBezTo>
                  <a:cubicBezTo>
                    <a:pt x="490" y="192"/>
                    <a:pt x="490" y="192"/>
                    <a:pt x="490" y="192"/>
                  </a:cubicBezTo>
                  <a:cubicBezTo>
                    <a:pt x="497" y="204"/>
                    <a:pt x="497" y="204"/>
                    <a:pt x="497" y="204"/>
                  </a:cubicBezTo>
                  <a:cubicBezTo>
                    <a:pt x="497" y="204"/>
                    <a:pt x="498" y="235"/>
                    <a:pt x="503" y="240"/>
                  </a:cubicBezTo>
                  <a:cubicBezTo>
                    <a:pt x="508" y="246"/>
                    <a:pt x="522" y="240"/>
                    <a:pt x="522" y="240"/>
                  </a:cubicBezTo>
                  <a:cubicBezTo>
                    <a:pt x="531" y="249"/>
                    <a:pt x="531" y="249"/>
                    <a:pt x="531" y="249"/>
                  </a:cubicBezTo>
                  <a:cubicBezTo>
                    <a:pt x="529" y="252"/>
                    <a:pt x="529" y="252"/>
                    <a:pt x="529" y="252"/>
                  </a:cubicBezTo>
                  <a:cubicBezTo>
                    <a:pt x="537" y="262"/>
                    <a:pt x="537" y="262"/>
                    <a:pt x="537" y="262"/>
                  </a:cubicBezTo>
                  <a:cubicBezTo>
                    <a:pt x="538" y="292"/>
                    <a:pt x="538" y="292"/>
                    <a:pt x="538" y="292"/>
                  </a:cubicBezTo>
                  <a:cubicBezTo>
                    <a:pt x="538" y="292"/>
                    <a:pt x="549" y="305"/>
                    <a:pt x="547" y="308"/>
                  </a:cubicBezTo>
                  <a:cubicBezTo>
                    <a:pt x="546" y="311"/>
                    <a:pt x="533" y="297"/>
                    <a:pt x="531" y="298"/>
                  </a:cubicBezTo>
                  <a:cubicBezTo>
                    <a:pt x="528" y="298"/>
                    <a:pt x="523" y="311"/>
                    <a:pt x="523" y="311"/>
                  </a:cubicBezTo>
                  <a:cubicBezTo>
                    <a:pt x="526" y="299"/>
                    <a:pt x="526" y="299"/>
                    <a:pt x="526" y="299"/>
                  </a:cubicBezTo>
                  <a:cubicBezTo>
                    <a:pt x="526" y="299"/>
                    <a:pt x="522" y="296"/>
                    <a:pt x="514" y="296"/>
                  </a:cubicBezTo>
                  <a:cubicBezTo>
                    <a:pt x="504" y="295"/>
                    <a:pt x="499" y="303"/>
                    <a:pt x="499" y="303"/>
                  </a:cubicBezTo>
                  <a:cubicBezTo>
                    <a:pt x="499" y="303"/>
                    <a:pt x="494" y="299"/>
                    <a:pt x="488" y="298"/>
                  </a:cubicBezTo>
                  <a:cubicBezTo>
                    <a:pt x="483" y="298"/>
                    <a:pt x="478" y="308"/>
                    <a:pt x="478" y="308"/>
                  </a:cubicBezTo>
                  <a:cubicBezTo>
                    <a:pt x="478" y="308"/>
                    <a:pt x="480" y="325"/>
                    <a:pt x="474" y="334"/>
                  </a:cubicBezTo>
                  <a:cubicBezTo>
                    <a:pt x="468" y="343"/>
                    <a:pt x="459" y="343"/>
                    <a:pt x="459" y="343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59" y="356"/>
                    <a:pt x="457" y="363"/>
                  </a:cubicBezTo>
                  <a:cubicBezTo>
                    <a:pt x="455" y="371"/>
                    <a:pt x="446" y="381"/>
                    <a:pt x="447" y="383"/>
                  </a:cubicBezTo>
                  <a:cubicBezTo>
                    <a:pt x="447" y="387"/>
                    <a:pt x="451" y="383"/>
                    <a:pt x="451" y="383"/>
                  </a:cubicBezTo>
                  <a:cubicBezTo>
                    <a:pt x="451" y="383"/>
                    <a:pt x="452" y="386"/>
                    <a:pt x="452" y="394"/>
                  </a:cubicBezTo>
                  <a:cubicBezTo>
                    <a:pt x="452" y="403"/>
                    <a:pt x="475" y="409"/>
                    <a:pt x="484" y="418"/>
                  </a:cubicBezTo>
                  <a:cubicBezTo>
                    <a:pt x="493" y="426"/>
                    <a:pt x="488" y="426"/>
                    <a:pt x="479" y="427"/>
                  </a:cubicBezTo>
                  <a:cubicBezTo>
                    <a:pt x="470" y="428"/>
                    <a:pt x="472" y="442"/>
                    <a:pt x="472" y="442"/>
                  </a:cubicBezTo>
                  <a:cubicBezTo>
                    <a:pt x="472" y="442"/>
                    <a:pt x="475" y="454"/>
                    <a:pt x="475" y="458"/>
                  </a:cubicBezTo>
                  <a:cubicBezTo>
                    <a:pt x="475" y="462"/>
                    <a:pt x="459" y="462"/>
                    <a:pt x="459" y="462"/>
                  </a:cubicBezTo>
                  <a:cubicBezTo>
                    <a:pt x="451" y="462"/>
                    <a:pt x="451" y="462"/>
                    <a:pt x="451" y="462"/>
                  </a:cubicBezTo>
                  <a:cubicBezTo>
                    <a:pt x="445" y="462"/>
                    <a:pt x="446" y="464"/>
                    <a:pt x="446" y="464"/>
                  </a:cubicBezTo>
                  <a:cubicBezTo>
                    <a:pt x="446" y="464"/>
                    <a:pt x="440" y="462"/>
                    <a:pt x="440" y="464"/>
                  </a:cubicBezTo>
                  <a:cubicBezTo>
                    <a:pt x="439" y="465"/>
                    <a:pt x="442" y="467"/>
                    <a:pt x="442" y="467"/>
                  </a:cubicBezTo>
                  <a:cubicBezTo>
                    <a:pt x="442" y="467"/>
                    <a:pt x="439" y="469"/>
                    <a:pt x="437" y="470"/>
                  </a:cubicBezTo>
                  <a:cubicBezTo>
                    <a:pt x="435" y="471"/>
                    <a:pt x="436" y="475"/>
                    <a:pt x="436" y="475"/>
                  </a:cubicBezTo>
                  <a:cubicBezTo>
                    <a:pt x="436" y="475"/>
                    <a:pt x="437" y="481"/>
                    <a:pt x="435" y="480"/>
                  </a:cubicBezTo>
                  <a:cubicBezTo>
                    <a:pt x="433" y="480"/>
                    <a:pt x="434" y="475"/>
                    <a:pt x="434" y="475"/>
                  </a:cubicBezTo>
                  <a:cubicBezTo>
                    <a:pt x="434" y="475"/>
                    <a:pt x="431" y="472"/>
                    <a:pt x="429" y="471"/>
                  </a:cubicBezTo>
                  <a:cubicBezTo>
                    <a:pt x="428" y="469"/>
                    <a:pt x="432" y="468"/>
                    <a:pt x="432" y="468"/>
                  </a:cubicBezTo>
                  <a:cubicBezTo>
                    <a:pt x="429" y="468"/>
                    <a:pt x="429" y="468"/>
                    <a:pt x="429" y="468"/>
                  </a:cubicBezTo>
                  <a:cubicBezTo>
                    <a:pt x="429" y="467"/>
                    <a:pt x="429" y="467"/>
                    <a:pt x="429" y="467"/>
                  </a:cubicBezTo>
                  <a:cubicBezTo>
                    <a:pt x="429" y="467"/>
                    <a:pt x="430" y="466"/>
                    <a:pt x="432" y="466"/>
                  </a:cubicBezTo>
                  <a:cubicBezTo>
                    <a:pt x="433" y="466"/>
                    <a:pt x="434" y="468"/>
                    <a:pt x="434" y="468"/>
                  </a:cubicBezTo>
                  <a:cubicBezTo>
                    <a:pt x="436" y="467"/>
                    <a:pt x="436" y="467"/>
                    <a:pt x="436" y="467"/>
                  </a:cubicBezTo>
                  <a:cubicBezTo>
                    <a:pt x="435" y="465"/>
                    <a:pt x="435" y="465"/>
                    <a:pt x="435" y="465"/>
                  </a:cubicBezTo>
                  <a:cubicBezTo>
                    <a:pt x="438" y="465"/>
                    <a:pt x="438" y="465"/>
                    <a:pt x="438" y="465"/>
                  </a:cubicBezTo>
                  <a:cubicBezTo>
                    <a:pt x="437" y="461"/>
                    <a:pt x="437" y="461"/>
                    <a:pt x="437" y="461"/>
                  </a:cubicBezTo>
                  <a:cubicBezTo>
                    <a:pt x="437" y="461"/>
                    <a:pt x="425" y="464"/>
                    <a:pt x="422" y="464"/>
                  </a:cubicBezTo>
                  <a:cubicBezTo>
                    <a:pt x="418" y="462"/>
                    <a:pt x="416" y="458"/>
                    <a:pt x="416" y="458"/>
                  </a:cubicBezTo>
                  <a:cubicBezTo>
                    <a:pt x="416" y="458"/>
                    <a:pt x="393" y="456"/>
                    <a:pt x="390" y="458"/>
                  </a:cubicBezTo>
                  <a:cubicBezTo>
                    <a:pt x="387" y="460"/>
                    <a:pt x="393" y="465"/>
                    <a:pt x="393" y="469"/>
                  </a:cubicBezTo>
                  <a:cubicBezTo>
                    <a:pt x="395" y="472"/>
                    <a:pt x="389" y="474"/>
                    <a:pt x="389" y="474"/>
                  </a:cubicBezTo>
                  <a:cubicBezTo>
                    <a:pt x="389" y="476"/>
                    <a:pt x="389" y="476"/>
                    <a:pt x="389" y="476"/>
                  </a:cubicBezTo>
                  <a:cubicBezTo>
                    <a:pt x="389" y="476"/>
                    <a:pt x="386" y="475"/>
                    <a:pt x="385" y="477"/>
                  </a:cubicBezTo>
                  <a:cubicBezTo>
                    <a:pt x="384" y="480"/>
                    <a:pt x="389" y="483"/>
                    <a:pt x="389" y="483"/>
                  </a:cubicBezTo>
                  <a:cubicBezTo>
                    <a:pt x="392" y="487"/>
                    <a:pt x="392" y="487"/>
                    <a:pt x="392" y="487"/>
                  </a:cubicBezTo>
                  <a:cubicBezTo>
                    <a:pt x="392" y="487"/>
                    <a:pt x="395" y="486"/>
                    <a:pt x="397" y="487"/>
                  </a:cubicBezTo>
                  <a:cubicBezTo>
                    <a:pt x="399" y="487"/>
                    <a:pt x="403" y="491"/>
                    <a:pt x="408" y="494"/>
                  </a:cubicBezTo>
                  <a:cubicBezTo>
                    <a:pt x="413" y="499"/>
                    <a:pt x="423" y="504"/>
                    <a:pt x="423" y="504"/>
                  </a:cubicBezTo>
                  <a:cubicBezTo>
                    <a:pt x="425" y="498"/>
                    <a:pt x="425" y="498"/>
                    <a:pt x="425" y="498"/>
                  </a:cubicBezTo>
                  <a:cubicBezTo>
                    <a:pt x="430" y="498"/>
                    <a:pt x="430" y="498"/>
                    <a:pt x="430" y="498"/>
                  </a:cubicBezTo>
                  <a:cubicBezTo>
                    <a:pt x="430" y="498"/>
                    <a:pt x="428" y="496"/>
                    <a:pt x="429" y="494"/>
                  </a:cubicBezTo>
                  <a:cubicBezTo>
                    <a:pt x="429" y="492"/>
                    <a:pt x="433" y="491"/>
                    <a:pt x="433" y="491"/>
                  </a:cubicBezTo>
                  <a:cubicBezTo>
                    <a:pt x="433" y="496"/>
                    <a:pt x="433" y="496"/>
                    <a:pt x="433" y="496"/>
                  </a:cubicBezTo>
                  <a:cubicBezTo>
                    <a:pt x="439" y="496"/>
                    <a:pt x="439" y="496"/>
                    <a:pt x="439" y="496"/>
                  </a:cubicBezTo>
                  <a:cubicBezTo>
                    <a:pt x="442" y="496"/>
                    <a:pt x="441" y="499"/>
                    <a:pt x="441" y="499"/>
                  </a:cubicBezTo>
                  <a:cubicBezTo>
                    <a:pt x="441" y="505"/>
                    <a:pt x="441" y="505"/>
                    <a:pt x="441" y="505"/>
                  </a:cubicBezTo>
                  <a:cubicBezTo>
                    <a:pt x="441" y="505"/>
                    <a:pt x="449" y="508"/>
                    <a:pt x="451" y="516"/>
                  </a:cubicBezTo>
                  <a:cubicBezTo>
                    <a:pt x="454" y="523"/>
                    <a:pt x="444" y="525"/>
                    <a:pt x="444" y="525"/>
                  </a:cubicBezTo>
                  <a:cubicBezTo>
                    <a:pt x="444" y="525"/>
                    <a:pt x="444" y="531"/>
                    <a:pt x="439" y="534"/>
                  </a:cubicBezTo>
                  <a:cubicBezTo>
                    <a:pt x="435" y="537"/>
                    <a:pt x="433" y="532"/>
                    <a:pt x="429" y="531"/>
                  </a:cubicBezTo>
                  <a:cubicBezTo>
                    <a:pt x="425" y="531"/>
                    <a:pt x="422" y="534"/>
                    <a:pt x="420" y="534"/>
                  </a:cubicBezTo>
                  <a:cubicBezTo>
                    <a:pt x="419" y="534"/>
                    <a:pt x="416" y="534"/>
                    <a:pt x="413" y="533"/>
                  </a:cubicBezTo>
                  <a:cubicBezTo>
                    <a:pt x="409" y="533"/>
                    <a:pt x="412" y="535"/>
                    <a:pt x="404" y="534"/>
                  </a:cubicBezTo>
                  <a:cubicBezTo>
                    <a:pt x="396" y="534"/>
                    <a:pt x="396" y="529"/>
                    <a:pt x="396" y="529"/>
                  </a:cubicBezTo>
                  <a:cubicBezTo>
                    <a:pt x="397" y="524"/>
                    <a:pt x="397" y="524"/>
                    <a:pt x="397" y="524"/>
                  </a:cubicBezTo>
                  <a:cubicBezTo>
                    <a:pt x="388" y="523"/>
                    <a:pt x="388" y="523"/>
                    <a:pt x="388" y="523"/>
                  </a:cubicBezTo>
                  <a:cubicBezTo>
                    <a:pt x="388" y="523"/>
                    <a:pt x="386" y="525"/>
                    <a:pt x="384" y="523"/>
                  </a:cubicBezTo>
                  <a:cubicBezTo>
                    <a:pt x="382" y="522"/>
                    <a:pt x="382" y="520"/>
                    <a:pt x="379" y="518"/>
                  </a:cubicBezTo>
                  <a:cubicBezTo>
                    <a:pt x="374" y="515"/>
                    <a:pt x="370" y="518"/>
                    <a:pt x="370" y="518"/>
                  </a:cubicBezTo>
                  <a:cubicBezTo>
                    <a:pt x="370" y="518"/>
                    <a:pt x="371" y="521"/>
                    <a:pt x="370" y="523"/>
                  </a:cubicBezTo>
                  <a:cubicBezTo>
                    <a:pt x="368" y="525"/>
                    <a:pt x="365" y="525"/>
                    <a:pt x="365" y="525"/>
                  </a:cubicBezTo>
                  <a:cubicBezTo>
                    <a:pt x="364" y="523"/>
                    <a:pt x="364" y="523"/>
                    <a:pt x="364" y="523"/>
                  </a:cubicBezTo>
                  <a:cubicBezTo>
                    <a:pt x="360" y="523"/>
                    <a:pt x="360" y="523"/>
                    <a:pt x="360" y="523"/>
                  </a:cubicBezTo>
                  <a:cubicBezTo>
                    <a:pt x="360" y="525"/>
                    <a:pt x="360" y="525"/>
                    <a:pt x="360" y="525"/>
                  </a:cubicBezTo>
                  <a:cubicBezTo>
                    <a:pt x="355" y="519"/>
                    <a:pt x="355" y="519"/>
                    <a:pt x="355" y="519"/>
                  </a:cubicBezTo>
                  <a:cubicBezTo>
                    <a:pt x="354" y="522"/>
                    <a:pt x="354" y="522"/>
                    <a:pt x="354" y="522"/>
                  </a:cubicBezTo>
                  <a:cubicBezTo>
                    <a:pt x="344" y="516"/>
                    <a:pt x="344" y="516"/>
                    <a:pt x="344" y="516"/>
                  </a:cubicBezTo>
                  <a:cubicBezTo>
                    <a:pt x="344" y="516"/>
                    <a:pt x="347" y="512"/>
                    <a:pt x="346" y="509"/>
                  </a:cubicBezTo>
                  <a:cubicBezTo>
                    <a:pt x="344" y="506"/>
                    <a:pt x="340" y="502"/>
                    <a:pt x="340" y="502"/>
                  </a:cubicBezTo>
                  <a:cubicBezTo>
                    <a:pt x="342" y="498"/>
                    <a:pt x="342" y="498"/>
                    <a:pt x="342" y="498"/>
                  </a:cubicBezTo>
                  <a:cubicBezTo>
                    <a:pt x="339" y="492"/>
                    <a:pt x="339" y="492"/>
                    <a:pt x="339" y="492"/>
                  </a:cubicBezTo>
                  <a:cubicBezTo>
                    <a:pt x="333" y="490"/>
                    <a:pt x="333" y="490"/>
                    <a:pt x="333" y="490"/>
                  </a:cubicBezTo>
                  <a:cubicBezTo>
                    <a:pt x="333" y="490"/>
                    <a:pt x="336" y="487"/>
                    <a:pt x="334" y="483"/>
                  </a:cubicBezTo>
                  <a:cubicBezTo>
                    <a:pt x="331" y="478"/>
                    <a:pt x="314" y="469"/>
                    <a:pt x="314" y="469"/>
                  </a:cubicBezTo>
                  <a:cubicBezTo>
                    <a:pt x="314" y="469"/>
                    <a:pt x="321" y="460"/>
                    <a:pt x="321" y="456"/>
                  </a:cubicBezTo>
                  <a:cubicBezTo>
                    <a:pt x="322" y="451"/>
                    <a:pt x="313" y="439"/>
                    <a:pt x="313" y="439"/>
                  </a:cubicBezTo>
                  <a:cubicBezTo>
                    <a:pt x="313" y="439"/>
                    <a:pt x="315" y="438"/>
                    <a:pt x="315" y="437"/>
                  </a:cubicBezTo>
                  <a:cubicBezTo>
                    <a:pt x="316" y="436"/>
                    <a:pt x="317" y="433"/>
                    <a:pt x="317" y="433"/>
                  </a:cubicBezTo>
                  <a:cubicBezTo>
                    <a:pt x="317" y="433"/>
                    <a:pt x="314" y="434"/>
                    <a:pt x="313" y="434"/>
                  </a:cubicBezTo>
                  <a:cubicBezTo>
                    <a:pt x="310" y="433"/>
                    <a:pt x="311" y="427"/>
                    <a:pt x="311" y="427"/>
                  </a:cubicBezTo>
                  <a:cubicBezTo>
                    <a:pt x="311" y="427"/>
                    <a:pt x="293" y="420"/>
                    <a:pt x="290" y="419"/>
                  </a:cubicBezTo>
                  <a:cubicBezTo>
                    <a:pt x="286" y="418"/>
                    <a:pt x="285" y="421"/>
                    <a:pt x="285" y="421"/>
                  </a:cubicBezTo>
                  <a:cubicBezTo>
                    <a:pt x="285" y="421"/>
                    <a:pt x="274" y="419"/>
                    <a:pt x="271" y="419"/>
                  </a:cubicBezTo>
                  <a:cubicBezTo>
                    <a:pt x="268" y="419"/>
                    <a:pt x="264" y="423"/>
                    <a:pt x="264" y="423"/>
                  </a:cubicBezTo>
                  <a:cubicBezTo>
                    <a:pt x="264" y="420"/>
                    <a:pt x="264" y="420"/>
                    <a:pt x="264" y="420"/>
                  </a:cubicBezTo>
                  <a:cubicBezTo>
                    <a:pt x="275" y="414"/>
                    <a:pt x="275" y="414"/>
                    <a:pt x="275" y="414"/>
                  </a:cubicBezTo>
                  <a:cubicBezTo>
                    <a:pt x="270" y="413"/>
                    <a:pt x="270" y="413"/>
                    <a:pt x="270" y="413"/>
                  </a:cubicBezTo>
                  <a:cubicBezTo>
                    <a:pt x="274" y="411"/>
                    <a:pt x="274" y="411"/>
                    <a:pt x="274" y="411"/>
                  </a:cubicBezTo>
                  <a:cubicBezTo>
                    <a:pt x="274" y="409"/>
                    <a:pt x="274" y="409"/>
                    <a:pt x="274" y="409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72" y="406"/>
                    <a:pt x="272" y="406"/>
                    <a:pt x="272" y="406"/>
                  </a:cubicBezTo>
                  <a:cubicBezTo>
                    <a:pt x="270" y="406"/>
                    <a:pt x="270" y="406"/>
                    <a:pt x="270" y="406"/>
                  </a:cubicBezTo>
                  <a:cubicBezTo>
                    <a:pt x="269" y="410"/>
                    <a:pt x="269" y="410"/>
                    <a:pt x="269" y="410"/>
                  </a:cubicBezTo>
                  <a:cubicBezTo>
                    <a:pt x="262" y="411"/>
                    <a:pt x="262" y="411"/>
                    <a:pt x="262" y="411"/>
                  </a:cubicBezTo>
                  <a:cubicBezTo>
                    <a:pt x="259" y="407"/>
                    <a:pt x="259" y="407"/>
                    <a:pt x="259" y="407"/>
                  </a:cubicBezTo>
                  <a:cubicBezTo>
                    <a:pt x="258" y="410"/>
                    <a:pt x="258" y="410"/>
                    <a:pt x="258" y="410"/>
                  </a:cubicBezTo>
                  <a:cubicBezTo>
                    <a:pt x="254" y="409"/>
                    <a:pt x="254" y="409"/>
                    <a:pt x="254" y="409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56" y="406"/>
                    <a:pt x="249" y="406"/>
                    <a:pt x="249" y="405"/>
                  </a:cubicBezTo>
                  <a:cubicBezTo>
                    <a:pt x="249" y="404"/>
                    <a:pt x="254" y="405"/>
                    <a:pt x="254" y="40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1" y="402"/>
                    <a:pt x="261" y="402"/>
                    <a:pt x="261" y="402"/>
                  </a:cubicBezTo>
                  <a:cubicBezTo>
                    <a:pt x="261" y="399"/>
                    <a:pt x="261" y="399"/>
                    <a:pt x="261" y="399"/>
                  </a:cubicBezTo>
                  <a:cubicBezTo>
                    <a:pt x="251" y="399"/>
                    <a:pt x="251" y="399"/>
                    <a:pt x="251" y="399"/>
                  </a:cubicBezTo>
                  <a:cubicBezTo>
                    <a:pt x="248" y="401"/>
                    <a:pt x="244" y="398"/>
                    <a:pt x="244" y="398"/>
                  </a:cubicBezTo>
                  <a:cubicBezTo>
                    <a:pt x="244" y="397"/>
                    <a:pt x="244" y="397"/>
                    <a:pt x="244" y="397"/>
                  </a:cubicBezTo>
                  <a:cubicBezTo>
                    <a:pt x="244" y="396"/>
                    <a:pt x="244" y="396"/>
                    <a:pt x="244" y="396"/>
                  </a:cubicBezTo>
                  <a:cubicBezTo>
                    <a:pt x="246" y="398"/>
                    <a:pt x="246" y="398"/>
                    <a:pt x="246" y="398"/>
                  </a:cubicBezTo>
                  <a:cubicBezTo>
                    <a:pt x="250" y="396"/>
                    <a:pt x="250" y="396"/>
                    <a:pt x="250" y="396"/>
                  </a:cubicBezTo>
                  <a:cubicBezTo>
                    <a:pt x="241" y="394"/>
                    <a:pt x="241" y="394"/>
                    <a:pt x="241" y="394"/>
                  </a:cubicBezTo>
                  <a:cubicBezTo>
                    <a:pt x="234" y="393"/>
                    <a:pt x="234" y="393"/>
                    <a:pt x="234" y="393"/>
                  </a:cubicBezTo>
                  <a:cubicBezTo>
                    <a:pt x="234" y="393"/>
                    <a:pt x="236" y="386"/>
                    <a:pt x="235" y="383"/>
                  </a:cubicBezTo>
                  <a:cubicBezTo>
                    <a:pt x="235" y="382"/>
                    <a:pt x="226" y="382"/>
                    <a:pt x="226" y="382"/>
                  </a:cubicBezTo>
                  <a:cubicBezTo>
                    <a:pt x="226" y="380"/>
                    <a:pt x="226" y="380"/>
                    <a:pt x="226" y="380"/>
                  </a:cubicBezTo>
                  <a:cubicBezTo>
                    <a:pt x="223" y="379"/>
                    <a:pt x="223" y="379"/>
                    <a:pt x="223" y="379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15" y="380"/>
                    <a:pt x="215" y="380"/>
                    <a:pt x="215" y="380"/>
                  </a:cubicBezTo>
                  <a:cubicBezTo>
                    <a:pt x="221" y="378"/>
                    <a:pt x="221" y="378"/>
                    <a:pt x="221" y="378"/>
                  </a:cubicBezTo>
                  <a:cubicBezTo>
                    <a:pt x="221" y="378"/>
                    <a:pt x="221" y="376"/>
                    <a:pt x="227" y="376"/>
                  </a:cubicBezTo>
                  <a:cubicBezTo>
                    <a:pt x="233" y="375"/>
                    <a:pt x="240" y="377"/>
                    <a:pt x="240" y="377"/>
                  </a:cubicBezTo>
                  <a:cubicBezTo>
                    <a:pt x="239" y="381"/>
                    <a:pt x="239" y="381"/>
                    <a:pt x="239" y="381"/>
                  </a:cubicBezTo>
                  <a:cubicBezTo>
                    <a:pt x="239" y="381"/>
                    <a:pt x="244" y="384"/>
                    <a:pt x="251" y="388"/>
                  </a:cubicBezTo>
                  <a:cubicBezTo>
                    <a:pt x="256" y="391"/>
                    <a:pt x="265" y="393"/>
                    <a:pt x="265" y="393"/>
                  </a:cubicBezTo>
                  <a:cubicBezTo>
                    <a:pt x="262" y="387"/>
                    <a:pt x="262" y="387"/>
                    <a:pt x="262" y="387"/>
                  </a:cubicBezTo>
                  <a:cubicBezTo>
                    <a:pt x="264" y="386"/>
                    <a:pt x="264" y="386"/>
                    <a:pt x="264" y="386"/>
                  </a:cubicBezTo>
                  <a:cubicBezTo>
                    <a:pt x="264" y="386"/>
                    <a:pt x="270" y="391"/>
                    <a:pt x="273" y="392"/>
                  </a:cubicBezTo>
                  <a:cubicBezTo>
                    <a:pt x="276" y="393"/>
                    <a:pt x="279" y="390"/>
                    <a:pt x="279" y="390"/>
                  </a:cubicBezTo>
                  <a:cubicBezTo>
                    <a:pt x="281" y="384"/>
                    <a:pt x="281" y="384"/>
                    <a:pt x="281" y="384"/>
                  </a:cubicBezTo>
                  <a:cubicBezTo>
                    <a:pt x="281" y="390"/>
                    <a:pt x="281" y="390"/>
                    <a:pt x="281" y="390"/>
                  </a:cubicBezTo>
                  <a:cubicBezTo>
                    <a:pt x="288" y="390"/>
                    <a:pt x="288" y="390"/>
                    <a:pt x="288" y="390"/>
                  </a:cubicBezTo>
                  <a:cubicBezTo>
                    <a:pt x="288" y="390"/>
                    <a:pt x="288" y="391"/>
                    <a:pt x="289" y="393"/>
                  </a:cubicBezTo>
                  <a:cubicBezTo>
                    <a:pt x="291" y="395"/>
                    <a:pt x="292" y="395"/>
                    <a:pt x="292" y="395"/>
                  </a:cubicBezTo>
                  <a:cubicBezTo>
                    <a:pt x="297" y="390"/>
                    <a:pt x="297" y="390"/>
                    <a:pt x="297" y="39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304" y="391"/>
                    <a:pt x="311" y="394"/>
                    <a:pt x="311" y="394"/>
                  </a:cubicBezTo>
                  <a:cubicBezTo>
                    <a:pt x="314" y="393"/>
                    <a:pt x="314" y="393"/>
                    <a:pt x="314" y="393"/>
                  </a:cubicBezTo>
                  <a:cubicBezTo>
                    <a:pt x="316" y="395"/>
                    <a:pt x="316" y="395"/>
                    <a:pt x="316" y="395"/>
                  </a:cubicBezTo>
                  <a:cubicBezTo>
                    <a:pt x="335" y="395"/>
                    <a:pt x="335" y="395"/>
                    <a:pt x="335" y="395"/>
                  </a:cubicBezTo>
                  <a:cubicBezTo>
                    <a:pt x="349" y="395"/>
                    <a:pt x="355" y="390"/>
                    <a:pt x="364" y="390"/>
                  </a:cubicBezTo>
                  <a:cubicBezTo>
                    <a:pt x="371" y="390"/>
                    <a:pt x="383" y="395"/>
                    <a:pt x="383" y="395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91" y="393"/>
                    <a:pt x="400" y="392"/>
                  </a:cubicBezTo>
                  <a:cubicBezTo>
                    <a:pt x="408" y="391"/>
                    <a:pt x="413" y="381"/>
                    <a:pt x="413" y="381"/>
                  </a:cubicBezTo>
                  <a:cubicBezTo>
                    <a:pt x="417" y="381"/>
                    <a:pt x="417" y="381"/>
                    <a:pt x="417" y="381"/>
                  </a:cubicBezTo>
                  <a:cubicBezTo>
                    <a:pt x="419" y="381"/>
                    <a:pt x="420" y="377"/>
                    <a:pt x="420" y="377"/>
                  </a:cubicBezTo>
                  <a:cubicBezTo>
                    <a:pt x="420" y="377"/>
                    <a:pt x="428" y="371"/>
                    <a:pt x="430" y="368"/>
                  </a:cubicBezTo>
                  <a:cubicBezTo>
                    <a:pt x="432" y="366"/>
                    <a:pt x="439" y="351"/>
                    <a:pt x="439" y="351"/>
                  </a:cubicBezTo>
                  <a:cubicBezTo>
                    <a:pt x="439" y="351"/>
                    <a:pt x="441" y="351"/>
                    <a:pt x="444" y="349"/>
                  </a:cubicBezTo>
                  <a:cubicBezTo>
                    <a:pt x="445" y="346"/>
                    <a:pt x="444" y="343"/>
                    <a:pt x="444" y="343"/>
                  </a:cubicBezTo>
                  <a:cubicBezTo>
                    <a:pt x="444" y="343"/>
                    <a:pt x="444" y="340"/>
                    <a:pt x="446" y="334"/>
                  </a:cubicBezTo>
                  <a:cubicBezTo>
                    <a:pt x="447" y="329"/>
                    <a:pt x="448" y="304"/>
                    <a:pt x="448" y="304"/>
                  </a:cubicBezTo>
                  <a:cubicBezTo>
                    <a:pt x="444" y="300"/>
                    <a:pt x="444" y="300"/>
                    <a:pt x="444" y="300"/>
                  </a:cubicBezTo>
                  <a:cubicBezTo>
                    <a:pt x="439" y="294"/>
                    <a:pt x="439" y="294"/>
                    <a:pt x="439" y="294"/>
                  </a:cubicBezTo>
                  <a:cubicBezTo>
                    <a:pt x="439" y="294"/>
                    <a:pt x="435" y="295"/>
                    <a:pt x="433" y="294"/>
                  </a:cubicBezTo>
                  <a:cubicBezTo>
                    <a:pt x="430" y="293"/>
                    <a:pt x="428" y="283"/>
                    <a:pt x="428" y="283"/>
                  </a:cubicBezTo>
                  <a:cubicBezTo>
                    <a:pt x="424" y="283"/>
                    <a:pt x="424" y="283"/>
                    <a:pt x="424" y="283"/>
                  </a:cubicBezTo>
                  <a:cubicBezTo>
                    <a:pt x="422" y="278"/>
                    <a:pt x="422" y="278"/>
                    <a:pt x="422" y="278"/>
                  </a:cubicBezTo>
                  <a:cubicBezTo>
                    <a:pt x="423" y="275"/>
                    <a:pt x="423" y="275"/>
                    <a:pt x="423" y="275"/>
                  </a:cubicBezTo>
                  <a:cubicBezTo>
                    <a:pt x="415" y="268"/>
                    <a:pt x="415" y="268"/>
                    <a:pt x="415" y="268"/>
                  </a:cubicBezTo>
                  <a:cubicBezTo>
                    <a:pt x="413" y="270"/>
                    <a:pt x="413" y="270"/>
                    <a:pt x="413" y="270"/>
                  </a:cubicBezTo>
                  <a:cubicBezTo>
                    <a:pt x="407" y="268"/>
                    <a:pt x="407" y="268"/>
                    <a:pt x="407" y="268"/>
                  </a:cubicBezTo>
                  <a:cubicBezTo>
                    <a:pt x="407" y="268"/>
                    <a:pt x="407" y="272"/>
                    <a:pt x="405" y="272"/>
                  </a:cubicBezTo>
                  <a:cubicBezTo>
                    <a:pt x="403" y="272"/>
                    <a:pt x="400" y="269"/>
                    <a:pt x="400" y="269"/>
                  </a:cubicBezTo>
                  <a:cubicBezTo>
                    <a:pt x="399" y="265"/>
                    <a:pt x="399" y="265"/>
                    <a:pt x="399" y="265"/>
                  </a:cubicBezTo>
                  <a:cubicBezTo>
                    <a:pt x="386" y="262"/>
                    <a:pt x="386" y="262"/>
                    <a:pt x="386" y="262"/>
                  </a:cubicBezTo>
                  <a:cubicBezTo>
                    <a:pt x="380" y="256"/>
                    <a:pt x="380" y="256"/>
                    <a:pt x="380" y="256"/>
                  </a:cubicBezTo>
                  <a:cubicBezTo>
                    <a:pt x="379" y="257"/>
                    <a:pt x="379" y="257"/>
                    <a:pt x="379" y="257"/>
                  </a:cubicBezTo>
                  <a:cubicBezTo>
                    <a:pt x="379" y="257"/>
                    <a:pt x="384" y="261"/>
                    <a:pt x="381" y="263"/>
                  </a:cubicBezTo>
                  <a:cubicBezTo>
                    <a:pt x="377" y="264"/>
                    <a:pt x="364" y="257"/>
                    <a:pt x="364" y="257"/>
                  </a:cubicBezTo>
                  <a:cubicBezTo>
                    <a:pt x="363" y="260"/>
                    <a:pt x="363" y="260"/>
                    <a:pt x="363" y="260"/>
                  </a:cubicBezTo>
                  <a:cubicBezTo>
                    <a:pt x="356" y="256"/>
                    <a:pt x="356" y="256"/>
                    <a:pt x="356" y="256"/>
                  </a:cubicBezTo>
                  <a:cubicBezTo>
                    <a:pt x="356" y="256"/>
                    <a:pt x="357" y="254"/>
                    <a:pt x="355" y="254"/>
                  </a:cubicBezTo>
                  <a:cubicBezTo>
                    <a:pt x="353" y="254"/>
                    <a:pt x="347" y="253"/>
                    <a:pt x="347" y="253"/>
                  </a:cubicBezTo>
                  <a:cubicBezTo>
                    <a:pt x="348" y="255"/>
                    <a:pt x="348" y="255"/>
                    <a:pt x="348" y="255"/>
                  </a:cubicBezTo>
                  <a:cubicBezTo>
                    <a:pt x="348" y="255"/>
                    <a:pt x="353" y="257"/>
                    <a:pt x="352" y="259"/>
                  </a:cubicBezTo>
                  <a:cubicBezTo>
                    <a:pt x="352" y="261"/>
                    <a:pt x="344" y="257"/>
                    <a:pt x="344" y="257"/>
                  </a:cubicBezTo>
                  <a:cubicBezTo>
                    <a:pt x="344" y="257"/>
                    <a:pt x="331" y="250"/>
                    <a:pt x="325" y="247"/>
                  </a:cubicBezTo>
                  <a:cubicBezTo>
                    <a:pt x="321" y="244"/>
                    <a:pt x="310" y="241"/>
                    <a:pt x="306" y="240"/>
                  </a:cubicBezTo>
                  <a:cubicBezTo>
                    <a:pt x="302" y="239"/>
                    <a:pt x="295" y="235"/>
                    <a:pt x="289" y="233"/>
                  </a:cubicBezTo>
                  <a:cubicBezTo>
                    <a:pt x="282" y="230"/>
                    <a:pt x="270" y="230"/>
                    <a:pt x="270" y="230"/>
                  </a:cubicBezTo>
                  <a:cubicBezTo>
                    <a:pt x="269" y="230"/>
                    <a:pt x="269" y="230"/>
                    <a:pt x="269" y="230"/>
                  </a:cubicBezTo>
                  <a:cubicBezTo>
                    <a:pt x="269" y="230"/>
                    <a:pt x="266" y="228"/>
                    <a:pt x="265" y="226"/>
                  </a:cubicBezTo>
                  <a:cubicBezTo>
                    <a:pt x="264" y="226"/>
                    <a:pt x="262" y="229"/>
                    <a:pt x="262" y="229"/>
                  </a:cubicBezTo>
                  <a:cubicBezTo>
                    <a:pt x="256" y="229"/>
                    <a:pt x="256" y="229"/>
                    <a:pt x="256" y="229"/>
                  </a:cubicBezTo>
                  <a:cubicBezTo>
                    <a:pt x="256" y="228"/>
                    <a:pt x="256" y="228"/>
                    <a:pt x="256" y="228"/>
                  </a:cubicBezTo>
                  <a:cubicBezTo>
                    <a:pt x="248" y="230"/>
                    <a:pt x="248" y="230"/>
                    <a:pt x="248" y="230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8" y="233"/>
                    <a:pt x="246" y="233"/>
                  </a:cubicBezTo>
                  <a:cubicBezTo>
                    <a:pt x="244" y="233"/>
                    <a:pt x="244" y="235"/>
                    <a:pt x="244" y="235"/>
                  </a:cubicBezTo>
                  <a:cubicBezTo>
                    <a:pt x="244" y="235"/>
                    <a:pt x="242" y="234"/>
                    <a:pt x="240" y="233"/>
                  </a:cubicBezTo>
                  <a:cubicBezTo>
                    <a:pt x="238" y="233"/>
                    <a:pt x="231" y="234"/>
                    <a:pt x="231" y="234"/>
                  </a:cubicBezTo>
                  <a:cubicBezTo>
                    <a:pt x="229" y="232"/>
                    <a:pt x="229" y="232"/>
                    <a:pt x="229" y="232"/>
                  </a:cubicBezTo>
                  <a:cubicBezTo>
                    <a:pt x="217" y="234"/>
                    <a:pt x="217" y="234"/>
                    <a:pt x="217" y="234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7" y="236"/>
                    <a:pt x="211" y="234"/>
                    <a:pt x="210" y="236"/>
                  </a:cubicBezTo>
                  <a:cubicBezTo>
                    <a:pt x="209" y="239"/>
                    <a:pt x="212" y="247"/>
                    <a:pt x="212" y="247"/>
                  </a:cubicBezTo>
                  <a:cubicBezTo>
                    <a:pt x="212" y="247"/>
                    <a:pt x="211" y="250"/>
                    <a:pt x="209" y="251"/>
                  </a:cubicBezTo>
                  <a:cubicBezTo>
                    <a:pt x="208" y="253"/>
                    <a:pt x="205" y="255"/>
                    <a:pt x="203" y="254"/>
                  </a:cubicBezTo>
                  <a:cubicBezTo>
                    <a:pt x="202" y="253"/>
                    <a:pt x="207" y="249"/>
                    <a:pt x="208" y="247"/>
                  </a:cubicBezTo>
                  <a:cubicBezTo>
                    <a:pt x="210" y="246"/>
                    <a:pt x="210" y="244"/>
                    <a:pt x="210" y="244"/>
                  </a:cubicBezTo>
                  <a:cubicBezTo>
                    <a:pt x="206" y="241"/>
                    <a:pt x="206" y="241"/>
                    <a:pt x="206" y="241"/>
                  </a:cubicBezTo>
                  <a:cubicBezTo>
                    <a:pt x="207" y="239"/>
                    <a:pt x="207" y="239"/>
                    <a:pt x="207" y="239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241"/>
                    <a:pt x="208" y="234"/>
                    <a:pt x="205" y="231"/>
                  </a:cubicBezTo>
                  <a:cubicBezTo>
                    <a:pt x="201" y="228"/>
                    <a:pt x="194" y="236"/>
                    <a:pt x="194" y="236"/>
                  </a:cubicBezTo>
                  <a:cubicBezTo>
                    <a:pt x="193" y="240"/>
                    <a:pt x="193" y="240"/>
                    <a:pt x="193" y="240"/>
                  </a:cubicBezTo>
                  <a:cubicBezTo>
                    <a:pt x="190" y="240"/>
                    <a:pt x="190" y="240"/>
                    <a:pt x="190" y="240"/>
                  </a:cubicBezTo>
                  <a:cubicBezTo>
                    <a:pt x="193" y="236"/>
                    <a:pt x="193" y="236"/>
                    <a:pt x="193" y="236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1" y="234"/>
                    <a:pt x="191" y="234"/>
                    <a:pt x="191" y="234"/>
                  </a:cubicBezTo>
                  <a:cubicBezTo>
                    <a:pt x="190" y="232"/>
                    <a:pt x="190" y="232"/>
                    <a:pt x="190" y="232"/>
                  </a:cubicBezTo>
                  <a:cubicBezTo>
                    <a:pt x="186" y="232"/>
                    <a:pt x="186" y="232"/>
                    <a:pt x="186" y="232"/>
                  </a:cubicBezTo>
                  <a:cubicBezTo>
                    <a:pt x="186" y="234"/>
                    <a:pt x="186" y="234"/>
                    <a:pt x="186" y="234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6"/>
                    <a:pt x="182" y="236"/>
                    <a:pt x="182" y="236"/>
                  </a:cubicBezTo>
                  <a:cubicBezTo>
                    <a:pt x="177" y="237"/>
                    <a:pt x="177" y="237"/>
                    <a:pt x="177" y="237"/>
                  </a:cubicBezTo>
                  <a:cubicBezTo>
                    <a:pt x="180" y="231"/>
                    <a:pt x="180" y="231"/>
                    <a:pt x="180" y="231"/>
                  </a:cubicBezTo>
                  <a:cubicBezTo>
                    <a:pt x="178" y="231"/>
                    <a:pt x="178" y="231"/>
                    <a:pt x="178" y="231"/>
                  </a:cubicBezTo>
                  <a:cubicBezTo>
                    <a:pt x="178" y="231"/>
                    <a:pt x="178" y="229"/>
                    <a:pt x="175" y="229"/>
                  </a:cubicBezTo>
                  <a:cubicBezTo>
                    <a:pt x="172" y="229"/>
                    <a:pt x="169" y="232"/>
                    <a:pt x="169" y="232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6" y="226"/>
                    <a:pt x="166" y="226"/>
                    <a:pt x="166" y="226"/>
                  </a:cubicBezTo>
                  <a:cubicBezTo>
                    <a:pt x="168" y="223"/>
                    <a:pt x="168" y="223"/>
                    <a:pt x="168" y="223"/>
                  </a:cubicBezTo>
                  <a:cubicBezTo>
                    <a:pt x="167" y="222"/>
                    <a:pt x="167" y="222"/>
                    <a:pt x="167" y="222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71" y="222"/>
                    <a:pt x="169" y="223"/>
                    <a:pt x="171" y="225"/>
                  </a:cubicBezTo>
                  <a:cubicBezTo>
                    <a:pt x="174" y="228"/>
                    <a:pt x="188" y="225"/>
                    <a:pt x="188" y="225"/>
                  </a:cubicBezTo>
                  <a:cubicBezTo>
                    <a:pt x="188" y="225"/>
                    <a:pt x="190" y="223"/>
                    <a:pt x="190" y="221"/>
                  </a:cubicBezTo>
                  <a:cubicBezTo>
                    <a:pt x="190" y="213"/>
                    <a:pt x="190" y="213"/>
                    <a:pt x="190" y="213"/>
                  </a:cubicBezTo>
                  <a:cubicBezTo>
                    <a:pt x="190" y="213"/>
                    <a:pt x="177" y="215"/>
                    <a:pt x="175" y="213"/>
                  </a:cubicBezTo>
                  <a:cubicBezTo>
                    <a:pt x="173" y="212"/>
                    <a:pt x="161" y="207"/>
                    <a:pt x="159" y="208"/>
                  </a:cubicBezTo>
                  <a:cubicBezTo>
                    <a:pt x="158" y="210"/>
                    <a:pt x="161" y="213"/>
                    <a:pt x="161" y="213"/>
                  </a:cubicBezTo>
                  <a:cubicBezTo>
                    <a:pt x="161" y="215"/>
                    <a:pt x="161" y="215"/>
                    <a:pt x="161" y="215"/>
                  </a:cubicBezTo>
                  <a:cubicBezTo>
                    <a:pt x="161" y="215"/>
                    <a:pt x="167" y="217"/>
                    <a:pt x="166" y="219"/>
                  </a:cubicBezTo>
                  <a:cubicBezTo>
                    <a:pt x="164" y="220"/>
                    <a:pt x="160" y="216"/>
                    <a:pt x="157" y="217"/>
                  </a:cubicBezTo>
                  <a:cubicBezTo>
                    <a:pt x="155" y="219"/>
                    <a:pt x="158" y="224"/>
                    <a:pt x="158" y="224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60" y="225"/>
                    <a:pt x="158" y="226"/>
                    <a:pt x="155" y="228"/>
                  </a:cubicBezTo>
                  <a:cubicBezTo>
                    <a:pt x="153" y="228"/>
                    <a:pt x="153" y="231"/>
                    <a:pt x="153" y="231"/>
                  </a:cubicBezTo>
                  <a:cubicBezTo>
                    <a:pt x="153" y="231"/>
                    <a:pt x="151" y="225"/>
                    <a:pt x="145" y="224"/>
                  </a:cubicBezTo>
                  <a:cubicBezTo>
                    <a:pt x="144" y="224"/>
                    <a:pt x="142" y="224"/>
                    <a:pt x="141" y="225"/>
                  </a:cubicBezTo>
                  <a:cubicBezTo>
                    <a:pt x="141" y="228"/>
                    <a:pt x="141" y="228"/>
                    <a:pt x="141" y="228"/>
                  </a:cubicBezTo>
                  <a:cubicBezTo>
                    <a:pt x="141" y="228"/>
                    <a:pt x="146" y="231"/>
                    <a:pt x="143" y="237"/>
                  </a:cubicBezTo>
                  <a:cubicBezTo>
                    <a:pt x="141" y="244"/>
                    <a:pt x="134" y="236"/>
                    <a:pt x="131" y="236"/>
                  </a:cubicBezTo>
                  <a:cubicBezTo>
                    <a:pt x="129" y="235"/>
                    <a:pt x="125" y="235"/>
                    <a:pt x="125" y="235"/>
                  </a:cubicBezTo>
                  <a:cubicBezTo>
                    <a:pt x="125" y="235"/>
                    <a:pt x="130" y="242"/>
                    <a:pt x="130" y="247"/>
                  </a:cubicBezTo>
                  <a:cubicBezTo>
                    <a:pt x="130" y="251"/>
                    <a:pt x="124" y="249"/>
                    <a:pt x="122" y="250"/>
                  </a:cubicBezTo>
                  <a:cubicBezTo>
                    <a:pt x="121" y="250"/>
                    <a:pt x="122" y="255"/>
                    <a:pt x="119" y="257"/>
                  </a:cubicBezTo>
                  <a:cubicBezTo>
                    <a:pt x="117" y="259"/>
                    <a:pt x="113" y="259"/>
                    <a:pt x="112" y="262"/>
                  </a:cubicBezTo>
                  <a:cubicBezTo>
                    <a:pt x="111" y="265"/>
                    <a:pt x="114" y="264"/>
                    <a:pt x="114" y="264"/>
                  </a:cubicBezTo>
                  <a:cubicBezTo>
                    <a:pt x="114" y="264"/>
                    <a:pt x="115" y="278"/>
                    <a:pt x="112" y="280"/>
                  </a:cubicBezTo>
                  <a:cubicBezTo>
                    <a:pt x="110" y="282"/>
                    <a:pt x="106" y="278"/>
                    <a:pt x="106" y="278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108" y="291"/>
                    <a:pt x="108" y="291"/>
                    <a:pt x="108" y="291"/>
                  </a:cubicBezTo>
                  <a:cubicBezTo>
                    <a:pt x="105" y="311"/>
                    <a:pt x="105" y="311"/>
                    <a:pt x="105" y="311"/>
                  </a:cubicBezTo>
                  <a:cubicBezTo>
                    <a:pt x="114" y="334"/>
                    <a:pt x="114" y="334"/>
                    <a:pt x="114" y="334"/>
                  </a:cubicBezTo>
                  <a:cubicBezTo>
                    <a:pt x="135" y="338"/>
                    <a:pt x="135" y="338"/>
                    <a:pt x="135" y="338"/>
                  </a:cubicBezTo>
                  <a:cubicBezTo>
                    <a:pt x="147" y="354"/>
                    <a:pt x="147" y="354"/>
                    <a:pt x="147" y="354"/>
                  </a:cubicBezTo>
                  <a:cubicBezTo>
                    <a:pt x="147" y="354"/>
                    <a:pt x="159" y="354"/>
                    <a:pt x="160" y="363"/>
                  </a:cubicBezTo>
                  <a:cubicBezTo>
                    <a:pt x="161" y="373"/>
                    <a:pt x="146" y="408"/>
                    <a:pt x="146" y="408"/>
                  </a:cubicBezTo>
                  <a:cubicBezTo>
                    <a:pt x="146" y="408"/>
                    <a:pt x="157" y="425"/>
                    <a:pt x="163" y="429"/>
                  </a:cubicBezTo>
                  <a:cubicBezTo>
                    <a:pt x="171" y="435"/>
                    <a:pt x="170" y="444"/>
                    <a:pt x="173" y="446"/>
                  </a:cubicBezTo>
                  <a:cubicBezTo>
                    <a:pt x="173" y="446"/>
                    <a:pt x="186" y="453"/>
                    <a:pt x="190" y="461"/>
                  </a:cubicBezTo>
                  <a:cubicBezTo>
                    <a:pt x="195" y="470"/>
                    <a:pt x="197" y="480"/>
                    <a:pt x="197" y="480"/>
                  </a:cubicBezTo>
                  <a:cubicBezTo>
                    <a:pt x="186" y="486"/>
                    <a:pt x="186" y="486"/>
                    <a:pt x="186" y="486"/>
                  </a:cubicBezTo>
                  <a:cubicBezTo>
                    <a:pt x="193" y="488"/>
                    <a:pt x="193" y="488"/>
                    <a:pt x="193" y="488"/>
                  </a:cubicBezTo>
                  <a:cubicBezTo>
                    <a:pt x="189" y="493"/>
                    <a:pt x="189" y="493"/>
                    <a:pt x="189" y="493"/>
                  </a:cubicBezTo>
                  <a:cubicBezTo>
                    <a:pt x="192" y="502"/>
                    <a:pt x="192" y="502"/>
                    <a:pt x="192" y="502"/>
                  </a:cubicBezTo>
                  <a:cubicBezTo>
                    <a:pt x="189" y="514"/>
                    <a:pt x="189" y="514"/>
                    <a:pt x="189" y="514"/>
                  </a:cubicBezTo>
                  <a:cubicBezTo>
                    <a:pt x="200" y="512"/>
                    <a:pt x="200" y="512"/>
                    <a:pt x="200" y="512"/>
                  </a:cubicBezTo>
                  <a:cubicBezTo>
                    <a:pt x="201" y="517"/>
                    <a:pt x="201" y="517"/>
                    <a:pt x="201" y="517"/>
                  </a:cubicBezTo>
                  <a:cubicBezTo>
                    <a:pt x="194" y="522"/>
                    <a:pt x="194" y="522"/>
                    <a:pt x="194" y="522"/>
                  </a:cubicBezTo>
                  <a:cubicBezTo>
                    <a:pt x="201" y="538"/>
                    <a:pt x="201" y="538"/>
                    <a:pt x="201" y="538"/>
                  </a:cubicBezTo>
                  <a:cubicBezTo>
                    <a:pt x="211" y="533"/>
                    <a:pt x="211" y="533"/>
                    <a:pt x="211" y="533"/>
                  </a:cubicBezTo>
                  <a:cubicBezTo>
                    <a:pt x="216" y="541"/>
                    <a:pt x="216" y="541"/>
                    <a:pt x="216" y="541"/>
                  </a:cubicBezTo>
                  <a:cubicBezTo>
                    <a:pt x="216" y="541"/>
                    <a:pt x="210" y="547"/>
                    <a:pt x="217" y="556"/>
                  </a:cubicBezTo>
                  <a:cubicBezTo>
                    <a:pt x="222" y="565"/>
                    <a:pt x="232" y="559"/>
                    <a:pt x="236" y="567"/>
                  </a:cubicBezTo>
                  <a:cubicBezTo>
                    <a:pt x="240" y="576"/>
                    <a:pt x="235" y="591"/>
                    <a:pt x="235" y="591"/>
                  </a:cubicBezTo>
                  <a:cubicBezTo>
                    <a:pt x="236" y="595"/>
                    <a:pt x="236" y="595"/>
                    <a:pt x="236" y="595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48" y="615"/>
                    <a:pt x="248" y="615"/>
                    <a:pt x="248" y="615"/>
                  </a:cubicBezTo>
                  <a:cubicBezTo>
                    <a:pt x="259" y="617"/>
                    <a:pt x="259" y="617"/>
                    <a:pt x="259" y="617"/>
                  </a:cubicBezTo>
                  <a:cubicBezTo>
                    <a:pt x="275" y="625"/>
                    <a:pt x="275" y="625"/>
                    <a:pt x="275" y="625"/>
                  </a:cubicBezTo>
                  <a:cubicBezTo>
                    <a:pt x="278" y="633"/>
                    <a:pt x="278" y="633"/>
                    <a:pt x="278" y="633"/>
                  </a:cubicBezTo>
                  <a:cubicBezTo>
                    <a:pt x="278" y="633"/>
                    <a:pt x="290" y="633"/>
                    <a:pt x="291" y="639"/>
                  </a:cubicBezTo>
                  <a:cubicBezTo>
                    <a:pt x="291" y="645"/>
                    <a:pt x="289" y="669"/>
                    <a:pt x="287" y="673"/>
                  </a:cubicBezTo>
                  <a:cubicBezTo>
                    <a:pt x="284" y="681"/>
                    <a:pt x="284" y="681"/>
                    <a:pt x="284" y="681"/>
                  </a:cubicBezTo>
                  <a:cubicBezTo>
                    <a:pt x="284" y="681"/>
                    <a:pt x="275" y="694"/>
                    <a:pt x="272" y="706"/>
                  </a:cubicBezTo>
                  <a:cubicBezTo>
                    <a:pt x="269" y="717"/>
                    <a:pt x="261" y="737"/>
                    <a:pt x="258" y="742"/>
                  </a:cubicBezTo>
                  <a:cubicBezTo>
                    <a:pt x="255" y="748"/>
                    <a:pt x="250" y="761"/>
                    <a:pt x="250" y="761"/>
                  </a:cubicBezTo>
                  <a:cubicBezTo>
                    <a:pt x="237" y="775"/>
                    <a:pt x="237" y="775"/>
                    <a:pt x="237" y="775"/>
                  </a:cubicBezTo>
                  <a:cubicBezTo>
                    <a:pt x="236" y="784"/>
                    <a:pt x="236" y="784"/>
                    <a:pt x="236" y="784"/>
                  </a:cubicBezTo>
                  <a:cubicBezTo>
                    <a:pt x="232" y="787"/>
                    <a:pt x="232" y="787"/>
                    <a:pt x="232" y="787"/>
                  </a:cubicBezTo>
                  <a:cubicBezTo>
                    <a:pt x="221" y="802"/>
                    <a:pt x="221" y="802"/>
                    <a:pt x="221" y="802"/>
                  </a:cubicBezTo>
                  <a:cubicBezTo>
                    <a:pt x="213" y="818"/>
                    <a:pt x="213" y="818"/>
                    <a:pt x="213" y="818"/>
                  </a:cubicBezTo>
                  <a:cubicBezTo>
                    <a:pt x="213" y="819"/>
                    <a:pt x="213" y="819"/>
                    <a:pt x="213" y="819"/>
                  </a:cubicBezTo>
                  <a:cubicBezTo>
                    <a:pt x="216" y="820"/>
                    <a:pt x="216" y="820"/>
                    <a:pt x="216" y="820"/>
                  </a:cubicBezTo>
                  <a:cubicBezTo>
                    <a:pt x="225" y="818"/>
                    <a:pt x="225" y="818"/>
                    <a:pt x="225" y="818"/>
                  </a:cubicBezTo>
                  <a:cubicBezTo>
                    <a:pt x="231" y="809"/>
                    <a:pt x="231" y="809"/>
                    <a:pt x="231" y="809"/>
                  </a:cubicBezTo>
                  <a:cubicBezTo>
                    <a:pt x="235" y="805"/>
                    <a:pt x="235" y="805"/>
                    <a:pt x="235" y="805"/>
                  </a:cubicBezTo>
                  <a:cubicBezTo>
                    <a:pt x="235" y="805"/>
                    <a:pt x="236" y="800"/>
                    <a:pt x="238" y="801"/>
                  </a:cubicBezTo>
                  <a:cubicBezTo>
                    <a:pt x="241" y="802"/>
                    <a:pt x="239" y="805"/>
                    <a:pt x="239" y="805"/>
                  </a:cubicBezTo>
                  <a:cubicBezTo>
                    <a:pt x="242" y="819"/>
                    <a:pt x="242" y="819"/>
                    <a:pt x="242" y="819"/>
                  </a:cubicBezTo>
                  <a:cubicBezTo>
                    <a:pt x="235" y="814"/>
                    <a:pt x="235" y="814"/>
                    <a:pt x="235" y="814"/>
                  </a:cubicBezTo>
                  <a:cubicBezTo>
                    <a:pt x="234" y="815"/>
                    <a:pt x="234" y="815"/>
                    <a:pt x="234" y="815"/>
                  </a:cubicBezTo>
                  <a:cubicBezTo>
                    <a:pt x="241" y="823"/>
                    <a:pt x="241" y="823"/>
                    <a:pt x="241" y="823"/>
                  </a:cubicBezTo>
                  <a:cubicBezTo>
                    <a:pt x="246" y="825"/>
                    <a:pt x="246" y="825"/>
                    <a:pt x="246" y="825"/>
                  </a:cubicBezTo>
                  <a:cubicBezTo>
                    <a:pt x="256" y="833"/>
                    <a:pt x="256" y="833"/>
                    <a:pt x="256" y="833"/>
                  </a:cubicBezTo>
                  <a:cubicBezTo>
                    <a:pt x="256" y="833"/>
                    <a:pt x="260" y="835"/>
                    <a:pt x="269" y="832"/>
                  </a:cubicBezTo>
                  <a:cubicBezTo>
                    <a:pt x="276" y="828"/>
                    <a:pt x="281" y="823"/>
                    <a:pt x="286" y="827"/>
                  </a:cubicBezTo>
                  <a:cubicBezTo>
                    <a:pt x="291" y="831"/>
                    <a:pt x="292" y="835"/>
                    <a:pt x="292" y="835"/>
                  </a:cubicBezTo>
                  <a:cubicBezTo>
                    <a:pt x="301" y="836"/>
                    <a:pt x="301" y="836"/>
                    <a:pt x="301" y="836"/>
                  </a:cubicBezTo>
                  <a:cubicBezTo>
                    <a:pt x="299" y="844"/>
                    <a:pt x="299" y="844"/>
                    <a:pt x="299" y="844"/>
                  </a:cubicBezTo>
                  <a:cubicBezTo>
                    <a:pt x="267" y="841"/>
                    <a:pt x="267" y="841"/>
                    <a:pt x="267" y="841"/>
                  </a:cubicBezTo>
                  <a:cubicBezTo>
                    <a:pt x="261" y="847"/>
                    <a:pt x="261" y="847"/>
                    <a:pt x="261" y="847"/>
                  </a:cubicBezTo>
                  <a:cubicBezTo>
                    <a:pt x="261" y="847"/>
                    <a:pt x="270" y="853"/>
                    <a:pt x="262" y="856"/>
                  </a:cubicBezTo>
                  <a:cubicBezTo>
                    <a:pt x="255" y="860"/>
                    <a:pt x="249" y="856"/>
                    <a:pt x="249" y="856"/>
                  </a:cubicBezTo>
                  <a:cubicBezTo>
                    <a:pt x="243" y="860"/>
                    <a:pt x="243" y="860"/>
                    <a:pt x="243" y="860"/>
                  </a:cubicBezTo>
                  <a:cubicBezTo>
                    <a:pt x="243" y="860"/>
                    <a:pt x="251" y="866"/>
                    <a:pt x="245" y="868"/>
                  </a:cubicBezTo>
                  <a:cubicBezTo>
                    <a:pt x="240" y="869"/>
                    <a:pt x="236" y="862"/>
                    <a:pt x="236" y="862"/>
                  </a:cubicBezTo>
                  <a:cubicBezTo>
                    <a:pt x="234" y="865"/>
                    <a:pt x="234" y="865"/>
                    <a:pt x="234" y="865"/>
                  </a:cubicBezTo>
                  <a:cubicBezTo>
                    <a:pt x="234" y="870"/>
                    <a:pt x="234" y="870"/>
                    <a:pt x="234" y="870"/>
                  </a:cubicBezTo>
                  <a:cubicBezTo>
                    <a:pt x="239" y="876"/>
                    <a:pt x="239" y="876"/>
                    <a:pt x="239" y="876"/>
                  </a:cubicBezTo>
                  <a:cubicBezTo>
                    <a:pt x="238" y="883"/>
                    <a:pt x="238" y="883"/>
                    <a:pt x="238" y="883"/>
                  </a:cubicBezTo>
                  <a:cubicBezTo>
                    <a:pt x="244" y="888"/>
                    <a:pt x="244" y="888"/>
                    <a:pt x="244" y="888"/>
                  </a:cubicBezTo>
                  <a:cubicBezTo>
                    <a:pt x="244" y="888"/>
                    <a:pt x="238" y="892"/>
                    <a:pt x="238" y="894"/>
                  </a:cubicBezTo>
                  <a:cubicBezTo>
                    <a:pt x="238" y="895"/>
                    <a:pt x="240" y="897"/>
                    <a:pt x="240" y="897"/>
                  </a:cubicBezTo>
                  <a:cubicBezTo>
                    <a:pt x="237" y="913"/>
                    <a:pt x="237" y="913"/>
                    <a:pt x="237" y="913"/>
                  </a:cubicBezTo>
                  <a:cubicBezTo>
                    <a:pt x="237" y="913"/>
                    <a:pt x="233" y="923"/>
                    <a:pt x="232" y="925"/>
                  </a:cubicBezTo>
                  <a:cubicBezTo>
                    <a:pt x="229" y="927"/>
                    <a:pt x="226" y="930"/>
                    <a:pt x="226" y="930"/>
                  </a:cubicBezTo>
                  <a:cubicBezTo>
                    <a:pt x="226" y="930"/>
                    <a:pt x="232" y="942"/>
                    <a:pt x="235" y="948"/>
                  </a:cubicBezTo>
                  <a:cubicBezTo>
                    <a:pt x="238" y="955"/>
                    <a:pt x="239" y="965"/>
                    <a:pt x="239" y="965"/>
                  </a:cubicBezTo>
                  <a:cubicBezTo>
                    <a:pt x="239" y="965"/>
                    <a:pt x="244" y="969"/>
                    <a:pt x="244" y="972"/>
                  </a:cubicBezTo>
                  <a:cubicBezTo>
                    <a:pt x="245" y="976"/>
                    <a:pt x="245" y="979"/>
                    <a:pt x="245" y="979"/>
                  </a:cubicBezTo>
                  <a:cubicBezTo>
                    <a:pt x="245" y="979"/>
                    <a:pt x="255" y="985"/>
                    <a:pt x="255" y="987"/>
                  </a:cubicBezTo>
                  <a:cubicBezTo>
                    <a:pt x="254" y="989"/>
                    <a:pt x="245" y="991"/>
                    <a:pt x="245" y="991"/>
                  </a:cubicBezTo>
                  <a:cubicBezTo>
                    <a:pt x="245" y="991"/>
                    <a:pt x="248" y="995"/>
                    <a:pt x="248" y="997"/>
                  </a:cubicBezTo>
                  <a:cubicBezTo>
                    <a:pt x="246" y="1000"/>
                    <a:pt x="243" y="1000"/>
                    <a:pt x="243" y="1000"/>
                  </a:cubicBezTo>
                  <a:cubicBezTo>
                    <a:pt x="242" y="1006"/>
                    <a:pt x="242" y="1006"/>
                    <a:pt x="242" y="1006"/>
                  </a:cubicBezTo>
                  <a:cubicBezTo>
                    <a:pt x="243" y="1010"/>
                    <a:pt x="243" y="1010"/>
                    <a:pt x="243" y="1010"/>
                  </a:cubicBezTo>
                  <a:cubicBezTo>
                    <a:pt x="246" y="1009"/>
                    <a:pt x="250" y="1009"/>
                    <a:pt x="250" y="1009"/>
                  </a:cubicBezTo>
                  <a:cubicBezTo>
                    <a:pt x="252" y="1016"/>
                    <a:pt x="252" y="1016"/>
                    <a:pt x="252" y="1016"/>
                  </a:cubicBezTo>
                  <a:cubicBezTo>
                    <a:pt x="252" y="1016"/>
                    <a:pt x="259" y="1017"/>
                    <a:pt x="261" y="1018"/>
                  </a:cubicBezTo>
                  <a:cubicBezTo>
                    <a:pt x="264" y="1019"/>
                    <a:pt x="267" y="1022"/>
                    <a:pt x="267" y="1022"/>
                  </a:cubicBezTo>
                  <a:cubicBezTo>
                    <a:pt x="267" y="1033"/>
                    <a:pt x="267" y="1033"/>
                    <a:pt x="267" y="1033"/>
                  </a:cubicBezTo>
                  <a:cubicBezTo>
                    <a:pt x="264" y="1037"/>
                    <a:pt x="264" y="1037"/>
                    <a:pt x="264" y="1037"/>
                  </a:cubicBezTo>
                  <a:cubicBezTo>
                    <a:pt x="266" y="1041"/>
                    <a:pt x="266" y="1041"/>
                    <a:pt x="266" y="1041"/>
                  </a:cubicBezTo>
                  <a:cubicBezTo>
                    <a:pt x="264" y="1052"/>
                    <a:pt x="264" y="1052"/>
                    <a:pt x="264" y="1052"/>
                  </a:cubicBezTo>
                  <a:cubicBezTo>
                    <a:pt x="264" y="1052"/>
                    <a:pt x="269" y="1049"/>
                    <a:pt x="272" y="1049"/>
                  </a:cubicBezTo>
                  <a:cubicBezTo>
                    <a:pt x="274" y="1049"/>
                    <a:pt x="276" y="1052"/>
                    <a:pt x="276" y="1052"/>
                  </a:cubicBezTo>
                  <a:cubicBezTo>
                    <a:pt x="274" y="1057"/>
                    <a:pt x="274" y="1057"/>
                    <a:pt x="274" y="1057"/>
                  </a:cubicBezTo>
                  <a:cubicBezTo>
                    <a:pt x="282" y="1059"/>
                    <a:pt x="282" y="1059"/>
                    <a:pt x="282" y="1059"/>
                  </a:cubicBezTo>
                  <a:cubicBezTo>
                    <a:pt x="283" y="1064"/>
                    <a:pt x="283" y="1064"/>
                    <a:pt x="283" y="1064"/>
                  </a:cubicBezTo>
                  <a:cubicBezTo>
                    <a:pt x="286" y="1065"/>
                    <a:pt x="286" y="1065"/>
                    <a:pt x="286" y="1065"/>
                  </a:cubicBezTo>
                  <a:cubicBezTo>
                    <a:pt x="289" y="1074"/>
                    <a:pt x="289" y="1074"/>
                    <a:pt x="289" y="1074"/>
                  </a:cubicBezTo>
                  <a:cubicBezTo>
                    <a:pt x="291" y="1080"/>
                    <a:pt x="291" y="1080"/>
                    <a:pt x="291" y="1080"/>
                  </a:cubicBezTo>
                  <a:cubicBezTo>
                    <a:pt x="293" y="1081"/>
                    <a:pt x="293" y="1081"/>
                    <a:pt x="293" y="1081"/>
                  </a:cubicBezTo>
                  <a:cubicBezTo>
                    <a:pt x="293" y="1081"/>
                    <a:pt x="294" y="1088"/>
                    <a:pt x="292" y="1092"/>
                  </a:cubicBezTo>
                  <a:cubicBezTo>
                    <a:pt x="291" y="1092"/>
                    <a:pt x="291" y="1092"/>
                    <a:pt x="291" y="1093"/>
                  </a:cubicBezTo>
                  <a:cubicBezTo>
                    <a:pt x="293" y="1093"/>
                    <a:pt x="295" y="1095"/>
                    <a:pt x="298" y="1095"/>
                  </a:cubicBezTo>
                  <a:cubicBezTo>
                    <a:pt x="301" y="1095"/>
                    <a:pt x="307" y="1090"/>
                    <a:pt x="313" y="1091"/>
                  </a:cubicBezTo>
                  <a:cubicBezTo>
                    <a:pt x="318" y="1092"/>
                    <a:pt x="310" y="1100"/>
                    <a:pt x="317" y="1101"/>
                  </a:cubicBezTo>
                  <a:cubicBezTo>
                    <a:pt x="322" y="1102"/>
                    <a:pt x="321" y="1096"/>
                    <a:pt x="323" y="1095"/>
                  </a:cubicBezTo>
                  <a:cubicBezTo>
                    <a:pt x="324" y="1092"/>
                    <a:pt x="338" y="1090"/>
                    <a:pt x="343" y="1095"/>
                  </a:cubicBezTo>
                  <a:cubicBezTo>
                    <a:pt x="349" y="1099"/>
                    <a:pt x="337" y="1108"/>
                    <a:pt x="348" y="1110"/>
                  </a:cubicBezTo>
                  <a:cubicBezTo>
                    <a:pt x="357" y="1110"/>
                    <a:pt x="351" y="1102"/>
                    <a:pt x="351" y="1102"/>
                  </a:cubicBezTo>
                  <a:cubicBezTo>
                    <a:pt x="351" y="1102"/>
                    <a:pt x="357" y="1100"/>
                    <a:pt x="365" y="1097"/>
                  </a:cubicBezTo>
                  <a:cubicBezTo>
                    <a:pt x="371" y="1093"/>
                    <a:pt x="379" y="1093"/>
                    <a:pt x="384" y="1098"/>
                  </a:cubicBezTo>
                  <a:cubicBezTo>
                    <a:pt x="390" y="1101"/>
                    <a:pt x="396" y="1098"/>
                    <a:pt x="402" y="1104"/>
                  </a:cubicBezTo>
                  <a:cubicBezTo>
                    <a:pt x="409" y="1111"/>
                    <a:pt x="401" y="1120"/>
                    <a:pt x="401" y="1120"/>
                  </a:cubicBezTo>
                  <a:cubicBezTo>
                    <a:pt x="413" y="1136"/>
                    <a:pt x="413" y="1136"/>
                    <a:pt x="413" y="1136"/>
                  </a:cubicBezTo>
                  <a:cubicBezTo>
                    <a:pt x="411" y="1154"/>
                    <a:pt x="411" y="1154"/>
                    <a:pt x="411" y="1154"/>
                  </a:cubicBezTo>
                  <a:cubicBezTo>
                    <a:pt x="411" y="1154"/>
                    <a:pt x="422" y="1156"/>
                    <a:pt x="429" y="1160"/>
                  </a:cubicBezTo>
                  <a:cubicBezTo>
                    <a:pt x="435" y="1163"/>
                    <a:pt x="426" y="1170"/>
                    <a:pt x="426" y="1170"/>
                  </a:cubicBezTo>
                  <a:cubicBezTo>
                    <a:pt x="434" y="1172"/>
                    <a:pt x="434" y="1172"/>
                    <a:pt x="434" y="1172"/>
                  </a:cubicBezTo>
                  <a:cubicBezTo>
                    <a:pt x="434" y="1172"/>
                    <a:pt x="435" y="1177"/>
                    <a:pt x="437" y="1181"/>
                  </a:cubicBezTo>
                  <a:cubicBezTo>
                    <a:pt x="438" y="1185"/>
                    <a:pt x="456" y="1186"/>
                    <a:pt x="456" y="1186"/>
                  </a:cubicBezTo>
                  <a:cubicBezTo>
                    <a:pt x="456" y="1186"/>
                    <a:pt x="462" y="1187"/>
                    <a:pt x="465" y="1191"/>
                  </a:cubicBezTo>
                  <a:cubicBezTo>
                    <a:pt x="468" y="1194"/>
                    <a:pt x="466" y="1207"/>
                    <a:pt x="466" y="1207"/>
                  </a:cubicBezTo>
                  <a:cubicBezTo>
                    <a:pt x="479" y="1203"/>
                    <a:pt x="479" y="1203"/>
                    <a:pt x="479" y="1203"/>
                  </a:cubicBezTo>
                  <a:cubicBezTo>
                    <a:pt x="495" y="1205"/>
                    <a:pt x="495" y="1205"/>
                    <a:pt x="495" y="1205"/>
                  </a:cubicBezTo>
                  <a:cubicBezTo>
                    <a:pt x="490" y="1212"/>
                    <a:pt x="490" y="1212"/>
                    <a:pt x="490" y="1212"/>
                  </a:cubicBezTo>
                  <a:cubicBezTo>
                    <a:pt x="510" y="1221"/>
                    <a:pt x="510" y="1221"/>
                    <a:pt x="510" y="1221"/>
                  </a:cubicBezTo>
                  <a:cubicBezTo>
                    <a:pt x="511" y="1226"/>
                    <a:pt x="511" y="1226"/>
                    <a:pt x="511" y="1226"/>
                  </a:cubicBezTo>
                  <a:cubicBezTo>
                    <a:pt x="500" y="1230"/>
                    <a:pt x="500" y="1230"/>
                    <a:pt x="500" y="1230"/>
                  </a:cubicBezTo>
                  <a:cubicBezTo>
                    <a:pt x="502" y="1235"/>
                    <a:pt x="502" y="1235"/>
                    <a:pt x="502" y="1235"/>
                  </a:cubicBezTo>
                  <a:cubicBezTo>
                    <a:pt x="502" y="1235"/>
                    <a:pt x="499" y="1243"/>
                    <a:pt x="490" y="1247"/>
                  </a:cubicBezTo>
                  <a:cubicBezTo>
                    <a:pt x="481" y="1253"/>
                    <a:pt x="472" y="1245"/>
                    <a:pt x="472" y="1245"/>
                  </a:cubicBezTo>
                  <a:cubicBezTo>
                    <a:pt x="461" y="1248"/>
                    <a:pt x="461" y="1248"/>
                    <a:pt x="461" y="1248"/>
                  </a:cubicBezTo>
                  <a:cubicBezTo>
                    <a:pt x="462" y="1256"/>
                    <a:pt x="462" y="1256"/>
                    <a:pt x="462" y="1256"/>
                  </a:cubicBezTo>
                  <a:cubicBezTo>
                    <a:pt x="459" y="1263"/>
                    <a:pt x="459" y="1263"/>
                    <a:pt x="459" y="1263"/>
                  </a:cubicBezTo>
                  <a:cubicBezTo>
                    <a:pt x="459" y="1263"/>
                    <a:pt x="467" y="1265"/>
                    <a:pt x="472" y="1270"/>
                  </a:cubicBezTo>
                  <a:cubicBezTo>
                    <a:pt x="479" y="1275"/>
                    <a:pt x="477" y="1281"/>
                    <a:pt x="477" y="1281"/>
                  </a:cubicBezTo>
                  <a:cubicBezTo>
                    <a:pt x="477" y="1281"/>
                    <a:pt x="479" y="1282"/>
                    <a:pt x="481" y="1286"/>
                  </a:cubicBezTo>
                  <a:cubicBezTo>
                    <a:pt x="484" y="1290"/>
                    <a:pt x="485" y="1302"/>
                    <a:pt x="485" y="1302"/>
                  </a:cubicBezTo>
                  <a:cubicBezTo>
                    <a:pt x="489" y="1305"/>
                    <a:pt x="489" y="1305"/>
                    <a:pt x="489" y="1305"/>
                  </a:cubicBezTo>
                  <a:cubicBezTo>
                    <a:pt x="493" y="1305"/>
                    <a:pt x="500" y="1306"/>
                    <a:pt x="503" y="1303"/>
                  </a:cubicBezTo>
                  <a:cubicBezTo>
                    <a:pt x="508" y="1300"/>
                    <a:pt x="507" y="1285"/>
                    <a:pt x="507" y="1285"/>
                  </a:cubicBezTo>
                  <a:cubicBezTo>
                    <a:pt x="526" y="1285"/>
                    <a:pt x="526" y="1285"/>
                    <a:pt x="526" y="1285"/>
                  </a:cubicBezTo>
                  <a:cubicBezTo>
                    <a:pt x="529" y="1285"/>
                    <a:pt x="529" y="1285"/>
                    <a:pt x="529" y="1285"/>
                  </a:cubicBezTo>
                  <a:cubicBezTo>
                    <a:pt x="533" y="1284"/>
                    <a:pt x="539" y="1272"/>
                    <a:pt x="539" y="1272"/>
                  </a:cubicBezTo>
                  <a:cubicBezTo>
                    <a:pt x="552" y="1272"/>
                    <a:pt x="552" y="1272"/>
                    <a:pt x="552" y="1272"/>
                  </a:cubicBezTo>
                  <a:cubicBezTo>
                    <a:pt x="552" y="1272"/>
                    <a:pt x="552" y="1266"/>
                    <a:pt x="560" y="1265"/>
                  </a:cubicBezTo>
                  <a:cubicBezTo>
                    <a:pt x="568" y="1265"/>
                    <a:pt x="567" y="1271"/>
                    <a:pt x="567" y="1271"/>
                  </a:cubicBezTo>
                  <a:cubicBezTo>
                    <a:pt x="576" y="1272"/>
                    <a:pt x="576" y="1272"/>
                    <a:pt x="576" y="1272"/>
                  </a:cubicBezTo>
                  <a:cubicBezTo>
                    <a:pt x="576" y="1272"/>
                    <a:pt x="576" y="1279"/>
                    <a:pt x="580" y="1285"/>
                  </a:cubicBezTo>
                  <a:cubicBezTo>
                    <a:pt x="584" y="1290"/>
                    <a:pt x="596" y="1291"/>
                    <a:pt x="599" y="1295"/>
                  </a:cubicBezTo>
                  <a:cubicBezTo>
                    <a:pt x="602" y="1301"/>
                    <a:pt x="584" y="1305"/>
                    <a:pt x="584" y="1305"/>
                  </a:cubicBezTo>
                  <a:cubicBezTo>
                    <a:pt x="584" y="1305"/>
                    <a:pt x="587" y="1306"/>
                    <a:pt x="592" y="1310"/>
                  </a:cubicBezTo>
                  <a:cubicBezTo>
                    <a:pt x="597" y="1313"/>
                    <a:pt x="595" y="1321"/>
                    <a:pt x="595" y="1321"/>
                  </a:cubicBezTo>
                  <a:cubicBezTo>
                    <a:pt x="600" y="1321"/>
                    <a:pt x="600" y="1321"/>
                    <a:pt x="600" y="1321"/>
                  </a:cubicBezTo>
                  <a:cubicBezTo>
                    <a:pt x="599" y="1328"/>
                    <a:pt x="599" y="1328"/>
                    <a:pt x="599" y="1328"/>
                  </a:cubicBezTo>
                  <a:cubicBezTo>
                    <a:pt x="613" y="1325"/>
                    <a:pt x="613" y="1325"/>
                    <a:pt x="613" y="1325"/>
                  </a:cubicBezTo>
                  <a:cubicBezTo>
                    <a:pt x="619" y="1329"/>
                    <a:pt x="619" y="1329"/>
                    <a:pt x="619" y="1329"/>
                  </a:cubicBezTo>
                  <a:cubicBezTo>
                    <a:pt x="619" y="1329"/>
                    <a:pt x="629" y="1319"/>
                    <a:pt x="634" y="1319"/>
                  </a:cubicBezTo>
                  <a:cubicBezTo>
                    <a:pt x="639" y="1319"/>
                    <a:pt x="639" y="1328"/>
                    <a:pt x="639" y="1328"/>
                  </a:cubicBezTo>
                  <a:cubicBezTo>
                    <a:pt x="645" y="1324"/>
                    <a:pt x="645" y="1324"/>
                    <a:pt x="645" y="1324"/>
                  </a:cubicBezTo>
                  <a:cubicBezTo>
                    <a:pt x="645" y="1324"/>
                    <a:pt x="649" y="1325"/>
                    <a:pt x="650" y="1325"/>
                  </a:cubicBezTo>
                  <a:cubicBezTo>
                    <a:pt x="651" y="1325"/>
                    <a:pt x="648" y="1333"/>
                    <a:pt x="648" y="1333"/>
                  </a:cubicBezTo>
                  <a:cubicBezTo>
                    <a:pt x="661" y="1349"/>
                    <a:pt x="661" y="1349"/>
                    <a:pt x="661" y="1349"/>
                  </a:cubicBezTo>
                  <a:cubicBezTo>
                    <a:pt x="659" y="1354"/>
                    <a:pt x="659" y="1354"/>
                    <a:pt x="659" y="1354"/>
                  </a:cubicBezTo>
                  <a:cubicBezTo>
                    <a:pt x="659" y="1354"/>
                    <a:pt x="675" y="1366"/>
                    <a:pt x="680" y="1361"/>
                  </a:cubicBezTo>
                  <a:cubicBezTo>
                    <a:pt x="686" y="1357"/>
                    <a:pt x="687" y="1355"/>
                    <a:pt x="693" y="1354"/>
                  </a:cubicBezTo>
                  <a:cubicBezTo>
                    <a:pt x="698" y="1353"/>
                    <a:pt x="698" y="1360"/>
                    <a:pt x="701" y="1360"/>
                  </a:cubicBezTo>
                  <a:cubicBezTo>
                    <a:pt x="704" y="1360"/>
                    <a:pt x="704" y="1356"/>
                    <a:pt x="704" y="1356"/>
                  </a:cubicBezTo>
                  <a:cubicBezTo>
                    <a:pt x="711" y="1356"/>
                    <a:pt x="711" y="1356"/>
                    <a:pt x="711" y="1356"/>
                  </a:cubicBezTo>
                  <a:cubicBezTo>
                    <a:pt x="712" y="1361"/>
                    <a:pt x="712" y="1361"/>
                    <a:pt x="712" y="1361"/>
                  </a:cubicBezTo>
                  <a:cubicBezTo>
                    <a:pt x="717" y="1363"/>
                    <a:pt x="717" y="1363"/>
                    <a:pt x="717" y="1363"/>
                  </a:cubicBezTo>
                  <a:cubicBezTo>
                    <a:pt x="717" y="1363"/>
                    <a:pt x="720" y="1356"/>
                    <a:pt x="721" y="1352"/>
                  </a:cubicBezTo>
                  <a:cubicBezTo>
                    <a:pt x="723" y="1349"/>
                    <a:pt x="734" y="1345"/>
                    <a:pt x="734" y="1345"/>
                  </a:cubicBezTo>
                  <a:cubicBezTo>
                    <a:pt x="744" y="1334"/>
                    <a:pt x="744" y="1334"/>
                    <a:pt x="744" y="1334"/>
                  </a:cubicBezTo>
                  <a:cubicBezTo>
                    <a:pt x="748" y="1339"/>
                    <a:pt x="748" y="1339"/>
                    <a:pt x="748" y="1339"/>
                  </a:cubicBezTo>
                  <a:cubicBezTo>
                    <a:pt x="753" y="1340"/>
                    <a:pt x="753" y="1340"/>
                    <a:pt x="753" y="1340"/>
                  </a:cubicBezTo>
                  <a:cubicBezTo>
                    <a:pt x="754" y="1344"/>
                    <a:pt x="754" y="1344"/>
                    <a:pt x="754" y="1344"/>
                  </a:cubicBezTo>
                  <a:cubicBezTo>
                    <a:pt x="764" y="1354"/>
                    <a:pt x="764" y="1354"/>
                    <a:pt x="764" y="1354"/>
                  </a:cubicBezTo>
                  <a:cubicBezTo>
                    <a:pt x="774" y="1354"/>
                    <a:pt x="774" y="1354"/>
                    <a:pt x="774" y="1354"/>
                  </a:cubicBezTo>
                  <a:cubicBezTo>
                    <a:pt x="779" y="1357"/>
                    <a:pt x="779" y="1357"/>
                    <a:pt x="779" y="1357"/>
                  </a:cubicBezTo>
                  <a:cubicBezTo>
                    <a:pt x="782" y="1354"/>
                    <a:pt x="782" y="1354"/>
                    <a:pt x="782" y="1354"/>
                  </a:cubicBezTo>
                  <a:cubicBezTo>
                    <a:pt x="782" y="1344"/>
                    <a:pt x="782" y="1344"/>
                    <a:pt x="782" y="1344"/>
                  </a:cubicBezTo>
                  <a:cubicBezTo>
                    <a:pt x="797" y="1349"/>
                    <a:pt x="797" y="1349"/>
                    <a:pt x="797" y="1349"/>
                  </a:cubicBezTo>
                  <a:cubicBezTo>
                    <a:pt x="801" y="1343"/>
                    <a:pt x="801" y="1343"/>
                    <a:pt x="801" y="1343"/>
                  </a:cubicBezTo>
                  <a:cubicBezTo>
                    <a:pt x="811" y="1349"/>
                    <a:pt x="811" y="1349"/>
                    <a:pt x="811" y="1349"/>
                  </a:cubicBezTo>
                  <a:cubicBezTo>
                    <a:pt x="819" y="1349"/>
                    <a:pt x="819" y="1349"/>
                    <a:pt x="819" y="1349"/>
                  </a:cubicBezTo>
                  <a:cubicBezTo>
                    <a:pt x="821" y="1341"/>
                    <a:pt x="821" y="1341"/>
                    <a:pt x="821" y="1341"/>
                  </a:cubicBezTo>
                  <a:cubicBezTo>
                    <a:pt x="826" y="1340"/>
                    <a:pt x="826" y="1340"/>
                    <a:pt x="826" y="1340"/>
                  </a:cubicBezTo>
                  <a:cubicBezTo>
                    <a:pt x="826" y="1340"/>
                    <a:pt x="829" y="1344"/>
                    <a:pt x="830" y="1347"/>
                  </a:cubicBezTo>
                  <a:cubicBezTo>
                    <a:pt x="831" y="1349"/>
                    <a:pt x="836" y="1348"/>
                    <a:pt x="836" y="1348"/>
                  </a:cubicBezTo>
                  <a:cubicBezTo>
                    <a:pt x="838" y="1344"/>
                    <a:pt x="838" y="1344"/>
                    <a:pt x="838" y="1344"/>
                  </a:cubicBezTo>
                  <a:cubicBezTo>
                    <a:pt x="845" y="1344"/>
                    <a:pt x="845" y="1344"/>
                    <a:pt x="845" y="1344"/>
                  </a:cubicBezTo>
                  <a:cubicBezTo>
                    <a:pt x="845" y="1344"/>
                    <a:pt x="847" y="1348"/>
                    <a:pt x="851" y="1350"/>
                  </a:cubicBezTo>
                  <a:cubicBezTo>
                    <a:pt x="856" y="1352"/>
                    <a:pt x="862" y="1350"/>
                    <a:pt x="862" y="1350"/>
                  </a:cubicBezTo>
                  <a:cubicBezTo>
                    <a:pt x="864" y="1343"/>
                    <a:pt x="864" y="1343"/>
                    <a:pt x="864" y="1343"/>
                  </a:cubicBezTo>
                  <a:cubicBezTo>
                    <a:pt x="870" y="1343"/>
                    <a:pt x="870" y="1343"/>
                    <a:pt x="870" y="1343"/>
                  </a:cubicBezTo>
                  <a:cubicBezTo>
                    <a:pt x="870" y="1354"/>
                    <a:pt x="870" y="1354"/>
                    <a:pt x="870" y="1354"/>
                  </a:cubicBezTo>
                  <a:cubicBezTo>
                    <a:pt x="870" y="1354"/>
                    <a:pt x="876" y="1357"/>
                    <a:pt x="879" y="1366"/>
                  </a:cubicBezTo>
                  <a:cubicBezTo>
                    <a:pt x="881" y="1374"/>
                    <a:pt x="868" y="1384"/>
                    <a:pt x="868" y="1384"/>
                  </a:cubicBezTo>
                  <a:cubicBezTo>
                    <a:pt x="868" y="1390"/>
                    <a:pt x="868" y="1390"/>
                    <a:pt x="868" y="1390"/>
                  </a:cubicBezTo>
                  <a:cubicBezTo>
                    <a:pt x="885" y="1389"/>
                    <a:pt x="885" y="1389"/>
                    <a:pt x="885" y="1389"/>
                  </a:cubicBezTo>
                  <a:cubicBezTo>
                    <a:pt x="885" y="1394"/>
                    <a:pt x="885" y="1394"/>
                    <a:pt x="885" y="1394"/>
                  </a:cubicBezTo>
                  <a:cubicBezTo>
                    <a:pt x="876" y="1397"/>
                    <a:pt x="876" y="1397"/>
                    <a:pt x="876" y="1397"/>
                  </a:cubicBezTo>
                  <a:cubicBezTo>
                    <a:pt x="876" y="1412"/>
                    <a:pt x="876" y="1412"/>
                    <a:pt x="876" y="1412"/>
                  </a:cubicBezTo>
                  <a:cubicBezTo>
                    <a:pt x="876" y="1412"/>
                    <a:pt x="882" y="1411"/>
                    <a:pt x="889" y="1415"/>
                  </a:cubicBezTo>
                  <a:cubicBezTo>
                    <a:pt x="896" y="1419"/>
                    <a:pt x="892" y="1427"/>
                    <a:pt x="892" y="1427"/>
                  </a:cubicBezTo>
                  <a:cubicBezTo>
                    <a:pt x="897" y="1428"/>
                    <a:pt x="897" y="1428"/>
                    <a:pt x="897" y="1428"/>
                  </a:cubicBezTo>
                  <a:cubicBezTo>
                    <a:pt x="898" y="1442"/>
                    <a:pt x="898" y="1442"/>
                    <a:pt x="898" y="1442"/>
                  </a:cubicBezTo>
                  <a:cubicBezTo>
                    <a:pt x="895" y="1445"/>
                    <a:pt x="895" y="1445"/>
                    <a:pt x="895" y="1445"/>
                  </a:cubicBezTo>
                  <a:cubicBezTo>
                    <a:pt x="895" y="1445"/>
                    <a:pt x="900" y="1449"/>
                    <a:pt x="900" y="1455"/>
                  </a:cubicBezTo>
                  <a:cubicBezTo>
                    <a:pt x="901" y="1462"/>
                    <a:pt x="874" y="1465"/>
                    <a:pt x="866" y="1467"/>
                  </a:cubicBezTo>
                  <a:cubicBezTo>
                    <a:pt x="859" y="1470"/>
                    <a:pt x="860" y="1475"/>
                    <a:pt x="861" y="1479"/>
                  </a:cubicBezTo>
                  <a:cubicBezTo>
                    <a:pt x="861" y="1482"/>
                    <a:pt x="856" y="1485"/>
                    <a:pt x="849" y="1489"/>
                  </a:cubicBezTo>
                  <a:cubicBezTo>
                    <a:pt x="843" y="1492"/>
                    <a:pt x="843" y="1505"/>
                    <a:pt x="847" y="1511"/>
                  </a:cubicBezTo>
                  <a:cubicBezTo>
                    <a:pt x="850" y="1516"/>
                    <a:pt x="852" y="1521"/>
                    <a:pt x="852" y="1524"/>
                  </a:cubicBezTo>
                  <a:cubicBezTo>
                    <a:pt x="870" y="1520"/>
                    <a:pt x="870" y="1520"/>
                    <a:pt x="870" y="1520"/>
                  </a:cubicBezTo>
                  <a:cubicBezTo>
                    <a:pt x="870" y="1511"/>
                    <a:pt x="870" y="1511"/>
                    <a:pt x="870" y="1511"/>
                  </a:cubicBezTo>
                  <a:cubicBezTo>
                    <a:pt x="881" y="1511"/>
                    <a:pt x="881" y="1511"/>
                    <a:pt x="881" y="1511"/>
                  </a:cubicBezTo>
                  <a:cubicBezTo>
                    <a:pt x="880" y="1506"/>
                    <a:pt x="880" y="1506"/>
                    <a:pt x="880" y="1506"/>
                  </a:cubicBezTo>
                  <a:cubicBezTo>
                    <a:pt x="884" y="1500"/>
                    <a:pt x="884" y="1500"/>
                    <a:pt x="884" y="1500"/>
                  </a:cubicBezTo>
                  <a:cubicBezTo>
                    <a:pt x="894" y="1500"/>
                    <a:pt x="894" y="1500"/>
                    <a:pt x="894" y="1500"/>
                  </a:cubicBezTo>
                  <a:cubicBezTo>
                    <a:pt x="893" y="1506"/>
                    <a:pt x="893" y="1506"/>
                    <a:pt x="893" y="1506"/>
                  </a:cubicBezTo>
                  <a:cubicBezTo>
                    <a:pt x="900" y="1515"/>
                    <a:pt x="900" y="1515"/>
                    <a:pt x="900" y="1515"/>
                  </a:cubicBezTo>
                  <a:cubicBezTo>
                    <a:pt x="891" y="1514"/>
                    <a:pt x="891" y="1514"/>
                    <a:pt x="891" y="1514"/>
                  </a:cubicBezTo>
                  <a:cubicBezTo>
                    <a:pt x="891" y="1514"/>
                    <a:pt x="887" y="1521"/>
                    <a:pt x="883" y="1530"/>
                  </a:cubicBezTo>
                  <a:cubicBezTo>
                    <a:pt x="880" y="1540"/>
                    <a:pt x="871" y="1537"/>
                    <a:pt x="871" y="1537"/>
                  </a:cubicBezTo>
                  <a:cubicBezTo>
                    <a:pt x="870" y="1544"/>
                    <a:pt x="870" y="1544"/>
                    <a:pt x="870" y="1544"/>
                  </a:cubicBezTo>
                  <a:cubicBezTo>
                    <a:pt x="878" y="1543"/>
                    <a:pt x="878" y="1543"/>
                    <a:pt x="878" y="1543"/>
                  </a:cubicBezTo>
                  <a:cubicBezTo>
                    <a:pt x="876" y="1549"/>
                    <a:pt x="876" y="1549"/>
                    <a:pt x="876" y="1549"/>
                  </a:cubicBezTo>
                  <a:cubicBezTo>
                    <a:pt x="866" y="1549"/>
                    <a:pt x="866" y="1549"/>
                    <a:pt x="866" y="1549"/>
                  </a:cubicBezTo>
                  <a:cubicBezTo>
                    <a:pt x="858" y="1558"/>
                    <a:pt x="858" y="1558"/>
                    <a:pt x="858" y="1558"/>
                  </a:cubicBezTo>
                  <a:cubicBezTo>
                    <a:pt x="843" y="1558"/>
                    <a:pt x="843" y="1558"/>
                    <a:pt x="843" y="1558"/>
                  </a:cubicBezTo>
                  <a:cubicBezTo>
                    <a:pt x="855" y="1575"/>
                    <a:pt x="855" y="1575"/>
                    <a:pt x="855" y="1575"/>
                  </a:cubicBezTo>
                  <a:cubicBezTo>
                    <a:pt x="855" y="1575"/>
                    <a:pt x="862" y="1571"/>
                    <a:pt x="867" y="1571"/>
                  </a:cubicBezTo>
                  <a:cubicBezTo>
                    <a:pt x="874" y="1571"/>
                    <a:pt x="876" y="1580"/>
                    <a:pt x="876" y="1580"/>
                  </a:cubicBezTo>
                  <a:cubicBezTo>
                    <a:pt x="876" y="1580"/>
                    <a:pt x="893" y="1578"/>
                    <a:pt x="894" y="1586"/>
                  </a:cubicBezTo>
                  <a:cubicBezTo>
                    <a:pt x="895" y="1592"/>
                    <a:pt x="880" y="1585"/>
                    <a:pt x="880" y="1585"/>
                  </a:cubicBezTo>
                  <a:cubicBezTo>
                    <a:pt x="877" y="1599"/>
                    <a:pt x="877" y="1599"/>
                    <a:pt x="877" y="1599"/>
                  </a:cubicBezTo>
                  <a:cubicBezTo>
                    <a:pt x="873" y="1591"/>
                    <a:pt x="873" y="1591"/>
                    <a:pt x="873" y="1591"/>
                  </a:cubicBezTo>
                  <a:cubicBezTo>
                    <a:pt x="867" y="1594"/>
                    <a:pt x="867" y="1594"/>
                    <a:pt x="867" y="1594"/>
                  </a:cubicBezTo>
                  <a:cubicBezTo>
                    <a:pt x="867" y="1594"/>
                    <a:pt x="871" y="1610"/>
                    <a:pt x="871" y="1615"/>
                  </a:cubicBezTo>
                  <a:cubicBezTo>
                    <a:pt x="871" y="1619"/>
                    <a:pt x="865" y="1619"/>
                    <a:pt x="862" y="1623"/>
                  </a:cubicBezTo>
                  <a:cubicBezTo>
                    <a:pt x="859" y="1626"/>
                    <a:pt x="868" y="1634"/>
                    <a:pt x="866" y="1639"/>
                  </a:cubicBezTo>
                  <a:cubicBezTo>
                    <a:pt x="864" y="1646"/>
                    <a:pt x="859" y="1657"/>
                    <a:pt x="852" y="1658"/>
                  </a:cubicBezTo>
                  <a:cubicBezTo>
                    <a:pt x="846" y="1658"/>
                    <a:pt x="844" y="1650"/>
                    <a:pt x="844" y="1650"/>
                  </a:cubicBezTo>
                  <a:cubicBezTo>
                    <a:pt x="830" y="1651"/>
                    <a:pt x="830" y="1651"/>
                    <a:pt x="830" y="1651"/>
                  </a:cubicBezTo>
                  <a:cubicBezTo>
                    <a:pt x="831" y="1656"/>
                    <a:pt x="831" y="1656"/>
                    <a:pt x="831" y="1656"/>
                  </a:cubicBezTo>
                  <a:cubicBezTo>
                    <a:pt x="831" y="1656"/>
                    <a:pt x="841" y="1657"/>
                    <a:pt x="842" y="1659"/>
                  </a:cubicBezTo>
                  <a:cubicBezTo>
                    <a:pt x="842" y="1662"/>
                    <a:pt x="830" y="1669"/>
                    <a:pt x="830" y="1669"/>
                  </a:cubicBezTo>
                  <a:cubicBezTo>
                    <a:pt x="833" y="1674"/>
                    <a:pt x="833" y="1674"/>
                    <a:pt x="833" y="1674"/>
                  </a:cubicBezTo>
                  <a:cubicBezTo>
                    <a:pt x="847" y="1669"/>
                    <a:pt x="847" y="1669"/>
                    <a:pt x="847" y="1669"/>
                  </a:cubicBezTo>
                  <a:cubicBezTo>
                    <a:pt x="847" y="1669"/>
                    <a:pt x="841" y="1664"/>
                    <a:pt x="851" y="1663"/>
                  </a:cubicBezTo>
                  <a:cubicBezTo>
                    <a:pt x="862" y="1663"/>
                    <a:pt x="852" y="1670"/>
                    <a:pt x="852" y="1670"/>
                  </a:cubicBezTo>
                  <a:cubicBezTo>
                    <a:pt x="865" y="1673"/>
                    <a:pt x="865" y="1673"/>
                    <a:pt x="865" y="1673"/>
                  </a:cubicBezTo>
                  <a:cubicBezTo>
                    <a:pt x="873" y="1686"/>
                    <a:pt x="873" y="1686"/>
                    <a:pt x="873" y="1686"/>
                  </a:cubicBezTo>
                  <a:cubicBezTo>
                    <a:pt x="894" y="1684"/>
                    <a:pt x="894" y="1684"/>
                    <a:pt x="894" y="1684"/>
                  </a:cubicBezTo>
                  <a:cubicBezTo>
                    <a:pt x="895" y="1678"/>
                    <a:pt x="895" y="1678"/>
                    <a:pt x="895" y="1678"/>
                  </a:cubicBezTo>
                  <a:cubicBezTo>
                    <a:pt x="903" y="1684"/>
                    <a:pt x="903" y="1684"/>
                    <a:pt x="903" y="1684"/>
                  </a:cubicBezTo>
                  <a:cubicBezTo>
                    <a:pt x="908" y="1684"/>
                    <a:pt x="908" y="1684"/>
                    <a:pt x="908" y="1684"/>
                  </a:cubicBezTo>
                  <a:cubicBezTo>
                    <a:pt x="911" y="1689"/>
                    <a:pt x="911" y="1689"/>
                    <a:pt x="911" y="1689"/>
                  </a:cubicBezTo>
                  <a:cubicBezTo>
                    <a:pt x="917" y="1688"/>
                    <a:pt x="917" y="1688"/>
                    <a:pt x="917" y="1688"/>
                  </a:cubicBezTo>
                  <a:cubicBezTo>
                    <a:pt x="926" y="1691"/>
                    <a:pt x="926" y="1691"/>
                    <a:pt x="926" y="1691"/>
                  </a:cubicBezTo>
                  <a:cubicBezTo>
                    <a:pt x="929" y="1688"/>
                    <a:pt x="929" y="1688"/>
                    <a:pt x="929" y="1688"/>
                  </a:cubicBezTo>
                  <a:cubicBezTo>
                    <a:pt x="943" y="1687"/>
                    <a:pt x="943" y="1687"/>
                    <a:pt x="943" y="1687"/>
                  </a:cubicBezTo>
                  <a:cubicBezTo>
                    <a:pt x="949" y="1694"/>
                    <a:pt x="949" y="1694"/>
                    <a:pt x="949" y="1694"/>
                  </a:cubicBezTo>
                  <a:cubicBezTo>
                    <a:pt x="949" y="1694"/>
                    <a:pt x="970" y="1696"/>
                    <a:pt x="976" y="1699"/>
                  </a:cubicBezTo>
                  <a:cubicBezTo>
                    <a:pt x="982" y="1702"/>
                    <a:pt x="998" y="1713"/>
                    <a:pt x="998" y="1713"/>
                  </a:cubicBezTo>
                  <a:cubicBezTo>
                    <a:pt x="1003" y="1712"/>
                    <a:pt x="1003" y="1712"/>
                    <a:pt x="1003" y="1712"/>
                  </a:cubicBezTo>
                  <a:cubicBezTo>
                    <a:pt x="1007" y="1716"/>
                    <a:pt x="1007" y="1716"/>
                    <a:pt x="1007" y="1716"/>
                  </a:cubicBezTo>
                  <a:cubicBezTo>
                    <a:pt x="1016" y="1717"/>
                    <a:pt x="1016" y="1717"/>
                    <a:pt x="1016" y="1717"/>
                  </a:cubicBezTo>
                  <a:cubicBezTo>
                    <a:pt x="1019" y="1721"/>
                    <a:pt x="1019" y="1721"/>
                    <a:pt x="1019" y="1721"/>
                  </a:cubicBezTo>
                  <a:cubicBezTo>
                    <a:pt x="1024" y="1720"/>
                    <a:pt x="1024" y="1720"/>
                    <a:pt x="1024" y="1720"/>
                  </a:cubicBezTo>
                  <a:cubicBezTo>
                    <a:pt x="1024" y="1720"/>
                    <a:pt x="1024" y="1710"/>
                    <a:pt x="1028" y="1705"/>
                  </a:cubicBezTo>
                  <a:cubicBezTo>
                    <a:pt x="1031" y="1701"/>
                    <a:pt x="1047" y="1703"/>
                    <a:pt x="1047" y="1703"/>
                  </a:cubicBezTo>
                  <a:cubicBezTo>
                    <a:pt x="1050" y="1698"/>
                    <a:pt x="1050" y="1698"/>
                    <a:pt x="1050" y="1698"/>
                  </a:cubicBezTo>
                  <a:cubicBezTo>
                    <a:pt x="1072" y="1701"/>
                    <a:pt x="1072" y="1701"/>
                    <a:pt x="1072" y="1701"/>
                  </a:cubicBezTo>
                  <a:cubicBezTo>
                    <a:pt x="1073" y="1700"/>
                    <a:pt x="1073" y="1700"/>
                    <a:pt x="1073" y="1700"/>
                  </a:cubicBezTo>
                  <a:cubicBezTo>
                    <a:pt x="1080" y="1700"/>
                    <a:pt x="1080" y="1700"/>
                    <a:pt x="1080" y="1700"/>
                  </a:cubicBezTo>
                  <a:cubicBezTo>
                    <a:pt x="1085" y="1696"/>
                    <a:pt x="1085" y="1696"/>
                    <a:pt x="1085" y="1696"/>
                  </a:cubicBezTo>
                  <a:cubicBezTo>
                    <a:pt x="1085" y="1696"/>
                    <a:pt x="1095" y="1702"/>
                    <a:pt x="1107" y="1699"/>
                  </a:cubicBezTo>
                  <a:cubicBezTo>
                    <a:pt x="1120" y="1697"/>
                    <a:pt x="1137" y="1683"/>
                    <a:pt x="1137" y="1683"/>
                  </a:cubicBezTo>
                  <a:cubicBezTo>
                    <a:pt x="1143" y="1684"/>
                    <a:pt x="1143" y="1684"/>
                    <a:pt x="1143" y="1684"/>
                  </a:cubicBezTo>
                  <a:cubicBezTo>
                    <a:pt x="1143" y="1684"/>
                    <a:pt x="1146" y="1679"/>
                    <a:pt x="1154" y="1679"/>
                  </a:cubicBezTo>
                  <a:cubicBezTo>
                    <a:pt x="1161" y="1678"/>
                    <a:pt x="1162" y="1683"/>
                    <a:pt x="1169" y="1685"/>
                  </a:cubicBezTo>
                  <a:cubicBezTo>
                    <a:pt x="1175" y="1688"/>
                    <a:pt x="1192" y="1683"/>
                    <a:pt x="1192" y="1683"/>
                  </a:cubicBezTo>
                  <a:cubicBezTo>
                    <a:pt x="1210" y="1683"/>
                    <a:pt x="1210" y="1683"/>
                    <a:pt x="1210" y="1683"/>
                  </a:cubicBezTo>
                  <a:cubicBezTo>
                    <a:pt x="1208" y="1689"/>
                    <a:pt x="1208" y="1689"/>
                    <a:pt x="1208" y="1689"/>
                  </a:cubicBezTo>
                  <a:cubicBezTo>
                    <a:pt x="1208" y="1689"/>
                    <a:pt x="1215" y="1691"/>
                    <a:pt x="1221" y="1690"/>
                  </a:cubicBezTo>
                  <a:cubicBezTo>
                    <a:pt x="1227" y="1690"/>
                    <a:pt x="1233" y="1681"/>
                    <a:pt x="1233" y="1681"/>
                  </a:cubicBezTo>
                  <a:cubicBezTo>
                    <a:pt x="1233" y="1674"/>
                    <a:pt x="1233" y="1674"/>
                    <a:pt x="1233" y="1674"/>
                  </a:cubicBezTo>
                  <a:cubicBezTo>
                    <a:pt x="1233" y="1674"/>
                    <a:pt x="1239" y="1669"/>
                    <a:pt x="1243" y="1666"/>
                  </a:cubicBezTo>
                  <a:cubicBezTo>
                    <a:pt x="1248" y="1664"/>
                    <a:pt x="1259" y="1669"/>
                    <a:pt x="1259" y="1669"/>
                  </a:cubicBezTo>
                  <a:cubicBezTo>
                    <a:pt x="1259" y="1659"/>
                    <a:pt x="1259" y="1659"/>
                    <a:pt x="1259" y="1659"/>
                  </a:cubicBezTo>
                  <a:cubicBezTo>
                    <a:pt x="1266" y="1660"/>
                    <a:pt x="1266" y="1660"/>
                    <a:pt x="1266" y="1660"/>
                  </a:cubicBezTo>
                  <a:cubicBezTo>
                    <a:pt x="1274" y="1656"/>
                    <a:pt x="1274" y="1656"/>
                    <a:pt x="1274" y="1656"/>
                  </a:cubicBezTo>
                  <a:cubicBezTo>
                    <a:pt x="1285" y="1663"/>
                    <a:pt x="1285" y="1663"/>
                    <a:pt x="1285" y="1663"/>
                  </a:cubicBezTo>
                  <a:cubicBezTo>
                    <a:pt x="1291" y="1657"/>
                    <a:pt x="1291" y="1657"/>
                    <a:pt x="1291" y="1657"/>
                  </a:cubicBezTo>
                  <a:cubicBezTo>
                    <a:pt x="1302" y="1654"/>
                    <a:pt x="1302" y="1654"/>
                    <a:pt x="1302" y="1654"/>
                  </a:cubicBezTo>
                  <a:cubicBezTo>
                    <a:pt x="1302" y="1654"/>
                    <a:pt x="1305" y="1671"/>
                    <a:pt x="1309" y="1675"/>
                  </a:cubicBezTo>
                  <a:cubicBezTo>
                    <a:pt x="1315" y="1679"/>
                    <a:pt x="1337" y="1674"/>
                    <a:pt x="1347" y="1674"/>
                  </a:cubicBezTo>
                  <a:cubicBezTo>
                    <a:pt x="1357" y="1673"/>
                    <a:pt x="1359" y="1675"/>
                    <a:pt x="1359" y="1675"/>
                  </a:cubicBezTo>
                  <a:cubicBezTo>
                    <a:pt x="1367" y="1671"/>
                    <a:pt x="1367" y="1671"/>
                    <a:pt x="1367" y="1671"/>
                  </a:cubicBezTo>
                  <a:cubicBezTo>
                    <a:pt x="1367" y="1671"/>
                    <a:pt x="1371" y="1672"/>
                    <a:pt x="1378" y="1672"/>
                  </a:cubicBezTo>
                  <a:cubicBezTo>
                    <a:pt x="1383" y="1672"/>
                    <a:pt x="1388" y="1681"/>
                    <a:pt x="1388" y="1681"/>
                  </a:cubicBezTo>
                  <a:cubicBezTo>
                    <a:pt x="1390" y="1678"/>
                    <a:pt x="1390" y="1678"/>
                    <a:pt x="1390" y="1678"/>
                  </a:cubicBezTo>
                  <a:cubicBezTo>
                    <a:pt x="1390" y="1678"/>
                    <a:pt x="1407" y="1689"/>
                    <a:pt x="1408" y="1689"/>
                  </a:cubicBezTo>
                  <a:cubicBezTo>
                    <a:pt x="1411" y="1689"/>
                    <a:pt x="1417" y="1687"/>
                    <a:pt x="1429" y="1686"/>
                  </a:cubicBezTo>
                  <a:cubicBezTo>
                    <a:pt x="1440" y="1685"/>
                    <a:pt x="1435" y="1674"/>
                    <a:pt x="1435" y="1674"/>
                  </a:cubicBezTo>
                  <a:cubicBezTo>
                    <a:pt x="1438" y="1668"/>
                    <a:pt x="1438" y="1668"/>
                    <a:pt x="1438" y="1668"/>
                  </a:cubicBezTo>
                  <a:cubicBezTo>
                    <a:pt x="1437" y="1657"/>
                    <a:pt x="1437" y="1657"/>
                    <a:pt x="1437" y="1657"/>
                  </a:cubicBezTo>
                  <a:cubicBezTo>
                    <a:pt x="1446" y="1644"/>
                    <a:pt x="1446" y="1644"/>
                    <a:pt x="1446" y="1644"/>
                  </a:cubicBezTo>
                  <a:cubicBezTo>
                    <a:pt x="1445" y="1626"/>
                    <a:pt x="1445" y="1626"/>
                    <a:pt x="1445" y="1626"/>
                  </a:cubicBezTo>
                  <a:cubicBezTo>
                    <a:pt x="1434" y="1626"/>
                    <a:pt x="1434" y="1626"/>
                    <a:pt x="1434" y="1626"/>
                  </a:cubicBezTo>
                  <a:cubicBezTo>
                    <a:pt x="1417" y="1613"/>
                    <a:pt x="1417" y="1613"/>
                    <a:pt x="1417" y="1613"/>
                  </a:cubicBezTo>
                  <a:cubicBezTo>
                    <a:pt x="1417" y="1613"/>
                    <a:pt x="1406" y="1612"/>
                    <a:pt x="1404" y="1611"/>
                  </a:cubicBezTo>
                  <a:cubicBezTo>
                    <a:pt x="1402" y="1611"/>
                    <a:pt x="1391" y="1604"/>
                    <a:pt x="1391" y="1604"/>
                  </a:cubicBezTo>
                  <a:cubicBezTo>
                    <a:pt x="1391" y="1604"/>
                    <a:pt x="1387" y="1604"/>
                    <a:pt x="1382" y="1602"/>
                  </a:cubicBezTo>
                  <a:cubicBezTo>
                    <a:pt x="1378" y="1601"/>
                    <a:pt x="1380" y="1599"/>
                    <a:pt x="1376" y="1592"/>
                  </a:cubicBezTo>
                  <a:cubicBezTo>
                    <a:pt x="1372" y="1586"/>
                    <a:pt x="1365" y="1590"/>
                    <a:pt x="1358" y="1584"/>
                  </a:cubicBezTo>
                  <a:cubicBezTo>
                    <a:pt x="1352" y="1578"/>
                    <a:pt x="1356" y="1565"/>
                    <a:pt x="1356" y="1565"/>
                  </a:cubicBezTo>
                  <a:cubicBezTo>
                    <a:pt x="1350" y="1565"/>
                    <a:pt x="1350" y="1565"/>
                    <a:pt x="1350" y="1565"/>
                  </a:cubicBezTo>
                  <a:cubicBezTo>
                    <a:pt x="1341" y="1543"/>
                    <a:pt x="1341" y="1543"/>
                    <a:pt x="1341" y="1543"/>
                  </a:cubicBezTo>
                  <a:cubicBezTo>
                    <a:pt x="1341" y="1530"/>
                    <a:pt x="1341" y="1530"/>
                    <a:pt x="1341" y="1530"/>
                  </a:cubicBezTo>
                  <a:cubicBezTo>
                    <a:pt x="1343" y="1527"/>
                    <a:pt x="1343" y="1527"/>
                    <a:pt x="1343" y="1527"/>
                  </a:cubicBezTo>
                  <a:cubicBezTo>
                    <a:pt x="1343" y="1527"/>
                    <a:pt x="1342" y="1525"/>
                    <a:pt x="1339" y="1525"/>
                  </a:cubicBezTo>
                  <a:cubicBezTo>
                    <a:pt x="1335" y="1526"/>
                    <a:pt x="1338" y="1538"/>
                    <a:pt x="1338" y="1538"/>
                  </a:cubicBezTo>
                  <a:cubicBezTo>
                    <a:pt x="1342" y="1559"/>
                    <a:pt x="1342" y="1559"/>
                    <a:pt x="1342" y="1559"/>
                  </a:cubicBezTo>
                  <a:cubicBezTo>
                    <a:pt x="1339" y="1558"/>
                    <a:pt x="1339" y="1558"/>
                    <a:pt x="1339" y="1558"/>
                  </a:cubicBezTo>
                  <a:cubicBezTo>
                    <a:pt x="1337" y="1540"/>
                    <a:pt x="1337" y="1540"/>
                    <a:pt x="1337" y="1540"/>
                  </a:cubicBezTo>
                  <a:cubicBezTo>
                    <a:pt x="1333" y="1539"/>
                    <a:pt x="1333" y="1539"/>
                    <a:pt x="1333" y="1539"/>
                  </a:cubicBezTo>
                  <a:cubicBezTo>
                    <a:pt x="1313" y="1523"/>
                    <a:pt x="1313" y="1523"/>
                    <a:pt x="1313" y="1523"/>
                  </a:cubicBezTo>
                  <a:cubicBezTo>
                    <a:pt x="1313" y="1523"/>
                    <a:pt x="1310" y="1526"/>
                    <a:pt x="1308" y="1526"/>
                  </a:cubicBezTo>
                  <a:cubicBezTo>
                    <a:pt x="1306" y="1526"/>
                    <a:pt x="1304" y="1521"/>
                    <a:pt x="1301" y="1518"/>
                  </a:cubicBezTo>
                  <a:cubicBezTo>
                    <a:pt x="1297" y="1516"/>
                    <a:pt x="1286" y="1522"/>
                    <a:pt x="1286" y="1522"/>
                  </a:cubicBezTo>
                  <a:cubicBezTo>
                    <a:pt x="1286" y="1522"/>
                    <a:pt x="1277" y="1512"/>
                    <a:pt x="1275" y="1508"/>
                  </a:cubicBezTo>
                  <a:cubicBezTo>
                    <a:pt x="1273" y="1502"/>
                    <a:pt x="1281" y="1496"/>
                    <a:pt x="1285" y="1490"/>
                  </a:cubicBezTo>
                  <a:cubicBezTo>
                    <a:pt x="1290" y="1483"/>
                    <a:pt x="1287" y="1468"/>
                    <a:pt x="1287" y="1468"/>
                  </a:cubicBezTo>
                  <a:cubicBezTo>
                    <a:pt x="1283" y="1465"/>
                    <a:pt x="1283" y="1465"/>
                    <a:pt x="1283" y="1465"/>
                  </a:cubicBezTo>
                  <a:cubicBezTo>
                    <a:pt x="1287" y="1460"/>
                    <a:pt x="1287" y="1460"/>
                    <a:pt x="1287" y="1460"/>
                  </a:cubicBezTo>
                  <a:cubicBezTo>
                    <a:pt x="1284" y="1459"/>
                    <a:pt x="1284" y="1459"/>
                    <a:pt x="1284" y="1459"/>
                  </a:cubicBezTo>
                  <a:cubicBezTo>
                    <a:pt x="1283" y="1443"/>
                    <a:pt x="1283" y="1443"/>
                    <a:pt x="1283" y="1443"/>
                  </a:cubicBezTo>
                  <a:cubicBezTo>
                    <a:pt x="1286" y="1436"/>
                    <a:pt x="1286" y="1436"/>
                    <a:pt x="1286" y="1436"/>
                  </a:cubicBezTo>
                  <a:cubicBezTo>
                    <a:pt x="1286" y="1436"/>
                    <a:pt x="1280" y="1431"/>
                    <a:pt x="1281" y="1428"/>
                  </a:cubicBezTo>
                  <a:cubicBezTo>
                    <a:pt x="1282" y="1424"/>
                    <a:pt x="1291" y="1430"/>
                    <a:pt x="1296" y="1431"/>
                  </a:cubicBezTo>
                  <a:cubicBezTo>
                    <a:pt x="1300" y="1431"/>
                    <a:pt x="1299" y="1428"/>
                    <a:pt x="1299" y="1428"/>
                  </a:cubicBezTo>
                  <a:cubicBezTo>
                    <a:pt x="1299" y="1428"/>
                    <a:pt x="1291" y="1422"/>
                    <a:pt x="1293" y="1419"/>
                  </a:cubicBezTo>
                  <a:cubicBezTo>
                    <a:pt x="1296" y="1416"/>
                    <a:pt x="1306" y="1410"/>
                    <a:pt x="1306" y="1410"/>
                  </a:cubicBezTo>
                  <a:cubicBezTo>
                    <a:pt x="1313" y="1412"/>
                    <a:pt x="1313" y="1412"/>
                    <a:pt x="1313" y="1412"/>
                  </a:cubicBezTo>
                  <a:cubicBezTo>
                    <a:pt x="1317" y="1411"/>
                    <a:pt x="1317" y="1411"/>
                    <a:pt x="1317" y="1411"/>
                  </a:cubicBezTo>
                  <a:cubicBezTo>
                    <a:pt x="1305" y="1402"/>
                    <a:pt x="1305" y="1402"/>
                    <a:pt x="1305" y="1402"/>
                  </a:cubicBezTo>
                  <a:cubicBezTo>
                    <a:pt x="1308" y="1397"/>
                    <a:pt x="1308" y="1397"/>
                    <a:pt x="1308" y="1397"/>
                  </a:cubicBezTo>
                  <a:cubicBezTo>
                    <a:pt x="1322" y="1404"/>
                    <a:pt x="1322" y="1404"/>
                    <a:pt x="1322" y="1404"/>
                  </a:cubicBezTo>
                  <a:cubicBezTo>
                    <a:pt x="1327" y="1402"/>
                    <a:pt x="1327" y="1402"/>
                    <a:pt x="1327" y="1402"/>
                  </a:cubicBezTo>
                  <a:cubicBezTo>
                    <a:pt x="1320" y="1398"/>
                    <a:pt x="1320" y="1398"/>
                    <a:pt x="1320" y="1398"/>
                  </a:cubicBezTo>
                  <a:cubicBezTo>
                    <a:pt x="1323" y="1391"/>
                    <a:pt x="1323" y="1391"/>
                    <a:pt x="1323" y="1391"/>
                  </a:cubicBezTo>
                  <a:cubicBezTo>
                    <a:pt x="1313" y="1386"/>
                    <a:pt x="1313" y="1386"/>
                    <a:pt x="1313" y="1386"/>
                  </a:cubicBezTo>
                  <a:cubicBezTo>
                    <a:pt x="1314" y="1381"/>
                    <a:pt x="1314" y="1381"/>
                    <a:pt x="1314" y="1381"/>
                  </a:cubicBezTo>
                  <a:cubicBezTo>
                    <a:pt x="1322" y="1383"/>
                    <a:pt x="1322" y="1383"/>
                    <a:pt x="1322" y="1383"/>
                  </a:cubicBezTo>
                  <a:cubicBezTo>
                    <a:pt x="1325" y="1383"/>
                    <a:pt x="1325" y="1383"/>
                    <a:pt x="1325" y="1383"/>
                  </a:cubicBezTo>
                  <a:cubicBezTo>
                    <a:pt x="1318" y="1378"/>
                    <a:pt x="1318" y="1378"/>
                    <a:pt x="1318" y="1378"/>
                  </a:cubicBezTo>
                  <a:cubicBezTo>
                    <a:pt x="1323" y="1375"/>
                    <a:pt x="1323" y="1375"/>
                    <a:pt x="1323" y="1375"/>
                  </a:cubicBezTo>
                  <a:cubicBezTo>
                    <a:pt x="1331" y="1379"/>
                    <a:pt x="1331" y="1379"/>
                    <a:pt x="1331" y="1379"/>
                  </a:cubicBezTo>
                  <a:cubicBezTo>
                    <a:pt x="1331" y="1379"/>
                    <a:pt x="1331" y="1372"/>
                    <a:pt x="1329" y="1369"/>
                  </a:cubicBezTo>
                  <a:cubicBezTo>
                    <a:pt x="1326" y="1366"/>
                    <a:pt x="1319" y="1367"/>
                    <a:pt x="1320" y="1363"/>
                  </a:cubicBezTo>
                  <a:cubicBezTo>
                    <a:pt x="1321" y="1357"/>
                    <a:pt x="1332" y="1358"/>
                    <a:pt x="1332" y="1358"/>
                  </a:cubicBezTo>
                  <a:cubicBezTo>
                    <a:pt x="1324" y="1354"/>
                    <a:pt x="1324" y="1354"/>
                    <a:pt x="1324" y="1354"/>
                  </a:cubicBezTo>
                  <a:cubicBezTo>
                    <a:pt x="1324" y="1354"/>
                    <a:pt x="1301" y="1358"/>
                    <a:pt x="1290" y="1357"/>
                  </a:cubicBezTo>
                  <a:cubicBezTo>
                    <a:pt x="1281" y="1356"/>
                    <a:pt x="1280" y="1350"/>
                    <a:pt x="1284" y="1343"/>
                  </a:cubicBezTo>
                  <a:cubicBezTo>
                    <a:pt x="1288" y="1338"/>
                    <a:pt x="1298" y="1344"/>
                    <a:pt x="1302" y="1340"/>
                  </a:cubicBezTo>
                  <a:cubicBezTo>
                    <a:pt x="1307" y="1335"/>
                    <a:pt x="1288" y="1328"/>
                    <a:pt x="1281" y="1326"/>
                  </a:cubicBezTo>
                  <a:cubicBezTo>
                    <a:pt x="1273" y="1324"/>
                    <a:pt x="1268" y="1313"/>
                    <a:pt x="1263" y="1310"/>
                  </a:cubicBezTo>
                  <a:cubicBezTo>
                    <a:pt x="1257" y="1308"/>
                    <a:pt x="1256" y="1312"/>
                    <a:pt x="1249" y="1312"/>
                  </a:cubicBezTo>
                  <a:cubicBezTo>
                    <a:pt x="1242" y="1312"/>
                    <a:pt x="1241" y="1301"/>
                    <a:pt x="1232" y="1298"/>
                  </a:cubicBezTo>
                  <a:cubicBezTo>
                    <a:pt x="1222" y="1295"/>
                    <a:pt x="1225" y="1307"/>
                    <a:pt x="1218" y="1309"/>
                  </a:cubicBezTo>
                  <a:cubicBezTo>
                    <a:pt x="1211" y="1311"/>
                    <a:pt x="1206" y="1310"/>
                    <a:pt x="1206" y="1310"/>
                  </a:cubicBezTo>
                  <a:cubicBezTo>
                    <a:pt x="1210" y="1318"/>
                    <a:pt x="1210" y="1318"/>
                    <a:pt x="1210" y="1318"/>
                  </a:cubicBezTo>
                  <a:cubicBezTo>
                    <a:pt x="1210" y="1318"/>
                    <a:pt x="1198" y="1318"/>
                    <a:pt x="1192" y="1316"/>
                  </a:cubicBezTo>
                  <a:cubicBezTo>
                    <a:pt x="1187" y="1315"/>
                    <a:pt x="1188" y="1308"/>
                    <a:pt x="1189" y="1306"/>
                  </a:cubicBezTo>
                  <a:cubicBezTo>
                    <a:pt x="1191" y="1303"/>
                    <a:pt x="1186" y="1301"/>
                    <a:pt x="1184" y="1298"/>
                  </a:cubicBezTo>
                  <a:cubicBezTo>
                    <a:pt x="1181" y="1296"/>
                    <a:pt x="1181" y="1292"/>
                    <a:pt x="1181" y="1292"/>
                  </a:cubicBezTo>
                  <a:cubicBezTo>
                    <a:pt x="1152" y="1298"/>
                    <a:pt x="1152" y="1298"/>
                    <a:pt x="1152" y="1298"/>
                  </a:cubicBezTo>
                  <a:cubicBezTo>
                    <a:pt x="1146" y="1259"/>
                    <a:pt x="1146" y="1259"/>
                    <a:pt x="1146" y="1259"/>
                  </a:cubicBezTo>
                  <a:cubicBezTo>
                    <a:pt x="1146" y="1259"/>
                    <a:pt x="1152" y="1249"/>
                    <a:pt x="1149" y="1241"/>
                  </a:cubicBezTo>
                  <a:cubicBezTo>
                    <a:pt x="1146" y="1232"/>
                    <a:pt x="1136" y="1234"/>
                    <a:pt x="1136" y="1234"/>
                  </a:cubicBezTo>
                  <a:cubicBezTo>
                    <a:pt x="1124" y="1199"/>
                    <a:pt x="1124" y="1199"/>
                    <a:pt x="1124" y="1199"/>
                  </a:cubicBezTo>
                  <a:cubicBezTo>
                    <a:pt x="1133" y="1184"/>
                    <a:pt x="1133" y="1184"/>
                    <a:pt x="1133" y="1184"/>
                  </a:cubicBezTo>
                  <a:cubicBezTo>
                    <a:pt x="1134" y="1179"/>
                    <a:pt x="1125" y="1178"/>
                    <a:pt x="1125" y="1170"/>
                  </a:cubicBezTo>
                  <a:cubicBezTo>
                    <a:pt x="1124" y="1163"/>
                    <a:pt x="1128" y="1156"/>
                    <a:pt x="1138" y="1156"/>
                  </a:cubicBezTo>
                  <a:cubicBezTo>
                    <a:pt x="1146" y="1156"/>
                    <a:pt x="1158" y="1165"/>
                    <a:pt x="1161" y="1170"/>
                  </a:cubicBezTo>
                  <a:cubicBezTo>
                    <a:pt x="1165" y="1177"/>
                    <a:pt x="1172" y="1176"/>
                    <a:pt x="1178" y="1176"/>
                  </a:cubicBezTo>
                  <a:cubicBezTo>
                    <a:pt x="1184" y="1176"/>
                    <a:pt x="1190" y="1162"/>
                    <a:pt x="1191" y="1152"/>
                  </a:cubicBezTo>
                  <a:cubicBezTo>
                    <a:pt x="1192" y="1143"/>
                    <a:pt x="1185" y="1151"/>
                    <a:pt x="1185" y="1151"/>
                  </a:cubicBezTo>
                  <a:cubicBezTo>
                    <a:pt x="1185" y="1151"/>
                    <a:pt x="1182" y="1146"/>
                    <a:pt x="1177" y="1144"/>
                  </a:cubicBezTo>
                  <a:cubicBezTo>
                    <a:pt x="1173" y="1140"/>
                    <a:pt x="1163" y="1128"/>
                    <a:pt x="1163" y="1128"/>
                  </a:cubicBezTo>
                  <a:cubicBezTo>
                    <a:pt x="1159" y="1128"/>
                    <a:pt x="1159" y="1128"/>
                    <a:pt x="1159" y="1128"/>
                  </a:cubicBezTo>
                  <a:cubicBezTo>
                    <a:pt x="1160" y="1124"/>
                    <a:pt x="1160" y="1124"/>
                    <a:pt x="1160" y="1124"/>
                  </a:cubicBezTo>
                  <a:cubicBezTo>
                    <a:pt x="1160" y="1124"/>
                    <a:pt x="1165" y="1122"/>
                    <a:pt x="1171" y="1121"/>
                  </a:cubicBezTo>
                  <a:cubicBezTo>
                    <a:pt x="1177" y="1120"/>
                    <a:pt x="1175" y="1104"/>
                    <a:pt x="1175" y="1104"/>
                  </a:cubicBezTo>
                  <a:cubicBezTo>
                    <a:pt x="1175" y="1104"/>
                    <a:pt x="1182" y="1099"/>
                    <a:pt x="1183" y="1093"/>
                  </a:cubicBezTo>
                  <a:cubicBezTo>
                    <a:pt x="1185" y="1089"/>
                    <a:pt x="1175" y="1090"/>
                    <a:pt x="1175" y="1090"/>
                  </a:cubicBezTo>
                  <a:cubicBezTo>
                    <a:pt x="1173" y="1080"/>
                    <a:pt x="1173" y="1080"/>
                    <a:pt x="1173" y="1080"/>
                  </a:cubicBezTo>
                  <a:cubicBezTo>
                    <a:pt x="1183" y="1074"/>
                    <a:pt x="1183" y="1074"/>
                    <a:pt x="1183" y="1074"/>
                  </a:cubicBezTo>
                  <a:cubicBezTo>
                    <a:pt x="1189" y="1063"/>
                    <a:pt x="1189" y="1063"/>
                    <a:pt x="1189" y="1063"/>
                  </a:cubicBezTo>
                  <a:cubicBezTo>
                    <a:pt x="1189" y="1063"/>
                    <a:pt x="1202" y="1055"/>
                    <a:pt x="1202" y="1052"/>
                  </a:cubicBezTo>
                  <a:cubicBezTo>
                    <a:pt x="1203" y="1048"/>
                    <a:pt x="1196" y="1049"/>
                    <a:pt x="1195" y="1045"/>
                  </a:cubicBezTo>
                  <a:cubicBezTo>
                    <a:pt x="1194" y="1043"/>
                    <a:pt x="1204" y="1041"/>
                    <a:pt x="1204" y="1038"/>
                  </a:cubicBezTo>
                  <a:cubicBezTo>
                    <a:pt x="1204" y="1036"/>
                    <a:pt x="1199" y="1029"/>
                    <a:pt x="1201" y="1027"/>
                  </a:cubicBezTo>
                  <a:cubicBezTo>
                    <a:pt x="1203" y="1025"/>
                    <a:pt x="1208" y="1022"/>
                    <a:pt x="1208" y="1022"/>
                  </a:cubicBezTo>
                  <a:cubicBezTo>
                    <a:pt x="1201" y="1016"/>
                    <a:pt x="1201" y="1016"/>
                    <a:pt x="1201" y="1016"/>
                  </a:cubicBezTo>
                  <a:cubicBezTo>
                    <a:pt x="1212" y="1016"/>
                    <a:pt x="1212" y="1016"/>
                    <a:pt x="1212" y="1016"/>
                  </a:cubicBezTo>
                  <a:cubicBezTo>
                    <a:pt x="1212" y="1016"/>
                    <a:pt x="1223" y="1009"/>
                    <a:pt x="1226" y="1010"/>
                  </a:cubicBezTo>
                  <a:cubicBezTo>
                    <a:pt x="1229" y="1011"/>
                    <a:pt x="1223" y="1021"/>
                    <a:pt x="1228" y="1022"/>
                  </a:cubicBezTo>
                  <a:cubicBezTo>
                    <a:pt x="1234" y="1024"/>
                    <a:pt x="1235" y="1011"/>
                    <a:pt x="1235" y="1011"/>
                  </a:cubicBezTo>
                  <a:cubicBezTo>
                    <a:pt x="1235" y="1011"/>
                    <a:pt x="1240" y="1012"/>
                    <a:pt x="1243" y="1010"/>
                  </a:cubicBezTo>
                  <a:cubicBezTo>
                    <a:pt x="1247" y="1008"/>
                    <a:pt x="1238" y="1002"/>
                    <a:pt x="1240" y="997"/>
                  </a:cubicBezTo>
                  <a:cubicBezTo>
                    <a:pt x="1242" y="993"/>
                    <a:pt x="1251" y="993"/>
                    <a:pt x="1251" y="993"/>
                  </a:cubicBezTo>
                  <a:cubicBezTo>
                    <a:pt x="1249" y="986"/>
                    <a:pt x="1249" y="986"/>
                    <a:pt x="1249" y="986"/>
                  </a:cubicBezTo>
                  <a:cubicBezTo>
                    <a:pt x="1253" y="984"/>
                    <a:pt x="1253" y="984"/>
                    <a:pt x="1253" y="984"/>
                  </a:cubicBezTo>
                  <a:cubicBezTo>
                    <a:pt x="1253" y="984"/>
                    <a:pt x="1269" y="994"/>
                    <a:pt x="1275" y="993"/>
                  </a:cubicBezTo>
                  <a:cubicBezTo>
                    <a:pt x="1281" y="993"/>
                    <a:pt x="1277" y="987"/>
                    <a:pt x="1277" y="987"/>
                  </a:cubicBezTo>
                  <a:cubicBezTo>
                    <a:pt x="1285" y="987"/>
                    <a:pt x="1285" y="987"/>
                    <a:pt x="1285" y="987"/>
                  </a:cubicBezTo>
                  <a:cubicBezTo>
                    <a:pt x="1285" y="987"/>
                    <a:pt x="1298" y="975"/>
                    <a:pt x="1306" y="974"/>
                  </a:cubicBezTo>
                  <a:cubicBezTo>
                    <a:pt x="1315" y="973"/>
                    <a:pt x="1313" y="981"/>
                    <a:pt x="1318" y="982"/>
                  </a:cubicBezTo>
                  <a:cubicBezTo>
                    <a:pt x="1322" y="984"/>
                    <a:pt x="1323" y="982"/>
                    <a:pt x="1326" y="978"/>
                  </a:cubicBezTo>
                  <a:cubicBezTo>
                    <a:pt x="1329" y="975"/>
                    <a:pt x="1334" y="976"/>
                    <a:pt x="1339" y="980"/>
                  </a:cubicBezTo>
                  <a:cubicBezTo>
                    <a:pt x="1345" y="985"/>
                    <a:pt x="1351" y="984"/>
                    <a:pt x="1356" y="984"/>
                  </a:cubicBezTo>
                  <a:cubicBezTo>
                    <a:pt x="1362" y="984"/>
                    <a:pt x="1363" y="985"/>
                    <a:pt x="1363" y="989"/>
                  </a:cubicBezTo>
                  <a:cubicBezTo>
                    <a:pt x="1363" y="992"/>
                    <a:pt x="1366" y="998"/>
                    <a:pt x="1370" y="1001"/>
                  </a:cubicBezTo>
                  <a:cubicBezTo>
                    <a:pt x="1375" y="1004"/>
                    <a:pt x="1376" y="996"/>
                    <a:pt x="1378" y="992"/>
                  </a:cubicBezTo>
                  <a:cubicBezTo>
                    <a:pt x="1379" y="988"/>
                    <a:pt x="1371" y="988"/>
                    <a:pt x="1369" y="984"/>
                  </a:cubicBezTo>
                  <a:cubicBezTo>
                    <a:pt x="1367" y="978"/>
                    <a:pt x="1362" y="979"/>
                    <a:pt x="1358" y="979"/>
                  </a:cubicBezTo>
                  <a:cubicBezTo>
                    <a:pt x="1356" y="978"/>
                    <a:pt x="1356" y="975"/>
                    <a:pt x="1358" y="971"/>
                  </a:cubicBezTo>
                  <a:cubicBezTo>
                    <a:pt x="1360" y="966"/>
                    <a:pt x="1372" y="971"/>
                    <a:pt x="1372" y="971"/>
                  </a:cubicBezTo>
                  <a:cubicBezTo>
                    <a:pt x="1372" y="971"/>
                    <a:pt x="1375" y="969"/>
                    <a:pt x="1379" y="969"/>
                  </a:cubicBezTo>
                  <a:cubicBezTo>
                    <a:pt x="1382" y="970"/>
                    <a:pt x="1382" y="973"/>
                    <a:pt x="1382" y="973"/>
                  </a:cubicBezTo>
                  <a:cubicBezTo>
                    <a:pt x="1414" y="970"/>
                    <a:pt x="1414" y="970"/>
                    <a:pt x="1414" y="970"/>
                  </a:cubicBezTo>
                  <a:cubicBezTo>
                    <a:pt x="1414" y="970"/>
                    <a:pt x="1418" y="958"/>
                    <a:pt x="1420" y="953"/>
                  </a:cubicBezTo>
                  <a:cubicBezTo>
                    <a:pt x="1422" y="946"/>
                    <a:pt x="1416" y="940"/>
                    <a:pt x="1416" y="940"/>
                  </a:cubicBezTo>
                  <a:cubicBezTo>
                    <a:pt x="1421" y="938"/>
                    <a:pt x="1421" y="938"/>
                    <a:pt x="1421" y="938"/>
                  </a:cubicBezTo>
                  <a:cubicBezTo>
                    <a:pt x="1420" y="923"/>
                    <a:pt x="1420" y="923"/>
                    <a:pt x="1420" y="923"/>
                  </a:cubicBezTo>
                  <a:cubicBezTo>
                    <a:pt x="1420" y="923"/>
                    <a:pt x="1427" y="927"/>
                    <a:pt x="1431" y="927"/>
                  </a:cubicBezTo>
                  <a:cubicBezTo>
                    <a:pt x="1435" y="926"/>
                    <a:pt x="1430" y="918"/>
                    <a:pt x="1430" y="918"/>
                  </a:cubicBezTo>
                  <a:cubicBezTo>
                    <a:pt x="1442" y="909"/>
                    <a:pt x="1442" y="909"/>
                    <a:pt x="1442" y="909"/>
                  </a:cubicBezTo>
                  <a:cubicBezTo>
                    <a:pt x="1442" y="909"/>
                    <a:pt x="1456" y="914"/>
                    <a:pt x="1461" y="912"/>
                  </a:cubicBezTo>
                  <a:cubicBezTo>
                    <a:pt x="1464" y="910"/>
                    <a:pt x="1460" y="906"/>
                    <a:pt x="1461" y="903"/>
                  </a:cubicBezTo>
                  <a:cubicBezTo>
                    <a:pt x="1462" y="902"/>
                    <a:pt x="1469" y="902"/>
                    <a:pt x="1469" y="902"/>
                  </a:cubicBezTo>
                  <a:cubicBezTo>
                    <a:pt x="1460" y="893"/>
                    <a:pt x="1460" y="893"/>
                    <a:pt x="1460" y="893"/>
                  </a:cubicBezTo>
                  <a:cubicBezTo>
                    <a:pt x="1460" y="893"/>
                    <a:pt x="1477" y="886"/>
                    <a:pt x="1479" y="884"/>
                  </a:cubicBezTo>
                  <a:cubicBezTo>
                    <a:pt x="1482" y="882"/>
                    <a:pt x="1478" y="875"/>
                    <a:pt x="1478" y="875"/>
                  </a:cubicBezTo>
                  <a:cubicBezTo>
                    <a:pt x="1478" y="875"/>
                    <a:pt x="1483" y="874"/>
                    <a:pt x="1488" y="872"/>
                  </a:cubicBezTo>
                  <a:cubicBezTo>
                    <a:pt x="1494" y="872"/>
                    <a:pt x="1494" y="878"/>
                    <a:pt x="1503" y="883"/>
                  </a:cubicBezTo>
                  <a:cubicBezTo>
                    <a:pt x="1511" y="887"/>
                    <a:pt x="1523" y="880"/>
                    <a:pt x="1532" y="876"/>
                  </a:cubicBezTo>
                  <a:cubicBezTo>
                    <a:pt x="1532" y="795"/>
                    <a:pt x="1532" y="795"/>
                    <a:pt x="1532" y="795"/>
                  </a:cubicBezTo>
                  <a:cubicBezTo>
                    <a:pt x="1522" y="796"/>
                    <a:pt x="1522" y="796"/>
                    <a:pt x="1522" y="796"/>
                  </a:cubicBezTo>
                  <a:cubicBezTo>
                    <a:pt x="1522" y="796"/>
                    <a:pt x="1526" y="792"/>
                    <a:pt x="1522" y="788"/>
                  </a:cubicBezTo>
                  <a:cubicBezTo>
                    <a:pt x="1520" y="785"/>
                    <a:pt x="1504" y="795"/>
                    <a:pt x="1504" y="795"/>
                  </a:cubicBezTo>
                  <a:cubicBezTo>
                    <a:pt x="1501" y="790"/>
                    <a:pt x="1501" y="790"/>
                    <a:pt x="1501" y="790"/>
                  </a:cubicBezTo>
                  <a:cubicBezTo>
                    <a:pt x="1509" y="767"/>
                    <a:pt x="1509" y="767"/>
                    <a:pt x="1509" y="767"/>
                  </a:cubicBezTo>
                  <a:cubicBezTo>
                    <a:pt x="1515" y="765"/>
                    <a:pt x="1515" y="765"/>
                    <a:pt x="1515" y="765"/>
                  </a:cubicBezTo>
                  <a:cubicBezTo>
                    <a:pt x="1517" y="743"/>
                    <a:pt x="1517" y="743"/>
                    <a:pt x="1517" y="743"/>
                  </a:cubicBezTo>
                  <a:cubicBezTo>
                    <a:pt x="1507" y="740"/>
                    <a:pt x="1507" y="740"/>
                    <a:pt x="1507" y="740"/>
                  </a:cubicBezTo>
                  <a:cubicBezTo>
                    <a:pt x="1502" y="742"/>
                    <a:pt x="1502" y="742"/>
                    <a:pt x="1502" y="742"/>
                  </a:cubicBezTo>
                  <a:cubicBezTo>
                    <a:pt x="1488" y="737"/>
                    <a:pt x="1488" y="737"/>
                    <a:pt x="1488" y="737"/>
                  </a:cubicBezTo>
                  <a:cubicBezTo>
                    <a:pt x="1488" y="737"/>
                    <a:pt x="1491" y="720"/>
                    <a:pt x="1491" y="718"/>
                  </a:cubicBezTo>
                  <a:cubicBezTo>
                    <a:pt x="1491" y="717"/>
                    <a:pt x="1485" y="715"/>
                    <a:pt x="1485" y="715"/>
                  </a:cubicBezTo>
                  <a:cubicBezTo>
                    <a:pt x="1496" y="707"/>
                    <a:pt x="1496" y="707"/>
                    <a:pt x="1496" y="707"/>
                  </a:cubicBezTo>
                  <a:cubicBezTo>
                    <a:pt x="1501" y="702"/>
                    <a:pt x="1501" y="702"/>
                    <a:pt x="1501" y="702"/>
                  </a:cubicBezTo>
                  <a:cubicBezTo>
                    <a:pt x="1510" y="701"/>
                    <a:pt x="1510" y="701"/>
                    <a:pt x="1510" y="701"/>
                  </a:cubicBezTo>
                  <a:cubicBezTo>
                    <a:pt x="1510" y="701"/>
                    <a:pt x="1516" y="692"/>
                    <a:pt x="1520" y="690"/>
                  </a:cubicBezTo>
                  <a:cubicBezTo>
                    <a:pt x="1524" y="688"/>
                    <a:pt x="1522" y="685"/>
                    <a:pt x="1517" y="681"/>
                  </a:cubicBezTo>
                  <a:cubicBezTo>
                    <a:pt x="1513" y="677"/>
                    <a:pt x="1511" y="683"/>
                    <a:pt x="1506" y="685"/>
                  </a:cubicBezTo>
                  <a:cubicBezTo>
                    <a:pt x="1503" y="686"/>
                    <a:pt x="1497" y="686"/>
                    <a:pt x="1497" y="686"/>
                  </a:cubicBezTo>
                  <a:cubicBezTo>
                    <a:pt x="1498" y="690"/>
                    <a:pt x="1498" y="690"/>
                    <a:pt x="1498" y="690"/>
                  </a:cubicBezTo>
                  <a:cubicBezTo>
                    <a:pt x="1482" y="695"/>
                    <a:pt x="1482" y="695"/>
                    <a:pt x="1482" y="695"/>
                  </a:cubicBezTo>
                  <a:cubicBezTo>
                    <a:pt x="1478" y="682"/>
                    <a:pt x="1478" y="682"/>
                    <a:pt x="1478" y="682"/>
                  </a:cubicBezTo>
                  <a:cubicBezTo>
                    <a:pt x="1478" y="682"/>
                    <a:pt x="1488" y="677"/>
                    <a:pt x="1483" y="674"/>
                  </a:cubicBezTo>
                  <a:cubicBezTo>
                    <a:pt x="1478" y="670"/>
                    <a:pt x="1472" y="682"/>
                    <a:pt x="1472" y="682"/>
                  </a:cubicBezTo>
                  <a:cubicBezTo>
                    <a:pt x="1466" y="681"/>
                    <a:pt x="1466" y="681"/>
                    <a:pt x="1466" y="681"/>
                  </a:cubicBezTo>
                  <a:cubicBezTo>
                    <a:pt x="1457" y="685"/>
                    <a:pt x="1457" y="685"/>
                    <a:pt x="1457" y="685"/>
                  </a:cubicBezTo>
                  <a:cubicBezTo>
                    <a:pt x="1460" y="679"/>
                    <a:pt x="1460" y="679"/>
                    <a:pt x="1460" y="679"/>
                  </a:cubicBezTo>
                  <a:cubicBezTo>
                    <a:pt x="1458" y="667"/>
                    <a:pt x="1458" y="667"/>
                    <a:pt x="1458" y="667"/>
                  </a:cubicBezTo>
                  <a:cubicBezTo>
                    <a:pt x="1446" y="669"/>
                    <a:pt x="1446" y="669"/>
                    <a:pt x="1446" y="669"/>
                  </a:cubicBezTo>
                  <a:cubicBezTo>
                    <a:pt x="1455" y="660"/>
                    <a:pt x="1455" y="660"/>
                    <a:pt x="1455" y="660"/>
                  </a:cubicBezTo>
                  <a:cubicBezTo>
                    <a:pt x="1451" y="658"/>
                    <a:pt x="1451" y="658"/>
                    <a:pt x="1451" y="658"/>
                  </a:cubicBezTo>
                  <a:cubicBezTo>
                    <a:pt x="1452" y="650"/>
                    <a:pt x="1452" y="650"/>
                    <a:pt x="1452" y="650"/>
                  </a:cubicBezTo>
                  <a:cubicBezTo>
                    <a:pt x="1465" y="650"/>
                    <a:pt x="1465" y="650"/>
                    <a:pt x="1465" y="650"/>
                  </a:cubicBezTo>
                  <a:cubicBezTo>
                    <a:pt x="1467" y="644"/>
                    <a:pt x="1467" y="644"/>
                    <a:pt x="1467" y="644"/>
                  </a:cubicBezTo>
                  <a:cubicBezTo>
                    <a:pt x="1476" y="646"/>
                    <a:pt x="1476" y="646"/>
                    <a:pt x="1476" y="646"/>
                  </a:cubicBezTo>
                  <a:cubicBezTo>
                    <a:pt x="1478" y="639"/>
                    <a:pt x="1478" y="639"/>
                    <a:pt x="1478" y="639"/>
                  </a:cubicBezTo>
                  <a:cubicBezTo>
                    <a:pt x="1486" y="627"/>
                    <a:pt x="1486" y="627"/>
                    <a:pt x="1486" y="627"/>
                  </a:cubicBezTo>
                  <a:cubicBezTo>
                    <a:pt x="1486" y="627"/>
                    <a:pt x="1489" y="636"/>
                    <a:pt x="1495" y="633"/>
                  </a:cubicBezTo>
                  <a:cubicBezTo>
                    <a:pt x="1500" y="631"/>
                    <a:pt x="1490" y="619"/>
                    <a:pt x="1490" y="619"/>
                  </a:cubicBezTo>
                  <a:cubicBezTo>
                    <a:pt x="1505" y="606"/>
                    <a:pt x="1505" y="606"/>
                    <a:pt x="1505" y="606"/>
                  </a:cubicBezTo>
                  <a:cubicBezTo>
                    <a:pt x="1501" y="599"/>
                    <a:pt x="1501" y="599"/>
                    <a:pt x="1501" y="599"/>
                  </a:cubicBezTo>
                  <a:cubicBezTo>
                    <a:pt x="1509" y="596"/>
                    <a:pt x="1509" y="596"/>
                    <a:pt x="1509" y="596"/>
                  </a:cubicBezTo>
                  <a:cubicBezTo>
                    <a:pt x="1515" y="584"/>
                    <a:pt x="1515" y="584"/>
                    <a:pt x="1515" y="584"/>
                  </a:cubicBezTo>
                  <a:cubicBezTo>
                    <a:pt x="1515" y="584"/>
                    <a:pt x="1521" y="584"/>
                    <a:pt x="1522" y="581"/>
                  </a:cubicBezTo>
                  <a:cubicBezTo>
                    <a:pt x="1524" y="578"/>
                    <a:pt x="1519" y="575"/>
                    <a:pt x="1519" y="575"/>
                  </a:cubicBezTo>
                  <a:cubicBezTo>
                    <a:pt x="1532" y="556"/>
                    <a:pt x="1532" y="556"/>
                    <a:pt x="1532" y="556"/>
                  </a:cubicBezTo>
                  <a:lnTo>
                    <a:pt x="1532" y="0"/>
                  </a:lnTo>
                  <a:close/>
                  <a:moveTo>
                    <a:pt x="375" y="778"/>
                  </a:moveTo>
                  <a:cubicBezTo>
                    <a:pt x="373" y="786"/>
                    <a:pt x="367" y="785"/>
                    <a:pt x="367" y="785"/>
                  </a:cubicBezTo>
                  <a:cubicBezTo>
                    <a:pt x="367" y="785"/>
                    <a:pt x="377" y="803"/>
                    <a:pt x="372" y="806"/>
                  </a:cubicBezTo>
                  <a:cubicBezTo>
                    <a:pt x="366" y="809"/>
                    <a:pt x="357" y="806"/>
                    <a:pt x="357" y="806"/>
                  </a:cubicBezTo>
                  <a:cubicBezTo>
                    <a:pt x="346" y="807"/>
                    <a:pt x="346" y="807"/>
                    <a:pt x="346" y="807"/>
                  </a:cubicBezTo>
                  <a:cubicBezTo>
                    <a:pt x="340" y="816"/>
                    <a:pt x="340" y="816"/>
                    <a:pt x="340" y="816"/>
                  </a:cubicBezTo>
                  <a:cubicBezTo>
                    <a:pt x="340" y="816"/>
                    <a:pt x="350" y="830"/>
                    <a:pt x="341" y="830"/>
                  </a:cubicBezTo>
                  <a:cubicBezTo>
                    <a:pt x="334" y="831"/>
                    <a:pt x="324" y="830"/>
                    <a:pt x="324" y="830"/>
                  </a:cubicBezTo>
                  <a:cubicBezTo>
                    <a:pt x="324" y="818"/>
                    <a:pt x="324" y="818"/>
                    <a:pt x="324" y="818"/>
                  </a:cubicBezTo>
                  <a:cubicBezTo>
                    <a:pt x="316" y="814"/>
                    <a:pt x="316" y="814"/>
                    <a:pt x="316" y="814"/>
                  </a:cubicBezTo>
                  <a:cubicBezTo>
                    <a:pt x="316" y="814"/>
                    <a:pt x="319" y="808"/>
                    <a:pt x="313" y="803"/>
                  </a:cubicBezTo>
                  <a:cubicBezTo>
                    <a:pt x="307" y="798"/>
                    <a:pt x="299" y="792"/>
                    <a:pt x="299" y="792"/>
                  </a:cubicBezTo>
                  <a:cubicBezTo>
                    <a:pt x="299" y="792"/>
                    <a:pt x="299" y="786"/>
                    <a:pt x="295" y="781"/>
                  </a:cubicBezTo>
                  <a:cubicBezTo>
                    <a:pt x="291" y="775"/>
                    <a:pt x="266" y="769"/>
                    <a:pt x="266" y="764"/>
                  </a:cubicBezTo>
                  <a:cubicBezTo>
                    <a:pt x="267" y="758"/>
                    <a:pt x="277" y="754"/>
                    <a:pt x="277" y="754"/>
                  </a:cubicBezTo>
                  <a:cubicBezTo>
                    <a:pt x="275" y="744"/>
                    <a:pt x="275" y="744"/>
                    <a:pt x="275" y="744"/>
                  </a:cubicBezTo>
                  <a:cubicBezTo>
                    <a:pt x="275" y="744"/>
                    <a:pt x="285" y="740"/>
                    <a:pt x="285" y="736"/>
                  </a:cubicBezTo>
                  <a:cubicBezTo>
                    <a:pt x="285" y="730"/>
                    <a:pt x="286" y="722"/>
                    <a:pt x="286" y="722"/>
                  </a:cubicBezTo>
                  <a:cubicBezTo>
                    <a:pt x="291" y="723"/>
                    <a:pt x="297" y="724"/>
                    <a:pt x="297" y="724"/>
                  </a:cubicBezTo>
                  <a:cubicBezTo>
                    <a:pt x="301" y="729"/>
                    <a:pt x="301" y="729"/>
                    <a:pt x="301" y="729"/>
                  </a:cubicBezTo>
                  <a:cubicBezTo>
                    <a:pt x="302" y="726"/>
                    <a:pt x="302" y="726"/>
                    <a:pt x="302" y="726"/>
                  </a:cubicBezTo>
                  <a:cubicBezTo>
                    <a:pt x="310" y="726"/>
                    <a:pt x="310" y="726"/>
                    <a:pt x="310" y="726"/>
                  </a:cubicBezTo>
                  <a:cubicBezTo>
                    <a:pt x="316" y="735"/>
                    <a:pt x="316" y="735"/>
                    <a:pt x="316" y="735"/>
                  </a:cubicBezTo>
                  <a:cubicBezTo>
                    <a:pt x="319" y="732"/>
                    <a:pt x="319" y="732"/>
                    <a:pt x="319" y="732"/>
                  </a:cubicBezTo>
                  <a:cubicBezTo>
                    <a:pt x="325" y="739"/>
                    <a:pt x="325" y="739"/>
                    <a:pt x="325" y="739"/>
                  </a:cubicBezTo>
                  <a:cubicBezTo>
                    <a:pt x="315" y="739"/>
                    <a:pt x="315" y="739"/>
                    <a:pt x="315" y="739"/>
                  </a:cubicBezTo>
                  <a:cubicBezTo>
                    <a:pt x="315" y="739"/>
                    <a:pt x="313" y="742"/>
                    <a:pt x="316" y="743"/>
                  </a:cubicBezTo>
                  <a:cubicBezTo>
                    <a:pt x="319" y="744"/>
                    <a:pt x="321" y="741"/>
                    <a:pt x="321" y="741"/>
                  </a:cubicBezTo>
                  <a:cubicBezTo>
                    <a:pt x="321" y="741"/>
                    <a:pt x="341" y="739"/>
                    <a:pt x="349" y="744"/>
                  </a:cubicBezTo>
                  <a:cubicBezTo>
                    <a:pt x="355" y="751"/>
                    <a:pt x="356" y="755"/>
                    <a:pt x="356" y="755"/>
                  </a:cubicBezTo>
                  <a:cubicBezTo>
                    <a:pt x="366" y="760"/>
                    <a:pt x="366" y="760"/>
                    <a:pt x="366" y="760"/>
                  </a:cubicBezTo>
                  <a:cubicBezTo>
                    <a:pt x="369" y="770"/>
                    <a:pt x="369" y="770"/>
                    <a:pt x="369" y="770"/>
                  </a:cubicBezTo>
                  <a:cubicBezTo>
                    <a:pt x="369" y="770"/>
                    <a:pt x="376" y="771"/>
                    <a:pt x="375" y="778"/>
                  </a:cubicBezTo>
                  <a:close/>
                  <a:moveTo>
                    <a:pt x="464" y="712"/>
                  </a:moveTo>
                  <a:cubicBezTo>
                    <a:pt x="462" y="717"/>
                    <a:pt x="462" y="724"/>
                    <a:pt x="462" y="724"/>
                  </a:cubicBezTo>
                  <a:cubicBezTo>
                    <a:pt x="449" y="726"/>
                    <a:pt x="449" y="726"/>
                    <a:pt x="449" y="726"/>
                  </a:cubicBezTo>
                  <a:cubicBezTo>
                    <a:pt x="449" y="726"/>
                    <a:pt x="454" y="717"/>
                    <a:pt x="446" y="708"/>
                  </a:cubicBezTo>
                  <a:cubicBezTo>
                    <a:pt x="437" y="698"/>
                    <a:pt x="425" y="697"/>
                    <a:pt x="425" y="697"/>
                  </a:cubicBezTo>
                  <a:cubicBezTo>
                    <a:pt x="408" y="694"/>
                    <a:pt x="408" y="694"/>
                    <a:pt x="408" y="694"/>
                  </a:cubicBezTo>
                  <a:cubicBezTo>
                    <a:pt x="388" y="677"/>
                    <a:pt x="388" y="677"/>
                    <a:pt x="388" y="677"/>
                  </a:cubicBezTo>
                  <a:cubicBezTo>
                    <a:pt x="398" y="683"/>
                    <a:pt x="398" y="683"/>
                    <a:pt x="398" y="683"/>
                  </a:cubicBezTo>
                  <a:cubicBezTo>
                    <a:pt x="401" y="683"/>
                    <a:pt x="401" y="683"/>
                    <a:pt x="401" y="683"/>
                  </a:cubicBezTo>
                  <a:cubicBezTo>
                    <a:pt x="401" y="674"/>
                    <a:pt x="401" y="674"/>
                    <a:pt x="401" y="674"/>
                  </a:cubicBezTo>
                  <a:cubicBezTo>
                    <a:pt x="392" y="669"/>
                    <a:pt x="392" y="669"/>
                    <a:pt x="392" y="669"/>
                  </a:cubicBezTo>
                  <a:cubicBezTo>
                    <a:pt x="389" y="667"/>
                    <a:pt x="389" y="667"/>
                    <a:pt x="389" y="667"/>
                  </a:cubicBezTo>
                  <a:cubicBezTo>
                    <a:pt x="381" y="658"/>
                    <a:pt x="381" y="658"/>
                    <a:pt x="381" y="658"/>
                  </a:cubicBezTo>
                  <a:cubicBezTo>
                    <a:pt x="373" y="650"/>
                    <a:pt x="373" y="650"/>
                    <a:pt x="373" y="650"/>
                  </a:cubicBezTo>
                  <a:cubicBezTo>
                    <a:pt x="375" y="650"/>
                    <a:pt x="375" y="650"/>
                    <a:pt x="375" y="650"/>
                  </a:cubicBezTo>
                  <a:cubicBezTo>
                    <a:pt x="384" y="656"/>
                    <a:pt x="384" y="656"/>
                    <a:pt x="384" y="656"/>
                  </a:cubicBezTo>
                  <a:cubicBezTo>
                    <a:pt x="386" y="661"/>
                    <a:pt x="386" y="661"/>
                    <a:pt x="386" y="661"/>
                  </a:cubicBezTo>
                  <a:cubicBezTo>
                    <a:pt x="401" y="669"/>
                    <a:pt x="401" y="669"/>
                    <a:pt x="401" y="669"/>
                  </a:cubicBezTo>
                  <a:cubicBezTo>
                    <a:pt x="401" y="666"/>
                    <a:pt x="401" y="666"/>
                    <a:pt x="401" y="666"/>
                  </a:cubicBezTo>
                  <a:cubicBezTo>
                    <a:pt x="395" y="658"/>
                    <a:pt x="395" y="658"/>
                    <a:pt x="395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85" y="646"/>
                    <a:pt x="385" y="646"/>
                    <a:pt x="385" y="646"/>
                  </a:cubicBezTo>
                  <a:cubicBezTo>
                    <a:pt x="398" y="653"/>
                    <a:pt x="398" y="653"/>
                    <a:pt x="398" y="653"/>
                  </a:cubicBezTo>
                  <a:cubicBezTo>
                    <a:pt x="385" y="638"/>
                    <a:pt x="385" y="638"/>
                    <a:pt x="385" y="638"/>
                  </a:cubicBezTo>
                  <a:cubicBezTo>
                    <a:pt x="385" y="638"/>
                    <a:pt x="401" y="649"/>
                    <a:pt x="402" y="653"/>
                  </a:cubicBezTo>
                  <a:cubicBezTo>
                    <a:pt x="404" y="656"/>
                    <a:pt x="411" y="662"/>
                    <a:pt x="413" y="663"/>
                  </a:cubicBezTo>
                  <a:cubicBezTo>
                    <a:pt x="414" y="663"/>
                    <a:pt x="414" y="660"/>
                    <a:pt x="414" y="660"/>
                  </a:cubicBezTo>
                  <a:cubicBezTo>
                    <a:pt x="414" y="660"/>
                    <a:pt x="407" y="656"/>
                    <a:pt x="408" y="654"/>
                  </a:cubicBezTo>
                  <a:cubicBezTo>
                    <a:pt x="409" y="651"/>
                    <a:pt x="422" y="660"/>
                    <a:pt x="422" y="650"/>
                  </a:cubicBezTo>
                  <a:cubicBezTo>
                    <a:pt x="423" y="641"/>
                    <a:pt x="411" y="632"/>
                    <a:pt x="411" y="632"/>
                  </a:cubicBezTo>
                  <a:cubicBezTo>
                    <a:pt x="405" y="632"/>
                    <a:pt x="405" y="632"/>
                    <a:pt x="405" y="632"/>
                  </a:cubicBezTo>
                  <a:cubicBezTo>
                    <a:pt x="397" y="629"/>
                    <a:pt x="397" y="629"/>
                    <a:pt x="397" y="629"/>
                  </a:cubicBezTo>
                  <a:cubicBezTo>
                    <a:pt x="393" y="629"/>
                    <a:pt x="393" y="629"/>
                    <a:pt x="393" y="629"/>
                  </a:cubicBezTo>
                  <a:cubicBezTo>
                    <a:pt x="404" y="643"/>
                    <a:pt x="404" y="643"/>
                    <a:pt x="404" y="643"/>
                  </a:cubicBezTo>
                  <a:cubicBezTo>
                    <a:pt x="404" y="643"/>
                    <a:pt x="374" y="620"/>
                    <a:pt x="376" y="618"/>
                  </a:cubicBezTo>
                  <a:cubicBezTo>
                    <a:pt x="379" y="615"/>
                    <a:pt x="385" y="620"/>
                    <a:pt x="385" y="620"/>
                  </a:cubicBezTo>
                  <a:cubicBezTo>
                    <a:pt x="385" y="620"/>
                    <a:pt x="390" y="618"/>
                    <a:pt x="393" y="619"/>
                  </a:cubicBezTo>
                  <a:cubicBezTo>
                    <a:pt x="397" y="619"/>
                    <a:pt x="407" y="625"/>
                    <a:pt x="407" y="625"/>
                  </a:cubicBezTo>
                  <a:cubicBezTo>
                    <a:pt x="407" y="625"/>
                    <a:pt x="421" y="622"/>
                    <a:pt x="426" y="632"/>
                  </a:cubicBezTo>
                  <a:cubicBezTo>
                    <a:pt x="433" y="642"/>
                    <a:pt x="424" y="654"/>
                    <a:pt x="429" y="657"/>
                  </a:cubicBezTo>
                  <a:cubicBezTo>
                    <a:pt x="433" y="660"/>
                    <a:pt x="440" y="670"/>
                    <a:pt x="440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8" y="677"/>
                    <a:pt x="448" y="677"/>
                    <a:pt x="448" y="677"/>
                  </a:cubicBezTo>
                  <a:cubicBezTo>
                    <a:pt x="448" y="677"/>
                    <a:pt x="466" y="682"/>
                    <a:pt x="468" y="692"/>
                  </a:cubicBezTo>
                  <a:cubicBezTo>
                    <a:pt x="470" y="702"/>
                    <a:pt x="467" y="707"/>
                    <a:pt x="464" y="71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3" name="Litauen" descr="© INSCALE GmbH, 05.05.2010&#10;http://www.presentationload.com/">
              <a:extLst>
                <a:ext uri="{FF2B5EF4-FFF2-40B4-BE49-F238E27FC236}">
                  <a16:creationId xmlns:a16="http://schemas.microsoft.com/office/drawing/2014/main" id="{41FA55F6-8DB9-EE46-8377-E9170A569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1314" y="3509648"/>
              <a:ext cx="529729" cy="401010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" name="Sp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EFFD3AF0-CFA3-1843-8C92-5D8CC952D9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28478" y="5334821"/>
              <a:ext cx="1506677" cy="1242637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" name="Italien" descr="© INSCALE GmbH, 05.05.2010&#10;http://www.presentationload.com/">
              <a:extLst>
                <a:ext uri="{FF2B5EF4-FFF2-40B4-BE49-F238E27FC236}">
                  <a16:creationId xmlns:a16="http://schemas.microsoft.com/office/drawing/2014/main" id="{43940C29-EB74-654C-AC81-0E5F42E5BE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63553" y="5059231"/>
              <a:ext cx="1407662" cy="1617242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FCE53FAD-B49D-114A-8F48-8D3BBB21AB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529858" y="5691275"/>
              <a:ext cx="47858" cy="41257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" name="Deutsch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8080B04-E69A-C643-A257-81203151C1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50351" y="3808344"/>
              <a:ext cx="909287" cy="1227784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" name="Saudi-Arabien" descr="© INSCALE GmbH, 05.05.2010&#10;http://www.presentationload.com/">
              <a:extLst>
                <a:ext uri="{FF2B5EF4-FFF2-40B4-BE49-F238E27FC236}">
                  <a16:creationId xmlns:a16="http://schemas.microsoft.com/office/drawing/2014/main" id="{40EA2FBF-960D-B249-B720-F96918CB742E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8580" y="6668221"/>
              <a:ext cx="795420" cy="189779"/>
            </a:xfrm>
            <a:custGeom>
              <a:avLst/>
              <a:gdLst/>
              <a:ahLst/>
              <a:cxnLst>
                <a:cxn ang="0">
                  <a:pos x="333" y="80"/>
                </a:cxn>
                <a:cxn ang="0">
                  <a:pos x="333" y="30"/>
                </a:cxn>
                <a:cxn ang="0">
                  <a:pos x="319" y="13"/>
                </a:cxn>
                <a:cxn ang="0">
                  <a:pos x="224" y="11"/>
                </a:cxn>
                <a:cxn ang="0">
                  <a:pos x="122" y="0"/>
                </a:cxn>
                <a:cxn ang="0">
                  <a:pos x="78" y="7"/>
                </a:cxn>
                <a:cxn ang="0">
                  <a:pos x="66" y="29"/>
                </a:cxn>
                <a:cxn ang="0">
                  <a:pos x="15" y="68"/>
                </a:cxn>
                <a:cxn ang="0">
                  <a:pos x="0" y="80"/>
                </a:cxn>
                <a:cxn ang="0">
                  <a:pos x="333" y="80"/>
                </a:cxn>
              </a:cxnLst>
              <a:rect l="0" t="0" r="r" b="b"/>
              <a:pathLst>
                <a:path w="333" h="80">
                  <a:moveTo>
                    <a:pt x="333" y="80"/>
                  </a:moveTo>
                  <a:cubicBezTo>
                    <a:pt x="333" y="30"/>
                    <a:pt x="333" y="30"/>
                    <a:pt x="333" y="30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9" y="13"/>
                    <a:pt x="251" y="13"/>
                    <a:pt x="224" y="11"/>
                  </a:cubicBezTo>
                  <a:cubicBezTo>
                    <a:pt x="197" y="11"/>
                    <a:pt x="135" y="0"/>
                    <a:pt x="122" y="0"/>
                  </a:cubicBezTo>
                  <a:cubicBezTo>
                    <a:pt x="108" y="0"/>
                    <a:pt x="78" y="7"/>
                    <a:pt x="78" y="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25" y="61"/>
                    <a:pt x="15" y="68"/>
                  </a:cubicBezTo>
                  <a:cubicBezTo>
                    <a:pt x="11" y="70"/>
                    <a:pt x="6" y="74"/>
                    <a:pt x="0" y="80"/>
                  </a:cubicBezTo>
                  <a:lnTo>
                    <a:pt x="333" y="8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9" name="Jord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2556CF34-5F6F-8A40-A05E-6560E9DF22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21832" y="6537852"/>
              <a:ext cx="513227" cy="320148"/>
            </a:xfrm>
            <a:custGeom>
              <a:avLst/>
              <a:gdLst/>
              <a:ahLst/>
              <a:cxnLst>
                <a:cxn ang="0">
                  <a:pos x="5" y="128"/>
                </a:cxn>
                <a:cxn ang="0">
                  <a:pos x="7" y="134"/>
                </a:cxn>
                <a:cxn ang="0">
                  <a:pos x="137" y="134"/>
                </a:cxn>
                <a:cxn ang="0">
                  <a:pos x="152" y="122"/>
                </a:cxn>
                <a:cxn ang="0">
                  <a:pos x="203" y="83"/>
                </a:cxn>
                <a:cxn ang="0">
                  <a:pos x="215" y="61"/>
                </a:cxn>
                <a:cxn ang="0">
                  <a:pos x="158" y="0"/>
                </a:cxn>
                <a:cxn ang="0">
                  <a:pos x="76" y="109"/>
                </a:cxn>
                <a:cxn ang="0">
                  <a:pos x="49" y="110"/>
                </a:cxn>
                <a:cxn ang="0">
                  <a:pos x="42" y="105"/>
                </a:cxn>
                <a:cxn ang="0">
                  <a:pos x="34" y="109"/>
                </a:cxn>
                <a:cxn ang="0">
                  <a:pos x="30" y="109"/>
                </a:cxn>
                <a:cxn ang="0">
                  <a:pos x="18" y="99"/>
                </a:cxn>
                <a:cxn ang="0">
                  <a:pos x="5" y="107"/>
                </a:cxn>
                <a:cxn ang="0">
                  <a:pos x="0" y="110"/>
                </a:cxn>
                <a:cxn ang="0">
                  <a:pos x="3" y="120"/>
                </a:cxn>
                <a:cxn ang="0">
                  <a:pos x="5" y="128"/>
                </a:cxn>
              </a:cxnLst>
              <a:rect l="0" t="0" r="r" b="b"/>
              <a:pathLst>
                <a:path w="215" h="134">
                  <a:moveTo>
                    <a:pt x="5" y="128"/>
                  </a:moveTo>
                  <a:cubicBezTo>
                    <a:pt x="7" y="134"/>
                    <a:pt x="7" y="134"/>
                    <a:pt x="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43" y="128"/>
                    <a:pt x="148" y="124"/>
                    <a:pt x="152" y="122"/>
                  </a:cubicBezTo>
                  <a:cubicBezTo>
                    <a:pt x="162" y="115"/>
                    <a:pt x="203" y="83"/>
                    <a:pt x="203" y="83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0"/>
                    <a:pt x="48" y="106"/>
                    <a:pt x="42" y="105"/>
                  </a:cubicBezTo>
                  <a:cubicBezTo>
                    <a:pt x="35" y="105"/>
                    <a:pt x="34" y="109"/>
                    <a:pt x="34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26" y="100"/>
                    <a:pt x="18" y="99"/>
                  </a:cubicBezTo>
                  <a:cubicBezTo>
                    <a:pt x="10" y="99"/>
                    <a:pt x="5" y="107"/>
                    <a:pt x="5" y="10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8"/>
                    <a:pt x="3" y="120"/>
                  </a:cubicBezTo>
                  <a:cubicBezTo>
                    <a:pt x="7" y="123"/>
                    <a:pt x="5" y="128"/>
                    <a:pt x="5" y="12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0" name="Freeform 9" descr="© INSCALE GmbH, 05.05.2010&#10;http://www.presentationload.com/">
              <a:extLst>
                <a:ext uri="{FF2B5EF4-FFF2-40B4-BE49-F238E27FC236}">
                  <a16:creationId xmlns:a16="http://schemas.microsoft.com/office/drawing/2014/main" id="{AF809ACA-1D57-7D48-86F1-A4CAC2CE4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1017" y="5077384"/>
              <a:ext cx="344901" cy="242586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1" name="Freeform 79" descr="© INSCALE GmbH, 05.05.2010&#10;http://www.presentationload.com/">
              <a:extLst>
                <a:ext uri="{FF2B5EF4-FFF2-40B4-BE49-F238E27FC236}">
                  <a16:creationId xmlns:a16="http://schemas.microsoft.com/office/drawing/2014/main" id="{F93E05D2-73D9-D84A-94A9-519D5AB92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3260" y="5561736"/>
              <a:ext cx="207930" cy="26074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9" y="9"/>
                </a:cxn>
                <a:cxn ang="0">
                  <a:pos x="44" y="9"/>
                </a:cxn>
                <a:cxn ang="0">
                  <a:pos x="34" y="2"/>
                </a:cxn>
                <a:cxn ang="0">
                  <a:pos x="32" y="13"/>
                </a:cxn>
                <a:cxn ang="0">
                  <a:pos x="49" y="36"/>
                </a:cxn>
                <a:cxn ang="0">
                  <a:pos x="30" y="32"/>
                </a:cxn>
                <a:cxn ang="0">
                  <a:pos x="13" y="43"/>
                </a:cxn>
                <a:cxn ang="0">
                  <a:pos x="15" y="70"/>
                </a:cxn>
                <a:cxn ang="0">
                  <a:pos x="2" y="78"/>
                </a:cxn>
                <a:cxn ang="0">
                  <a:pos x="3" y="108"/>
                </a:cxn>
                <a:cxn ang="0">
                  <a:pos x="9" y="108"/>
                </a:cxn>
                <a:cxn ang="0">
                  <a:pos x="9" y="127"/>
                </a:cxn>
                <a:cxn ang="0">
                  <a:pos x="0" y="133"/>
                </a:cxn>
                <a:cxn ang="0">
                  <a:pos x="0" y="144"/>
                </a:cxn>
                <a:cxn ang="0">
                  <a:pos x="7" y="148"/>
                </a:cxn>
                <a:cxn ang="0">
                  <a:pos x="19" y="136"/>
                </a:cxn>
                <a:cxn ang="0">
                  <a:pos x="28" y="138"/>
                </a:cxn>
                <a:cxn ang="0">
                  <a:pos x="25" y="159"/>
                </a:cxn>
                <a:cxn ang="0">
                  <a:pos x="34" y="165"/>
                </a:cxn>
                <a:cxn ang="0">
                  <a:pos x="47" y="163"/>
                </a:cxn>
                <a:cxn ang="0">
                  <a:pos x="49" y="170"/>
                </a:cxn>
                <a:cxn ang="0">
                  <a:pos x="72" y="189"/>
                </a:cxn>
                <a:cxn ang="0">
                  <a:pos x="72" y="199"/>
                </a:cxn>
                <a:cxn ang="0">
                  <a:pos x="82" y="205"/>
                </a:cxn>
                <a:cxn ang="0">
                  <a:pos x="93" y="208"/>
                </a:cxn>
                <a:cxn ang="0">
                  <a:pos x="91" y="193"/>
                </a:cxn>
                <a:cxn ang="0">
                  <a:pos x="87" y="174"/>
                </a:cxn>
                <a:cxn ang="0">
                  <a:pos x="82" y="172"/>
                </a:cxn>
                <a:cxn ang="0">
                  <a:pos x="116" y="106"/>
                </a:cxn>
                <a:cxn ang="0">
                  <a:pos x="121" y="108"/>
                </a:cxn>
                <a:cxn ang="0">
                  <a:pos x="121" y="121"/>
                </a:cxn>
                <a:cxn ang="0">
                  <a:pos x="135" y="129"/>
                </a:cxn>
                <a:cxn ang="0">
                  <a:pos x="145" y="122"/>
                </a:cxn>
                <a:cxn ang="0">
                  <a:pos x="140" y="116"/>
                </a:cxn>
                <a:cxn ang="0">
                  <a:pos x="130" y="96"/>
                </a:cxn>
                <a:cxn ang="0">
                  <a:pos x="138" y="90"/>
                </a:cxn>
                <a:cxn ang="0">
                  <a:pos x="146" y="90"/>
                </a:cxn>
                <a:cxn ang="0">
                  <a:pos x="153" y="92"/>
                </a:cxn>
                <a:cxn ang="0">
                  <a:pos x="158" y="83"/>
                </a:cxn>
                <a:cxn ang="0">
                  <a:pos x="164" y="78"/>
                </a:cxn>
                <a:cxn ang="0">
                  <a:pos x="166" y="66"/>
                </a:cxn>
                <a:cxn ang="0">
                  <a:pos x="153" y="63"/>
                </a:cxn>
                <a:cxn ang="0">
                  <a:pos x="120" y="47"/>
                </a:cxn>
                <a:cxn ang="0">
                  <a:pos x="109" y="43"/>
                </a:cxn>
                <a:cxn ang="0">
                  <a:pos x="94" y="30"/>
                </a:cxn>
                <a:cxn ang="0">
                  <a:pos x="78" y="19"/>
                </a:cxn>
                <a:cxn ang="0">
                  <a:pos x="66" y="10"/>
                </a:cxn>
                <a:cxn ang="0">
                  <a:pos x="60" y="0"/>
                </a:cxn>
              </a:cxnLst>
              <a:rect l="0" t="0" r="r" b="b"/>
              <a:pathLst>
                <a:path w="166" h="208">
                  <a:moveTo>
                    <a:pt x="60" y="0"/>
                  </a:moveTo>
                  <a:cubicBezTo>
                    <a:pt x="59" y="9"/>
                    <a:pt x="59" y="9"/>
                    <a:pt x="5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53" y="30"/>
                    <a:pt x="49" y="36"/>
                  </a:cubicBezTo>
                  <a:cubicBezTo>
                    <a:pt x="44" y="42"/>
                    <a:pt x="36" y="32"/>
                    <a:pt x="30" y="32"/>
                  </a:cubicBezTo>
                  <a:cubicBezTo>
                    <a:pt x="21" y="32"/>
                    <a:pt x="15" y="40"/>
                    <a:pt x="13" y="43"/>
                  </a:cubicBezTo>
                  <a:cubicBezTo>
                    <a:pt x="9" y="49"/>
                    <a:pt x="19" y="66"/>
                    <a:pt x="15" y="70"/>
                  </a:cubicBezTo>
                  <a:cubicBezTo>
                    <a:pt x="11" y="72"/>
                    <a:pt x="6" y="72"/>
                    <a:pt x="2" y="78"/>
                  </a:cubicBezTo>
                  <a:cubicBezTo>
                    <a:pt x="0" y="83"/>
                    <a:pt x="3" y="108"/>
                    <a:pt x="3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2" y="199"/>
                    <a:pt x="72" y="199"/>
                    <a:pt x="72" y="199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82" y="172"/>
                    <a:pt x="82" y="172"/>
                    <a:pt x="82" y="172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21" y="108"/>
                    <a:pt x="121" y="108"/>
                    <a:pt x="121" y="108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53" y="63"/>
                    <a:pt x="153" y="63"/>
                    <a:pt x="153" y="63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2" name="Freeform 141" descr="© INSCALE GmbH, 05.05.2010&#10;http://www.presentationload.com/">
              <a:extLst>
                <a:ext uri="{FF2B5EF4-FFF2-40B4-BE49-F238E27FC236}">
                  <a16:creationId xmlns:a16="http://schemas.microsoft.com/office/drawing/2014/main" id="{29987B60-09DE-B649-90F9-CD11C7246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6659" y="5147524"/>
              <a:ext cx="519827" cy="585114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3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F3F863CD-0F50-7045-83C7-04713D0C0D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4838" y="5592658"/>
              <a:ext cx="223776" cy="228166"/>
            </a:xfrm>
            <a:custGeom>
              <a:avLst/>
              <a:gdLst/>
              <a:ahLst/>
              <a:cxnLst>
                <a:cxn ang="0">
                  <a:pos x="63" y="40"/>
                </a:cxn>
                <a:cxn ang="0">
                  <a:pos x="65" y="36"/>
                </a:cxn>
                <a:cxn ang="0">
                  <a:pos x="68" y="29"/>
                </a:cxn>
                <a:cxn ang="0">
                  <a:pos x="66" y="24"/>
                </a:cxn>
                <a:cxn ang="0">
                  <a:pos x="61" y="22"/>
                </a:cxn>
                <a:cxn ang="0">
                  <a:pos x="59" y="21"/>
                </a:cxn>
                <a:cxn ang="0">
                  <a:pos x="54" y="19"/>
                </a:cxn>
                <a:cxn ang="0">
                  <a:pos x="51" y="16"/>
                </a:cxn>
                <a:cxn ang="0">
                  <a:pos x="47" y="15"/>
                </a:cxn>
                <a:cxn ang="0">
                  <a:pos x="44" y="11"/>
                </a:cxn>
                <a:cxn ang="0">
                  <a:pos x="39" y="9"/>
                </a:cxn>
                <a:cxn ang="0">
                  <a:pos x="37" y="8"/>
                </a:cxn>
                <a:cxn ang="0">
                  <a:pos x="34" y="7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1" y="1"/>
                </a:cxn>
                <a:cxn ang="0">
                  <a:pos x="27" y="4"/>
                </a:cxn>
                <a:cxn ang="0">
                  <a:pos x="24" y="9"/>
                </a:cxn>
                <a:cxn ang="0">
                  <a:pos x="25" y="15"/>
                </a:cxn>
                <a:cxn ang="0">
                  <a:pos x="22" y="20"/>
                </a:cxn>
                <a:cxn ang="0">
                  <a:pos x="18" y="24"/>
                </a:cxn>
                <a:cxn ang="0">
                  <a:pos x="10" y="24"/>
                </a:cxn>
                <a:cxn ang="0">
                  <a:pos x="6" y="25"/>
                </a:cxn>
                <a:cxn ang="0">
                  <a:pos x="0" y="27"/>
                </a:cxn>
                <a:cxn ang="0">
                  <a:pos x="5" y="37"/>
                </a:cxn>
                <a:cxn ang="0">
                  <a:pos x="12" y="38"/>
                </a:cxn>
                <a:cxn ang="0">
                  <a:pos x="26" y="48"/>
                </a:cxn>
                <a:cxn ang="0">
                  <a:pos x="29" y="69"/>
                </a:cxn>
                <a:cxn ang="0">
                  <a:pos x="35" y="55"/>
                </a:cxn>
                <a:cxn ang="0">
                  <a:pos x="46" y="47"/>
                </a:cxn>
                <a:cxn ang="0">
                  <a:pos x="58" y="43"/>
                </a:cxn>
                <a:cxn ang="0">
                  <a:pos x="63" y="42"/>
                </a:cxn>
              </a:cxnLst>
              <a:rect l="0" t="0" r="r" b="b"/>
              <a:pathLst>
                <a:path w="68" h="69">
                  <a:moveTo>
                    <a:pt x="63" y="42"/>
                  </a:moveTo>
                  <a:cubicBezTo>
                    <a:pt x="63" y="41"/>
                    <a:pt x="63" y="40"/>
                    <a:pt x="63" y="40"/>
                  </a:cubicBezTo>
                  <a:cubicBezTo>
                    <a:pt x="63" y="40"/>
                    <a:pt x="64" y="39"/>
                    <a:pt x="64" y="38"/>
                  </a:cubicBezTo>
                  <a:cubicBezTo>
                    <a:pt x="64" y="38"/>
                    <a:pt x="65" y="36"/>
                    <a:pt x="65" y="3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8" y="30"/>
                    <a:pt x="68" y="29"/>
                  </a:cubicBezTo>
                  <a:cubicBezTo>
                    <a:pt x="68" y="29"/>
                    <a:pt x="67" y="27"/>
                    <a:pt x="67" y="27"/>
                  </a:cubicBezTo>
                  <a:cubicBezTo>
                    <a:pt x="67" y="27"/>
                    <a:pt x="66" y="24"/>
                    <a:pt x="66" y="24"/>
                  </a:cubicBezTo>
                  <a:cubicBezTo>
                    <a:pt x="65" y="23"/>
                    <a:pt x="63" y="23"/>
                    <a:pt x="63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8" y="16"/>
                    <a:pt x="47" y="15"/>
                    <a:pt x="47" y="15"/>
                  </a:cubicBezTo>
                  <a:cubicBezTo>
                    <a:pt x="47" y="15"/>
                    <a:pt x="47" y="12"/>
                    <a:pt x="47" y="12"/>
                  </a:cubicBezTo>
                  <a:cubicBezTo>
                    <a:pt x="46" y="11"/>
                    <a:pt x="44" y="11"/>
                    <a:pt x="44" y="11"/>
                  </a:cubicBezTo>
                  <a:cubicBezTo>
                    <a:pt x="44" y="11"/>
                    <a:pt x="44" y="9"/>
                    <a:pt x="43" y="9"/>
                  </a:cubicBezTo>
                  <a:cubicBezTo>
                    <a:pt x="42" y="9"/>
                    <a:pt x="40" y="10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8" y="8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2" y="6"/>
                    <a:pt x="33" y="5"/>
                    <a:pt x="34" y="4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1" y="1"/>
                  </a:cubicBezTo>
                  <a:cubicBezTo>
                    <a:pt x="31" y="1"/>
                    <a:pt x="30" y="4"/>
                    <a:pt x="30" y="4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8"/>
                    <a:pt x="24" y="9"/>
                  </a:cubicBezTo>
                  <a:cubicBezTo>
                    <a:pt x="25" y="9"/>
                    <a:pt x="25" y="10"/>
                    <a:pt x="26" y="11"/>
                  </a:cubicBezTo>
                  <a:cubicBezTo>
                    <a:pt x="26" y="11"/>
                    <a:pt x="25" y="15"/>
                    <a:pt x="25" y="15"/>
                  </a:cubicBezTo>
                  <a:cubicBezTo>
                    <a:pt x="25" y="15"/>
                    <a:pt x="23" y="17"/>
                    <a:pt x="22" y="18"/>
                  </a:cubicBezTo>
                  <a:cubicBezTo>
                    <a:pt x="21" y="19"/>
                    <a:pt x="22" y="20"/>
                    <a:pt x="22" y="20"/>
                  </a:cubicBezTo>
                  <a:cubicBezTo>
                    <a:pt x="21" y="21"/>
                    <a:pt x="21" y="22"/>
                    <a:pt x="20" y="23"/>
                  </a:cubicBezTo>
                  <a:cubicBezTo>
                    <a:pt x="20" y="23"/>
                    <a:pt x="18" y="24"/>
                    <a:pt x="1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1" y="36"/>
                    <a:pt x="12" y="38"/>
                  </a:cubicBezTo>
                  <a:cubicBezTo>
                    <a:pt x="14" y="40"/>
                    <a:pt x="15" y="45"/>
                    <a:pt x="15" y="45"/>
                  </a:cubicBezTo>
                  <a:cubicBezTo>
                    <a:pt x="15" y="45"/>
                    <a:pt x="23" y="46"/>
                    <a:pt x="26" y="48"/>
                  </a:cubicBezTo>
                  <a:cubicBezTo>
                    <a:pt x="28" y="52"/>
                    <a:pt x="31" y="59"/>
                    <a:pt x="31" y="5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3" y="58"/>
                    <a:pt x="35" y="55"/>
                  </a:cubicBezTo>
                  <a:cubicBezTo>
                    <a:pt x="37" y="51"/>
                    <a:pt x="42" y="51"/>
                    <a:pt x="42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60" y="43"/>
                    <a:pt x="61" y="43"/>
                  </a:cubicBezTo>
                  <a:cubicBezTo>
                    <a:pt x="62" y="42"/>
                    <a:pt x="63" y="42"/>
                    <a:pt x="63" y="4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4" name="Freeform 7" descr="© INSCALE GmbH, 05.05.2010&#10;http://www.presentationload.com/">
              <a:extLst>
                <a:ext uri="{FF2B5EF4-FFF2-40B4-BE49-F238E27FC236}">
                  <a16:creationId xmlns:a16="http://schemas.microsoft.com/office/drawing/2014/main" id="{0F12AA26-9A8C-D243-8FAD-8ACD6B875E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9195" y="4433787"/>
              <a:ext cx="704656" cy="397709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5" name="Freeform 20" descr="© INSCALE GmbH, 05.05.2010&#10;http://www.presentationload.com/">
              <a:extLst>
                <a:ext uri="{FF2B5EF4-FFF2-40B4-BE49-F238E27FC236}">
                  <a16:creationId xmlns:a16="http://schemas.microsoft.com/office/drawing/2014/main" id="{3D2CD66F-2E2B-FD4B-AABE-3E54572497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30918" y="5130191"/>
              <a:ext cx="668349" cy="613892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6" name="Freeform 26" descr="© INSCALE GmbH, 05.05.2010&#10;http://www.presentationload.com/">
              <a:extLst>
                <a:ext uri="{FF2B5EF4-FFF2-40B4-BE49-F238E27FC236}">
                  <a16:creationId xmlns:a16="http://schemas.microsoft.com/office/drawing/2014/main" id="{1F4AD5A9-1CB7-AE4B-A406-F5C0281171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820" y="4623566"/>
              <a:ext cx="587488" cy="310247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7" name="Freeform 27" descr="© INSCALE GmbH, 05.05.2010&#10;http://www.presentationload.com/">
              <a:extLst>
                <a:ext uri="{FF2B5EF4-FFF2-40B4-BE49-F238E27FC236}">
                  <a16:creationId xmlns:a16="http://schemas.microsoft.com/office/drawing/2014/main" id="{46302BA9-37CC-C045-9471-C3C5ECBCD18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410" y="4762187"/>
              <a:ext cx="716207" cy="478571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8" name="Freeform 32" descr="© INSCALE GmbH, 05.05.2010&#10;http://www.presentationload.com/">
              <a:extLst>
                <a:ext uri="{FF2B5EF4-FFF2-40B4-BE49-F238E27FC236}">
                  <a16:creationId xmlns:a16="http://schemas.microsoft.com/office/drawing/2014/main" id="{FDE6B26E-0DA2-C349-99AB-CE70EEC855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5180" y="4712680"/>
              <a:ext cx="1071010" cy="760763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9" name="Freeform 52" descr="© INSCALE GmbH, 05.05.2010&#10;http://www.presentationload.com/">
              <a:extLst>
                <a:ext uri="{FF2B5EF4-FFF2-40B4-BE49-F238E27FC236}">
                  <a16:creationId xmlns:a16="http://schemas.microsoft.com/office/drawing/2014/main" id="{2D7945EE-E5D4-0C4D-BE10-BFAAC73CAF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4022" y="3836397"/>
              <a:ext cx="1029753" cy="849878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0" name="Frank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4F4FCEBA-5739-0943-B838-DE52D460DB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478" y="4395832"/>
              <a:ext cx="1496774" cy="1554533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1" name="Sch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6D2684C6-DB94-E042-8D36-6E707F59D0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88331" y="1638269"/>
              <a:ext cx="872981" cy="2145322"/>
            </a:xfrm>
            <a:custGeom>
              <a:avLst/>
              <a:gdLst/>
              <a:ahLst/>
              <a:cxnLst>
                <a:cxn ang="0">
                  <a:pos x="336" y="111"/>
                </a:cxn>
                <a:cxn ang="0">
                  <a:pos x="305" y="38"/>
                </a:cxn>
                <a:cxn ang="0">
                  <a:pos x="247" y="2"/>
                </a:cxn>
                <a:cxn ang="0">
                  <a:pos x="194" y="36"/>
                </a:cxn>
                <a:cxn ang="0">
                  <a:pos x="136" y="151"/>
                </a:cxn>
                <a:cxn ang="0">
                  <a:pos x="98" y="268"/>
                </a:cxn>
                <a:cxn ang="0">
                  <a:pos x="33" y="410"/>
                </a:cxn>
                <a:cxn ang="0">
                  <a:pos x="41" y="538"/>
                </a:cxn>
                <a:cxn ang="0">
                  <a:pos x="12" y="671"/>
                </a:cxn>
                <a:cxn ang="0">
                  <a:pos x="9" y="707"/>
                </a:cxn>
                <a:cxn ang="0">
                  <a:pos x="18" y="737"/>
                </a:cxn>
                <a:cxn ang="0">
                  <a:pos x="37" y="779"/>
                </a:cxn>
                <a:cxn ang="0">
                  <a:pos x="52" y="826"/>
                </a:cxn>
                <a:cxn ang="0">
                  <a:pos x="64" y="871"/>
                </a:cxn>
                <a:cxn ang="0">
                  <a:pos x="106" y="895"/>
                </a:cxn>
                <a:cxn ang="0">
                  <a:pos x="172" y="847"/>
                </a:cxn>
                <a:cxn ang="0">
                  <a:pos x="197" y="756"/>
                </a:cxn>
                <a:cxn ang="0">
                  <a:pos x="196" y="719"/>
                </a:cxn>
                <a:cxn ang="0">
                  <a:pos x="192" y="677"/>
                </a:cxn>
                <a:cxn ang="0">
                  <a:pos x="226" y="648"/>
                </a:cxn>
                <a:cxn ang="0">
                  <a:pos x="237" y="628"/>
                </a:cxn>
                <a:cxn ang="0">
                  <a:pos x="267" y="592"/>
                </a:cxn>
                <a:cxn ang="0">
                  <a:pos x="216" y="557"/>
                </a:cxn>
                <a:cxn ang="0">
                  <a:pos x="193" y="502"/>
                </a:cxn>
                <a:cxn ang="0">
                  <a:pos x="201" y="450"/>
                </a:cxn>
                <a:cxn ang="0">
                  <a:pos x="207" y="432"/>
                </a:cxn>
                <a:cxn ang="0">
                  <a:pos x="225" y="405"/>
                </a:cxn>
                <a:cxn ang="0">
                  <a:pos x="233" y="375"/>
                </a:cxn>
                <a:cxn ang="0">
                  <a:pos x="262" y="357"/>
                </a:cxn>
                <a:cxn ang="0">
                  <a:pos x="290" y="333"/>
                </a:cxn>
                <a:cxn ang="0">
                  <a:pos x="309" y="283"/>
                </a:cxn>
                <a:cxn ang="0">
                  <a:pos x="307" y="221"/>
                </a:cxn>
                <a:cxn ang="0">
                  <a:pos x="329" y="199"/>
                </a:cxn>
                <a:cxn ang="0">
                  <a:pos x="365" y="195"/>
                </a:cxn>
                <a:cxn ang="0">
                  <a:pos x="14" y="718"/>
                </a:cxn>
                <a:cxn ang="0">
                  <a:pos x="207" y="765"/>
                </a:cxn>
                <a:cxn ang="0">
                  <a:pos x="190" y="816"/>
                </a:cxn>
                <a:cxn ang="0">
                  <a:pos x="208" y="788"/>
                </a:cxn>
                <a:cxn ang="0">
                  <a:pos x="277" y="731"/>
                </a:cxn>
                <a:cxn ang="0">
                  <a:pos x="248" y="746"/>
                </a:cxn>
                <a:cxn ang="0">
                  <a:pos x="253" y="787"/>
                </a:cxn>
                <a:cxn ang="0">
                  <a:pos x="277" y="750"/>
                </a:cxn>
                <a:cxn ang="0">
                  <a:pos x="281" y="712"/>
                </a:cxn>
                <a:cxn ang="0">
                  <a:pos x="281" y="689"/>
                </a:cxn>
                <a:cxn ang="0">
                  <a:pos x="243" y="630"/>
                </a:cxn>
                <a:cxn ang="0">
                  <a:pos x="258" y="630"/>
                </a:cxn>
                <a:cxn ang="0">
                  <a:pos x="247" y="656"/>
                </a:cxn>
                <a:cxn ang="0">
                  <a:pos x="251" y="636"/>
                </a:cxn>
                <a:cxn ang="0">
                  <a:pos x="241" y="554"/>
                </a:cxn>
                <a:cxn ang="0">
                  <a:pos x="256" y="573"/>
                </a:cxn>
                <a:cxn ang="0">
                  <a:pos x="195" y="740"/>
                </a:cxn>
                <a:cxn ang="0">
                  <a:pos x="205" y="485"/>
                </a:cxn>
                <a:cxn ang="0">
                  <a:pos x="214" y="425"/>
                </a:cxn>
                <a:cxn ang="0">
                  <a:pos x="294" y="343"/>
                </a:cxn>
                <a:cxn ang="0">
                  <a:pos x="307" y="241"/>
                </a:cxn>
                <a:cxn ang="0">
                  <a:pos x="312" y="222"/>
                </a:cxn>
                <a:cxn ang="0">
                  <a:pos x="325" y="217"/>
                </a:cxn>
                <a:cxn ang="0">
                  <a:pos x="356" y="200"/>
                </a:cxn>
              </a:cxnLst>
              <a:rect l="0" t="0" r="r" b="b"/>
              <a:pathLst>
                <a:path w="365" h="899">
                  <a:moveTo>
                    <a:pt x="364" y="188"/>
                  </a:moveTo>
                  <a:cubicBezTo>
                    <a:pt x="364" y="188"/>
                    <a:pt x="359" y="186"/>
                    <a:pt x="358" y="182"/>
                  </a:cubicBezTo>
                  <a:cubicBezTo>
                    <a:pt x="357" y="178"/>
                    <a:pt x="358" y="175"/>
                    <a:pt x="356" y="173"/>
                  </a:cubicBezTo>
                  <a:cubicBezTo>
                    <a:pt x="354" y="172"/>
                    <a:pt x="347" y="171"/>
                    <a:pt x="347" y="167"/>
                  </a:cubicBezTo>
                  <a:cubicBezTo>
                    <a:pt x="348" y="161"/>
                    <a:pt x="348" y="160"/>
                    <a:pt x="348" y="160"/>
                  </a:cubicBezTo>
                  <a:cubicBezTo>
                    <a:pt x="348" y="160"/>
                    <a:pt x="343" y="159"/>
                    <a:pt x="345" y="155"/>
                  </a:cubicBezTo>
                  <a:cubicBezTo>
                    <a:pt x="348" y="150"/>
                    <a:pt x="353" y="147"/>
                    <a:pt x="352" y="144"/>
                  </a:cubicBezTo>
                  <a:cubicBezTo>
                    <a:pt x="350" y="140"/>
                    <a:pt x="348" y="136"/>
                    <a:pt x="348" y="136"/>
                  </a:cubicBezTo>
                  <a:cubicBezTo>
                    <a:pt x="348" y="136"/>
                    <a:pt x="349" y="129"/>
                    <a:pt x="347" y="125"/>
                  </a:cubicBezTo>
                  <a:cubicBezTo>
                    <a:pt x="345" y="122"/>
                    <a:pt x="336" y="117"/>
                    <a:pt x="336" y="111"/>
                  </a:cubicBezTo>
                  <a:cubicBezTo>
                    <a:pt x="336" y="106"/>
                    <a:pt x="337" y="104"/>
                    <a:pt x="337" y="104"/>
                  </a:cubicBezTo>
                  <a:cubicBezTo>
                    <a:pt x="340" y="101"/>
                    <a:pt x="340" y="101"/>
                    <a:pt x="340" y="101"/>
                  </a:cubicBezTo>
                  <a:cubicBezTo>
                    <a:pt x="339" y="95"/>
                    <a:pt x="339" y="95"/>
                    <a:pt x="339" y="95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93"/>
                    <a:pt x="330" y="87"/>
                    <a:pt x="328" y="81"/>
                  </a:cubicBezTo>
                  <a:cubicBezTo>
                    <a:pt x="327" y="77"/>
                    <a:pt x="325" y="74"/>
                    <a:pt x="326" y="69"/>
                  </a:cubicBezTo>
                  <a:cubicBezTo>
                    <a:pt x="327" y="65"/>
                    <a:pt x="332" y="65"/>
                    <a:pt x="330" y="62"/>
                  </a:cubicBezTo>
                  <a:cubicBezTo>
                    <a:pt x="328" y="59"/>
                    <a:pt x="319" y="50"/>
                    <a:pt x="319" y="50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53"/>
                    <a:pt x="314" y="43"/>
                    <a:pt x="305" y="38"/>
                  </a:cubicBezTo>
                  <a:cubicBezTo>
                    <a:pt x="295" y="33"/>
                    <a:pt x="282" y="31"/>
                    <a:pt x="282" y="31"/>
                  </a:cubicBezTo>
                  <a:cubicBezTo>
                    <a:pt x="278" y="27"/>
                    <a:pt x="278" y="27"/>
                    <a:pt x="278" y="27"/>
                  </a:cubicBezTo>
                  <a:cubicBezTo>
                    <a:pt x="274" y="27"/>
                    <a:pt x="274" y="27"/>
                    <a:pt x="274" y="27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0" y="5"/>
                    <a:pt x="250" y="5"/>
                    <a:pt x="250" y="5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30" y="2"/>
                    <a:pt x="237" y="11"/>
                    <a:pt x="238" y="17"/>
                  </a:cubicBezTo>
                  <a:cubicBezTo>
                    <a:pt x="239" y="25"/>
                    <a:pt x="231" y="34"/>
                    <a:pt x="231" y="34"/>
                  </a:cubicBezTo>
                  <a:cubicBezTo>
                    <a:pt x="239" y="38"/>
                    <a:pt x="239" y="38"/>
                    <a:pt x="239" y="38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198" y="41"/>
                    <a:pt x="198" y="41"/>
                    <a:pt x="198" y="41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9" y="56"/>
                    <a:pt x="188" y="61"/>
                  </a:cubicBezTo>
                  <a:cubicBezTo>
                    <a:pt x="186" y="66"/>
                    <a:pt x="183" y="77"/>
                    <a:pt x="183" y="77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4"/>
                    <a:pt x="149" y="101"/>
                    <a:pt x="149" y="106"/>
                  </a:cubicBezTo>
                  <a:cubicBezTo>
                    <a:pt x="148" y="111"/>
                    <a:pt x="140" y="109"/>
                    <a:pt x="140" y="109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7" y="127"/>
                    <a:pt x="148" y="135"/>
                  </a:cubicBezTo>
                  <a:cubicBezTo>
                    <a:pt x="150" y="141"/>
                    <a:pt x="144" y="143"/>
                    <a:pt x="136" y="151"/>
                  </a:cubicBezTo>
                  <a:cubicBezTo>
                    <a:pt x="130" y="157"/>
                    <a:pt x="132" y="162"/>
                    <a:pt x="130" y="169"/>
                  </a:cubicBezTo>
                  <a:cubicBezTo>
                    <a:pt x="128" y="175"/>
                    <a:pt x="123" y="176"/>
                    <a:pt x="123" y="176"/>
                  </a:cubicBezTo>
                  <a:cubicBezTo>
                    <a:pt x="126" y="189"/>
                    <a:pt x="126" y="189"/>
                    <a:pt x="126" y="18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00" y="201"/>
                    <a:pt x="100" y="201"/>
                    <a:pt x="100" y="201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03" y="253"/>
                    <a:pt x="103" y="253"/>
                    <a:pt x="103" y="253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79" y="300"/>
                    <a:pt x="79" y="300"/>
                    <a:pt x="79" y="300"/>
                  </a:cubicBezTo>
                  <a:cubicBezTo>
                    <a:pt x="93" y="310"/>
                    <a:pt x="93" y="310"/>
                    <a:pt x="93" y="310"/>
                  </a:cubicBezTo>
                  <a:cubicBezTo>
                    <a:pt x="94" y="325"/>
                    <a:pt x="94" y="325"/>
                    <a:pt x="94" y="325"/>
                  </a:cubicBezTo>
                  <a:cubicBezTo>
                    <a:pt x="89" y="337"/>
                    <a:pt x="89" y="337"/>
                    <a:pt x="89" y="337"/>
                  </a:cubicBezTo>
                  <a:cubicBezTo>
                    <a:pt x="89" y="337"/>
                    <a:pt x="69" y="331"/>
                    <a:pt x="59" y="334"/>
                  </a:cubicBezTo>
                  <a:cubicBezTo>
                    <a:pt x="47" y="337"/>
                    <a:pt x="35" y="365"/>
                    <a:pt x="35" y="365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30" y="385"/>
                    <a:pt x="30" y="385"/>
                    <a:pt x="30" y="385"/>
                  </a:cubicBezTo>
                  <a:cubicBezTo>
                    <a:pt x="37" y="404"/>
                    <a:pt x="37" y="404"/>
                    <a:pt x="37" y="404"/>
                  </a:cubicBezTo>
                  <a:cubicBezTo>
                    <a:pt x="33" y="410"/>
                    <a:pt x="33" y="410"/>
                    <a:pt x="33" y="410"/>
                  </a:cubicBezTo>
                  <a:cubicBezTo>
                    <a:pt x="36" y="421"/>
                    <a:pt x="36" y="421"/>
                    <a:pt x="36" y="421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41" y="452"/>
                    <a:pt x="41" y="452"/>
                    <a:pt x="41" y="452"/>
                  </a:cubicBezTo>
                  <a:cubicBezTo>
                    <a:pt x="35" y="487"/>
                    <a:pt x="35" y="487"/>
                    <a:pt x="35" y="487"/>
                  </a:cubicBezTo>
                  <a:cubicBezTo>
                    <a:pt x="45" y="497"/>
                    <a:pt x="45" y="497"/>
                    <a:pt x="45" y="497"/>
                  </a:cubicBezTo>
                  <a:cubicBezTo>
                    <a:pt x="45" y="497"/>
                    <a:pt x="50" y="500"/>
                    <a:pt x="54" y="503"/>
                  </a:cubicBezTo>
                  <a:cubicBezTo>
                    <a:pt x="58" y="507"/>
                    <a:pt x="59" y="511"/>
                    <a:pt x="55" y="523"/>
                  </a:cubicBezTo>
                  <a:cubicBezTo>
                    <a:pt x="53" y="535"/>
                    <a:pt x="45" y="529"/>
                    <a:pt x="45" y="529"/>
                  </a:cubicBezTo>
                  <a:cubicBezTo>
                    <a:pt x="36" y="532"/>
                    <a:pt x="36" y="532"/>
                    <a:pt x="36" y="532"/>
                  </a:cubicBezTo>
                  <a:cubicBezTo>
                    <a:pt x="41" y="538"/>
                    <a:pt x="41" y="538"/>
                    <a:pt x="41" y="538"/>
                  </a:cubicBezTo>
                  <a:cubicBezTo>
                    <a:pt x="43" y="547"/>
                    <a:pt x="43" y="547"/>
                    <a:pt x="43" y="547"/>
                  </a:cubicBezTo>
                  <a:cubicBezTo>
                    <a:pt x="43" y="547"/>
                    <a:pt x="49" y="561"/>
                    <a:pt x="51" y="568"/>
                  </a:cubicBezTo>
                  <a:cubicBezTo>
                    <a:pt x="54" y="576"/>
                    <a:pt x="46" y="572"/>
                    <a:pt x="45" y="577"/>
                  </a:cubicBezTo>
                  <a:cubicBezTo>
                    <a:pt x="44" y="581"/>
                    <a:pt x="48" y="584"/>
                    <a:pt x="45" y="597"/>
                  </a:cubicBezTo>
                  <a:cubicBezTo>
                    <a:pt x="41" y="609"/>
                    <a:pt x="30" y="603"/>
                    <a:pt x="26" y="607"/>
                  </a:cubicBezTo>
                  <a:cubicBezTo>
                    <a:pt x="21" y="610"/>
                    <a:pt x="28" y="611"/>
                    <a:pt x="27" y="616"/>
                  </a:cubicBezTo>
                  <a:cubicBezTo>
                    <a:pt x="27" y="620"/>
                    <a:pt x="21" y="619"/>
                    <a:pt x="19" y="623"/>
                  </a:cubicBezTo>
                  <a:cubicBezTo>
                    <a:pt x="16" y="625"/>
                    <a:pt x="25" y="643"/>
                    <a:pt x="25" y="643"/>
                  </a:cubicBezTo>
                  <a:cubicBezTo>
                    <a:pt x="25" y="643"/>
                    <a:pt x="21" y="651"/>
                    <a:pt x="19" y="658"/>
                  </a:cubicBezTo>
                  <a:cubicBezTo>
                    <a:pt x="17" y="665"/>
                    <a:pt x="16" y="671"/>
                    <a:pt x="12" y="671"/>
                  </a:cubicBezTo>
                  <a:cubicBezTo>
                    <a:pt x="8" y="671"/>
                    <a:pt x="11" y="662"/>
                    <a:pt x="10" y="657"/>
                  </a:cubicBezTo>
                  <a:cubicBezTo>
                    <a:pt x="9" y="652"/>
                    <a:pt x="1" y="657"/>
                    <a:pt x="1" y="657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0" y="664"/>
                    <a:pt x="3" y="668"/>
                    <a:pt x="3" y="673"/>
                  </a:cubicBezTo>
                  <a:cubicBezTo>
                    <a:pt x="3" y="676"/>
                    <a:pt x="0" y="679"/>
                    <a:pt x="0" y="679"/>
                  </a:cubicBezTo>
                  <a:cubicBezTo>
                    <a:pt x="0" y="679"/>
                    <a:pt x="5" y="693"/>
                    <a:pt x="5" y="696"/>
                  </a:cubicBezTo>
                  <a:cubicBezTo>
                    <a:pt x="5" y="699"/>
                    <a:pt x="1" y="699"/>
                    <a:pt x="1" y="699"/>
                  </a:cubicBezTo>
                  <a:cubicBezTo>
                    <a:pt x="2" y="703"/>
                    <a:pt x="2" y="703"/>
                    <a:pt x="2" y="703"/>
                  </a:cubicBezTo>
                  <a:cubicBezTo>
                    <a:pt x="2" y="703"/>
                    <a:pt x="6" y="700"/>
                    <a:pt x="9" y="702"/>
                  </a:cubicBezTo>
                  <a:cubicBezTo>
                    <a:pt x="10" y="703"/>
                    <a:pt x="9" y="707"/>
                    <a:pt x="9" y="707"/>
                  </a:cubicBezTo>
                  <a:cubicBezTo>
                    <a:pt x="11" y="707"/>
                    <a:pt x="11" y="707"/>
                    <a:pt x="11" y="707"/>
                  </a:cubicBezTo>
                  <a:cubicBezTo>
                    <a:pt x="14" y="697"/>
                    <a:pt x="14" y="697"/>
                    <a:pt x="14" y="697"/>
                  </a:cubicBezTo>
                  <a:cubicBezTo>
                    <a:pt x="17" y="700"/>
                    <a:pt x="17" y="700"/>
                    <a:pt x="17" y="700"/>
                  </a:cubicBezTo>
                  <a:cubicBezTo>
                    <a:pt x="10" y="710"/>
                    <a:pt x="10" y="710"/>
                    <a:pt x="10" y="710"/>
                  </a:cubicBezTo>
                  <a:cubicBezTo>
                    <a:pt x="10" y="712"/>
                    <a:pt x="10" y="712"/>
                    <a:pt x="10" y="712"/>
                  </a:cubicBezTo>
                  <a:cubicBezTo>
                    <a:pt x="25" y="704"/>
                    <a:pt x="25" y="704"/>
                    <a:pt x="25" y="704"/>
                  </a:cubicBezTo>
                  <a:cubicBezTo>
                    <a:pt x="22" y="709"/>
                    <a:pt x="22" y="709"/>
                    <a:pt x="22" y="709"/>
                  </a:cubicBezTo>
                  <a:cubicBezTo>
                    <a:pt x="25" y="713"/>
                    <a:pt x="25" y="713"/>
                    <a:pt x="25" y="713"/>
                  </a:cubicBezTo>
                  <a:cubicBezTo>
                    <a:pt x="21" y="730"/>
                    <a:pt x="21" y="730"/>
                    <a:pt x="21" y="730"/>
                  </a:cubicBezTo>
                  <a:cubicBezTo>
                    <a:pt x="18" y="737"/>
                    <a:pt x="18" y="737"/>
                    <a:pt x="18" y="737"/>
                  </a:cubicBezTo>
                  <a:cubicBezTo>
                    <a:pt x="22" y="741"/>
                    <a:pt x="22" y="741"/>
                    <a:pt x="22" y="741"/>
                  </a:cubicBezTo>
                  <a:cubicBezTo>
                    <a:pt x="17" y="746"/>
                    <a:pt x="17" y="746"/>
                    <a:pt x="17" y="746"/>
                  </a:cubicBezTo>
                  <a:cubicBezTo>
                    <a:pt x="22" y="746"/>
                    <a:pt x="22" y="746"/>
                    <a:pt x="22" y="746"/>
                  </a:cubicBezTo>
                  <a:cubicBezTo>
                    <a:pt x="24" y="746"/>
                    <a:pt x="26" y="754"/>
                    <a:pt x="26" y="757"/>
                  </a:cubicBezTo>
                  <a:cubicBezTo>
                    <a:pt x="26" y="761"/>
                    <a:pt x="27" y="768"/>
                    <a:pt x="29" y="768"/>
                  </a:cubicBezTo>
                  <a:cubicBezTo>
                    <a:pt x="31" y="768"/>
                    <a:pt x="32" y="761"/>
                    <a:pt x="32" y="761"/>
                  </a:cubicBezTo>
                  <a:cubicBezTo>
                    <a:pt x="32" y="770"/>
                    <a:pt x="32" y="770"/>
                    <a:pt x="32" y="770"/>
                  </a:cubicBezTo>
                  <a:cubicBezTo>
                    <a:pt x="34" y="771"/>
                    <a:pt x="34" y="771"/>
                    <a:pt x="34" y="771"/>
                  </a:cubicBezTo>
                  <a:cubicBezTo>
                    <a:pt x="32" y="777"/>
                    <a:pt x="32" y="777"/>
                    <a:pt x="32" y="777"/>
                  </a:cubicBezTo>
                  <a:cubicBezTo>
                    <a:pt x="37" y="779"/>
                    <a:pt x="37" y="779"/>
                    <a:pt x="37" y="779"/>
                  </a:cubicBezTo>
                  <a:cubicBezTo>
                    <a:pt x="37" y="786"/>
                    <a:pt x="37" y="786"/>
                    <a:pt x="37" y="786"/>
                  </a:cubicBezTo>
                  <a:cubicBezTo>
                    <a:pt x="42" y="791"/>
                    <a:pt x="42" y="791"/>
                    <a:pt x="42" y="791"/>
                  </a:cubicBezTo>
                  <a:cubicBezTo>
                    <a:pt x="42" y="796"/>
                    <a:pt x="42" y="796"/>
                    <a:pt x="42" y="796"/>
                  </a:cubicBezTo>
                  <a:cubicBezTo>
                    <a:pt x="48" y="804"/>
                    <a:pt x="48" y="804"/>
                    <a:pt x="48" y="804"/>
                  </a:cubicBezTo>
                  <a:cubicBezTo>
                    <a:pt x="50" y="803"/>
                    <a:pt x="50" y="803"/>
                    <a:pt x="50" y="803"/>
                  </a:cubicBezTo>
                  <a:cubicBezTo>
                    <a:pt x="50" y="803"/>
                    <a:pt x="52" y="815"/>
                    <a:pt x="55" y="816"/>
                  </a:cubicBezTo>
                  <a:cubicBezTo>
                    <a:pt x="60" y="818"/>
                    <a:pt x="61" y="814"/>
                    <a:pt x="61" y="814"/>
                  </a:cubicBezTo>
                  <a:cubicBezTo>
                    <a:pt x="61" y="814"/>
                    <a:pt x="64" y="822"/>
                    <a:pt x="64" y="825"/>
                  </a:cubicBezTo>
                  <a:cubicBezTo>
                    <a:pt x="64" y="829"/>
                    <a:pt x="58" y="828"/>
                    <a:pt x="58" y="828"/>
                  </a:cubicBezTo>
                  <a:cubicBezTo>
                    <a:pt x="58" y="828"/>
                    <a:pt x="57" y="823"/>
                    <a:pt x="52" y="826"/>
                  </a:cubicBezTo>
                  <a:cubicBezTo>
                    <a:pt x="48" y="830"/>
                    <a:pt x="58" y="834"/>
                    <a:pt x="58" y="834"/>
                  </a:cubicBezTo>
                  <a:cubicBezTo>
                    <a:pt x="58" y="834"/>
                    <a:pt x="61" y="839"/>
                    <a:pt x="59" y="841"/>
                  </a:cubicBezTo>
                  <a:cubicBezTo>
                    <a:pt x="55" y="844"/>
                    <a:pt x="51" y="838"/>
                    <a:pt x="49" y="837"/>
                  </a:cubicBezTo>
                  <a:cubicBezTo>
                    <a:pt x="47" y="835"/>
                    <a:pt x="44" y="835"/>
                    <a:pt x="43" y="836"/>
                  </a:cubicBezTo>
                  <a:cubicBezTo>
                    <a:pt x="42" y="837"/>
                    <a:pt x="47" y="839"/>
                    <a:pt x="47" y="839"/>
                  </a:cubicBezTo>
                  <a:cubicBezTo>
                    <a:pt x="48" y="844"/>
                    <a:pt x="48" y="844"/>
                    <a:pt x="48" y="844"/>
                  </a:cubicBezTo>
                  <a:cubicBezTo>
                    <a:pt x="48" y="844"/>
                    <a:pt x="54" y="852"/>
                    <a:pt x="58" y="856"/>
                  </a:cubicBezTo>
                  <a:cubicBezTo>
                    <a:pt x="61" y="861"/>
                    <a:pt x="61" y="865"/>
                    <a:pt x="61" y="865"/>
                  </a:cubicBezTo>
                  <a:cubicBezTo>
                    <a:pt x="65" y="866"/>
                    <a:pt x="65" y="866"/>
                    <a:pt x="65" y="866"/>
                  </a:cubicBezTo>
                  <a:cubicBezTo>
                    <a:pt x="64" y="871"/>
                    <a:pt x="64" y="871"/>
                    <a:pt x="64" y="871"/>
                  </a:cubicBezTo>
                  <a:cubicBezTo>
                    <a:pt x="64" y="871"/>
                    <a:pt x="67" y="871"/>
                    <a:pt x="69" y="877"/>
                  </a:cubicBezTo>
                  <a:cubicBezTo>
                    <a:pt x="71" y="881"/>
                    <a:pt x="64" y="882"/>
                    <a:pt x="64" y="882"/>
                  </a:cubicBezTo>
                  <a:cubicBezTo>
                    <a:pt x="64" y="888"/>
                    <a:pt x="64" y="888"/>
                    <a:pt x="64" y="888"/>
                  </a:cubicBezTo>
                  <a:cubicBezTo>
                    <a:pt x="64" y="888"/>
                    <a:pt x="67" y="891"/>
                    <a:pt x="66" y="894"/>
                  </a:cubicBezTo>
                  <a:cubicBezTo>
                    <a:pt x="65" y="896"/>
                    <a:pt x="62" y="893"/>
                    <a:pt x="62" y="893"/>
                  </a:cubicBezTo>
                  <a:cubicBezTo>
                    <a:pt x="61" y="897"/>
                    <a:pt x="61" y="897"/>
                    <a:pt x="61" y="897"/>
                  </a:cubicBezTo>
                  <a:cubicBezTo>
                    <a:pt x="65" y="896"/>
                    <a:pt x="65" y="896"/>
                    <a:pt x="65" y="896"/>
                  </a:cubicBezTo>
                  <a:cubicBezTo>
                    <a:pt x="65" y="896"/>
                    <a:pt x="78" y="899"/>
                    <a:pt x="82" y="899"/>
                  </a:cubicBezTo>
                  <a:cubicBezTo>
                    <a:pt x="85" y="899"/>
                    <a:pt x="91" y="895"/>
                    <a:pt x="97" y="893"/>
                  </a:cubicBezTo>
                  <a:cubicBezTo>
                    <a:pt x="103" y="891"/>
                    <a:pt x="106" y="895"/>
                    <a:pt x="106" y="895"/>
                  </a:cubicBezTo>
                  <a:cubicBezTo>
                    <a:pt x="112" y="894"/>
                    <a:pt x="112" y="894"/>
                    <a:pt x="112" y="894"/>
                  </a:cubicBezTo>
                  <a:cubicBezTo>
                    <a:pt x="112" y="894"/>
                    <a:pt x="117" y="885"/>
                    <a:pt x="118" y="880"/>
                  </a:cubicBezTo>
                  <a:cubicBezTo>
                    <a:pt x="119" y="876"/>
                    <a:pt x="111" y="875"/>
                    <a:pt x="111" y="869"/>
                  </a:cubicBezTo>
                  <a:cubicBezTo>
                    <a:pt x="111" y="865"/>
                    <a:pt x="118" y="854"/>
                    <a:pt x="120" y="852"/>
                  </a:cubicBezTo>
                  <a:cubicBezTo>
                    <a:pt x="123" y="851"/>
                    <a:pt x="129" y="855"/>
                    <a:pt x="131" y="854"/>
                  </a:cubicBezTo>
                  <a:cubicBezTo>
                    <a:pt x="133" y="852"/>
                    <a:pt x="129" y="844"/>
                    <a:pt x="129" y="844"/>
                  </a:cubicBezTo>
                  <a:cubicBezTo>
                    <a:pt x="147" y="842"/>
                    <a:pt x="147" y="842"/>
                    <a:pt x="147" y="842"/>
                  </a:cubicBezTo>
                  <a:cubicBezTo>
                    <a:pt x="155" y="844"/>
                    <a:pt x="155" y="844"/>
                    <a:pt x="155" y="844"/>
                  </a:cubicBezTo>
                  <a:cubicBezTo>
                    <a:pt x="161" y="839"/>
                    <a:pt x="161" y="839"/>
                    <a:pt x="161" y="839"/>
                  </a:cubicBezTo>
                  <a:cubicBezTo>
                    <a:pt x="172" y="847"/>
                    <a:pt x="172" y="847"/>
                    <a:pt x="172" y="847"/>
                  </a:cubicBezTo>
                  <a:cubicBezTo>
                    <a:pt x="172" y="847"/>
                    <a:pt x="176" y="838"/>
                    <a:pt x="178" y="837"/>
                  </a:cubicBezTo>
                  <a:cubicBezTo>
                    <a:pt x="179" y="835"/>
                    <a:pt x="181" y="820"/>
                    <a:pt x="181" y="820"/>
                  </a:cubicBezTo>
                  <a:cubicBezTo>
                    <a:pt x="184" y="810"/>
                    <a:pt x="184" y="810"/>
                    <a:pt x="184" y="810"/>
                  </a:cubicBezTo>
                  <a:cubicBezTo>
                    <a:pt x="188" y="807"/>
                    <a:pt x="188" y="807"/>
                    <a:pt x="188" y="807"/>
                  </a:cubicBezTo>
                  <a:cubicBezTo>
                    <a:pt x="192" y="791"/>
                    <a:pt x="192" y="791"/>
                    <a:pt x="192" y="791"/>
                  </a:cubicBezTo>
                  <a:cubicBezTo>
                    <a:pt x="190" y="785"/>
                    <a:pt x="190" y="785"/>
                    <a:pt x="190" y="785"/>
                  </a:cubicBezTo>
                  <a:cubicBezTo>
                    <a:pt x="190" y="785"/>
                    <a:pt x="193" y="784"/>
                    <a:pt x="194" y="781"/>
                  </a:cubicBezTo>
                  <a:cubicBezTo>
                    <a:pt x="195" y="777"/>
                    <a:pt x="191" y="775"/>
                    <a:pt x="191" y="775"/>
                  </a:cubicBezTo>
                  <a:cubicBezTo>
                    <a:pt x="192" y="761"/>
                    <a:pt x="192" y="761"/>
                    <a:pt x="192" y="761"/>
                  </a:cubicBezTo>
                  <a:cubicBezTo>
                    <a:pt x="192" y="761"/>
                    <a:pt x="195" y="762"/>
                    <a:pt x="197" y="756"/>
                  </a:cubicBezTo>
                  <a:cubicBezTo>
                    <a:pt x="200" y="751"/>
                    <a:pt x="191" y="746"/>
                    <a:pt x="191" y="746"/>
                  </a:cubicBezTo>
                  <a:cubicBezTo>
                    <a:pt x="193" y="744"/>
                    <a:pt x="193" y="744"/>
                    <a:pt x="193" y="744"/>
                  </a:cubicBezTo>
                  <a:cubicBezTo>
                    <a:pt x="194" y="735"/>
                    <a:pt x="194" y="735"/>
                    <a:pt x="194" y="735"/>
                  </a:cubicBezTo>
                  <a:cubicBezTo>
                    <a:pt x="192" y="728"/>
                    <a:pt x="192" y="728"/>
                    <a:pt x="192" y="728"/>
                  </a:cubicBezTo>
                  <a:cubicBezTo>
                    <a:pt x="188" y="728"/>
                    <a:pt x="188" y="728"/>
                    <a:pt x="188" y="728"/>
                  </a:cubicBezTo>
                  <a:cubicBezTo>
                    <a:pt x="188" y="728"/>
                    <a:pt x="188" y="726"/>
                    <a:pt x="191" y="725"/>
                  </a:cubicBezTo>
                  <a:cubicBezTo>
                    <a:pt x="195" y="725"/>
                    <a:pt x="198" y="728"/>
                    <a:pt x="198" y="728"/>
                  </a:cubicBezTo>
                  <a:cubicBezTo>
                    <a:pt x="197" y="722"/>
                    <a:pt x="197" y="722"/>
                    <a:pt x="197" y="722"/>
                  </a:cubicBezTo>
                  <a:cubicBezTo>
                    <a:pt x="193" y="720"/>
                    <a:pt x="193" y="720"/>
                    <a:pt x="193" y="720"/>
                  </a:cubicBezTo>
                  <a:cubicBezTo>
                    <a:pt x="196" y="719"/>
                    <a:pt x="196" y="719"/>
                    <a:pt x="196" y="719"/>
                  </a:cubicBezTo>
                  <a:cubicBezTo>
                    <a:pt x="196" y="719"/>
                    <a:pt x="196" y="711"/>
                    <a:pt x="198" y="707"/>
                  </a:cubicBezTo>
                  <a:cubicBezTo>
                    <a:pt x="201" y="703"/>
                    <a:pt x="192" y="698"/>
                    <a:pt x="192" y="698"/>
                  </a:cubicBezTo>
                  <a:cubicBezTo>
                    <a:pt x="195" y="697"/>
                    <a:pt x="195" y="697"/>
                    <a:pt x="195" y="697"/>
                  </a:cubicBezTo>
                  <a:cubicBezTo>
                    <a:pt x="192" y="692"/>
                    <a:pt x="192" y="692"/>
                    <a:pt x="192" y="692"/>
                  </a:cubicBezTo>
                  <a:cubicBezTo>
                    <a:pt x="192" y="692"/>
                    <a:pt x="198" y="694"/>
                    <a:pt x="201" y="687"/>
                  </a:cubicBezTo>
                  <a:cubicBezTo>
                    <a:pt x="204" y="679"/>
                    <a:pt x="183" y="679"/>
                    <a:pt x="183" y="679"/>
                  </a:cubicBezTo>
                  <a:cubicBezTo>
                    <a:pt x="182" y="682"/>
                    <a:pt x="182" y="682"/>
                    <a:pt x="182" y="682"/>
                  </a:cubicBezTo>
                  <a:cubicBezTo>
                    <a:pt x="176" y="681"/>
                    <a:pt x="176" y="681"/>
                    <a:pt x="176" y="681"/>
                  </a:cubicBezTo>
                  <a:cubicBezTo>
                    <a:pt x="176" y="677"/>
                    <a:pt x="176" y="677"/>
                    <a:pt x="176" y="677"/>
                  </a:cubicBezTo>
                  <a:cubicBezTo>
                    <a:pt x="192" y="677"/>
                    <a:pt x="192" y="677"/>
                    <a:pt x="192" y="677"/>
                  </a:cubicBezTo>
                  <a:cubicBezTo>
                    <a:pt x="195" y="677"/>
                    <a:pt x="201" y="680"/>
                    <a:pt x="201" y="680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2" y="668"/>
                    <a:pt x="202" y="668"/>
                    <a:pt x="202" y="668"/>
                  </a:cubicBezTo>
                  <a:cubicBezTo>
                    <a:pt x="208" y="672"/>
                    <a:pt x="208" y="672"/>
                    <a:pt x="208" y="672"/>
                  </a:cubicBezTo>
                  <a:cubicBezTo>
                    <a:pt x="208" y="672"/>
                    <a:pt x="212" y="671"/>
                    <a:pt x="213" y="671"/>
                  </a:cubicBezTo>
                  <a:cubicBezTo>
                    <a:pt x="214" y="671"/>
                    <a:pt x="218" y="666"/>
                    <a:pt x="218" y="666"/>
                  </a:cubicBezTo>
                  <a:cubicBezTo>
                    <a:pt x="218" y="661"/>
                    <a:pt x="218" y="661"/>
                    <a:pt x="218" y="661"/>
                  </a:cubicBezTo>
                  <a:cubicBezTo>
                    <a:pt x="222" y="662"/>
                    <a:pt x="222" y="662"/>
                    <a:pt x="222" y="662"/>
                  </a:cubicBezTo>
                  <a:cubicBezTo>
                    <a:pt x="223" y="647"/>
                    <a:pt x="223" y="647"/>
                    <a:pt x="223" y="647"/>
                  </a:cubicBezTo>
                  <a:cubicBezTo>
                    <a:pt x="226" y="648"/>
                    <a:pt x="226" y="648"/>
                    <a:pt x="226" y="648"/>
                  </a:cubicBezTo>
                  <a:cubicBezTo>
                    <a:pt x="228" y="658"/>
                    <a:pt x="228" y="658"/>
                    <a:pt x="228" y="658"/>
                  </a:cubicBezTo>
                  <a:cubicBezTo>
                    <a:pt x="235" y="659"/>
                    <a:pt x="235" y="659"/>
                    <a:pt x="235" y="659"/>
                  </a:cubicBezTo>
                  <a:cubicBezTo>
                    <a:pt x="237" y="649"/>
                    <a:pt x="237" y="649"/>
                    <a:pt x="237" y="649"/>
                  </a:cubicBezTo>
                  <a:cubicBezTo>
                    <a:pt x="237" y="649"/>
                    <a:pt x="239" y="649"/>
                    <a:pt x="241" y="648"/>
                  </a:cubicBezTo>
                  <a:cubicBezTo>
                    <a:pt x="242" y="647"/>
                    <a:pt x="242" y="643"/>
                    <a:pt x="242" y="643"/>
                  </a:cubicBezTo>
                  <a:cubicBezTo>
                    <a:pt x="246" y="642"/>
                    <a:pt x="246" y="642"/>
                    <a:pt x="246" y="642"/>
                  </a:cubicBezTo>
                  <a:cubicBezTo>
                    <a:pt x="248" y="640"/>
                    <a:pt x="248" y="640"/>
                    <a:pt x="248" y="640"/>
                  </a:cubicBezTo>
                  <a:cubicBezTo>
                    <a:pt x="245" y="639"/>
                    <a:pt x="245" y="639"/>
                    <a:pt x="245" y="639"/>
                  </a:cubicBezTo>
                  <a:cubicBezTo>
                    <a:pt x="243" y="633"/>
                    <a:pt x="243" y="633"/>
                    <a:pt x="243" y="633"/>
                  </a:cubicBezTo>
                  <a:cubicBezTo>
                    <a:pt x="237" y="628"/>
                    <a:pt x="237" y="628"/>
                    <a:pt x="237" y="628"/>
                  </a:cubicBezTo>
                  <a:cubicBezTo>
                    <a:pt x="239" y="625"/>
                    <a:pt x="239" y="625"/>
                    <a:pt x="239" y="625"/>
                  </a:cubicBezTo>
                  <a:cubicBezTo>
                    <a:pt x="244" y="625"/>
                    <a:pt x="244" y="625"/>
                    <a:pt x="244" y="625"/>
                  </a:cubicBezTo>
                  <a:cubicBezTo>
                    <a:pt x="258" y="610"/>
                    <a:pt x="258" y="610"/>
                    <a:pt x="258" y="610"/>
                  </a:cubicBezTo>
                  <a:cubicBezTo>
                    <a:pt x="258" y="607"/>
                    <a:pt x="258" y="607"/>
                    <a:pt x="258" y="607"/>
                  </a:cubicBezTo>
                  <a:cubicBezTo>
                    <a:pt x="266" y="601"/>
                    <a:pt x="266" y="601"/>
                    <a:pt x="266" y="601"/>
                  </a:cubicBezTo>
                  <a:cubicBezTo>
                    <a:pt x="267" y="600"/>
                    <a:pt x="267" y="600"/>
                    <a:pt x="267" y="600"/>
                  </a:cubicBezTo>
                  <a:cubicBezTo>
                    <a:pt x="259" y="600"/>
                    <a:pt x="259" y="600"/>
                    <a:pt x="259" y="600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67" y="592"/>
                    <a:pt x="267" y="592"/>
                    <a:pt x="267" y="592"/>
                  </a:cubicBezTo>
                  <a:cubicBezTo>
                    <a:pt x="261" y="588"/>
                    <a:pt x="261" y="588"/>
                    <a:pt x="261" y="588"/>
                  </a:cubicBezTo>
                  <a:cubicBezTo>
                    <a:pt x="256" y="578"/>
                    <a:pt x="256" y="578"/>
                    <a:pt x="256" y="578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5" y="578"/>
                    <a:pt x="242" y="570"/>
                    <a:pt x="242" y="570"/>
                  </a:cubicBezTo>
                  <a:cubicBezTo>
                    <a:pt x="242" y="566"/>
                    <a:pt x="242" y="566"/>
                    <a:pt x="242" y="566"/>
                  </a:cubicBezTo>
                  <a:cubicBezTo>
                    <a:pt x="241" y="564"/>
                    <a:pt x="241" y="564"/>
                    <a:pt x="241" y="564"/>
                  </a:cubicBezTo>
                  <a:cubicBezTo>
                    <a:pt x="237" y="565"/>
                    <a:pt x="237" y="565"/>
                    <a:pt x="237" y="565"/>
                  </a:cubicBezTo>
                  <a:cubicBezTo>
                    <a:pt x="227" y="554"/>
                    <a:pt x="227" y="554"/>
                    <a:pt x="227" y="554"/>
                  </a:cubicBezTo>
                  <a:cubicBezTo>
                    <a:pt x="227" y="554"/>
                    <a:pt x="228" y="550"/>
                    <a:pt x="225" y="549"/>
                  </a:cubicBezTo>
                  <a:cubicBezTo>
                    <a:pt x="221" y="548"/>
                    <a:pt x="216" y="557"/>
                    <a:pt x="216" y="557"/>
                  </a:cubicBezTo>
                  <a:cubicBezTo>
                    <a:pt x="213" y="552"/>
                    <a:pt x="213" y="552"/>
                    <a:pt x="213" y="552"/>
                  </a:cubicBezTo>
                  <a:cubicBezTo>
                    <a:pt x="213" y="552"/>
                    <a:pt x="215" y="550"/>
                    <a:pt x="213" y="548"/>
                  </a:cubicBezTo>
                  <a:cubicBezTo>
                    <a:pt x="210" y="546"/>
                    <a:pt x="198" y="548"/>
                    <a:pt x="198" y="548"/>
                  </a:cubicBezTo>
                  <a:cubicBezTo>
                    <a:pt x="205" y="541"/>
                    <a:pt x="205" y="541"/>
                    <a:pt x="205" y="541"/>
                  </a:cubicBezTo>
                  <a:cubicBezTo>
                    <a:pt x="200" y="534"/>
                    <a:pt x="200" y="534"/>
                    <a:pt x="200" y="534"/>
                  </a:cubicBezTo>
                  <a:cubicBezTo>
                    <a:pt x="196" y="533"/>
                    <a:pt x="196" y="533"/>
                    <a:pt x="196" y="533"/>
                  </a:cubicBezTo>
                  <a:cubicBezTo>
                    <a:pt x="198" y="525"/>
                    <a:pt x="198" y="525"/>
                    <a:pt x="198" y="525"/>
                  </a:cubicBezTo>
                  <a:cubicBezTo>
                    <a:pt x="196" y="515"/>
                    <a:pt x="196" y="515"/>
                    <a:pt x="196" y="515"/>
                  </a:cubicBezTo>
                  <a:cubicBezTo>
                    <a:pt x="196" y="515"/>
                    <a:pt x="198" y="509"/>
                    <a:pt x="198" y="506"/>
                  </a:cubicBezTo>
                  <a:cubicBezTo>
                    <a:pt x="198" y="504"/>
                    <a:pt x="193" y="502"/>
                    <a:pt x="193" y="502"/>
                  </a:cubicBezTo>
                  <a:cubicBezTo>
                    <a:pt x="195" y="491"/>
                    <a:pt x="195" y="491"/>
                    <a:pt x="195" y="491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6" y="488"/>
                    <a:pt x="196" y="488"/>
                    <a:pt x="196" y="488"/>
                  </a:cubicBezTo>
                  <a:cubicBezTo>
                    <a:pt x="192" y="479"/>
                    <a:pt x="192" y="479"/>
                    <a:pt x="192" y="479"/>
                  </a:cubicBezTo>
                  <a:cubicBezTo>
                    <a:pt x="198" y="483"/>
                    <a:pt x="198" y="483"/>
                    <a:pt x="198" y="483"/>
                  </a:cubicBezTo>
                  <a:cubicBezTo>
                    <a:pt x="201" y="479"/>
                    <a:pt x="201" y="479"/>
                    <a:pt x="201" y="479"/>
                  </a:cubicBezTo>
                  <a:cubicBezTo>
                    <a:pt x="201" y="479"/>
                    <a:pt x="200" y="475"/>
                    <a:pt x="198" y="473"/>
                  </a:cubicBezTo>
                  <a:cubicBezTo>
                    <a:pt x="195" y="472"/>
                    <a:pt x="197" y="464"/>
                    <a:pt x="197" y="464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201" y="450"/>
                    <a:pt x="201" y="450"/>
                    <a:pt x="201" y="450"/>
                  </a:cubicBezTo>
                  <a:cubicBezTo>
                    <a:pt x="206" y="448"/>
                    <a:pt x="206" y="448"/>
                    <a:pt x="206" y="448"/>
                  </a:cubicBezTo>
                  <a:cubicBezTo>
                    <a:pt x="206" y="445"/>
                    <a:pt x="206" y="445"/>
                    <a:pt x="206" y="445"/>
                  </a:cubicBezTo>
                  <a:cubicBezTo>
                    <a:pt x="200" y="445"/>
                    <a:pt x="200" y="445"/>
                    <a:pt x="200" y="445"/>
                  </a:cubicBezTo>
                  <a:cubicBezTo>
                    <a:pt x="199" y="441"/>
                    <a:pt x="199" y="441"/>
                    <a:pt x="199" y="441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196" y="432"/>
                    <a:pt x="196" y="432"/>
                    <a:pt x="196" y="432"/>
                  </a:cubicBezTo>
                  <a:cubicBezTo>
                    <a:pt x="194" y="430"/>
                    <a:pt x="194" y="430"/>
                    <a:pt x="194" y="430"/>
                  </a:cubicBezTo>
                  <a:cubicBezTo>
                    <a:pt x="199" y="428"/>
                    <a:pt x="199" y="428"/>
                    <a:pt x="199" y="428"/>
                  </a:cubicBezTo>
                  <a:cubicBezTo>
                    <a:pt x="202" y="434"/>
                    <a:pt x="202" y="434"/>
                    <a:pt x="202" y="434"/>
                  </a:cubicBezTo>
                  <a:cubicBezTo>
                    <a:pt x="207" y="432"/>
                    <a:pt x="207" y="432"/>
                    <a:pt x="207" y="432"/>
                  </a:cubicBezTo>
                  <a:cubicBezTo>
                    <a:pt x="205" y="430"/>
                    <a:pt x="205" y="430"/>
                    <a:pt x="205" y="430"/>
                  </a:cubicBezTo>
                  <a:cubicBezTo>
                    <a:pt x="207" y="427"/>
                    <a:pt x="207" y="427"/>
                    <a:pt x="207" y="427"/>
                  </a:cubicBezTo>
                  <a:cubicBezTo>
                    <a:pt x="207" y="427"/>
                    <a:pt x="212" y="427"/>
                    <a:pt x="212" y="425"/>
                  </a:cubicBezTo>
                  <a:cubicBezTo>
                    <a:pt x="212" y="418"/>
                    <a:pt x="212" y="418"/>
                    <a:pt x="212" y="418"/>
                  </a:cubicBezTo>
                  <a:cubicBezTo>
                    <a:pt x="213" y="414"/>
                    <a:pt x="213" y="414"/>
                    <a:pt x="213" y="414"/>
                  </a:cubicBezTo>
                  <a:cubicBezTo>
                    <a:pt x="213" y="414"/>
                    <a:pt x="211" y="408"/>
                    <a:pt x="213" y="408"/>
                  </a:cubicBezTo>
                  <a:cubicBezTo>
                    <a:pt x="215" y="407"/>
                    <a:pt x="216" y="410"/>
                    <a:pt x="216" y="410"/>
                  </a:cubicBezTo>
                  <a:cubicBezTo>
                    <a:pt x="221" y="407"/>
                    <a:pt x="221" y="407"/>
                    <a:pt x="221" y="407"/>
                  </a:cubicBezTo>
                  <a:cubicBezTo>
                    <a:pt x="221" y="407"/>
                    <a:pt x="218" y="403"/>
                    <a:pt x="221" y="401"/>
                  </a:cubicBezTo>
                  <a:cubicBezTo>
                    <a:pt x="222" y="400"/>
                    <a:pt x="225" y="405"/>
                    <a:pt x="225" y="405"/>
                  </a:cubicBezTo>
                  <a:cubicBezTo>
                    <a:pt x="229" y="399"/>
                    <a:pt x="229" y="399"/>
                    <a:pt x="229" y="399"/>
                  </a:cubicBezTo>
                  <a:cubicBezTo>
                    <a:pt x="225" y="397"/>
                    <a:pt x="225" y="397"/>
                    <a:pt x="225" y="397"/>
                  </a:cubicBezTo>
                  <a:cubicBezTo>
                    <a:pt x="228" y="396"/>
                    <a:pt x="228" y="396"/>
                    <a:pt x="228" y="396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22" y="395"/>
                    <a:pt x="222" y="395"/>
                    <a:pt x="222" y="395"/>
                  </a:cubicBezTo>
                  <a:cubicBezTo>
                    <a:pt x="226" y="392"/>
                    <a:pt x="226" y="392"/>
                    <a:pt x="226" y="392"/>
                  </a:cubicBezTo>
                  <a:cubicBezTo>
                    <a:pt x="231" y="380"/>
                    <a:pt x="231" y="380"/>
                    <a:pt x="231" y="380"/>
                  </a:cubicBezTo>
                  <a:cubicBezTo>
                    <a:pt x="234" y="380"/>
                    <a:pt x="234" y="380"/>
                    <a:pt x="234" y="380"/>
                  </a:cubicBezTo>
                  <a:cubicBezTo>
                    <a:pt x="239" y="377"/>
                    <a:pt x="239" y="377"/>
                    <a:pt x="239" y="377"/>
                  </a:cubicBezTo>
                  <a:cubicBezTo>
                    <a:pt x="233" y="375"/>
                    <a:pt x="233" y="375"/>
                    <a:pt x="233" y="375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43" y="378"/>
                    <a:pt x="243" y="378"/>
                    <a:pt x="243" y="378"/>
                  </a:cubicBezTo>
                  <a:cubicBezTo>
                    <a:pt x="243" y="378"/>
                    <a:pt x="244" y="374"/>
                    <a:pt x="246" y="371"/>
                  </a:cubicBezTo>
                  <a:cubicBezTo>
                    <a:pt x="248" y="368"/>
                    <a:pt x="249" y="361"/>
                    <a:pt x="249" y="361"/>
                  </a:cubicBezTo>
                  <a:cubicBezTo>
                    <a:pt x="249" y="361"/>
                    <a:pt x="251" y="362"/>
                    <a:pt x="254" y="360"/>
                  </a:cubicBezTo>
                  <a:cubicBezTo>
                    <a:pt x="256" y="359"/>
                    <a:pt x="255" y="353"/>
                    <a:pt x="255" y="35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61" y="363"/>
                    <a:pt x="261" y="363"/>
                    <a:pt x="261" y="363"/>
                  </a:cubicBezTo>
                  <a:cubicBezTo>
                    <a:pt x="263" y="361"/>
                    <a:pt x="263" y="361"/>
                    <a:pt x="263" y="361"/>
                  </a:cubicBezTo>
                  <a:cubicBezTo>
                    <a:pt x="262" y="357"/>
                    <a:pt x="262" y="357"/>
                    <a:pt x="262" y="357"/>
                  </a:cubicBezTo>
                  <a:cubicBezTo>
                    <a:pt x="270" y="348"/>
                    <a:pt x="270" y="348"/>
                    <a:pt x="270" y="34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8" y="344"/>
                    <a:pt x="278" y="344"/>
                    <a:pt x="278" y="344"/>
                  </a:cubicBezTo>
                  <a:cubicBezTo>
                    <a:pt x="278" y="340"/>
                    <a:pt x="278" y="340"/>
                    <a:pt x="278" y="340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1" y="334"/>
                    <a:pt x="281" y="334"/>
                    <a:pt x="281" y="334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0" y="333"/>
                    <a:pt x="290" y="333"/>
                    <a:pt x="290" y="333"/>
                  </a:cubicBezTo>
                  <a:cubicBezTo>
                    <a:pt x="290" y="333"/>
                    <a:pt x="293" y="325"/>
                    <a:pt x="294" y="321"/>
                  </a:cubicBezTo>
                  <a:cubicBezTo>
                    <a:pt x="295" y="318"/>
                    <a:pt x="293" y="313"/>
                    <a:pt x="293" y="313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9" y="302"/>
                    <a:pt x="299" y="302"/>
                    <a:pt x="299" y="3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06" y="288"/>
                    <a:pt x="306" y="288"/>
                    <a:pt x="306" y="288"/>
                  </a:cubicBezTo>
                  <a:cubicBezTo>
                    <a:pt x="304" y="286"/>
                    <a:pt x="304" y="286"/>
                    <a:pt x="304" y="286"/>
                  </a:cubicBezTo>
                  <a:cubicBezTo>
                    <a:pt x="308" y="285"/>
                    <a:pt x="308" y="285"/>
                    <a:pt x="308" y="285"/>
                  </a:cubicBezTo>
                  <a:cubicBezTo>
                    <a:pt x="309" y="283"/>
                    <a:pt x="309" y="283"/>
                    <a:pt x="309" y="283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295" y="277"/>
                    <a:pt x="295" y="277"/>
                    <a:pt x="295" y="277"/>
                  </a:cubicBezTo>
                  <a:cubicBezTo>
                    <a:pt x="298" y="269"/>
                    <a:pt x="298" y="269"/>
                    <a:pt x="298" y="269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98" y="259"/>
                    <a:pt x="298" y="259"/>
                    <a:pt x="298" y="259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3" y="246"/>
                    <a:pt x="293" y="238"/>
                    <a:pt x="295" y="234"/>
                  </a:cubicBezTo>
                  <a:cubicBezTo>
                    <a:pt x="296" y="230"/>
                    <a:pt x="304" y="231"/>
                    <a:pt x="309" y="229"/>
                  </a:cubicBezTo>
                  <a:cubicBezTo>
                    <a:pt x="315" y="226"/>
                    <a:pt x="307" y="221"/>
                    <a:pt x="307" y="221"/>
                  </a:cubicBezTo>
                  <a:cubicBezTo>
                    <a:pt x="313" y="219"/>
                    <a:pt x="313" y="219"/>
                    <a:pt x="313" y="219"/>
                  </a:cubicBezTo>
                  <a:cubicBezTo>
                    <a:pt x="313" y="216"/>
                    <a:pt x="313" y="216"/>
                    <a:pt x="313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5" y="196"/>
                    <a:pt x="315" y="196"/>
                    <a:pt x="315" y="196"/>
                  </a:cubicBezTo>
                  <a:cubicBezTo>
                    <a:pt x="319" y="196"/>
                    <a:pt x="319" y="196"/>
                    <a:pt x="319" y="196"/>
                  </a:cubicBezTo>
                  <a:cubicBezTo>
                    <a:pt x="322" y="201"/>
                    <a:pt x="322" y="201"/>
                    <a:pt x="322" y="201"/>
                  </a:cubicBezTo>
                  <a:cubicBezTo>
                    <a:pt x="326" y="201"/>
                    <a:pt x="326" y="201"/>
                    <a:pt x="326" y="201"/>
                  </a:cubicBezTo>
                  <a:cubicBezTo>
                    <a:pt x="324" y="193"/>
                    <a:pt x="324" y="193"/>
                    <a:pt x="324" y="193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6" y="201"/>
                    <a:pt x="336" y="201"/>
                    <a:pt x="336" y="201"/>
                  </a:cubicBezTo>
                  <a:cubicBezTo>
                    <a:pt x="337" y="205"/>
                    <a:pt x="337" y="205"/>
                    <a:pt x="337" y="205"/>
                  </a:cubicBezTo>
                  <a:cubicBezTo>
                    <a:pt x="340" y="200"/>
                    <a:pt x="340" y="200"/>
                    <a:pt x="340" y="200"/>
                  </a:cubicBezTo>
                  <a:cubicBezTo>
                    <a:pt x="339" y="196"/>
                    <a:pt x="339" y="196"/>
                    <a:pt x="339" y="196"/>
                  </a:cubicBezTo>
                  <a:cubicBezTo>
                    <a:pt x="350" y="196"/>
                    <a:pt x="350" y="196"/>
                    <a:pt x="350" y="196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4" y="188"/>
                  </a:lnTo>
                  <a:close/>
                  <a:moveTo>
                    <a:pt x="14" y="718"/>
                  </a:moveTo>
                  <a:cubicBezTo>
                    <a:pt x="21" y="719"/>
                    <a:pt x="21" y="719"/>
                    <a:pt x="21" y="719"/>
                  </a:cubicBezTo>
                  <a:cubicBezTo>
                    <a:pt x="22" y="712"/>
                    <a:pt x="22" y="712"/>
                    <a:pt x="22" y="712"/>
                  </a:cubicBezTo>
                  <a:cubicBezTo>
                    <a:pt x="19" y="709"/>
                    <a:pt x="19" y="709"/>
                    <a:pt x="19" y="709"/>
                  </a:cubicBezTo>
                  <a:cubicBezTo>
                    <a:pt x="17" y="712"/>
                    <a:pt x="17" y="712"/>
                    <a:pt x="17" y="712"/>
                  </a:cubicBezTo>
                  <a:cubicBezTo>
                    <a:pt x="16" y="712"/>
                    <a:pt x="16" y="712"/>
                    <a:pt x="16" y="712"/>
                  </a:cubicBezTo>
                  <a:cubicBezTo>
                    <a:pt x="8" y="720"/>
                    <a:pt x="8" y="720"/>
                    <a:pt x="8" y="720"/>
                  </a:cubicBezTo>
                  <a:cubicBezTo>
                    <a:pt x="14" y="721"/>
                    <a:pt x="14" y="721"/>
                    <a:pt x="14" y="721"/>
                  </a:cubicBezTo>
                  <a:lnTo>
                    <a:pt x="14" y="718"/>
                  </a:lnTo>
                  <a:close/>
                  <a:moveTo>
                    <a:pt x="20" y="727"/>
                  </a:moveTo>
                  <a:cubicBezTo>
                    <a:pt x="19" y="723"/>
                    <a:pt x="19" y="723"/>
                    <a:pt x="19" y="723"/>
                  </a:cubicBezTo>
                  <a:cubicBezTo>
                    <a:pt x="11" y="725"/>
                    <a:pt x="11" y="725"/>
                    <a:pt x="11" y="725"/>
                  </a:cubicBezTo>
                  <a:cubicBezTo>
                    <a:pt x="13" y="728"/>
                    <a:pt x="13" y="728"/>
                    <a:pt x="13" y="728"/>
                  </a:cubicBezTo>
                  <a:cubicBezTo>
                    <a:pt x="13" y="730"/>
                    <a:pt x="13" y="730"/>
                    <a:pt x="13" y="730"/>
                  </a:cubicBezTo>
                  <a:cubicBezTo>
                    <a:pt x="16" y="730"/>
                    <a:pt x="16" y="730"/>
                    <a:pt x="16" y="730"/>
                  </a:cubicBezTo>
                  <a:cubicBezTo>
                    <a:pt x="17" y="727"/>
                    <a:pt x="17" y="727"/>
                    <a:pt x="17" y="727"/>
                  </a:cubicBezTo>
                  <a:lnTo>
                    <a:pt x="20" y="727"/>
                  </a:lnTo>
                  <a:close/>
                  <a:moveTo>
                    <a:pt x="211" y="760"/>
                  </a:moveTo>
                  <a:cubicBezTo>
                    <a:pt x="207" y="765"/>
                    <a:pt x="207" y="765"/>
                    <a:pt x="207" y="765"/>
                  </a:cubicBezTo>
                  <a:cubicBezTo>
                    <a:pt x="208" y="771"/>
                    <a:pt x="208" y="771"/>
                    <a:pt x="208" y="771"/>
                  </a:cubicBezTo>
                  <a:cubicBezTo>
                    <a:pt x="207" y="771"/>
                    <a:pt x="207" y="771"/>
                    <a:pt x="207" y="771"/>
                  </a:cubicBezTo>
                  <a:cubicBezTo>
                    <a:pt x="207" y="773"/>
                    <a:pt x="207" y="773"/>
                    <a:pt x="207" y="773"/>
                  </a:cubicBezTo>
                  <a:cubicBezTo>
                    <a:pt x="205" y="783"/>
                    <a:pt x="205" y="783"/>
                    <a:pt x="205" y="783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0" y="792"/>
                    <a:pt x="200" y="792"/>
                    <a:pt x="200" y="792"/>
                  </a:cubicBezTo>
                  <a:cubicBezTo>
                    <a:pt x="198" y="792"/>
                    <a:pt x="198" y="792"/>
                    <a:pt x="198" y="792"/>
                  </a:cubicBezTo>
                  <a:cubicBezTo>
                    <a:pt x="198" y="792"/>
                    <a:pt x="195" y="797"/>
                    <a:pt x="194" y="801"/>
                  </a:cubicBezTo>
                  <a:cubicBezTo>
                    <a:pt x="193" y="804"/>
                    <a:pt x="194" y="807"/>
                    <a:pt x="193" y="808"/>
                  </a:cubicBezTo>
                  <a:cubicBezTo>
                    <a:pt x="193" y="810"/>
                    <a:pt x="190" y="812"/>
                    <a:pt x="190" y="816"/>
                  </a:cubicBezTo>
                  <a:cubicBezTo>
                    <a:pt x="190" y="821"/>
                    <a:pt x="190" y="821"/>
                    <a:pt x="190" y="821"/>
                  </a:cubicBezTo>
                  <a:cubicBezTo>
                    <a:pt x="193" y="823"/>
                    <a:pt x="193" y="823"/>
                    <a:pt x="193" y="823"/>
                  </a:cubicBezTo>
                  <a:cubicBezTo>
                    <a:pt x="192" y="836"/>
                    <a:pt x="192" y="836"/>
                    <a:pt x="192" y="836"/>
                  </a:cubicBezTo>
                  <a:cubicBezTo>
                    <a:pt x="192" y="836"/>
                    <a:pt x="196" y="833"/>
                    <a:pt x="197" y="830"/>
                  </a:cubicBezTo>
                  <a:cubicBezTo>
                    <a:pt x="198" y="825"/>
                    <a:pt x="197" y="824"/>
                    <a:pt x="197" y="822"/>
                  </a:cubicBezTo>
                  <a:cubicBezTo>
                    <a:pt x="197" y="820"/>
                    <a:pt x="199" y="817"/>
                    <a:pt x="200" y="815"/>
                  </a:cubicBezTo>
                  <a:cubicBezTo>
                    <a:pt x="201" y="813"/>
                    <a:pt x="200" y="807"/>
                    <a:pt x="200" y="807"/>
                  </a:cubicBezTo>
                  <a:cubicBezTo>
                    <a:pt x="204" y="796"/>
                    <a:pt x="204" y="796"/>
                    <a:pt x="204" y="796"/>
                  </a:cubicBezTo>
                  <a:cubicBezTo>
                    <a:pt x="206" y="796"/>
                    <a:pt x="206" y="796"/>
                    <a:pt x="206" y="796"/>
                  </a:cubicBezTo>
                  <a:cubicBezTo>
                    <a:pt x="208" y="788"/>
                    <a:pt x="208" y="788"/>
                    <a:pt x="208" y="788"/>
                  </a:cubicBezTo>
                  <a:cubicBezTo>
                    <a:pt x="207" y="785"/>
                    <a:pt x="207" y="785"/>
                    <a:pt x="207" y="785"/>
                  </a:cubicBezTo>
                  <a:cubicBezTo>
                    <a:pt x="209" y="783"/>
                    <a:pt x="209" y="783"/>
                    <a:pt x="209" y="783"/>
                  </a:cubicBezTo>
                  <a:cubicBezTo>
                    <a:pt x="208" y="782"/>
                    <a:pt x="208" y="782"/>
                    <a:pt x="208" y="782"/>
                  </a:cubicBezTo>
                  <a:cubicBezTo>
                    <a:pt x="210" y="779"/>
                    <a:pt x="210" y="779"/>
                    <a:pt x="210" y="779"/>
                  </a:cubicBezTo>
                  <a:cubicBezTo>
                    <a:pt x="209" y="777"/>
                    <a:pt x="209" y="777"/>
                    <a:pt x="209" y="777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4" y="763"/>
                    <a:pt x="214" y="763"/>
                    <a:pt x="214" y="763"/>
                  </a:cubicBezTo>
                  <a:lnTo>
                    <a:pt x="211" y="760"/>
                  </a:lnTo>
                  <a:close/>
                  <a:moveTo>
                    <a:pt x="277" y="731"/>
                  </a:moveTo>
                  <a:cubicBezTo>
                    <a:pt x="281" y="724"/>
                    <a:pt x="281" y="724"/>
                    <a:pt x="281" y="724"/>
                  </a:cubicBezTo>
                  <a:cubicBezTo>
                    <a:pt x="278" y="718"/>
                    <a:pt x="278" y="718"/>
                    <a:pt x="278" y="718"/>
                  </a:cubicBezTo>
                  <a:cubicBezTo>
                    <a:pt x="272" y="719"/>
                    <a:pt x="272" y="719"/>
                    <a:pt x="272" y="719"/>
                  </a:cubicBezTo>
                  <a:cubicBezTo>
                    <a:pt x="270" y="724"/>
                    <a:pt x="270" y="724"/>
                    <a:pt x="270" y="724"/>
                  </a:cubicBezTo>
                  <a:cubicBezTo>
                    <a:pt x="270" y="719"/>
                    <a:pt x="270" y="719"/>
                    <a:pt x="270" y="719"/>
                  </a:cubicBezTo>
                  <a:cubicBezTo>
                    <a:pt x="270" y="719"/>
                    <a:pt x="267" y="719"/>
                    <a:pt x="266" y="720"/>
                  </a:cubicBezTo>
                  <a:cubicBezTo>
                    <a:pt x="264" y="721"/>
                    <a:pt x="263" y="724"/>
                    <a:pt x="263" y="724"/>
                  </a:cubicBezTo>
                  <a:cubicBezTo>
                    <a:pt x="263" y="724"/>
                    <a:pt x="262" y="723"/>
                    <a:pt x="259" y="726"/>
                  </a:cubicBezTo>
                  <a:cubicBezTo>
                    <a:pt x="257" y="729"/>
                    <a:pt x="253" y="739"/>
                    <a:pt x="253" y="739"/>
                  </a:cubicBezTo>
                  <a:cubicBezTo>
                    <a:pt x="253" y="739"/>
                    <a:pt x="248" y="741"/>
                    <a:pt x="248" y="746"/>
                  </a:cubicBezTo>
                  <a:cubicBezTo>
                    <a:pt x="247" y="753"/>
                    <a:pt x="253" y="753"/>
                    <a:pt x="253" y="757"/>
                  </a:cubicBezTo>
                  <a:cubicBezTo>
                    <a:pt x="251" y="762"/>
                    <a:pt x="249" y="763"/>
                    <a:pt x="249" y="763"/>
                  </a:cubicBezTo>
                  <a:cubicBezTo>
                    <a:pt x="251" y="765"/>
                    <a:pt x="251" y="765"/>
                    <a:pt x="251" y="765"/>
                  </a:cubicBezTo>
                  <a:cubicBezTo>
                    <a:pt x="251" y="772"/>
                    <a:pt x="251" y="772"/>
                    <a:pt x="251" y="772"/>
                  </a:cubicBezTo>
                  <a:cubicBezTo>
                    <a:pt x="254" y="773"/>
                    <a:pt x="254" y="773"/>
                    <a:pt x="254" y="773"/>
                  </a:cubicBezTo>
                  <a:cubicBezTo>
                    <a:pt x="254" y="776"/>
                    <a:pt x="254" y="776"/>
                    <a:pt x="254" y="776"/>
                  </a:cubicBezTo>
                  <a:cubicBezTo>
                    <a:pt x="254" y="776"/>
                    <a:pt x="257" y="775"/>
                    <a:pt x="257" y="776"/>
                  </a:cubicBezTo>
                  <a:cubicBezTo>
                    <a:pt x="257" y="777"/>
                    <a:pt x="255" y="778"/>
                    <a:pt x="255" y="778"/>
                  </a:cubicBezTo>
                  <a:cubicBezTo>
                    <a:pt x="255" y="782"/>
                    <a:pt x="255" y="782"/>
                    <a:pt x="255" y="782"/>
                  </a:cubicBezTo>
                  <a:cubicBezTo>
                    <a:pt x="255" y="783"/>
                    <a:pt x="253" y="787"/>
                    <a:pt x="253" y="787"/>
                  </a:cubicBezTo>
                  <a:cubicBezTo>
                    <a:pt x="258" y="785"/>
                    <a:pt x="258" y="785"/>
                    <a:pt x="258" y="785"/>
                  </a:cubicBezTo>
                  <a:cubicBezTo>
                    <a:pt x="261" y="779"/>
                    <a:pt x="261" y="779"/>
                    <a:pt x="261" y="779"/>
                  </a:cubicBezTo>
                  <a:cubicBezTo>
                    <a:pt x="260" y="779"/>
                    <a:pt x="260" y="779"/>
                    <a:pt x="260" y="779"/>
                  </a:cubicBezTo>
                  <a:cubicBezTo>
                    <a:pt x="261" y="774"/>
                    <a:pt x="261" y="774"/>
                    <a:pt x="261" y="774"/>
                  </a:cubicBezTo>
                  <a:cubicBezTo>
                    <a:pt x="262" y="772"/>
                    <a:pt x="262" y="772"/>
                    <a:pt x="262" y="772"/>
                  </a:cubicBezTo>
                  <a:cubicBezTo>
                    <a:pt x="261" y="772"/>
                    <a:pt x="261" y="772"/>
                    <a:pt x="261" y="772"/>
                  </a:cubicBezTo>
                  <a:cubicBezTo>
                    <a:pt x="266" y="766"/>
                    <a:pt x="266" y="766"/>
                    <a:pt x="266" y="766"/>
                  </a:cubicBezTo>
                  <a:cubicBezTo>
                    <a:pt x="271" y="763"/>
                    <a:pt x="271" y="763"/>
                    <a:pt x="271" y="763"/>
                  </a:cubicBezTo>
                  <a:cubicBezTo>
                    <a:pt x="271" y="758"/>
                    <a:pt x="271" y="758"/>
                    <a:pt x="271" y="758"/>
                  </a:cubicBezTo>
                  <a:cubicBezTo>
                    <a:pt x="277" y="750"/>
                    <a:pt x="277" y="750"/>
                    <a:pt x="277" y="750"/>
                  </a:cubicBezTo>
                  <a:cubicBezTo>
                    <a:pt x="274" y="750"/>
                    <a:pt x="274" y="750"/>
                    <a:pt x="274" y="750"/>
                  </a:cubicBezTo>
                  <a:cubicBezTo>
                    <a:pt x="271" y="746"/>
                    <a:pt x="271" y="746"/>
                    <a:pt x="271" y="746"/>
                  </a:cubicBezTo>
                  <a:cubicBezTo>
                    <a:pt x="271" y="746"/>
                    <a:pt x="273" y="743"/>
                    <a:pt x="274" y="740"/>
                  </a:cubicBezTo>
                  <a:cubicBezTo>
                    <a:pt x="274" y="738"/>
                    <a:pt x="271" y="735"/>
                    <a:pt x="271" y="735"/>
                  </a:cubicBezTo>
                  <a:cubicBezTo>
                    <a:pt x="272" y="730"/>
                    <a:pt x="272" y="730"/>
                    <a:pt x="272" y="730"/>
                  </a:cubicBezTo>
                  <a:lnTo>
                    <a:pt x="277" y="731"/>
                  </a:lnTo>
                  <a:close/>
                  <a:moveTo>
                    <a:pt x="280" y="719"/>
                  </a:moveTo>
                  <a:cubicBezTo>
                    <a:pt x="282" y="721"/>
                    <a:pt x="282" y="721"/>
                    <a:pt x="282" y="721"/>
                  </a:cubicBezTo>
                  <a:cubicBezTo>
                    <a:pt x="286" y="711"/>
                    <a:pt x="286" y="711"/>
                    <a:pt x="286" y="711"/>
                  </a:cubicBezTo>
                  <a:cubicBezTo>
                    <a:pt x="281" y="712"/>
                    <a:pt x="281" y="712"/>
                    <a:pt x="281" y="712"/>
                  </a:cubicBezTo>
                  <a:lnTo>
                    <a:pt x="280" y="719"/>
                  </a:lnTo>
                  <a:close/>
                  <a:moveTo>
                    <a:pt x="286" y="715"/>
                  </a:moveTo>
                  <a:cubicBezTo>
                    <a:pt x="290" y="715"/>
                    <a:pt x="290" y="715"/>
                    <a:pt x="290" y="715"/>
                  </a:cubicBezTo>
                  <a:cubicBezTo>
                    <a:pt x="291" y="712"/>
                    <a:pt x="291" y="712"/>
                    <a:pt x="291" y="712"/>
                  </a:cubicBezTo>
                  <a:cubicBezTo>
                    <a:pt x="288" y="712"/>
                    <a:pt x="288" y="712"/>
                    <a:pt x="288" y="712"/>
                  </a:cubicBezTo>
                  <a:lnTo>
                    <a:pt x="286" y="715"/>
                  </a:lnTo>
                  <a:close/>
                  <a:moveTo>
                    <a:pt x="282" y="691"/>
                  </a:moveTo>
                  <a:cubicBezTo>
                    <a:pt x="287" y="688"/>
                    <a:pt x="287" y="688"/>
                    <a:pt x="287" y="688"/>
                  </a:cubicBezTo>
                  <a:cubicBezTo>
                    <a:pt x="280" y="684"/>
                    <a:pt x="280" y="684"/>
                    <a:pt x="280" y="684"/>
                  </a:cubicBezTo>
                  <a:cubicBezTo>
                    <a:pt x="281" y="689"/>
                    <a:pt x="281" y="689"/>
                    <a:pt x="281" y="689"/>
                  </a:cubicBezTo>
                  <a:lnTo>
                    <a:pt x="282" y="691"/>
                  </a:lnTo>
                  <a:close/>
                  <a:moveTo>
                    <a:pt x="243" y="630"/>
                  </a:moveTo>
                  <a:cubicBezTo>
                    <a:pt x="255" y="631"/>
                    <a:pt x="255" y="631"/>
                    <a:pt x="255" y="631"/>
                  </a:cubicBezTo>
                  <a:cubicBezTo>
                    <a:pt x="256" y="630"/>
                    <a:pt x="256" y="630"/>
                    <a:pt x="256" y="630"/>
                  </a:cubicBezTo>
                  <a:cubicBezTo>
                    <a:pt x="254" y="626"/>
                    <a:pt x="254" y="626"/>
                    <a:pt x="254" y="626"/>
                  </a:cubicBezTo>
                  <a:cubicBezTo>
                    <a:pt x="251" y="625"/>
                    <a:pt x="251" y="625"/>
                    <a:pt x="251" y="625"/>
                  </a:cubicBezTo>
                  <a:cubicBezTo>
                    <a:pt x="248" y="626"/>
                    <a:pt x="248" y="626"/>
                    <a:pt x="248" y="626"/>
                  </a:cubicBezTo>
                  <a:cubicBezTo>
                    <a:pt x="249" y="628"/>
                    <a:pt x="249" y="628"/>
                    <a:pt x="249" y="628"/>
                  </a:cubicBezTo>
                  <a:cubicBezTo>
                    <a:pt x="243" y="628"/>
                    <a:pt x="243" y="628"/>
                    <a:pt x="243" y="628"/>
                  </a:cubicBezTo>
                  <a:lnTo>
                    <a:pt x="243" y="630"/>
                  </a:lnTo>
                  <a:close/>
                  <a:moveTo>
                    <a:pt x="254" y="615"/>
                  </a:moveTo>
                  <a:cubicBezTo>
                    <a:pt x="253" y="620"/>
                    <a:pt x="253" y="620"/>
                    <a:pt x="253" y="620"/>
                  </a:cubicBezTo>
                  <a:cubicBezTo>
                    <a:pt x="258" y="617"/>
                    <a:pt x="258" y="617"/>
                    <a:pt x="258" y="617"/>
                  </a:cubicBezTo>
                  <a:lnTo>
                    <a:pt x="254" y="615"/>
                  </a:lnTo>
                  <a:close/>
                  <a:moveTo>
                    <a:pt x="266" y="610"/>
                  </a:moveTo>
                  <a:cubicBezTo>
                    <a:pt x="265" y="607"/>
                    <a:pt x="265" y="607"/>
                    <a:pt x="265" y="607"/>
                  </a:cubicBezTo>
                  <a:cubicBezTo>
                    <a:pt x="259" y="610"/>
                    <a:pt x="259" y="610"/>
                    <a:pt x="259" y="610"/>
                  </a:cubicBezTo>
                  <a:cubicBezTo>
                    <a:pt x="262" y="612"/>
                    <a:pt x="262" y="612"/>
                    <a:pt x="262" y="612"/>
                  </a:cubicBezTo>
                  <a:lnTo>
                    <a:pt x="266" y="610"/>
                  </a:lnTo>
                  <a:close/>
                  <a:moveTo>
                    <a:pt x="258" y="630"/>
                  </a:moveTo>
                  <a:cubicBezTo>
                    <a:pt x="261" y="629"/>
                    <a:pt x="261" y="629"/>
                    <a:pt x="261" y="629"/>
                  </a:cubicBezTo>
                  <a:cubicBezTo>
                    <a:pt x="258" y="626"/>
                    <a:pt x="258" y="626"/>
                    <a:pt x="258" y="626"/>
                  </a:cubicBezTo>
                  <a:lnTo>
                    <a:pt x="258" y="630"/>
                  </a:lnTo>
                  <a:close/>
                  <a:moveTo>
                    <a:pt x="249" y="651"/>
                  </a:moveTo>
                  <a:cubicBezTo>
                    <a:pt x="253" y="644"/>
                    <a:pt x="253" y="644"/>
                    <a:pt x="253" y="644"/>
                  </a:cubicBezTo>
                  <a:cubicBezTo>
                    <a:pt x="250" y="643"/>
                    <a:pt x="250" y="643"/>
                    <a:pt x="250" y="643"/>
                  </a:cubicBezTo>
                  <a:cubicBezTo>
                    <a:pt x="246" y="649"/>
                    <a:pt x="246" y="649"/>
                    <a:pt x="246" y="649"/>
                  </a:cubicBezTo>
                  <a:lnTo>
                    <a:pt x="249" y="651"/>
                  </a:lnTo>
                  <a:close/>
                  <a:moveTo>
                    <a:pt x="245" y="653"/>
                  </a:moveTo>
                  <a:cubicBezTo>
                    <a:pt x="244" y="656"/>
                    <a:pt x="245" y="658"/>
                    <a:pt x="247" y="656"/>
                  </a:cubicBezTo>
                  <a:cubicBezTo>
                    <a:pt x="249" y="653"/>
                    <a:pt x="246" y="651"/>
                    <a:pt x="245" y="653"/>
                  </a:cubicBezTo>
                  <a:close/>
                  <a:moveTo>
                    <a:pt x="238" y="652"/>
                  </a:moveTo>
                  <a:cubicBezTo>
                    <a:pt x="241" y="653"/>
                    <a:pt x="241" y="653"/>
                    <a:pt x="241" y="653"/>
                  </a:cubicBezTo>
                  <a:cubicBezTo>
                    <a:pt x="243" y="649"/>
                    <a:pt x="243" y="649"/>
                    <a:pt x="243" y="649"/>
                  </a:cubicBezTo>
                  <a:cubicBezTo>
                    <a:pt x="242" y="649"/>
                    <a:pt x="242" y="649"/>
                    <a:pt x="242" y="649"/>
                  </a:cubicBezTo>
                  <a:lnTo>
                    <a:pt x="238" y="652"/>
                  </a:lnTo>
                  <a:close/>
                  <a:moveTo>
                    <a:pt x="251" y="632"/>
                  </a:moveTo>
                  <a:cubicBezTo>
                    <a:pt x="249" y="633"/>
                    <a:pt x="249" y="633"/>
                    <a:pt x="249" y="633"/>
                  </a:cubicBezTo>
                  <a:cubicBezTo>
                    <a:pt x="246" y="635"/>
                    <a:pt x="246" y="635"/>
                    <a:pt x="246" y="635"/>
                  </a:cubicBezTo>
                  <a:cubicBezTo>
                    <a:pt x="251" y="636"/>
                    <a:pt x="251" y="636"/>
                    <a:pt x="251" y="636"/>
                  </a:cubicBezTo>
                  <a:lnTo>
                    <a:pt x="251" y="632"/>
                  </a:lnTo>
                  <a:close/>
                  <a:moveTo>
                    <a:pt x="229" y="662"/>
                  </a:moveTo>
                  <a:cubicBezTo>
                    <a:pt x="229" y="664"/>
                    <a:pt x="229" y="664"/>
                    <a:pt x="229" y="664"/>
                  </a:cubicBezTo>
                  <a:cubicBezTo>
                    <a:pt x="232" y="666"/>
                    <a:pt x="232" y="666"/>
                    <a:pt x="232" y="666"/>
                  </a:cubicBezTo>
                  <a:cubicBezTo>
                    <a:pt x="231" y="661"/>
                    <a:pt x="231" y="661"/>
                    <a:pt x="231" y="661"/>
                  </a:cubicBezTo>
                  <a:lnTo>
                    <a:pt x="229" y="662"/>
                  </a:lnTo>
                  <a:close/>
                  <a:moveTo>
                    <a:pt x="246" y="562"/>
                  </a:moveTo>
                  <a:cubicBezTo>
                    <a:pt x="244" y="562"/>
                    <a:pt x="244" y="562"/>
                    <a:pt x="244" y="562"/>
                  </a:cubicBezTo>
                  <a:cubicBezTo>
                    <a:pt x="243" y="558"/>
                    <a:pt x="243" y="558"/>
                    <a:pt x="243" y="558"/>
                  </a:cubicBezTo>
                  <a:cubicBezTo>
                    <a:pt x="241" y="554"/>
                    <a:pt x="241" y="554"/>
                    <a:pt x="241" y="554"/>
                  </a:cubicBezTo>
                  <a:cubicBezTo>
                    <a:pt x="240" y="554"/>
                    <a:pt x="240" y="554"/>
                    <a:pt x="240" y="554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6" y="567"/>
                    <a:pt x="246" y="567"/>
                    <a:pt x="246" y="567"/>
                  </a:cubicBezTo>
                  <a:lnTo>
                    <a:pt x="246" y="562"/>
                  </a:lnTo>
                  <a:close/>
                  <a:moveTo>
                    <a:pt x="245" y="571"/>
                  </a:moveTo>
                  <a:cubicBezTo>
                    <a:pt x="248" y="572"/>
                    <a:pt x="249" y="569"/>
                    <a:pt x="246" y="569"/>
                  </a:cubicBezTo>
                  <a:cubicBezTo>
                    <a:pt x="243" y="569"/>
                    <a:pt x="243" y="571"/>
                    <a:pt x="245" y="571"/>
                  </a:cubicBezTo>
                  <a:close/>
                  <a:moveTo>
                    <a:pt x="253" y="571"/>
                  </a:moveTo>
                  <a:cubicBezTo>
                    <a:pt x="250" y="571"/>
                    <a:pt x="250" y="574"/>
                    <a:pt x="253" y="576"/>
                  </a:cubicBezTo>
                  <a:cubicBezTo>
                    <a:pt x="255" y="577"/>
                    <a:pt x="256" y="576"/>
                    <a:pt x="256" y="573"/>
                  </a:cubicBezTo>
                  <a:cubicBezTo>
                    <a:pt x="255" y="571"/>
                    <a:pt x="254" y="571"/>
                    <a:pt x="253" y="571"/>
                  </a:cubicBezTo>
                  <a:close/>
                  <a:moveTo>
                    <a:pt x="200" y="696"/>
                  </a:moveTo>
                  <a:cubicBezTo>
                    <a:pt x="199" y="693"/>
                    <a:pt x="199" y="693"/>
                    <a:pt x="199" y="693"/>
                  </a:cubicBezTo>
                  <a:cubicBezTo>
                    <a:pt x="198" y="693"/>
                    <a:pt x="198" y="693"/>
                    <a:pt x="198" y="69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202" y="698"/>
                    <a:pt x="202" y="698"/>
                    <a:pt x="202" y="698"/>
                  </a:cubicBezTo>
                  <a:lnTo>
                    <a:pt x="200" y="696"/>
                  </a:lnTo>
                  <a:close/>
                  <a:moveTo>
                    <a:pt x="198" y="739"/>
                  </a:moveTo>
                  <a:cubicBezTo>
                    <a:pt x="195" y="736"/>
                    <a:pt x="195" y="736"/>
                    <a:pt x="195" y="736"/>
                  </a:cubicBezTo>
                  <a:cubicBezTo>
                    <a:pt x="195" y="740"/>
                    <a:pt x="195" y="740"/>
                    <a:pt x="195" y="740"/>
                  </a:cubicBezTo>
                  <a:lnTo>
                    <a:pt x="198" y="739"/>
                  </a:lnTo>
                  <a:close/>
                  <a:moveTo>
                    <a:pt x="266" y="598"/>
                  </a:moveTo>
                  <a:cubicBezTo>
                    <a:pt x="263" y="596"/>
                    <a:pt x="263" y="596"/>
                    <a:pt x="263" y="596"/>
                  </a:cubicBezTo>
                  <a:cubicBezTo>
                    <a:pt x="261" y="598"/>
                    <a:pt x="261" y="598"/>
                    <a:pt x="261" y="598"/>
                  </a:cubicBezTo>
                  <a:lnTo>
                    <a:pt x="266" y="598"/>
                  </a:lnTo>
                  <a:close/>
                  <a:moveTo>
                    <a:pt x="205" y="485"/>
                  </a:moveTo>
                  <a:cubicBezTo>
                    <a:pt x="206" y="482"/>
                    <a:pt x="206" y="482"/>
                    <a:pt x="206" y="482"/>
                  </a:cubicBezTo>
                  <a:cubicBezTo>
                    <a:pt x="202" y="479"/>
                    <a:pt x="202" y="479"/>
                    <a:pt x="202" y="479"/>
                  </a:cubicBezTo>
                  <a:cubicBezTo>
                    <a:pt x="200" y="482"/>
                    <a:pt x="200" y="482"/>
                    <a:pt x="200" y="482"/>
                  </a:cubicBezTo>
                  <a:lnTo>
                    <a:pt x="205" y="485"/>
                  </a:lnTo>
                  <a:close/>
                  <a:moveTo>
                    <a:pt x="199" y="439"/>
                  </a:moveTo>
                  <a:cubicBezTo>
                    <a:pt x="201" y="439"/>
                    <a:pt x="201" y="439"/>
                    <a:pt x="201" y="439"/>
                  </a:cubicBezTo>
                  <a:cubicBezTo>
                    <a:pt x="200" y="432"/>
                    <a:pt x="200" y="432"/>
                    <a:pt x="200" y="432"/>
                  </a:cubicBezTo>
                  <a:cubicBezTo>
                    <a:pt x="198" y="431"/>
                    <a:pt x="198" y="431"/>
                    <a:pt x="198" y="431"/>
                  </a:cubicBezTo>
                  <a:lnTo>
                    <a:pt x="199" y="439"/>
                  </a:lnTo>
                  <a:close/>
                  <a:moveTo>
                    <a:pt x="217" y="421"/>
                  </a:moveTo>
                  <a:cubicBezTo>
                    <a:pt x="216" y="419"/>
                    <a:pt x="216" y="419"/>
                    <a:pt x="216" y="419"/>
                  </a:cubicBezTo>
                  <a:cubicBezTo>
                    <a:pt x="214" y="419"/>
                    <a:pt x="214" y="419"/>
                    <a:pt x="214" y="419"/>
                  </a:cubicBezTo>
                  <a:cubicBezTo>
                    <a:pt x="214" y="421"/>
                    <a:pt x="214" y="421"/>
                    <a:pt x="214" y="421"/>
                  </a:cubicBezTo>
                  <a:cubicBezTo>
                    <a:pt x="214" y="425"/>
                    <a:pt x="214" y="425"/>
                    <a:pt x="214" y="425"/>
                  </a:cubicBezTo>
                  <a:lnTo>
                    <a:pt x="217" y="421"/>
                  </a:lnTo>
                  <a:close/>
                  <a:moveTo>
                    <a:pt x="220" y="411"/>
                  </a:moveTo>
                  <a:cubicBezTo>
                    <a:pt x="215" y="412"/>
                    <a:pt x="214" y="415"/>
                    <a:pt x="216" y="416"/>
                  </a:cubicBezTo>
                  <a:cubicBezTo>
                    <a:pt x="220" y="418"/>
                    <a:pt x="223" y="411"/>
                    <a:pt x="220" y="411"/>
                  </a:cubicBezTo>
                  <a:close/>
                  <a:moveTo>
                    <a:pt x="234" y="392"/>
                  </a:moveTo>
                  <a:cubicBezTo>
                    <a:pt x="232" y="384"/>
                    <a:pt x="232" y="384"/>
                    <a:pt x="232" y="384"/>
                  </a:cubicBezTo>
                  <a:cubicBezTo>
                    <a:pt x="231" y="393"/>
                    <a:pt x="231" y="393"/>
                    <a:pt x="231" y="393"/>
                  </a:cubicBezTo>
                  <a:lnTo>
                    <a:pt x="234" y="392"/>
                  </a:lnTo>
                  <a:close/>
                  <a:moveTo>
                    <a:pt x="294" y="340"/>
                  </a:moveTo>
                  <a:cubicBezTo>
                    <a:pt x="294" y="343"/>
                    <a:pt x="294" y="343"/>
                    <a:pt x="294" y="343"/>
                  </a:cubicBezTo>
                  <a:cubicBezTo>
                    <a:pt x="297" y="342"/>
                    <a:pt x="297" y="342"/>
                    <a:pt x="297" y="342"/>
                  </a:cubicBezTo>
                  <a:cubicBezTo>
                    <a:pt x="296" y="336"/>
                    <a:pt x="296" y="336"/>
                    <a:pt x="296" y="336"/>
                  </a:cubicBezTo>
                  <a:lnTo>
                    <a:pt x="294" y="340"/>
                  </a:lnTo>
                  <a:close/>
                  <a:moveTo>
                    <a:pt x="293" y="335"/>
                  </a:moveTo>
                  <a:cubicBezTo>
                    <a:pt x="290" y="340"/>
                    <a:pt x="294" y="336"/>
                    <a:pt x="294" y="336"/>
                  </a:cubicBezTo>
                  <a:cubicBezTo>
                    <a:pt x="296" y="333"/>
                    <a:pt x="295" y="331"/>
                    <a:pt x="293" y="335"/>
                  </a:cubicBezTo>
                  <a:close/>
                  <a:moveTo>
                    <a:pt x="298" y="236"/>
                  </a:moveTo>
                  <a:cubicBezTo>
                    <a:pt x="300" y="240"/>
                    <a:pt x="300" y="240"/>
                    <a:pt x="300" y="240"/>
                  </a:cubicBezTo>
                  <a:cubicBezTo>
                    <a:pt x="306" y="242"/>
                    <a:pt x="306" y="242"/>
                    <a:pt x="306" y="242"/>
                  </a:cubicBezTo>
                  <a:cubicBezTo>
                    <a:pt x="307" y="241"/>
                    <a:pt x="307" y="241"/>
                    <a:pt x="307" y="241"/>
                  </a:cubicBezTo>
                  <a:cubicBezTo>
                    <a:pt x="304" y="239"/>
                    <a:pt x="304" y="239"/>
                    <a:pt x="304" y="239"/>
                  </a:cubicBezTo>
                  <a:cubicBezTo>
                    <a:pt x="305" y="236"/>
                    <a:pt x="305" y="236"/>
                    <a:pt x="305" y="236"/>
                  </a:cubicBezTo>
                  <a:cubicBezTo>
                    <a:pt x="303" y="235"/>
                    <a:pt x="303" y="235"/>
                    <a:pt x="303" y="235"/>
                  </a:cubicBezTo>
                  <a:cubicBezTo>
                    <a:pt x="302" y="237"/>
                    <a:pt x="302" y="237"/>
                    <a:pt x="302" y="237"/>
                  </a:cubicBezTo>
                  <a:cubicBezTo>
                    <a:pt x="302" y="235"/>
                    <a:pt x="302" y="235"/>
                    <a:pt x="302" y="235"/>
                  </a:cubicBezTo>
                  <a:lnTo>
                    <a:pt x="298" y="236"/>
                  </a:lnTo>
                  <a:close/>
                  <a:moveTo>
                    <a:pt x="312" y="222"/>
                  </a:moveTo>
                  <a:cubicBezTo>
                    <a:pt x="315" y="226"/>
                    <a:pt x="315" y="226"/>
                    <a:pt x="315" y="226"/>
                  </a:cubicBezTo>
                  <a:cubicBezTo>
                    <a:pt x="314" y="221"/>
                    <a:pt x="314" y="221"/>
                    <a:pt x="314" y="221"/>
                  </a:cubicBezTo>
                  <a:lnTo>
                    <a:pt x="312" y="222"/>
                  </a:lnTo>
                  <a:close/>
                  <a:moveTo>
                    <a:pt x="320" y="227"/>
                  </a:moveTo>
                  <a:cubicBezTo>
                    <a:pt x="322" y="224"/>
                    <a:pt x="322" y="224"/>
                    <a:pt x="322" y="224"/>
                  </a:cubicBezTo>
                  <a:cubicBezTo>
                    <a:pt x="317" y="225"/>
                    <a:pt x="317" y="225"/>
                    <a:pt x="317" y="225"/>
                  </a:cubicBezTo>
                  <a:lnTo>
                    <a:pt x="320" y="227"/>
                  </a:lnTo>
                  <a:close/>
                  <a:moveTo>
                    <a:pt x="322" y="222"/>
                  </a:moveTo>
                  <a:cubicBezTo>
                    <a:pt x="326" y="222"/>
                    <a:pt x="326" y="222"/>
                    <a:pt x="326" y="222"/>
                  </a:cubicBezTo>
                  <a:cubicBezTo>
                    <a:pt x="326" y="221"/>
                    <a:pt x="326" y="221"/>
                    <a:pt x="326" y="221"/>
                  </a:cubicBezTo>
                  <a:cubicBezTo>
                    <a:pt x="322" y="220"/>
                    <a:pt x="322" y="220"/>
                    <a:pt x="322" y="220"/>
                  </a:cubicBezTo>
                  <a:lnTo>
                    <a:pt x="322" y="222"/>
                  </a:lnTo>
                  <a:close/>
                  <a:moveTo>
                    <a:pt x="325" y="217"/>
                  </a:moveTo>
                  <a:cubicBezTo>
                    <a:pt x="326" y="213"/>
                    <a:pt x="326" y="213"/>
                    <a:pt x="326" y="213"/>
                  </a:cubicBezTo>
                  <a:cubicBezTo>
                    <a:pt x="322" y="215"/>
                    <a:pt x="322" y="215"/>
                    <a:pt x="322" y="215"/>
                  </a:cubicBezTo>
                  <a:lnTo>
                    <a:pt x="325" y="217"/>
                  </a:lnTo>
                  <a:close/>
                  <a:moveTo>
                    <a:pt x="319" y="219"/>
                  </a:moveTo>
                  <a:cubicBezTo>
                    <a:pt x="317" y="218"/>
                    <a:pt x="315" y="219"/>
                    <a:pt x="315" y="219"/>
                  </a:cubicBezTo>
                  <a:cubicBezTo>
                    <a:pt x="315" y="219"/>
                    <a:pt x="314" y="220"/>
                    <a:pt x="316" y="221"/>
                  </a:cubicBezTo>
                  <a:cubicBezTo>
                    <a:pt x="319" y="221"/>
                    <a:pt x="320" y="220"/>
                    <a:pt x="319" y="219"/>
                  </a:cubicBezTo>
                  <a:close/>
                  <a:moveTo>
                    <a:pt x="354" y="202"/>
                  </a:moveTo>
                  <a:cubicBezTo>
                    <a:pt x="356" y="202"/>
                    <a:pt x="356" y="202"/>
                    <a:pt x="356" y="202"/>
                  </a:cubicBezTo>
                  <a:cubicBezTo>
                    <a:pt x="356" y="200"/>
                    <a:pt x="356" y="200"/>
                    <a:pt x="356" y="200"/>
                  </a:cubicBezTo>
                  <a:cubicBezTo>
                    <a:pt x="354" y="200"/>
                    <a:pt x="354" y="200"/>
                    <a:pt x="354" y="200"/>
                  </a:cubicBezTo>
                  <a:lnTo>
                    <a:pt x="354" y="20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F7636D6-9045-8046-846A-18BC3CC14DDE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2687442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Rectangle 185">
            <a:extLst>
              <a:ext uri="{FF2B5EF4-FFF2-40B4-BE49-F238E27FC236}">
                <a16:creationId xmlns:a16="http://schemas.microsoft.com/office/drawing/2014/main" id="{1B24D510-5F04-0D4B-B09A-D6FCD87783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Title 1">
            <a:extLst>
              <a:ext uri="{FF2B5EF4-FFF2-40B4-BE49-F238E27FC236}">
                <a16:creationId xmlns:a16="http://schemas.microsoft.com/office/drawing/2014/main" id="{B4E0AB8A-C16B-0643-9066-4140FF474C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Australia</a:t>
            </a:r>
            <a:endParaRPr lang="en-US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8D485D-A667-DC44-81C7-6C226C580FE2}"/>
              </a:ext>
            </a:extLst>
          </p:cNvPr>
          <p:cNvGrpSpPr/>
          <p:nvPr userDrawn="1"/>
        </p:nvGrpSpPr>
        <p:grpSpPr>
          <a:xfrm>
            <a:off x="5431819" y="436846"/>
            <a:ext cx="6482275" cy="6091887"/>
            <a:chOff x="4450184" y="1201437"/>
            <a:chExt cx="4115592" cy="3867735"/>
          </a:xfrm>
        </p:grpSpPr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53826" y="2119391"/>
              <a:ext cx="298048" cy="319287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40660" y="1760190"/>
              <a:ext cx="875119" cy="667601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44805" y="4165732"/>
              <a:ext cx="1020971" cy="903440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0184" y="1201437"/>
              <a:ext cx="2625353" cy="119732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83103" y="2231865"/>
              <a:ext cx="199754" cy="108847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33351" y="2409652"/>
              <a:ext cx="2282917" cy="244908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70960D-A87D-FC4E-BA86-5B8E0C3BBE6B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3765376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3850"/>
            <a:ext cx="10934497" cy="55722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592263"/>
            <a:ext cx="3554209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Category Title here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5" y="2121145"/>
            <a:ext cx="3554205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white as the </a:t>
            </a:r>
            <a:r>
              <a:rPr lang="en-US" dirty="0" err="1"/>
              <a:t>colour</a:t>
            </a:r>
            <a:r>
              <a:rPr lang="en-US" dirty="0"/>
              <a:t> and place inside the blue circle.</a:t>
            </a:r>
          </a:p>
          <a:p>
            <a:r>
              <a:rPr lang="en-US" dirty="0"/>
              <a:t>Any unwanted Icons can be masked with a simple white box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4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5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4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FDD0A0D-4813-0442-B7A9-81BFB4829B0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697802F-0840-EE48-B35C-9CB300CE1D8F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Subtitle 2">
            <a:extLst>
              <a:ext uri="{FF2B5EF4-FFF2-40B4-BE49-F238E27FC236}">
                <a16:creationId xmlns:a16="http://schemas.microsoft.com/office/drawing/2014/main" id="{26402C3C-F59C-3A42-B015-2EA68FBF825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556838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CFCF589-AF37-934C-9D77-389344C39EC6}"/>
              </a:ext>
            </a:extLst>
          </p:cNvPr>
          <p:cNvSpPr/>
          <p:nvPr userDrawn="1"/>
        </p:nvSpPr>
        <p:spPr>
          <a:xfrm>
            <a:off x="4187824" y="0"/>
            <a:ext cx="8004175" cy="685800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9148"/>
            <a:ext cx="3322921" cy="8213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7" y="1592262"/>
            <a:ext cx="3321608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Copy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6" y="2121144"/>
            <a:ext cx="3321608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Kingspan Blue as the </a:t>
            </a:r>
            <a:r>
              <a:rPr lang="en-US" dirty="0" err="1"/>
              <a:t>colour</a:t>
            </a:r>
            <a:r>
              <a:rPr lang="en-US" dirty="0"/>
              <a:t> and place inside the white circle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2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3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3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BC67C90-EE5C-624B-803D-A24E2B956D1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9B69D5E-ED9C-544E-A604-69F54D7871C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Subtitle 2">
            <a:extLst>
              <a:ext uri="{FF2B5EF4-FFF2-40B4-BE49-F238E27FC236}">
                <a16:creationId xmlns:a16="http://schemas.microsoft.com/office/drawing/2014/main" id="{9C1708ED-C33A-E546-BF47-ADC82014D16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D0268A4-3A87-5D4C-AF1D-0FE814E58E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669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683EF78-36EB-B347-8002-51E747491F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5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A0AD9CA-DD4F-6849-9EBD-847328BAD8DE}"/>
              </a:ext>
            </a:extLst>
          </p:cNvPr>
          <p:cNvSpPr/>
          <p:nvPr userDrawn="1"/>
        </p:nvSpPr>
        <p:spPr>
          <a:xfrm>
            <a:off x="890524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DBA820-B79F-8940-93B5-9A3B88CEEBE6}"/>
              </a:ext>
            </a:extLst>
          </p:cNvPr>
          <p:cNvSpPr/>
          <p:nvPr userDrawn="1"/>
        </p:nvSpPr>
        <p:spPr>
          <a:xfrm>
            <a:off x="27608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12DD1A3-2ECA-2941-93A2-23BA1BB974D6}"/>
              </a:ext>
            </a:extLst>
          </p:cNvPr>
          <p:cNvSpPr/>
          <p:nvPr userDrawn="1"/>
        </p:nvSpPr>
        <p:spPr>
          <a:xfrm>
            <a:off x="45896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4DA6F6B-A360-834A-B6A1-672292E771E1}"/>
              </a:ext>
            </a:extLst>
          </p:cNvPr>
          <p:cNvSpPr/>
          <p:nvPr userDrawn="1"/>
        </p:nvSpPr>
        <p:spPr>
          <a:xfrm>
            <a:off x="6489841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1162878-B24C-CB4E-82D5-450D8A9335EA}"/>
              </a:ext>
            </a:extLst>
          </p:cNvPr>
          <p:cNvSpPr/>
          <p:nvPr userDrawn="1"/>
        </p:nvSpPr>
        <p:spPr>
          <a:xfrm>
            <a:off x="8313789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4B2BB32-0183-9442-AD45-3D1F3A7510B4}"/>
              </a:ext>
            </a:extLst>
          </p:cNvPr>
          <p:cNvSpPr/>
          <p:nvPr userDrawn="1"/>
        </p:nvSpPr>
        <p:spPr>
          <a:xfrm>
            <a:off x="1016752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1566"/>
            <a:ext cx="10934496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8A2391B-7CB4-D048-93B2-01298DBE852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4797425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B9895C84-2A29-B648-9FCB-581D7A666A5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5265738"/>
            <a:ext cx="1725410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C4372F70-3F92-984D-A1D6-64A68A41CC4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491189" y="4797425"/>
            <a:ext cx="169663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11357760-943B-E346-879B-5120DFBB54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91189" y="5265738"/>
            <a:ext cx="169663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AB36158F-1BCC-9142-AC83-0549E61597E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29614" y="4797425"/>
            <a:ext cx="1694949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A6B674D9-7291-2045-937A-0C8BE04CBCD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29614" y="5265738"/>
            <a:ext cx="1694949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D345FC74-CE8E-024B-9255-A89BBBAAAF2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06540" y="4797425"/>
            <a:ext cx="1658034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77946A5A-2264-094F-849A-D29C2FE0346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06540" y="5265738"/>
            <a:ext cx="1658034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2B8AE223-BAE7-584D-B3CF-E89FCAF2D75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006465" y="4797425"/>
            <a:ext cx="171747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6FD89598-B46E-E149-80A9-FFF06C86794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006465" y="5265738"/>
            <a:ext cx="1717472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E9C16BF4-14AA-904F-8536-6397929D2C9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9873766" y="4797425"/>
            <a:ext cx="169434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D10C066C-33CD-ED43-90D0-B8F060FE81F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9873766" y="5265738"/>
            <a:ext cx="169434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8F9FF5E-F6CE-BD44-8EE0-5F95979213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C5920A3-68C0-0748-B9EC-F7A9A8E276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Subtitle 2">
            <a:extLst>
              <a:ext uri="{FF2B5EF4-FFF2-40B4-BE49-F238E27FC236}">
                <a16:creationId xmlns:a16="http://schemas.microsoft.com/office/drawing/2014/main" id="{496FCA75-A150-5D4F-9612-55D226FB00C1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639456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09600" y="1510584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9C2F46-1389-2049-AB66-BA0E4767FF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171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05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E0753F-4CF5-0249-99E2-78D9368551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305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A191C85-8222-C049-9D1C-4D066189C0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785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2375" t="27833" r="42531" b="51236"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80083D-ED1D-A14E-AB59-11EE03FDC6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406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14E8BA2-96AA-D443-B26D-17071E739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939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Planet Passionat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9DDE4E-439C-584A-9367-471280FC2F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802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2D56AAE-6755-884D-9729-A3748131BB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29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A39A48A-1B62-F642-8CA6-53864C1F171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EB265DC-753B-A04E-AEED-322969FA79D3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Subtitle 2">
            <a:extLst>
              <a:ext uri="{FF2B5EF4-FFF2-40B4-BE49-F238E27FC236}">
                <a16:creationId xmlns:a16="http://schemas.microsoft.com/office/drawing/2014/main" id="{FBA345E0-EE21-5C40-9A9E-7CBADF7B171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95459B0-3CE0-F742-A537-8BB9245B20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073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683EF78-36EB-B347-8002-51E747491FD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006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207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9615A174-4F8A-2F4B-9A8E-80A3491D38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29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9615A174-4F8A-2F4B-9A8E-80A3491D38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762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7CF87F0-7E8F-904C-8D99-7DBEEF328B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240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6E69647-C502-C441-87EF-3977815DA1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469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B8647F-9952-F446-B6D5-8D7125A485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957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589FAB-72DB-3C47-8A59-E513229C35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985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8B147F-3449-9841-98AE-A51B6A4FB3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683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719F52-3F4D-094F-A7E3-CAB8AD389D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241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F9FCBF-D3C7-5348-A691-5634596B9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427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C036A99-9230-1D44-BD35-B76E66776C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920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F004747-33C9-704E-A2E6-F4C6141C8D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161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7CF87F0-7E8F-904C-8D99-7DBEEF328B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849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0E04F-D46A-C744-A629-DAA67A0816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883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35017B9-77BC-284B-A42C-A296E825A7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930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260227-57F8-2644-B85D-64F25A1789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823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8FD18CE-A7CC-0342-99A8-D08B8CBC5F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05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BB4072D-3150-684F-96E4-3E2B94E27921}"/>
              </a:ext>
            </a:extLst>
          </p:cNvPr>
          <p:cNvGrpSpPr/>
          <p:nvPr userDrawn="1"/>
        </p:nvGrpSpPr>
        <p:grpSpPr>
          <a:xfrm>
            <a:off x="374053" y="-12529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0D6FCC16-AC36-7B41-9B9B-3B1A96FD6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4262DF0-E744-6041-AAE9-9D127B7A9AC3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lerts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D6B311C-FDD8-7A4A-9E1B-4E8579537454}"/>
              </a:ext>
            </a:extLst>
          </p:cNvPr>
          <p:cNvGrpSpPr/>
          <p:nvPr userDrawn="1"/>
        </p:nvGrpSpPr>
        <p:grpSpPr>
          <a:xfrm>
            <a:off x="8541224" y="3305151"/>
            <a:ext cx="1580322" cy="1608757"/>
            <a:chOff x="5750970" y="2169250"/>
            <a:chExt cx="1580322" cy="1608757"/>
          </a:xfrm>
        </p:grpSpPr>
        <p:pic>
          <p:nvPicPr>
            <p:cNvPr id="174" name="Picture 173" descr="A close up of a logo&#10;&#10;Description automatically generated">
              <a:extLst>
                <a:ext uri="{FF2B5EF4-FFF2-40B4-BE49-F238E27FC236}">
                  <a16:creationId xmlns:a16="http://schemas.microsoft.com/office/drawing/2014/main" id="{545988BF-965C-AA47-9425-0D6D6D39B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535BD7F4-24A1-0747-87AF-EF4D15762673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se Study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5088489E-7174-F243-A7AA-497CA2725050}"/>
              </a:ext>
            </a:extLst>
          </p:cNvPr>
          <p:cNvGrpSpPr/>
          <p:nvPr userDrawn="1"/>
        </p:nvGrpSpPr>
        <p:grpSpPr>
          <a:xfrm>
            <a:off x="5767441" y="1746216"/>
            <a:ext cx="1580322" cy="1715119"/>
            <a:chOff x="367748" y="405538"/>
            <a:chExt cx="1580322" cy="1715119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9684B06A-814D-4241-89C0-3A6DA490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93807C27-7A76-734F-9F6C-D956CCFA4A62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</a:t>
              </a:r>
            </a:p>
            <a:p>
              <a:pPr algn="ctr"/>
              <a:r>
                <a:rPr lang="en-US" sz="1200" dirty="0"/>
                <a:t>Service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064A34D-C51B-FA46-AAF8-C7D071096ECE}"/>
              </a:ext>
            </a:extLst>
          </p:cNvPr>
          <p:cNvGrpSpPr/>
          <p:nvPr userDrawn="1"/>
        </p:nvGrpSpPr>
        <p:grpSpPr>
          <a:xfrm>
            <a:off x="5773190" y="-28593"/>
            <a:ext cx="1580322" cy="1566045"/>
            <a:chOff x="367748" y="2169250"/>
            <a:chExt cx="1580322" cy="1566045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95E333A6-653E-F645-8071-A8B53C73A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E3DF9503-1188-EF42-874E-90566CC4A8DD}"/>
                </a:ext>
              </a:extLst>
            </p:cNvPr>
            <p:cNvSpPr txBox="1"/>
            <p:nvPr/>
          </p:nvSpPr>
          <p:spPr>
            <a:xfrm>
              <a:off x="367748" y="345829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rand DNA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89866316-E303-0344-BE71-8D9017A98606}"/>
              </a:ext>
            </a:extLst>
          </p:cNvPr>
          <p:cNvGrpSpPr/>
          <p:nvPr userDrawn="1"/>
        </p:nvGrpSpPr>
        <p:grpSpPr>
          <a:xfrm>
            <a:off x="7138849" y="1746216"/>
            <a:ext cx="1580322" cy="1553763"/>
            <a:chOff x="5750970" y="2169250"/>
            <a:chExt cx="1580322" cy="155376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E241773-9743-8D49-ACAA-E64CE7684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46513CAC-B56C-2E49-BFC1-44A1F6A2B074}"/>
                </a:ext>
              </a:extLst>
            </p:cNvPr>
            <p:cNvSpPr txBox="1"/>
            <p:nvPr/>
          </p:nvSpPr>
          <p:spPr>
            <a:xfrm>
              <a:off x="5750970" y="344601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llaboration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7AD6A17-ED90-6547-A570-1EAE684B017F}"/>
              </a:ext>
            </a:extLst>
          </p:cNvPr>
          <p:cNvGrpSpPr/>
          <p:nvPr userDrawn="1"/>
        </p:nvGrpSpPr>
        <p:grpSpPr>
          <a:xfrm>
            <a:off x="390557" y="3313364"/>
            <a:ext cx="1580322" cy="1537449"/>
            <a:chOff x="9480376" y="3968750"/>
            <a:chExt cx="1580322" cy="1537449"/>
          </a:xfrm>
        </p:grpSpPr>
        <p:pic>
          <p:nvPicPr>
            <p:cNvPr id="186" name="Picture 18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B6D36BF-1E77-B047-A477-9B1A19440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5CDFDBC-E158-B549-BB68-75DB5E0F1ED6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act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8D4F745E-0219-0346-8DD9-592D94CD0F1A}"/>
              </a:ext>
            </a:extLst>
          </p:cNvPr>
          <p:cNvGrpSpPr/>
          <p:nvPr userDrawn="1"/>
        </p:nvGrpSpPr>
        <p:grpSpPr>
          <a:xfrm>
            <a:off x="7155839" y="-23657"/>
            <a:ext cx="1580322" cy="1537586"/>
            <a:chOff x="5750970" y="3968613"/>
            <a:chExt cx="1580322" cy="1537586"/>
          </a:xfrm>
        </p:grpSpPr>
        <p:pic>
          <p:nvPicPr>
            <p:cNvPr id="189" name="Picture 188" descr="A close up of a logo&#10;&#10;Description automatically generated">
              <a:extLst>
                <a:ext uri="{FF2B5EF4-FFF2-40B4-BE49-F238E27FC236}">
                  <a16:creationId xmlns:a16="http://schemas.microsoft.com/office/drawing/2014/main" id="{5BEC7397-EA5B-8047-8142-35A4E2846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E0E91293-FA98-274D-A2CA-30660D44AC83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acteria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FF8C05F-938E-3540-AE08-1D6175D46C00}"/>
              </a:ext>
            </a:extLst>
          </p:cNvPr>
          <p:cNvGrpSpPr/>
          <p:nvPr userDrawn="1"/>
        </p:nvGrpSpPr>
        <p:grpSpPr>
          <a:xfrm>
            <a:off x="1627715" y="3302734"/>
            <a:ext cx="1580322" cy="1740157"/>
            <a:chOff x="7667309" y="2169250"/>
            <a:chExt cx="1580322" cy="1740157"/>
          </a:xfrm>
        </p:grpSpPr>
        <p:pic>
          <p:nvPicPr>
            <p:cNvPr id="192" name="Picture 191" descr="A close up of a sign&#10;&#10;Description automatically generated">
              <a:extLst>
                <a:ext uri="{FF2B5EF4-FFF2-40B4-BE49-F238E27FC236}">
                  <a16:creationId xmlns:a16="http://schemas.microsoft.com/office/drawing/2014/main" id="{2BE03BB0-45C2-824D-9534-7FAB7C4E66C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D4D9A9BA-AAC4-B544-A6DC-868CB55D999B}"/>
                </a:ext>
              </a:extLst>
            </p:cNvPr>
            <p:cNvSpPr txBox="1"/>
            <p:nvPr/>
          </p:nvSpPr>
          <p:spPr>
            <a:xfrm>
              <a:off x="7667309" y="344774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liant Solution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56138BC7-748A-D049-82ED-CAE61EC15437}"/>
              </a:ext>
            </a:extLst>
          </p:cNvPr>
          <p:cNvGrpSpPr/>
          <p:nvPr userDrawn="1"/>
        </p:nvGrpSpPr>
        <p:grpSpPr>
          <a:xfrm>
            <a:off x="374053" y="1763790"/>
            <a:ext cx="1580322" cy="1530453"/>
            <a:chOff x="367748" y="405538"/>
            <a:chExt cx="1580322" cy="1530453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64632124-D98E-4C47-B909-97AA1F99C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561DC6A-9438-874F-AA4C-5AEC225CF95B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lendar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588EF020-AE7A-2B48-9265-38C1075295F9}"/>
              </a:ext>
            </a:extLst>
          </p:cNvPr>
          <p:cNvGrpSpPr/>
          <p:nvPr userDrawn="1"/>
        </p:nvGrpSpPr>
        <p:grpSpPr>
          <a:xfrm>
            <a:off x="1637039" y="1750338"/>
            <a:ext cx="1580322" cy="1530453"/>
            <a:chOff x="2063552" y="405538"/>
            <a:chExt cx="1580322" cy="1530453"/>
          </a:xfrm>
        </p:grpSpPr>
        <p:pic>
          <p:nvPicPr>
            <p:cNvPr id="198" name="Picture 197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16375AE-E24C-3744-9A70-E2C84CEEB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35A4F2E9-4BE7-1E4B-B530-BC1CD4ADCE1C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art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910D802-A6C8-274C-9C65-47AFAC4CFE8B}"/>
              </a:ext>
            </a:extLst>
          </p:cNvPr>
          <p:cNvGrpSpPr/>
          <p:nvPr userDrawn="1"/>
        </p:nvGrpSpPr>
        <p:grpSpPr>
          <a:xfrm>
            <a:off x="1643847" y="-28593"/>
            <a:ext cx="1580322" cy="1722252"/>
            <a:chOff x="367748" y="3968613"/>
            <a:chExt cx="1580322" cy="1722252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2B8E77AE-2D9B-4A47-8684-1C0D40558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37909" y="3968613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7C81AE6-3996-7647-A9B4-8438B7CFC46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ccredited Installer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08690EF9-DDDF-1F40-818B-75754B172961}"/>
              </a:ext>
            </a:extLst>
          </p:cNvPr>
          <p:cNvGrpSpPr/>
          <p:nvPr userDrawn="1"/>
        </p:nvGrpSpPr>
        <p:grpSpPr>
          <a:xfrm>
            <a:off x="3000586" y="1746216"/>
            <a:ext cx="1580322" cy="1537449"/>
            <a:chOff x="5750970" y="3968750"/>
            <a:chExt cx="1580322" cy="1537449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6594CE0C-26AF-A047-A3D6-A9C611F7E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1164C9F6-C764-5E40-B736-75839445A2D1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unication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FCA607D7-2C8C-3D4B-B351-BBA093EE00BE}"/>
              </a:ext>
            </a:extLst>
          </p:cNvPr>
          <p:cNvGrpSpPr/>
          <p:nvPr userDrawn="1"/>
        </p:nvGrpSpPr>
        <p:grpSpPr>
          <a:xfrm>
            <a:off x="4369981" y="1746216"/>
            <a:ext cx="1580322" cy="1537586"/>
            <a:chOff x="7667309" y="3968613"/>
            <a:chExt cx="1580322" cy="1537586"/>
          </a:xfrm>
        </p:grpSpPr>
        <p:pic>
          <p:nvPicPr>
            <p:cNvPr id="207" name="Picture 206" descr="A close up of a sign&#10;&#10;Description automatically generated">
              <a:extLst>
                <a:ext uri="{FF2B5EF4-FFF2-40B4-BE49-F238E27FC236}">
                  <a16:creationId xmlns:a16="http://schemas.microsoft.com/office/drawing/2014/main" id="{A290880F-F450-4B44-9E67-E63D21ABC8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4CE1E15B-D5EC-FB44-95DA-0FE4DCD2172E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ed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DA3EF250-8F71-4F44-B1B0-3FFF284AD16D}"/>
              </a:ext>
            </a:extLst>
          </p:cNvPr>
          <p:cNvGrpSpPr/>
          <p:nvPr userDrawn="1"/>
        </p:nvGrpSpPr>
        <p:grpSpPr>
          <a:xfrm>
            <a:off x="4378756" y="3320360"/>
            <a:ext cx="1580322" cy="1530453"/>
            <a:chOff x="5750970" y="405538"/>
            <a:chExt cx="1580322" cy="1530453"/>
          </a:xfrm>
        </p:grpSpPr>
        <p:pic>
          <p:nvPicPr>
            <p:cNvPr id="210" name="Picture 209" descr="A close up of a sign&#10;&#10;Description automatically generated">
              <a:extLst>
                <a:ext uri="{FF2B5EF4-FFF2-40B4-BE49-F238E27FC236}">
                  <a16:creationId xmlns:a16="http://schemas.microsoft.com/office/drawing/2014/main" id="{BBF960DB-5E07-EB4D-BC48-1A5EF2910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A6D742A9-6A61-054A-9CDC-5E9FA42210F8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cate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DFAEBC59-2894-9C47-8523-D8693974B992}"/>
              </a:ext>
            </a:extLst>
          </p:cNvPr>
          <p:cNvGrpSpPr/>
          <p:nvPr userDrawn="1"/>
        </p:nvGrpSpPr>
        <p:grpSpPr>
          <a:xfrm>
            <a:off x="8534296" y="1742769"/>
            <a:ext cx="1580322" cy="1564192"/>
            <a:chOff x="2063552" y="2169250"/>
            <a:chExt cx="1580322" cy="1564192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F922517B-CA2F-6346-B1BA-B6F47E903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5FE21AD-85C6-D345-9A10-7B46BEA32814}"/>
                </a:ext>
              </a:extLst>
            </p:cNvPr>
            <p:cNvSpPr txBox="1"/>
            <p:nvPr/>
          </p:nvSpPr>
          <p:spPr>
            <a:xfrm>
              <a:off x="2063552" y="345644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B8F8ED8-D362-9043-A3D6-7462ACC1CE05}"/>
              </a:ext>
            </a:extLst>
          </p:cNvPr>
          <p:cNvGrpSpPr/>
          <p:nvPr userDrawn="1"/>
        </p:nvGrpSpPr>
        <p:grpSpPr>
          <a:xfrm>
            <a:off x="3004181" y="-22880"/>
            <a:ext cx="1580322" cy="1544397"/>
            <a:chOff x="9480376" y="2169250"/>
            <a:chExt cx="1580322" cy="1544397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F1BAC1CF-C9BB-2D4F-9500-7BB40CF84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D6299A57-6EF6-664C-BE40-A9AACB5631BD}"/>
                </a:ext>
              </a:extLst>
            </p:cNvPr>
            <p:cNvSpPr txBox="1"/>
            <p:nvPr/>
          </p:nvSpPr>
          <p:spPr>
            <a:xfrm>
              <a:off x="9480376" y="343664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d Blu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A917B2A9-4483-0C4E-B212-56D00A07DDEC}"/>
              </a:ext>
            </a:extLst>
          </p:cNvPr>
          <p:cNvGrpSpPr/>
          <p:nvPr userDrawn="1"/>
        </p:nvGrpSpPr>
        <p:grpSpPr>
          <a:xfrm>
            <a:off x="3001276" y="3313364"/>
            <a:ext cx="1580322" cy="1537449"/>
            <a:chOff x="5750970" y="3968750"/>
            <a:chExt cx="1580322" cy="1537449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CBA9383E-7B9F-B647-A0C8-4D320BE8F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AC9539E8-2107-DC4D-9FEA-ED7CB940FDF8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ivils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57A30889-B007-AD40-85E4-F6F17A1F1D52}"/>
              </a:ext>
            </a:extLst>
          </p:cNvPr>
          <p:cNvGrpSpPr/>
          <p:nvPr userDrawn="1"/>
        </p:nvGrpSpPr>
        <p:grpSpPr>
          <a:xfrm>
            <a:off x="5767441" y="3302734"/>
            <a:ext cx="1580322" cy="1722252"/>
            <a:chOff x="7667309" y="3968613"/>
            <a:chExt cx="1580322" cy="1722252"/>
          </a:xfrm>
        </p:grpSpPr>
        <p:pic>
          <p:nvPicPr>
            <p:cNvPr id="222" name="Picture 221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8D68CAAC-0F8A-3248-B6FC-B6C507489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73A02D73-85E4-D54E-B75C-5B46FFAF3D1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 </a:t>
              </a:r>
              <a:br>
                <a:rPr lang="en-US" sz="1200" dirty="0"/>
              </a:br>
              <a:r>
                <a:rPr lang="en-US" sz="1200" dirty="0"/>
                <a:t>Focu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C6939DA3-B198-C44D-A756-96A1E60EB82A}"/>
              </a:ext>
            </a:extLst>
          </p:cNvPr>
          <p:cNvGrpSpPr/>
          <p:nvPr userDrawn="1"/>
        </p:nvGrpSpPr>
        <p:grpSpPr>
          <a:xfrm>
            <a:off x="7141403" y="3313364"/>
            <a:ext cx="1580322" cy="1746998"/>
            <a:chOff x="5750970" y="2169250"/>
            <a:chExt cx="1580322" cy="1746998"/>
          </a:xfrm>
        </p:grpSpPr>
        <p:pic>
          <p:nvPicPr>
            <p:cNvPr id="225" name="Picture 224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4708964-CE3F-9D48-8BBA-2CFD73C8D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B23F0FC8-6B3E-0944-9F32-860C86EFC6FA}"/>
                </a:ext>
              </a:extLst>
            </p:cNvPr>
            <p:cNvSpPr txBox="1"/>
            <p:nvPr/>
          </p:nvSpPr>
          <p:spPr>
            <a:xfrm>
              <a:off x="5750970" y="345458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Containerised</a:t>
              </a:r>
              <a:r>
                <a:rPr lang="en-US" sz="1200" dirty="0"/>
                <a:t> Design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D8D3B16F-07A5-B944-A6E5-5DC37CA04E3C}"/>
              </a:ext>
            </a:extLst>
          </p:cNvPr>
          <p:cNvGrpSpPr/>
          <p:nvPr userDrawn="1"/>
        </p:nvGrpSpPr>
        <p:grpSpPr>
          <a:xfrm>
            <a:off x="4369981" y="-14955"/>
            <a:ext cx="1580322" cy="1537586"/>
            <a:chOff x="2063552" y="3968613"/>
            <a:chExt cx="1580322" cy="1537586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2788A875-5726-6B42-B1D9-4DAF20BCC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28B723FF-C4D0-5245-B84D-8D72732425F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gricultur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5EFF25D9-F93F-7148-9B95-038D2822567D}"/>
              </a:ext>
            </a:extLst>
          </p:cNvPr>
          <p:cNvGrpSpPr/>
          <p:nvPr userDrawn="1"/>
        </p:nvGrpSpPr>
        <p:grpSpPr>
          <a:xfrm>
            <a:off x="8541224" y="-26646"/>
            <a:ext cx="1580322" cy="1565539"/>
            <a:chOff x="7667309" y="405538"/>
            <a:chExt cx="1580322" cy="1565539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E4A0CF04-4EC5-814B-9421-725F8B1E1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2E0C3064-CD98-1B45-A64E-168C14E6084B}"/>
                </a:ext>
              </a:extLst>
            </p:cNvPr>
            <p:cNvSpPr txBox="1"/>
            <p:nvPr/>
          </p:nvSpPr>
          <p:spPr>
            <a:xfrm>
              <a:off x="7667309" y="169407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us Stop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A640E644-110F-8C49-9371-6D9238ABE916}"/>
              </a:ext>
            </a:extLst>
          </p:cNvPr>
          <p:cNvGrpSpPr/>
          <p:nvPr userDrawn="1"/>
        </p:nvGrpSpPr>
        <p:grpSpPr>
          <a:xfrm>
            <a:off x="9960528" y="3320360"/>
            <a:ext cx="1580322" cy="1740001"/>
            <a:chOff x="2063552" y="2169250"/>
            <a:chExt cx="1580322" cy="174000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838E1618-59F8-FD4E-A284-7D0B04246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3EB45999-6401-CD4F-A88E-21C4FB74114C}"/>
                </a:ext>
              </a:extLst>
            </p:cNvPr>
            <p:cNvSpPr txBox="1"/>
            <p:nvPr/>
          </p:nvSpPr>
          <p:spPr>
            <a:xfrm>
              <a:off x="2063552" y="344758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centration Less Than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211471AA-4E2C-6045-8300-C5AAE621AEE5}"/>
              </a:ext>
            </a:extLst>
          </p:cNvPr>
          <p:cNvGrpSpPr/>
          <p:nvPr userDrawn="1"/>
        </p:nvGrpSpPr>
        <p:grpSpPr>
          <a:xfrm>
            <a:off x="9954108" y="1742769"/>
            <a:ext cx="1580322" cy="1537449"/>
            <a:chOff x="367748" y="3968750"/>
            <a:chExt cx="1580322" cy="1537449"/>
          </a:xfrm>
        </p:grpSpPr>
        <p:pic>
          <p:nvPicPr>
            <p:cNvPr id="237" name="Picture 236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22C9C45-18CD-7A42-922D-4ED8DAE8A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5500F41A-2337-484C-8F87-3EFC5157C48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rols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5E2A23B-F9F0-2249-A919-88854DE225BB}"/>
              </a:ext>
            </a:extLst>
          </p:cNvPr>
          <p:cNvGrpSpPr/>
          <p:nvPr userDrawn="1"/>
        </p:nvGrpSpPr>
        <p:grpSpPr>
          <a:xfrm>
            <a:off x="9954108" y="-24119"/>
            <a:ext cx="1580322" cy="1566138"/>
            <a:chOff x="367748" y="2169250"/>
            <a:chExt cx="1580322" cy="1566138"/>
          </a:xfrm>
        </p:grpSpPr>
        <p:pic>
          <p:nvPicPr>
            <p:cNvPr id="240" name="Picture 23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7790CCC-4BC9-994E-B5EC-2E60C341C7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C9E76F3C-BBAC-5845-B4C8-74EA95D89503}"/>
                </a:ext>
              </a:extLst>
            </p:cNvPr>
            <p:cNvSpPr txBox="1"/>
            <p:nvPr/>
          </p:nvSpPr>
          <p:spPr>
            <a:xfrm>
              <a:off x="367748" y="345838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A93816-B89C-4948-9307-37A1BA81EE01}"/>
              </a:ext>
            </a:extLst>
          </p:cNvPr>
          <p:cNvGrpSpPr/>
          <p:nvPr userDrawn="1"/>
        </p:nvGrpSpPr>
        <p:grpSpPr>
          <a:xfrm>
            <a:off x="7143380" y="5092727"/>
            <a:ext cx="1580322" cy="1806074"/>
            <a:chOff x="3896140" y="3968613"/>
            <a:chExt cx="1580322" cy="1806074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AAF03E1D-6D2B-CC42-810D-332EBE69A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966301" y="3968613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B280E7F6-3DD1-DB4C-A9D3-245B50D94576}"/>
                </a:ext>
              </a:extLst>
            </p:cNvPr>
            <p:cNvSpPr txBox="1"/>
            <p:nvPr/>
          </p:nvSpPr>
          <p:spPr>
            <a:xfrm>
              <a:off x="3896140" y="531302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uble </a:t>
              </a:r>
              <a:br>
                <a:rPr lang="en-US" sz="1200" dirty="0"/>
              </a:br>
              <a:r>
                <a:rPr lang="en-US" sz="1200" dirty="0"/>
                <a:t>Bunded Tank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1160E0BC-312B-5749-8E2C-788C647D52D7}"/>
              </a:ext>
            </a:extLst>
          </p:cNvPr>
          <p:cNvGrpSpPr/>
          <p:nvPr userDrawn="1"/>
        </p:nvGrpSpPr>
        <p:grpSpPr>
          <a:xfrm>
            <a:off x="8535621" y="5084886"/>
            <a:ext cx="1580322" cy="1608757"/>
            <a:chOff x="7667309" y="2169250"/>
            <a:chExt cx="1580322" cy="1608757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4BEA655A-CE87-DB47-A33B-39D7B43F0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0189D3BC-84F9-1C43-AF9C-F6C71B68E32C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sign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6C2E3B41-B23F-1140-B5DE-19AE0335E465}"/>
              </a:ext>
            </a:extLst>
          </p:cNvPr>
          <p:cNvGrpSpPr/>
          <p:nvPr userDrawn="1"/>
        </p:nvGrpSpPr>
        <p:grpSpPr>
          <a:xfrm>
            <a:off x="367748" y="5076640"/>
            <a:ext cx="1580322" cy="1608757"/>
            <a:chOff x="367748" y="2169250"/>
            <a:chExt cx="1580322" cy="1608757"/>
          </a:xfrm>
        </p:grpSpPr>
        <p:pic>
          <p:nvPicPr>
            <p:cNvPr id="249" name="Picture 24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9CD3CFDD-9B01-1944-90CC-690882E16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B77E6B8C-3EEE-4A4C-B119-88D10C831E79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3080C162-9ACA-9649-AAA4-E3919FA0CE94}"/>
              </a:ext>
            </a:extLst>
          </p:cNvPr>
          <p:cNvGrpSpPr/>
          <p:nvPr userDrawn="1"/>
        </p:nvGrpSpPr>
        <p:grpSpPr>
          <a:xfrm>
            <a:off x="2989227" y="5076640"/>
            <a:ext cx="1580322" cy="1608757"/>
            <a:chOff x="3896140" y="2169250"/>
            <a:chExt cx="1580322" cy="1608757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BA99FADF-C9C2-744B-ABD7-2E0E24957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D9DEAC2-E13E-DB45-A6EF-B3096BAF7954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mpsit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4E0500C9-7689-B441-9E80-8B1C10481232}"/>
              </a:ext>
            </a:extLst>
          </p:cNvPr>
          <p:cNvGrpSpPr/>
          <p:nvPr userDrawn="1"/>
        </p:nvGrpSpPr>
        <p:grpSpPr>
          <a:xfrm>
            <a:off x="1625854" y="5080465"/>
            <a:ext cx="1580322" cy="1587504"/>
            <a:chOff x="3896140" y="3968750"/>
            <a:chExt cx="1580322" cy="1587504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A390A808-7B12-DD4F-A3E1-6CDEFC9DF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14D3C6B5-5606-3A4D-A141-6F4FD65FCFB9}"/>
                </a:ext>
              </a:extLst>
            </p:cNvPr>
            <p:cNvSpPr txBox="1"/>
            <p:nvPr/>
          </p:nvSpPr>
          <p:spPr>
            <a:xfrm>
              <a:off x="3896140" y="527925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truction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340B1088-F5C2-A94E-B775-3FF347DFDE02}"/>
              </a:ext>
            </a:extLst>
          </p:cNvPr>
          <p:cNvGrpSpPr/>
          <p:nvPr userDrawn="1"/>
        </p:nvGrpSpPr>
        <p:grpSpPr>
          <a:xfrm>
            <a:off x="5771791" y="5084886"/>
            <a:ext cx="1580322" cy="1608757"/>
            <a:chOff x="367748" y="2169250"/>
            <a:chExt cx="1580322" cy="1608757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F3160-7693-B647-AAD3-A5F94A711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0B8FD068-3704-A245-A241-3C8A27766E0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 Service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739299A-FCC2-C040-95C6-C2EC211988EB}"/>
              </a:ext>
            </a:extLst>
          </p:cNvPr>
          <p:cNvGrpSpPr/>
          <p:nvPr userDrawn="1"/>
        </p:nvGrpSpPr>
        <p:grpSpPr>
          <a:xfrm>
            <a:off x="4380509" y="5076640"/>
            <a:ext cx="1580322" cy="1608757"/>
            <a:chOff x="367748" y="2169250"/>
            <a:chExt cx="1580322" cy="1608757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8A7E159B-B9AF-4149-A50F-9D2CE9CF7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C576CB03-2114-7D4E-B4F0-4283DF40847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acts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CEBABC10-0D3B-3E4B-9843-901E63CE1B78}"/>
              </a:ext>
            </a:extLst>
          </p:cNvPr>
          <p:cNvGrpSpPr/>
          <p:nvPr userDrawn="1"/>
        </p:nvGrpSpPr>
        <p:grpSpPr>
          <a:xfrm>
            <a:off x="9976412" y="5084886"/>
            <a:ext cx="1580322" cy="1793423"/>
            <a:chOff x="3896140" y="405538"/>
            <a:chExt cx="1580322" cy="179342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1038D68E-F995-FD46-BFDA-8976A03C1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D1593DD-E3EB-7144-8247-78BA446326BD}"/>
                </a:ext>
              </a:extLst>
            </p:cNvPr>
            <p:cNvSpPr txBox="1"/>
            <p:nvPr/>
          </p:nvSpPr>
          <p:spPr>
            <a:xfrm>
              <a:off x="3896140" y="173729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Water 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0936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50221498-D76C-9D46-8117-7D1CD9CCFD9D}"/>
              </a:ext>
            </a:extLst>
          </p:cNvPr>
          <p:cNvGrpSpPr/>
          <p:nvPr userDrawn="1"/>
        </p:nvGrpSpPr>
        <p:grpSpPr>
          <a:xfrm>
            <a:off x="4380509" y="0"/>
            <a:ext cx="1580322" cy="1530453"/>
            <a:chOff x="3896140" y="405538"/>
            <a:chExt cx="1580322" cy="1530453"/>
          </a:xfrm>
        </p:grpSpPr>
        <p:pic>
          <p:nvPicPr>
            <p:cNvPr id="171" name="Picture 17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B4151B7-F01F-374F-8B4D-364EFD86D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D03FE6D7-884E-4346-A059-29EF66582267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rop Alert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2A0DFDF4-CB46-E44C-8524-19425DC1D40E}"/>
              </a:ext>
            </a:extLst>
          </p:cNvPr>
          <p:cNvGrpSpPr/>
          <p:nvPr userDrawn="1"/>
        </p:nvGrpSpPr>
        <p:grpSpPr>
          <a:xfrm>
            <a:off x="3002939" y="17780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8151A87E-6F08-4549-8747-60C02D058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3814486B-6A38-C94F-9F28-F6AD94B777BD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wnload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6327C041-6C19-0D40-8131-83A9E8761B0D}"/>
              </a:ext>
            </a:extLst>
          </p:cNvPr>
          <p:cNvGrpSpPr/>
          <p:nvPr userDrawn="1"/>
        </p:nvGrpSpPr>
        <p:grpSpPr>
          <a:xfrm>
            <a:off x="5765810" y="4526"/>
            <a:ext cx="1580322" cy="1521875"/>
            <a:chOff x="3896140" y="2169250"/>
            <a:chExt cx="1580322" cy="152187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5B6E4E08-78D2-5047-A763-15DD8BA7F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67DAD732-6E72-6F49-AEEA-EB1DCA3ABA02}"/>
                </a:ext>
              </a:extLst>
            </p:cNvPr>
            <p:cNvSpPr txBox="1"/>
            <p:nvPr/>
          </p:nvSpPr>
          <p:spPr>
            <a:xfrm>
              <a:off x="3896140" y="341412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livery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7BAF2BF-FC4F-7A47-931E-C102C8E4ED68}"/>
              </a:ext>
            </a:extLst>
          </p:cNvPr>
          <p:cNvGrpSpPr/>
          <p:nvPr userDrawn="1"/>
        </p:nvGrpSpPr>
        <p:grpSpPr>
          <a:xfrm>
            <a:off x="1657712" y="17780"/>
            <a:ext cx="1580322" cy="1715119"/>
            <a:chOff x="5750970" y="405538"/>
            <a:chExt cx="1580322" cy="1715119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BEA6BFED-D760-7B4B-BB1C-1C0C638F3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F2AC0507-B105-9346-AF0E-F30AB2E9F994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</a:t>
              </a:r>
              <a:br>
                <a:rPr lang="en-US" sz="1200" dirty="0"/>
              </a:br>
              <a:r>
                <a:rPr lang="en-US" sz="1200" dirty="0"/>
                <a:t>Laundry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21BE7CE9-4172-684F-98D5-AC6A445EBE72}"/>
              </a:ext>
            </a:extLst>
          </p:cNvPr>
          <p:cNvGrpSpPr/>
          <p:nvPr userDrawn="1"/>
        </p:nvGrpSpPr>
        <p:grpSpPr>
          <a:xfrm>
            <a:off x="343232" y="17780"/>
            <a:ext cx="1580322" cy="1530453"/>
            <a:chOff x="9480376" y="405538"/>
            <a:chExt cx="1580322" cy="153045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1BD92CC-9411-5A4D-92A5-09ADB3048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FF1C0D68-D998-F544-9F55-84604A8B60C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D83F1AA7-2B9D-7349-9035-2A35C1360550}"/>
              </a:ext>
            </a:extLst>
          </p:cNvPr>
          <p:cNvGrpSpPr/>
          <p:nvPr userDrawn="1"/>
        </p:nvGrpSpPr>
        <p:grpSpPr>
          <a:xfrm>
            <a:off x="343232" y="1755612"/>
            <a:ext cx="1580322" cy="1530453"/>
            <a:chOff x="367748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2D8BFC2-1175-094B-9C79-38ED104B5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812A1409-5044-5948-BB0A-4B1B269DCA2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ail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79E740CC-3137-2A40-BAD8-D000A1C1C02E}"/>
              </a:ext>
            </a:extLst>
          </p:cNvPr>
          <p:cNvGrpSpPr/>
          <p:nvPr userDrawn="1"/>
        </p:nvGrpSpPr>
        <p:grpSpPr>
          <a:xfrm>
            <a:off x="1657712" y="1746390"/>
            <a:ext cx="1580322" cy="1537449"/>
            <a:chOff x="367748" y="3968750"/>
            <a:chExt cx="1580322" cy="1537449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4924E03-F555-EA49-B9A5-BB5FF5DFD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3FEC2C78-5095-1E45-BFA8-4B8EC71AC8B4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AF990BDE-4D1C-244D-BB84-60F0668432E4}"/>
              </a:ext>
            </a:extLst>
          </p:cNvPr>
          <p:cNvGrpSpPr/>
          <p:nvPr userDrawn="1"/>
        </p:nvGrpSpPr>
        <p:grpSpPr>
          <a:xfrm>
            <a:off x="3026228" y="1755395"/>
            <a:ext cx="1580322" cy="1536771"/>
            <a:chOff x="3896140" y="2169250"/>
            <a:chExt cx="1580322" cy="1536771"/>
          </a:xfrm>
        </p:grpSpPr>
        <p:pic>
          <p:nvPicPr>
            <p:cNvPr id="192" name="Picture 191" descr="A close up of a logo&#10;&#10;Description automatically generated">
              <a:extLst>
                <a:ext uri="{FF2B5EF4-FFF2-40B4-BE49-F238E27FC236}">
                  <a16:creationId xmlns:a16="http://schemas.microsoft.com/office/drawing/2014/main" id="{920A2D21-906C-B04B-93CD-4B613B1E2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81834B9E-B48D-E74C-8D3A-2F00C0BE87EF}"/>
                </a:ext>
              </a:extLst>
            </p:cNvPr>
            <p:cNvSpPr txBox="1"/>
            <p:nvPr/>
          </p:nvSpPr>
          <p:spPr>
            <a:xfrm>
              <a:off x="3896140" y="342902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powerment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07B9FEBE-2129-1F44-B28B-B4B2A4149EFA}"/>
              </a:ext>
            </a:extLst>
          </p:cNvPr>
          <p:cNvGrpSpPr/>
          <p:nvPr userDrawn="1"/>
        </p:nvGrpSpPr>
        <p:grpSpPr>
          <a:xfrm>
            <a:off x="4361877" y="1755395"/>
            <a:ext cx="1580322" cy="1537449"/>
            <a:chOff x="367748" y="3968750"/>
            <a:chExt cx="1580322" cy="1537449"/>
          </a:xfrm>
        </p:grpSpPr>
        <p:pic>
          <p:nvPicPr>
            <p:cNvPr id="195" name="Picture 194" descr="A close up of a logo&#10;&#10;Description automatically generated">
              <a:extLst>
                <a:ext uri="{FF2B5EF4-FFF2-40B4-BE49-F238E27FC236}">
                  <a16:creationId xmlns:a16="http://schemas.microsoft.com/office/drawing/2014/main" id="{B6122C6F-CA89-B542-B16B-F39E290940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EB889A1-4936-B646-B959-B5261EEE7D5F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 Solutions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D656741-A054-4B42-B0DC-9D8462D4B712}"/>
              </a:ext>
            </a:extLst>
          </p:cNvPr>
          <p:cNvGrpSpPr/>
          <p:nvPr userDrawn="1"/>
        </p:nvGrpSpPr>
        <p:grpSpPr>
          <a:xfrm>
            <a:off x="5778373" y="1757471"/>
            <a:ext cx="1580322" cy="1534695"/>
            <a:chOff x="367748" y="2169250"/>
            <a:chExt cx="1580322" cy="1534695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9667614-6800-AA4C-B0ED-C7234C9FB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39DE722-46F4-EB4F-BEC1-C3AB835B01B6}"/>
                </a:ext>
              </a:extLst>
            </p:cNvPr>
            <p:cNvSpPr txBox="1"/>
            <p:nvPr/>
          </p:nvSpPr>
          <p:spPr>
            <a:xfrm>
              <a:off x="367748" y="342694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-Commerce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9C7A2839-6BC5-FF4D-8FD2-2A6F2D07C943}"/>
              </a:ext>
            </a:extLst>
          </p:cNvPr>
          <p:cNvGrpSpPr/>
          <p:nvPr userDrawn="1"/>
        </p:nvGrpSpPr>
        <p:grpSpPr>
          <a:xfrm>
            <a:off x="9951671" y="12953"/>
            <a:ext cx="1580322" cy="1705069"/>
            <a:chOff x="2063552" y="2169250"/>
            <a:chExt cx="1580322" cy="1705069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131737B1-A25C-8C45-B911-402571C5B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8F8B36C-5349-A340-BAD2-D47ADF48D2BC}"/>
                </a:ext>
              </a:extLst>
            </p:cNvPr>
            <p:cNvSpPr txBox="1"/>
            <p:nvPr/>
          </p:nvSpPr>
          <p:spPr>
            <a:xfrm>
              <a:off x="2063552" y="3412654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vironmentally</a:t>
              </a:r>
              <a:br>
                <a:rPr lang="en-US" sz="1200" dirty="0"/>
              </a:br>
              <a:r>
                <a:rPr lang="en-US" sz="1200" dirty="0"/>
                <a:t>Friendly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C46B788A-1DD8-B24A-863E-49E117037287}"/>
              </a:ext>
            </a:extLst>
          </p:cNvPr>
          <p:cNvGrpSpPr/>
          <p:nvPr userDrawn="1"/>
        </p:nvGrpSpPr>
        <p:grpSpPr>
          <a:xfrm>
            <a:off x="8546269" y="12953"/>
            <a:ext cx="1580322" cy="1537586"/>
            <a:chOff x="5750970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176440D8-6923-B244-9019-D0B47FFA1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0FC9591F-D7A3-3446-AC27-887E2468013B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fficiency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6F226A5-4C34-DA48-B111-62BD12AB6AC6}"/>
              </a:ext>
            </a:extLst>
          </p:cNvPr>
          <p:cNvGrpSpPr/>
          <p:nvPr userDrawn="1"/>
        </p:nvGrpSpPr>
        <p:grpSpPr>
          <a:xfrm>
            <a:off x="7143380" y="5144"/>
            <a:ext cx="1580322" cy="1537449"/>
            <a:chOff x="3896140" y="3968750"/>
            <a:chExt cx="1580322" cy="1537449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E03209AE-D236-2A44-80BB-8E73D7E36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5BEEF663-F7FC-654B-B091-81F93758B4C6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asy to Install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830B4AA5-EB34-D54D-9427-80C0D93EC6C0}"/>
              </a:ext>
            </a:extLst>
          </p:cNvPr>
          <p:cNvGrpSpPr/>
          <p:nvPr userDrawn="1"/>
        </p:nvGrpSpPr>
        <p:grpSpPr>
          <a:xfrm>
            <a:off x="9951671" y="1737034"/>
            <a:ext cx="1580322" cy="1537449"/>
            <a:chOff x="5750970" y="3968750"/>
            <a:chExt cx="1580322" cy="1537449"/>
          </a:xfrm>
        </p:grpSpPr>
        <p:pic>
          <p:nvPicPr>
            <p:cNvPr id="210" name="Picture 209" descr="A close up of a logo&#10;&#10;Description automatically generated">
              <a:extLst>
                <a:ext uri="{FF2B5EF4-FFF2-40B4-BE49-F238E27FC236}">
                  <a16:creationId xmlns:a16="http://schemas.microsoft.com/office/drawing/2014/main" id="{5BF55BCB-C1B5-CF41-A2BA-CCF7951A1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0C2898CF-EA1E-3C4B-96DD-AC28D7AE2C95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lexi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6206C2B-32F1-A14F-92C4-3E56CDBC5A4D}"/>
              </a:ext>
            </a:extLst>
          </p:cNvPr>
          <p:cNvGrpSpPr/>
          <p:nvPr userDrawn="1"/>
        </p:nvGrpSpPr>
        <p:grpSpPr>
          <a:xfrm>
            <a:off x="343232" y="3311573"/>
            <a:ext cx="1580322" cy="1530453"/>
            <a:chOff x="9480376" y="405538"/>
            <a:chExt cx="1580322" cy="1530453"/>
          </a:xfrm>
        </p:grpSpPr>
        <p:pic>
          <p:nvPicPr>
            <p:cNvPr id="213" name="Picture 212" descr="A close up of a logo&#10;&#10;Description automatically generated">
              <a:extLst>
                <a:ext uri="{FF2B5EF4-FFF2-40B4-BE49-F238E27FC236}">
                  <a16:creationId xmlns:a16="http://schemas.microsoft.com/office/drawing/2014/main" id="{628B300F-A10E-164D-BCAC-63D99147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7EB8851-1CAF-6D4C-83BE-B5C6CBB5E2F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ll Volume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B649E25E-258F-8840-887B-C1B937A38644}"/>
              </a:ext>
            </a:extLst>
          </p:cNvPr>
          <p:cNvGrpSpPr/>
          <p:nvPr userDrawn="1"/>
        </p:nvGrpSpPr>
        <p:grpSpPr>
          <a:xfrm>
            <a:off x="1657712" y="3316021"/>
            <a:ext cx="1580322" cy="1537449"/>
            <a:chOff x="7667309" y="3968750"/>
            <a:chExt cx="1580322" cy="1537449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C6D27AE4-4053-B446-910A-CD22888D7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39687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65616293-1E72-D444-BDF1-821275DEE285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utur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0A61EC18-1016-5148-BE26-965D6AC37F63}"/>
              </a:ext>
            </a:extLst>
          </p:cNvPr>
          <p:cNvGrpSpPr/>
          <p:nvPr userDrawn="1"/>
        </p:nvGrpSpPr>
        <p:grpSpPr>
          <a:xfrm>
            <a:off x="3094381" y="3300493"/>
            <a:ext cx="1440000" cy="1720296"/>
            <a:chOff x="4433924" y="448331"/>
            <a:chExt cx="1440000" cy="1720296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DEF2D25F-F0BB-0F42-AEF8-E84570108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433924" y="448331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CF5EAB-07DF-884D-B55B-4B57C3C05E79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 </a:t>
              </a:r>
              <a:br>
                <a:rPr lang="en-US" sz="1200" dirty="0"/>
              </a:br>
              <a:r>
                <a:rPr lang="en-US" sz="1200" dirty="0"/>
                <a:t>Perform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458D89A9-681A-F34A-A299-1532CC14C896}"/>
              </a:ext>
            </a:extLst>
          </p:cNvPr>
          <p:cNvGrpSpPr/>
          <p:nvPr userDrawn="1"/>
        </p:nvGrpSpPr>
        <p:grpSpPr>
          <a:xfrm>
            <a:off x="4455882" y="3300491"/>
            <a:ext cx="1440000" cy="1554196"/>
            <a:chOff x="5837032" y="429765"/>
            <a:chExt cx="1440000" cy="1554196"/>
          </a:xfrm>
        </p:grpSpPr>
        <p:pic>
          <p:nvPicPr>
            <p:cNvPr id="222" name="Picture 221" descr="A close up of a logo&#10;&#10;Description automatically generated">
              <a:extLst>
                <a:ext uri="{FF2B5EF4-FFF2-40B4-BE49-F238E27FC236}">
                  <a16:creationId xmlns:a16="http://schemas.microsoft.com/office/drawing/2014/main" id="{916335E0-EA23-1144-9FE8-32AB12966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A5F7A08E-84F4-3243-A2D4-EFF9E66F59C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safe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5D3D33E9-A3BD-4A4E-B4FD-73D621549651}"/>
              </a:ext>
            </a:extLst>
          </p:cNvPr>
          <p:cNvGrpSpPr/>
          <p:nvPr userDrawn="1"/>
        </p:nvGrpSpPr>
        <p:grpSpPr>
          <a:xfrm>
            <a:off x="9951671" y="3300491"/>
            <a:ext cx="1580322" cy="1537586"/>
            <a:chOff x="2063552" y="3968613"/>
            <a:chExt cx="1580322" cy="1537586"/>
          </a:xfrm>
        </p:grpSpPr>
        <p:pic>
          <p:nvPicPr>
            <p:cNvPr id="225" name="Picture 224" descr="A close up of a logo&#10;&#10;Description automatically generated">
              <a:extLst>
                <a:ext uri="{FF2B5EF4-FFF2-40B4-BE49-F238E27FC236}">
                  <a16:creationId xmlns:a16="http://schemas.microsoft.com/office/drawing/2014/main" id="{114BC0DF-DC48-014D-9BC3-25BB74871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0B99956C-D3BA-404C-9CD6-DAA3CA16EEE7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 Leaks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B36408F-664E-5648-92B3-179713A1FD42}"/>
              </a:ext>
            </a:extLst>
          </p:cNvPr>
          <p:cNvGrpSpPr/>
          <p:nvPr userDrawn="1"/>
        </p:nvGrpSpPr>
        <p:grpSpPr>
          <a:xfrm>
            <a:off x="343232" y="4961419"/>
            <a:ext cx="1580322" cy="1524154"/>
            <a:chOff x="2063552" y="2169250"/>
            <a:chExt cx="1580322" cy="1524154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BB727CEE-5917-4A45-971A-11DEC8154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1146F023-6429-7745-A118-B157919F0521}"/>
                </a:ext>
              </a:extLst>
            </p:cNvPr>
            <p:cNvSpPr txBox="1"/>
            <p:nvPr/>
          </p:nvSpPr>
          <p:spPr>
            <a:xfrm>
              <a:off x="2063552" y="34164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ursing Hom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A815FBA7-AA68-6B46-B8CC-9DEBE411081F}"/>
              </a:ext>
            </a:extLst>
          </p:cNvPr>
          <p:cNvGrpSpPr/>
          <p:nvPr userDrawn="1"/>
        </p:nvGrpSpPr>
        <p:grpSpPr>
          <a:xfrm>
            <a:off x="8540353" y="3286257"/>
            <a:ext cx="1580322" cy="1552865"/>
            <a:chOff x="5750970" y="2148717"/>
            <a:chExt cx="1580322" cy="1552865"/>
          </a:xfrm>
        </p:grpSpPr>
        <p:pic>
          <p:nvPicPr>
            <p:cNvPr id="231" name="Picture 230" descr="A close up of a sign&#10;&#10;Description automatically generated">
              <a:extLst>
                <a:ext uri="{FF2B5EF4-FFF2-40B4-BE49-F238E27FC236}">
                  <a16:creationId xmlns:a16="http://schemas.microsoft.com/office/drawing/2014/main" id="{79000ED5-2632-6644-AFCE-3B042D75B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821131" y="2148717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E2AAB9CC-EF37-4B4E-9FD4-5E54F541EF64}"/>
                </a:ext>
              </a:extLst>
            </p:cNvPr>
            <p:cNvSpPr txBox="1"/>
            <p:nvPr/>
          </p:nvSpPr>
          <p:spPr>
            <a:xfrm>
              <a:off x="5750970" y="342458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odular System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95496837-8DB8-F34A-9A21-0C5DECD346B2}"/>
              </a:ext>
            </a:extLst>
          </p:cNvPr>
          <p:cNvGrpSpPr/>
          <p:nvPr userDrawn="1"/>
        </p:nvGrpSpPr>
        <p:grpSpPr>
          <a:xfrm>
            <a:off x="1657712" y="4955120"/>
            <a:ext cx="1580322" cy="1537586"/>
            <a:chOff x="2063552" y="3968613"/>
            <a:chExt cx="1580322" cy="1537586"/>
          </a:xfrm>
        </p:grpSpPr>
        <p:pic>
          <p:nvPicPr>
            <p:cNvPr id="234" name="Picture 23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038BA89-A93D-2D45-AC2F-F062A0380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72C0688E-FFAE-5445-B3CA-C9DC4A423080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ise Free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6C482F69-F0EE-9B4B-A3AA-8ED0E10855C9}"/>
              </a:ext>
            </a:extLst>
          </p:cNvPr>
          <p:cNvGrpSpPr/>
          <p:nvPr userDrawn="1"/>
        </p:nvGrpSpPr>
        <p:grpSpPr>
          <a:xfrm>
            <a:off x="7147415" y="3307624"/>
            <a:ext cx="1580322" cy="1530453"/>
            <a:chOff x="5750970" y="405538"/>
            <a:chExt cx="1580322" cy="1530453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05961423-9164-E44F-89AA-4703489EB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057027C5-2881-6D41-B37A-6EB5F95F9D6B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ulti-Company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1EDC3AD-C4DF-7C4D-8D19-AD54564BF376}"/>
              </a:ext>
            </a:extLst>
          </p:cNvPr>
          <p:cNvGrpSpPr/>
          <p:nvPr userDrawn="1"/>
        </p:nvGrpSpPr>
        <p:grpSpPr>
          <a:xfrm>
            <a:off x="5752381" y="3322404"/>
            <a:ext cx="1580322" cy="1719741"/>
            <a:chOff x="2980152" y="3322404"/>
            <a:chExt cx="1580322" cy="1719741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53CAC480-8A14-E942-AF0D-3479B89C3169}"/>
                </a:ext>
              </a:extLst>
            </p:cNvPr>
            <p:cNvSpPr txBox="1"/>
            <p:nvPr/>
          </p:nvSpPr>
          <p:spPr>
            <a:xfrm>
              <a:off x="2980152" y="458048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Low Thermal Conductivity</a:t>
              </a:r>
            </a:p>
          </p:txBody>
        </p:sp>
        <p:pic>
          <p:nvPicPr>
            <p:cNvPr id="241" name="Picture 240" descr="A close up of a logo&#10;&#10;Description automatically generated">
              <a:extLst>
                <a:ext uri="{FF2B5EF4-FFF2-40B4-BE49-F238E27FC236}">
                  <a16:creationId xmlns:a16="http://schemas.microsoft.com/office/drawing/2014/main" id="{BDCA369E-9F57-9843-A26C-551A65D49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3066" y="3322404"/>
              <a:ext cx="1440000" cy="1440000"/>
            </a:xfrm>
            <a:prstGeom prst="rect">
              <a:avLst/>
            </a:prstGeom>
          </p:spPr>
        </p:pic>
      </p:grpSp>
      <p:pic>
        <p:nvPicPr>
          <p:cNvPr id="242" name="Picture 241" descr="A close up of a logo&#10;&#10;Description automatically generated">
            <a:extLst>
              <a:ext uri="{FF2B5EF4-FFF2-40B4-BE49-F238E27FC236}">
                <a16:creationId xmlns:a16="http://schemas.microsoft.com/office/drawing/2014/main" id="{4C306442-58F5-5A47-AFC2-5A4559620D11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7224823" y="1761923"/>
            <a:ext cx="1440000" cy="1440000"/>
          </a:xfrm>
          <a:prstGeom prst="rect">
            <a:avLst/>
          </a:prstGeom>
        </p:spPr>
      </p:pic>
      <p:pic>
        <p:nvPicPr>
          <p:cNvPr id="243" name="Picture 242" descr="A close up of a logo&#10;&#10;Description automatically generated">
            <a:extLst>
              <a:ext uri="{FF2B5EF4-FFF2-40B4-BE49-F238E27FC236}">
                <a16:creationId xmlns:a16="http://schemas.microsoft.com/office/drawing/2014/main" id="{37C829E3-2E24-A14D-ABCA-3B0A5AA92299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8612763" y="1767617"/>
            <a:ext cx="1440000" cy="1440000"/>
          </a:xfrm>
          <a:prstGeom prst="rect">
            <a:avLst/>
          </a:prstGeom>
        </p:spPr>
      </p:pic>
      <p:sp>
        <p:nvSpPr>
          <p:cNvPr id="244" name="TextBox 243">
            <a:extLst>
              <a:ext uri="{FF2B5EF4-FFF2-40B4-BE49-F238E27FC236}">
                <a16:creationId xmlns:a16="http://schemas.microsoft.com/office/drawing/2014/main" id="{4CFF9556-6CB0-E748-8A9C-BCB871C1A852}"/>
              </a:ext>
            </a:extLst>
          </p:cNvPr>
          <p:cNvSpPr txBox="1"/>
          <p:nvPr userDrawn="1"/>
        </p:nvSpPr>
        <p:spPr>
          <a:xfrm>
            <a:off x="715466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07805582-7E54-DD4A-9271-9561F3DA171B}"/>
              </a:ext>
            </a:extLst>
          </p:cNvPr>
          <p:cNvSpPr txBox="1"/>
          <p:nvPr userDrawn="1"/>
        </p:nvSpPr>
        <p:spPr>
          <a:xfrm>
            <a:off x="854260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</p:spTree>
    <p:extLst>
      <p:ext uri="{BB962C8B-B14F-4D97-AF65-F5344CB8AC3E}">
        <p14:creationId xmlns:p14="http://schemas.microsoft.com/office/powerpoint/2010/main" val="382024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D5FF9B05-B734-3C45-83E4-FDCEFC88B1C7}"/>
              </a:ext>
            </a:extLst>
          </p:cNvPr>
          <p:cNvGrpSpPr/>
          <p:nvPr userDrawn="1"/>
        </p:nvGrpSpPr>
        <p:grpSpPr>
          <a:xfrm>
            <a:off x="2992453" y="1617206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C4E3C020-A2BA-FB48-BB4C-F1C06698B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AAFEBB2E-BF9F-EA4E-9E9F-8FC47713F20C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cesses &amp; Data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B251DC2-41E1-3B4F-BC53-EF5605D64E9E}"/>
              </a:ext>
            </a:extLst>
          </p:cNvPr>
          <p:cNvGrpSpPr/>
          <p:nvPr userDrawn="1"/>
        </p:nvGrpSpPr>
        <p:grpSpPr>
          <a:xfrm>
            <a:off x="1621801" y="1622141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79B6A91C-1C58-324E-A8D3-8C58CF090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DC0F5970-5AE7-1A4B-BCBA-2320E932293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ject Tracking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320A5C4F-2848-8F4C-94DB-9D8E9FFE1133}"/>
              </a:ext>
            </a:extLst>
          </p:cNvPr>
          <p:cNvGrpSpPr/>
          <p:nvPr userDrawn="1"/>
        </p:nvGrpSpPr>
        <p:grpSpPr>
          <a:xfrm>
            <a:off x="4406194" y="1610210"/>
            <a:ext cx="1580322" cy="1722115"/>
            <a:chOff x="5750970" y="3968750"/>
            <a:chExt cx="1580322" cy="172211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1189C764-F6DB-FE45-9AB2-63E7DBC1C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74960FCF-5DDF-7B4D-BE10-E4DC4F857604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umping </a:t>
              </a:r>
              <a:br>
                <a:rPr lang="en-US" sz="1200" dirty="0"/>
              </a:br>
              <a:r>
                <a:rPr lang="en-US" sz="1200" dirty="0"/>
                <a:t>Stations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187FBFA-B3A4-254E-A187-F4E2EFCA49D6}"/>
              </a:ext>
            </a:extLst>
          </p:cNvPr>
          <p:cNvGrpSpPr/>
          <p:nvPr userDrawn="1"/>
        </p:nvGrpSpPr>
        <p:grpSpPr>
          <a:xfrm>
            <a:off x="5748340" y="1619297"/>
            <a:ext cx="1580322" cy="1530453"/>
            <a:chOff x="3896140" y="405538"/>
            <a:chExt cx="1580322" cy="1530453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0FD9866B-EC00-C043-8824-E82A94C72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9027EFED-85E1-D549-BAB5-9A2B9FE20D31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 Control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E19EF0FC-78B3-1B4E-B9B3-FA249C9CC8A8}"/>
              </a:ext>
            </a:extLst>
          </p:cNvPr>
          <p:cNvGrpSpPr/>
          <p:nvPr userDrawn="1"/>
        </p:nvGrpSpPr>
        <p:grpSpPr>
          <a:xfrm>
            <a:off x="7158370" y="1607240"/>
            <a:ext cx="1580322" cy="1532435"/>
            <a:chOff x="7667309" y="2169250"/>
            <a:chExt cx="1580322" cy="1532435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0364D460-89CF-2047-A881-C6B0203A3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3A7B073D-7A15-BF4A-936D-0AA7A7118E5A}"/>
                </a:ext>
              </a:extLst>
            </p:cNvPr>
            <p:cNvSpPr txBox="1"/>
            <p:nvPr/>
          </p:nvSpPr>
          <p:spPr>
            <a:xfrm>
              <a:off x="7667309" y="342468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1DE3D6AA-67AD-164A-803F-586500EDB5A2}"/>
              </a:ext>
            </a:extLst>
          </p:cNvPr>
          <p:cNvGrpSpPr/>
          <p:nvPr userDrawn="1"/>
        </p:nvGrpSpPr>
        <p:grpSpPr>
          <a:xfrm>
            <a:off x="365149" y="1625181"/>
            <a:ext cx="1580322" cy="1530453"/>
            <a:chOff x="9480376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8727F5C-3D5B-124D-8161-B468684C9B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26C3FF5-ABAD-4949-BA71-EB4D618BE55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ortable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760EC1A-EBE2-6F4D-B23F-9258112B15BA}"/>
              </a:ext>
            </a:extLst>
          </p:cNvPr>
          <p:cNvGrpSpPr/>
          <p:nvPr userDrawn="1"/>
        </p:nvGrpSpPr>
        <p:grpSpPr>
          <a:xfrm>
            <a:off x="8531671" y="1607240"/>
            <a:ext cx="1580322" cy="1519720"/>
            <a:chOff x="7667309" y="2169250"/>
            <a:chExt cx="1580322" cy="1519720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4686F63-1BCA-FC4E-9E27-3CB984408C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5462DC1F-8C40-DB48-991F-49E5A02E8052}"/>
                </a:ext>
              </a:extLst>
            </p:cNvPr>
            <p:cNvSpPr txBox="1"/>
            <p:nvPr/>
          </p:nvSpPr>
          <p:spPr>
            <a:xfrm>
              <a:off x="7667309" y="341197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cycling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2FE3-1BA6-1340-8FA3-F3FF7C50AE60}"/>
              </a:ext>
            </a:extLst>
          </p:cNvPr>
          <p:cNvGrpSpPr/>
          <p:nvPr userDrawn="1"/>
        </p:nvGrpSpPr>
        <p:grpSpPr>
          <a:xfrm>
            <a:off x="9943929" y="1613389"/>
            <a:ext cx="1580322" cy="1534270"/>
            <a:chOff x="3896140" y="2169250"/>
            <a:chExt cx="1580322" cy="1534270"/>
          </a:xfrm>
        </p:grpSpPr>
        <p:pic>
          <p:nvPicPr>
            <p:cNvPr id="192" name="Picture 19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FCBBFB0-F7D6-304F-AE1A-F29DE2973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CF9AA23D-4538-4344-9C30-AB3CE2029482}"/>
                </a:ext>
              </a:extLst>
            </p:cNvPr>
            <p:cNvSpPr txBox="1"/>
            <p:nvPr/>
          </p:nvSpPr>
          <p:spPr>
            <a:xfrm>
              <a:off x="3896140" y="342652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ainwater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626DB841-8413-B249-A985-397E6F8C5918}"/>
              </a:ext>
            </a:extLst>
          </p:cNvPr>
          <p:cNvGrpSpPr/>
          <p:nvPr userDrawn="1"/>
        </p:nvGrpSpPr>
        <p:grpSpPr>
          <a:xfrm>
            <a:off x="364907" y="3334873"/>
            <a:ext cx="1580322" cy="1702577"/>
            <a:chOff x="9480376" y="2169250"/>
            <a:chExt cx="1580322" cy="1702577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B90CF042-2A6F-0A42-BD3F-CEAE17D81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27D6A808-E45D-154E-8799-26F7374C48C8}"/>
                </a:ext>
              </a:extLst>
            </p:cNvPr>
            <p:cNvSpPr txBox="1"/>
            <p:nvPr/>
          </p:nvSpPr>
          <p:spPr>
            <a:xfrm>
              <a:off x="9480376" y="34101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gulations Compliant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0723FB96-6C9E-AD4E-9E0B-0C9080331A47}"/>
              </a:ext>
            </a:extLst>
          </p:cNvPr>
          <p:cNvGrpSpPr/>
          <p:nvPr userDrawn="1"/>
        </p:nvGrpSpPr>
        <p:grpSpPr>
          <a:xfrm>
            <a:off x="1694588" y="3335589"/>
            <a:ext cx="1580322" cy="1537586"/>
            <a:chOff x="7667309" y="3968613"/>
            <a:chExt cx="1580322" cy="1537586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B2590BB-C06E-0247-B2BF-98D76BA90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1D1B94C6-3AA0-414C-BE2C-D42D7D0E737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aves Money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822D493-F8E1-F347-8D07-88EA0FA4A027}"/>
              </a:ext>
            </a:extLst>
          </p:cNvPr>
          <p:cNvGrpSpPr/>
          <p:nvPr userDrawn="1"/>
        </p:nvGrpSpPr>
        <p:grpSpPr>
          <a:xfrm>
            <a:off x="9940811" y="3331694"/>
            <a:ext cx="1580322" cy="1537449"/>
            <a:chOff x="9480376" y="3968750"/>
            <a:chExt cx="1580322" cy="1537449"/>
          </a:xfrm>
        </p:grpSpPr>
        <p:pic>
          <p:nvPicPr>
            <p:cNvPr id="201" name="Picture 200" descr="A close up of a sign&#10;&#10;Description automatically generated">
              <a:extLst>
                <a:ext uri="{FF2B5EF4-FFF2-40B4-BE49-F238E27FC236}">
                  <a16:creationId xmlns:a16="http://schemas.microsoft.com/office/drawing/2014/main" id="{D8D500D4-2091-D141-82C4-58D2928E9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E61E58B-2A00-5A4D-821E-7A7F9A895651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utions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43B416DE-BA12-4B44-8994-2A96850E7344}"/>
              </a:ext>
            </a:extLst>
          </p:cNvPr>
          <p:cNvGrpSpPr/>
          <p:nvPr userDrawn="1"/>
        </p:nvGrpSpPr>
        <p:grpSpPr>
          <a:xfrm>
            <a:off x="348263" y="5007655"/>
            <a:ext cx="1580322" cy="1537586"/>
            <a:chOff x="2063552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DDCA9CEF-8587-B841-896C-91455A6CE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2774260C-04D7-EF4E-BCE3-C29A5358D0B2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mall Footprint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B9B2FDF0-C1D7-6442-B9CC-BF01348A9D2A}"/>
              </a:ext>
            </a:extLst>
          </p:cNvPr>
          <p:cNvGrpSpPr/>
          <p:nvPr userDrawn="1"/>
        </p:nvGrpSpPr>
        <p:grpSpPr>
          <a:xfrm>
            <a:off x="8538251" y="3338690"/>
            <a:ext cx="1580322" cy="1530453"/>
            <a:chOff x="3896140" y="405538"/>
            <a:chExt cx="1580322" cy="1530453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C028BE95-2B6D-714B-8F76-039F58A76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AA82EC1F-5879-054A-9B10-84D405848878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hallow Dig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17D212F4-38F1-904F-9465-CFE2BA9A864E}"/>
              </a:ext>
            </a:extLst>
          </p:cNvPr>
          <p:cNvGrpSpPr/>
          <p:nvPr userDrawn="1"/>
        </p:nvGrpSpPr>
        <p:grpSpPr>
          <a:xfrm>
            <a:off x="4381418" y="3331694"/>
            <a:ext cx="1580322" cy="1537449"/>
            <a:chOff x="2063552" y="3968750"/>
            <a:chExt cx="1580322" cy="1537449"/>
          </a:xfrm>
        </p:grpSpPr>
        <p:pic>
          <p:nvPicPr>
            <p:cNvPr id="210" name="Picture 20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5C86CA9-BD63-F041-90F5-2B9F44622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133713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40DE84B5-0AD6-3C4E-9262-045C36511B3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9B01FA4-39B4-F14E-B2AF-41D44DD00344}"/>
              </a:ext>
            </a:extLst>
          </p:cNvPr>
          <p:cNvGrpSpPr/>
          <p:nvPr userDrawn="1"/>
        </p:nvGrpSpPr>
        <p:grpSpPr>
          <a:xfrm>
            <a:off x="5780961" y="3331694"/>
            <a:ext cx="1580322" cy="1530453"/>
            <a:chOff x="2063552" y="405538"/>
            <a:chExt cx="1580322" cy="1530453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05123355-5585-C44D-8DD2-355D8A788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F5C72FF9-43EC-C645-9BCB-796FCA96B54B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0CDC5290-D307-224D-B1BD-859A0685A92B}"/>
              </a:ext>
            </a:extLst>
          </p:cNvPr>
          <p:cNvGrpSpPr/>
          <p:nvPr userDrawn="1"/>
        </p:nvGrpSpPr>
        <p:grpSpPr>
          <a:xfrm>
            <a:off x="7139575" y="3331694"/>
            <a:ext cx="1580322" cy="1533162"/>
            <a:chOff x="7667309" y="2169250"/>
            <a:chExt cx="1580322" cy="1533162"/>
          </a:xfrm>
        </p:grpSpPr>
        <p:pic>
          <p:nvPicPr>
            <p:cNvPr id="216" name="Picture 21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8007F9AE-54C8-6046-8B24-86DB14EED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A8C2A97D-4925-6F4D-B883-11C673198F20}"/>
                </a:ext>
              </a:extLst>
            </p:cNvPr>
            <p:cNvSpPr txBox="1"/>
            <p:nvPr/>
          </p:nvSpPr>
          <p:spPr>
            <a:xfrm>
              <a:off x="7667309" y="342541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cure Login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38E2671E-0AC0-F64A-916E-7168528EB017}"/>
              </a:ext>
            </a:extLst>
          </p:cNvPr>
          <p:cNvGrpSpPr/>
          <p:nvPr userDrawn="1"/>
        </p:nvGrpSpPr>
        <p:grpSpPr>
          <a:xfrm>
            <a:off x="3011106" y="3338345"/>
            <a:ext cx="1580322" cy="1722115"/>
            <a:chOff x="367748" y="3968750"/>
            <a:chExt cx="1580322" cy="1722115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2DAC62A9-89E8-9D42-8FEA-1A0D5E2C4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52932A-4C25-FF40-A317-8F0F82775CE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rvice &amp; Mainten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283C09C6-E58E-1B4B-AE0E-250F7BA6013E}"/>
              </a:ext>
            </a:extLst>
          </p:cNvPr>
          <p:cNvGrpSpPr/>
          <p:nvPr userDrawn="1"/>
        </p:nvGrpSpPr>
        <p:grpSpPr>
          <a:xfrm>
            <a:off x="1636940" y="5011222"/>
            <a:ext cx="1580322" cy="1530453"/>
            <a:chOff x="5750970" y="405538"/>
            <a:chExt cx="1580322" cy="1530453"/>
          </a:xfrm>
        </p:grpSpPr>
        <p:pic>
          <p:nvPicPr>
            <p:cNvPr id="222" name="Picture 221" descr="A picture containing clock, drawing&#10;&#10;Description automatically generated">
              <a:extLst>
                <a:ext uri="{FF2B5EF4-FFF2-40B4-BE49-F238E27FC236}">
                  <a16:creationId xmlns:a16="http://schemas.microsoft.com/office/drawing/2014/main" id="{092E7878-B49C-E442-AC66-75B1B2A83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C2B30F84-6783-254E-BA7B-4F65CC1A13EE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cial Offer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AA8DBC51-2D8C-F041-98FE-A6C3C2CAD5A2}"/>
              </a:ext>
            </a:extLst>
          </p:cNvPr>
          <p:cNvGrpSpPr/>
          <p:nvPr userDrawn="1"/>
        </p:nvGrpSpPr>
        <p:grpSpPr>
          <a:xfrm>
            <a:off x="5768685" y="5007655"/>
            <a:ext cx="1580322" cy="1537586"/>
            <a:chOff x="9480376" y="3968613"/>
            <a:chExt cx="1580322" cy="1537586"/>
          </a:xfrm>
        </p:grpSpPr>
        <p:pic>
          <p:nvPicPr>
            <p:cNvPr id="225" name="Picture 224" descr="A close up of a sign&#10;&#10;Description automatically generated">
              <a:extLst>
                <a:ext uri="{FF2B5EF4-FFF2-40B4-BE49-F238E27FC236}">
                  <a16:creationId xmlns:a16="http://schemas.microsoft.com/office/drawing/2014/main" id="{ED0835FD-FFC1-764A-9945-99103A8F9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550537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C7DBCD7C-2EA8-DF4B-9FF4-034C4D4CE8BD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te Visit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F8677F9F-1009-1C47-BFDC-4A288375C333}"/>
              </a:ext>
            </a:extLst>
          </p:cNvPr>
          <p:cNvGrpSpPr/>
          <p:nvPr userDrawn="1"/>
        </p:nvGrpSpPr>
        <p:grpSpPr>
          <a:xfrm>
            <a:off x="8543219" y="5011222"/>
            <a:ext cx="1580322" cy="1530453"/>
            <a:chOff x="9480376" y="405538"/>
            <a:chExt cx="1580322" cy="1530453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6BC42775-981F-E244-A04C-7F84D3509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C70A05B1-78E9-6E4A-BDFC-728EF7BDE40F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trength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E5501891-2A00-2748-9864-8C1FDE7676CE}"/>
              </a:ext>
            </a:extLst>
          </p:cNvPr>
          <p:cNvGrpSpPr/>
          <p:nvPr userDrawn="1"/>
        </p:nvGrpSpPr>
        <p:grpSpPr>
          <a:xfrm>
            <a:off x="4367367" y="5008814"/>
            <a:ext cx="1580322" cy="1535268"/>
            <a:chOff x="3896140" y="2169250"/>
            <a:chExt cx="1580322" cy="1535268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B9A467E9-44FF-8B47-BFEF-C83E4B84E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7F018EDF-9D26-DB4E-92AE-DB0377544BF3}"/>
                </a:ext>
              </a:extLst>
            </p:cNvPr>
            <p:cNvSpPr txBox="1"/>
            <p:nvPr/>
          </p:nvSpPr>
          <p:spPr>
            <a:xfrm>
              <a:off x="3896140" y="342751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ar Powered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8AC17010-A3BD-784A-AAFE-2DB0F00957E5}"/>
              </a:ext>
            </a:extLst>
          </p:cNvPr>
          <p:cNvGrpSpPr/>
          <p:nvPr userDrawn="1"/>
        </p:nvGrpSpPr>
        <p:grpSpPr>
          <a:xfrm>
            <a:off x="7125524" y="5028537"/>
            <a:ext cx="1580322" cy="1704771"/>
            <a:chOff x="7667309" y="2169250"/>
            <a:chExt cx="1580322" cy="170477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5B873053-38F6-474E-930F-327E70A53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FF696787-2BE6-974F-836C-75EE5D892D89}"/>
                </a:ext>
              </a:extLst>
            </p:cNvPr>
            <p:cNvSpPr txBox="1"/>
            <p:nvPr/>
          </p:nvSpPr>
          <p:spPr>
            <a:xfrm>
              <a:off x="7667309" y="341235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ngle Piece System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1DCDABB0-46F8-0C4E-9E5B-987D611089FD}"/>
              </a:ext>
            </a:extLst>
          </p:cNvPr>
          <p:cNvGrpSpPr/>
          <p:nvPr userDrawn="1"/>
        </p:nvGrpSpPr>
        <p:grpSpPr>
          <a:xfrm>
            <a:off x="3081267" y="5002145"/>
            <a:ext cx="1440000" cy="1548606"/>
            <a:chOff x="447469" y="435355"/>
            <a:chExt cx="1440000" cy="1548606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120CE43A-E423-CD4D-A369-014543A1F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47469" y="435355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31917F9E-AF1F-6143-B212-E2D90BC72999}"/>
                </a:ext>
              </a:extLst>
            </p:cNvPr>
            <p:cNvSpPr txBox="1"/>
            <p:nvPr/>
          </p:nvSpPr>
          <p:spPr>
            <a:xfrm>
              <a:off x="623888" y="1706962"/>
              <a:ext cx="10933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ed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E428DF4-B435-C54D-A86C-981018C62D88}"/>
              </a:ext>
            </a:extLst>
          </p:cNvPr>
          <p:cNvGrpSpPr/>
          <p:nvPr userDrawn="1"/>
        </p:nvGrpSpPr>
        <p:grpSpPr>
          <a:xfrm>
            <a:off x="9935378" y="4912057"/>
            <a:ext cx="1580322" cy="1728783"/>
            <a:chOff x="2980152" y="439844"/>
            <a:chExt cx="1580322" cy="1728783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DBBD4DFA-1A7C-C04D-8851-983348BB9835}"/>
                </a:ext>
              </a:extLst>
            </p:cNvPr>
            <p:cNvSpPr txBox="1"/>
            <p:nvPr/>
          </p:nvSpPr>
          <p:spPr>
            <a:xfrm>
              <a:off x="2980152" y="17069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241" name="Picture 24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36CB3935-6F60-AA44-B73D-49F280D85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1607" y="439844"/>
              <a:ext cx="1440001" cy="1440001"/>
            </a:xfrm>
            <a:prstGeom prst="rect">
              <a:avLst/>
            </a:prstGeom>
          </p:spPr>
        </p:pic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4E0594-3FC5-284C-8CA8-142703B2E5C8}"/>
              </a:ext>
            </a:extLst>
          </p:cNvPr>
          <p:cNvGrpSpPr/>
          <p:nvPr userDrawn="1"/>
        </p:nvGrpSpPr>
        <p:grpSpPr>
          <a:xfrm>
            <a:off x="2988608" y="32068"/>
            <a:ext cx="1580322" cy="1530453"/>
            <a:chOff x="9480376" y="405538"/>
            <a:chExt cx="1580322" cy="1530453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71AE286F-954F-4A43-AE0F-7D522CDF4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07592D84-2A7D-5A41-B872-17BC093CFDFB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ur Values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9D662942-B567-8D4C-982A-9B579FA1D5C2}"/>
              </a:ext>
            </a:extLst>
          </p:cNvPr>
          <p:cNvGrpSpPr/>
          <p:nvPr userDrawn="1"/>
        </p:nvGrpSpPr>
        <p:grpSpPr>
          <a:xfrm>
            <a:off x="367748" y="32068"/>
            <a:ext cx="1580322" cy="1530453"/>
            <a:chOff x="7667309" y="405538"/>
            <a:chExt cx="1580322" cy="1530453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28C6A8B0-0869-5D4B-88AB-B1C66AD22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396C7199-7469-024C-8A76-CDCB271DBA0D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Odour</a:t>
              </a:r>
              <a:r>
                <a:rPr lang="en-US" sz="1200" dirty="0"/>
                <a:t> Free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0E488593-FAD3-8F44-8F34-07D25BED6DBB}"/>
              </a:ext>
            </a:extLst>
          </p:cNvPr>
          <p:cNvGrpSpPr/>
          <p:nvPr userDrawn="1"/>
        </p:nvGrpSpPr>
        <p:grpSpPr>
          <a:xfrm>
            <a:off x="1622444" y="33832"/>
            <a:ext cx="1580322" cy="1531754"/>
            <a:chOff x="7667309" y="2169250"/>
            <a:chExt cx="1580322" cy="1531754"/>
          </a:xfrm>
        </p:grpSpPr>
        <p:pic>
          <p:nvPicPr>
            <p:cNvPr id="249" name="Picture 248" descr="A close up of a logo&#10;&#10;Description automatically generated">
              <a:extLst>
                <a:ext uri="{FF2B5EF4-FFF2-40B4-BE49-F238E27FC236}">
                  <a16:creationId xmlns:a16="http://schemas.microsoft.com/office/drawing/2014/main" id="{4C160267-0103-8843-AECF-D6336149C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CA58BF1D-0A20-2A4F-8307-1F2613CB743B}"/>
                </a:ext>
              </a:extLst>
            </p:cNvPr>
            <p:cNvSpPr txBox="1"/>
            <p:nvPr/>
          </p:nvSpPr>
          <p:spPr>
            <a:xfrm>
              <a:off x="7667309" y="34240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ffic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C2A1B2BB-A4DA-6048-81B4-ADF88CCE01F5}"/>
              </a:ext>
            </a:extLst>
          </p:cNvPr>
          <p:cNvGrpSpPr/>
          <p:nvPr userDrawn="1"/>
        </p:nvGrpSpPr>
        <p:grpSpPr>
          <a:xfrm>
            <a:off x="8533073" y="32068"/>
            <a:ext cx="1580322" cy="1530453"/>
            <a:chOff x="2063552" y="405538"/>
            <a:chExt cx="1580322" cy="1530453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F3C3B792-8EB9-0141-9595-2247AE002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0681653-5B27-2743-9DCD-810057A26B41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hon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E226A9B4-8892-DE46-86E7-4A69C0FE21EF}"/>
              </a:ext>
            </a:extLst>
          </p:cNvPr>
          <p:cNvGrpSpPr/>
          <p:nvPr userDrawn="1"/>
        </p:nvGrpSpPr>
        <p:grpSpPr>
          <a:xfrm>
            <a:off x="9976412" y="33982"/>
            <a:ext cx="1580322" cy="1522052"/>
            <a:chOff x="9480376" y="2169250"/>
            <a:chExt cx="1580322" cy="1522052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B207A063-F812-314B-9FDF-09F49A4E3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9A94FDB4-6307-E441-8D4A-86777CB963BF}"/>
                </a:ext>
              </a:extLst>
            </p:cNvPr>
            <p:cNvSpPr txBox="1"/>
            <p:nvPr/>
          </p:nvSpPr>
          <p:spPr>
            <a:xfrm>
              <a:off x="9480376" y="341430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lastic Bottle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C63AFDD5-CE96-3D48-A605-D5B370572B40}"/>
              </a:ext>
            </a:extLst>
          </p:cNvPr>
          <p:cNvGrpSpPr/>
          <p:nvPr userDrawn="1"/>
        </p:nvGrpSpPr>
        <p:grpSpPr>
          <a:xfrm>
            <a:off x="4368417" y="32068"/>
            <a:ext cx="1580322" cy="1522478"/>
            <a:chOff x="2063552" y="2169250"/>
            <a:chExt cx="1580322" cy="1522478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8A5A345F-615C-7F48-BFF3-A4B0C04977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A0E364DB-97AF-BB45-AA03-22E802AC1877}"/>
                </a:ext>
              </a:extLst>
            </p:cNvPr>
            <p:cNvSpPr txBox="1"/>
            <p:nvPr/>
          </p:nvSpPr>
          <p:spPr>
            <a:xfrm>
              <a:off x="2063552" y="341472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artnerships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E289086-3E8C-764E-AB0A-BC7D77A51BE2}"/>
              </a:ext>
            </a:extLst>
          </p:cNvPr>
          <p:cNvGrpSpPr/>
          <p:nvPr userDrawn="1"/>
        </p:nvGrpSpPr>
        <p:grpSpPr>
          <a:xfrm>
            <a:off x="7156962" y="29028"/>
            <a:ext cx="1580322" cy="1537449"/>
            <a:chOff x="9480376" y="3968750"/>
            <a:chExt cx="1580322" cy="1537449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092241A2-D0FC-5544-8D04-B17D89817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E8ADB606-7C54-8C42-BE14-8B1EC8A3AC95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ace of Mind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02530772-90EE-7C4B-9564-3CD7B6036C55}"/>
              </a:ext>
            </a:extLst>
          </p:cNvPr>
          <p:cNvGrpSpPr/>
          <p:nvPr userDrawn="1"/>
        </p:nvGrpSpPr>
        <p:grpSpPr>
          <a:xfrm>
            <a:off x="5733766" y="32068"/>
            <a:ext cx="1580322" cy="1530453"/>
            <a:chOff x="3896140" y="405538"/>
            <a:chExt cx="1580322" cy="153045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7C029809-6AC7-F347-A4BC-A64858600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789C6533-C103-6F46-9A12-42288513CF2B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destri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92414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4570AEBB-C30B-E44D-9111-0AE6C330D3A1}"/>
              </a:ext>
            </a:extLst>
          </p:cNvPr>
          <p:cNvGrpSpPr/>
          <p:nvPr userDrawn="1"/>
        </p:nvGrpSpPr>
        <p:grpSpPr>
          <a:xfrm>
            <a:off x="9944851" y="1769165"/>
            <a:ext cx="1580322" cy="1515700"/>
            <a:chOff x="3896140" y="2169250"/>
            <a:chExt cx="1580322" cy="1515700"/>
          </a:xfrm>
        </p:grpSpPr>
        <p:pic>
          <p:nvPicPr>
            <p:cNvPr id="36" name="Picture 35" descr="A picture containing drawing, clock&#10;&#10;Description automatically generated">
              <a:extLst>
                <a:ext uri="{FF2B5EF4-FFF2-40B4-BE49-F238E27FC236}">
                  <a16:creationId xmlns:a16="http://schemas.microsoft.com/office/drawing/2014/main" id="{9B4BEC6F-AA4F-A545-8C87-99FC179FE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2EA73C-C1ED-5045-B0FB-E4EC61EF34B3}"/>
                </a:ext>
              </a:extLst>
            </p:cNvPr>
            <p:cNvSpPr txBox="1"/>
            <p:nvPr/>
          </p:nvSpPr>
          <p:spPr>
            <a:xfrm>
              <a:off x="3896140" y="340795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ndow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79E4E6E-41B0-9446-BB0C-E30038A9309E}"/>
              </a:ext>
            </a:extLst>
          </p:cNvPr>
          <p:cNvGrpSpPr/>
          <p:nvPr userDrawn="1"/>
        </p:nvGrpSpPr>
        <p:grpSpPr>
          <a:xfrm>
            <a:off x="8598934" y="1775549"/>
            <a:ext cx="1580322" cy="1533056"/>
            <a:chOff x="9480376" y="2169250"/>
            <a:chExt cx="1580322" cy="1533056"/>
          </a:xfrm>
        </p:grpSpPr>
        <p:pic>
          <p:nvPicPr>
            <p:cNvPr id="39" name="Picture 38" descr="A close up of a logo&#10;&#10;Description automatically generated">
              <a:extLst>
                <a:ext uri="{FF2B5EF4-FFF2-40B4-BE49-F238E27FC236}">
                  <a16:creationId xmlns:a16="http://schemas.microsoft.com/office/drawing/2014/main" id="{03BB665C-F40D-8243-9AB6-4B3C48B35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3309480-8DC9-B248-B035-23DB4C3CC6C1}"/>
                </a:ext>
              </a:extLst>
            </p:cNvPr>
            <p:cNvSpPr txBox="1"/>
            <p:nvPr/>
          </p:nvSpPr>
          <p:spPr>
            <a:xfrm>
              <a:off x="9480376" y="3425307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eather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84A8CE6-D7F9-0C41-825A-3122941CC914}"/>
              </a:ext>
            </a:extLst>
          </p:cNvPr>
          <p:cNvGrpSpPr/>
          <p:nvPr userDrawn="1"/>
        </p:nvGrpSpPr>
        <p:grpSpPr>
          <a:xfrm>
            <a:off x="5819456" y="1775053"/>
            <a:ext cx="1580322" cy="1530453"/>
            <a:chOff x="7667309" y="405538"/>
            <a:chExt cx="1580322" cy="1530453"/>
          </a:xfrm>
        </p:grpSpPr>
        <p:pic>
          <p:nvPicPr>
            <p:cNvPr id="42" name="Picture 4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1D98900-CCDA-0446-B28C-EEB537139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C9FAB1A-EDF7-414E-BF78-85CCF32BBEB0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rning/Alert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F5734D8-F6F6-3F4B-85FA-5E4D75B1CA78}"/>
              </a:ext>
            </a:extLst>
          </p:cNvPr>
          <p:cNvGrpSpPr/>
          <p:nvPr userDrawn="1"/>
        </p:nvGrpSpPr>
        <p:grpSpPr>
          <a:xfrm>
            <a:off x="4438655" y="1775549"/>
            <a:ext cx="1580322" cy="1533019"/>
            <a:chOff x="2063552" y="2169250"/>
            <a:chExt cx="1580322" cy="1533019"/>
          </a:xfrm>
        </p:grpSpPr>
        <p:pic>
          <p:nvPicPr>
            <p:cNvPr id="45" name="Picture 44" descr="A close up of a logo&#10;&#10;Description automatically generated">
              <a:extLst>
                <a:ext uri="{FF2B5EF4-FFF2-40B4-BE49-F238E27FC236}">
                  <a16:creationId xmlns:a16="http://schemas.microsoft.com/office/drawing/2014/main" id="{3979F712-4AE5-E949-8186-E7C0E850A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82D9F6E-808A-7246-8A5A-53E0CE58A2A2}"/>
                </a:ext>
              </a:extLst>
            </p:cNvPr>
            <p:cNvSpPr txBox="1"/>
            <p:nvPr/>
          </p:nvSpPr>
          <p:spPr>
            <a:xfrm>
              <a:off x="2063552" y="342527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&amp; Energy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B4F476E-2BA4-1E42-B910-5C33EE507D8D}"/>
              </a:ext>
            </a:extLst>
          </p:cNvPr>
          <p:cNvGrpSpPr/>
          <p:nvPr userDrawn="1"/>
        </p:nvGrpSpPr>
        <p:grpSpPr>
          <a:xfrm>
            <a:off x="7204917" y="1775053"/>
            <a:ext cx="1580322" cy="1906781"/>
            <a:chOff x="367748" y="3968750"/>
            <a:chExt cx="1580322" cy="1906781"/>
          </a:xfrm>
        </p:grpSpPr>
        <p:pic>
          <p:nvPicPr>
            <p:cNvPr id="48" name="Picture 4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13E6C-A104-D643-98BD-2DD1F33BC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9CC41FE-F107-FF4F-A8E7-3565BC178BD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Management Solutions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6B109DB-4D5A-C34E-A718-8FCB29DE4150}"/>
              </a:ext>
            </a:extLst>
          </p:cNvPr>
          <p:cNvGrpSpPr/>
          <p:nvPr userDrawn="1"/>
        </p:nvGrpSpPr>
        <p:grpSpPr>
          <a:xfrm>
            <a:off x="312763" y="3548264"/>
            <a:ext cx="1580322" cy="1518425"/>
            <a:chOff x="367748" y="2169250"/>
            <a:chExt cx="1580322" cy="1518425"/>
          </a:xfrm>
        </p:grpSpPr>
        <p:pic>
          <p:nvPicPr>
            <p:cNvPr id="51" name="Picture 50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412C461-D680-D741-AE16-55D5F4E81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717BF53-325B-2944-A211-D3A206BB23FB}"/>
                </a:ext>
              </a:extLst>
            </p:cNvPr>
            <p:cNvSpPr txBox="1"/>
            <p:nvPr/>
          </p:nvSpPr>
          <p:spPr>
            <a:xfrm>
              <a:off x="367748" y="34106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reles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1D43B28-E605-0544-A061-94103551D3D1}"/>
              </a:ext>
            </a:extLst>
          </p:cNvPr>
          <p:cNvGrpSpPr/>
          <p:nvPr userDrawn="1"/>
        </p:nvGrpSpPr>
        <p:grpSpPr>
          <a:xfrm>
            <a:off x="1679887" y="3544218"/>
            <a:ext cx="1580322" cy="1530453"/>
            <a:chOff x="7667309" y="405538"/>
            <a:chExt cx="1580322" cy="1530453"/>
          </a:xfrm>
        </p:grpSpPr>
        <p:pic>
          <p:nvPicPr>
            <p:cNvPr id="54" name="Picture 5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AECA182-8441-FC4F-B691-A4C74ABFE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5B7E7D3-FF4E-BA4D-A5CD-308BCDC14E8A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C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FEDC0B3-04D1-BF44-B969-DA25682FD9F3}"/>
              </a:ext>
            </a:extLst>
          </p:cNvPr>
          <p:cNvGrpSpPr/>
          <p:nvPr userDrawn="1"/>
        </p:nvGrpSpPr>
        <p:grpSpPr>
          <a:xfrm>
            <a:off x="5855089" y="3524350"/>
            <a:ext cx="1580322" cy="1715118"/>
            <a:chOff x="9480376" y="2169250"/>
            <a:chExt cx="1580322" cy="1715118"/>
          </a:xfrm>
        </p:grpSpPr>
        <p:pic>
          <p:nvPicPr>
            <p:cNvPr id="57" name="Picture 56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2AF0BEC-24E7-DB41-B840-6DFD23E22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8A03034-D395-EF45-89D8-8D2B795E39D0}"/>
                </a:ext>
              </a:extLst>
            </p:cNvPr>
            <p:cNvSpPr txBox="1"/>
            <p:nvPr/>
          </p:nvSpPr>
          <p:spPr>
            <a:xfrm>
              <a:off x="9480376" y="342270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10 Year Guarantee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C0E630D-6D57-2E47-A620-08F55FBA8DDE}"/>
              </a:ext>
            </a:extLst>
          </p:cNvPr>
          <p:cNvGrpSpPr/>
          <p:nvPr userDrawn="1"/>
        </p:nvGrpSpPr>
        <p:grpSpPr>
          <a:xfrm>
            <a:off x="3088827" y="3524350"/>
            <a:ext cx="1580322" cy="1715119"/>
            <a:chOff x="367748" y="405538"/>
            <a:chExt cx="1580322" cy="1715119"/>
          </a:xfrm>
        </p:grpSpPr>
        <p:pic>
          <p:nvPicPr>
            <p:cNvPr id="60" name="Picture 59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31C3E95A-31BC-7842-9595-6F21301F3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F8DD463-B058-E44A-A31A-97584612D06D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60 Years Experience</a:t>
              </a:r>
              <a:endParaRPr lang="en-US" sz="1200" dirty="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534A86F-6563-3E4F-95F3-C2B67DD91F4F}"/>
              </a:ext>
            </a:extLst>
          </p:cNvPr>
          <p:cNvGrpSpPr/>
          <p:nvPr userDrawn="1"/>
        </p:nvGrpSpPr>
        <p:grpSpPr>
          <a:xfrm>
            <a:off x="4469628" y="3514411"/>
            <a:ext cx="1580322" cy="1715119"/>
            <a:chOff x="367748" y="405538"/>
            <a:chExt cx="1580322" cy="1715119"/>
          </a:xfrm>
        </p:grpSpPr>
        <p:pic>
          <p:nvPicPr>
            <p:cNvPr id="63" name="Picture 62" descr="A close up of a logo&#10;&#10;Description automatically generated">
              <a:extLst>
                <a:ext uri="{FF2B5EF4-FFF2-40B4-BE49-F238E27FC236}">
                  <a16:creationId xmlns:a16="http://schemas.microsoft.com/office/drawing/2014/main" id="{781CD0E7-DCB1-C743-8C05-526044B2E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523E7290-B2D2-5E49-874A-9E3DB1AE76A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5 Year</a:t>
              </a:r>
              <a:br>
                <a:rPr lang="en-US" sz="1200" dirty="0"/>
              </a:br>
              <a:r>
                <a:rPr lang="en-US" sz="1200" dirty="0"/>
                <a:t>Guarantee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C21E6CA-E0FC-AC4F-9C44-985FF310F44D}"/>
              </a:ext>
            </a:extLst>
          </p:cNvPr>
          <p:cNvGrpSpPr/>
          <p:nvPr userDrawn="1"/>
        </p:nvGrpSpPr>
        <p:grpSpPr>
          <a:xfrm>
            <a:off x="425327" y="1785108"/>
            <a:ext cx="1439941" cy="1698626"/>
            <a:chOff x="425327" y="14365"/>
            <a:chExt cx="1439941" cy="1698626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17BE41B-859D-1F4E-BAE0-77DC661C0ED1}"/>
                </a:ext>
              </a:extLst>
            </p:cNvPr>
            <p:cNvSpPr txBox="1"/>
            <p:nvPr/>
          </p:nvSpPr>
          <p:spPr>
            <a:xfrm>
              <a:off x="617127" y="1251326"/>
              <a:ext cx="10933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Value of Space</a:t>
              </a:r>
            </a:p>
          </p:txBody>
        </p:sp>
        <p:pic>
          <p:nvPicPr>
            <p:cNvPr id="67" name="Picture 66" descr="A close up of a logo&#10;&#10;Description automatically generated">
              <a:extLst>
                <a:ext uri="{FF2B5EF4-FFF2-40B4-BE49-F238E27FC236}">
                  <a16:creationId xmlns:a16="http://schemas.microsoft.com/office/drawing/2014/main" id="{A7B9F8DA-DE54-5244-88F4-F73738E7E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25327" y="14365"/>
              <a:ext cx="1439941" cy="1439941"/>
            </a:xfrm>
            <a:prstGeom prst="rect">
              <a:avLst/>
            </a:prstGeom>
          </p:spPr>
        </p:pic>
      </p:grpSp>
      <p:pic>
        <p:nvPicPr>
          <p:cNvPr id="68" name="Picture 67" descr="A close up of a logo&#10;&#10;Description automatically generated">
            <a:extLst>
              <a:ext uri="{FF2B5EF4-FFF2-40B4-BE49-F238E27FC236}">
                <a16:creationId xmlns:a16="http://schemas.microsoft.com/office/drawing/2014/main" id="{1C1C2472-D34D-D743-83E9-472FDDE9ACD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093720" y="1770743"/>
            <a:ext cx="1440000" cy="1440000"/>
          </a:xfrm>
          <a:prstGeom prst="rect">
            <a:avLst/>
          </a:prstGeom>
        </p:spPr>
      </p:pic>
      <p:pic>
        <p:nvPicPr>
          <p:cNvPr id="69" name="Picture 68" descr="A close up of a logo&#10;&#10;Description automatically generated">
            <a:extLst>
              <a:ext uri="{FF2B5EF4-FFF2-40B4-BE49-F238E27FC236}">
                <a16:creationId xmlns:a16="http://schemas.microsoft.com/office/drawing/2014/main" id="{1A8D4D40-5926-7E4E-9409-346D94F9A48B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767840" y="1770743"/>
            <a:ext cx="1440000" cy="14400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501BCBFB-16E0-674E-8BFA-C2B8B84A3463}"/>
              </a:ext>
            </a:extLst>
          </p:cNvPr>
          <p:cNvSpPr txBox="1"/>
          <p:nvPr userDrawn="1"/>
        </p:nvSpPr>
        <p:spPr>
          <a:xfrm>
            <a:off x="194118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DCBDD38-CEDC-4C45-9F16-63397D74B2D5}"/>
              </a:ext>
            </a:extLst>
          </p:cNvPr>
          <p:cNvSpPr txBox="1"/>
          <p:nvPr userDrawn="1"/>
        </p:nvSpPr>
        <p:spPr>
          <a:xfrm>
            <a:off x="326706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A73E3EA-1058-0945-B47B-B01E5F27DF8C}"/>
              </a:ext>
            </a:extLst>
          </p:cNvPr>
          <p:cNvGrpSpPr/>
          <p:nvPr userDrawn="1"/>
        </p:nvGrpSpPr>
        <p:grpSpPr>
          <a:xfrm>
            <a:off x="418424" y="9898"/>
            <a:ext cx="1440001" cy="1717254"/>
            <a:chOff x="4441292" y="451373"/>
            <a:chExt cx="1440001" cy="1717254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9029692-0A8B-9946-AE15-00C1B5C63887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107" name="Picture 106" descr="A picture containing object, clock&#10;&#10;Description automatically generated">
              <a:extLst>
                <a:ext uri="{FF2B5EF4-FFF2-40B4-BE49-F238E27FC236}">
                  <a16:creationId xmlns:a16="http://schemas.microsoft.com/office/drawing/2014/main" id="{7A1BE080-7C5A-CD46-A875-A8840BBA2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441292" y="451373"/>
              <a:ext cx="1440001" cy="1440001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CD871D3-5D9B-C445-B58A-3F400D10C036}"/>
              </a:ext>
            </a:extLst>
          </p:cNvPr>
          <p:cNvGrpSpPr/>
          <p:nvPr userDrawn="1"/>
        </p:nvGrpSpPr>
        <p:grpSpPr>
          <a:xfrm>
            <a:off x="3015807" y="0"/>
            <a:ext cx="1580322" cy="1530453"/>
            <a:chOff x="2063552" y="405538"/>
            <a:chExt cx="1580322" cy="1530453"/>
          </a:xfrm>
        </p:grpSpPr>
        <p:pic>
          <p:nvPicPr>
            <p:cNvPr id="109" name="Picture 10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5E5B0A6-749C-B448-A592-2864D8A39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E521F28-9561-AD44-B722-533CBBE7DDCF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chnology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BB9F985-9B0F-E047-B510-1BB9EF36F33E}"/>
              </a:ext>
            </a:extLst>
          </p:cNvPr>
          <p:cNvGrpSpPr/>
          <p:nvPr userDrawn="1"/>
        </p:nvGrpSpPr>
        <p:grpSpPr>
          <a:xfrm>
            <a:off x="8563826" y="20904"/>
            <a:ext cx="1580322" cy="1501025"/>
            <a:chOff x="5750970" y="2169250"/>
            <a:chExt cx="1580322" cy="1501025"/>
          </a:xfrm>
        </p:grpSpPr>
        <p:pic>
          <p:nvPicPr>
            <p:cNvPr id="112" name="Picture 111" descr="A close up of a logo&#10;&#10;Description automatically generated">
              <a:extLst>
                <a:ext uri="{FF2B5EF4-FFF2-40B4-BE49-F238E27FC236}">
                  <a16:creationId xmlns:a16="http://schemas.microsoft.com/office/drawing/2014/main" id="{83428831-0B07-C443-A5D9-527124647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FB0C301-92BC-E541-B57F-525F1CEE2CEA}"/>
                </a:ext>
              </a:extLst>
            </p:cNvPr>
            <p:cNvSpPr txBox="1"/>
            <p:nvPr/>
          </p:nvSpPr>
          <p:spPr>
            <a:xfrm>
              <a:off x="5750970" y="33932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rusted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A064281-FE15-D047-AB93-75FFD984539C}"/>
              </a:ext>
            </a:extLst>
          </p:cNvPr>
          <p:cNvGrpSpPr/>
          <p:nvPr userDrawn="1"/>
        </p:nvGrpSpPr>
        <p:grpSpPr>
          <a:xfrm>
            <a:off x="4381418" y="1961"/>
            <a:ext cx="1580322" cy="1537449"/>
            <a:chOff x="3896140" y="3968750"/>
            <a:chExt cx="1580322" cy="1537449"/>
          </a:xfrm>
        </p:grpSpPr>
        <p:pic>
          <p:nvPicPr>
            <p:cNvPr id="115" name="Picture 114" descr="A close up of a logo&#10;&#10;Description automatically generated">
              <a:extLst>
                <a:ext uri="{FF2B5EF4-FFF2-40B4-BE49-F238E27FC236}">
                  <a16:creationId xmlns:a16="http://schemas.microsoft.com/office/drawing/2014/main" id="{7A4E366A-C689-9F45-9BE2-7565B861A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3E2AF2E-D974-BC44-82F4-AAA15C760FD0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lemetry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F05FAF8-30CF-B54D-A9D8-9AD47435166B}"/>
              </a:ext>
            </a:extLst>
          </p:cNvPr>
          <p:cNvGrpSpPr/>
          <p:nvPr userDrawn="1"/>
        </p:nvGrpSpPr>
        <p:grpSpPr>
          <a:xfrm>
            <a:off x="5774501" y="0"/>
            <a:ext cx="1580322" cy="1555646"/>
            <a:chOff x="1638370" y="428315"/>
            <a:chExt cx="1580322" cy="1555646"/>
          </a:xfrm>
        </p:grpSpPr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60DA4B5-6EAA-E84C-AD7B-B149EBD9CD91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in</a:t>
              </a:r>
            </a:p>
          </p:txBody>
        </p:sp>
        <p:pic>
          <p:nvPicPr>
            <p:cNvPr id="119" name="Picture 11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A2C1789-8CA5-0B48-A125-F634DA7011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701611" y="428315"/>
              <a:ext cx="1441450" cy="1441450"/>
            </a:xfrm>
            <a:prstGeom prst="rect">
              <a:avLst/>
            </a:prstGeom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52128973-2794-CD4A-967B-7EA3F6DA1F82}"/>
              </a:ext>
            </a:extLst>
          </p:cNvPr>
          <p:cNvGrpSpPr/>
          <p:nvPr userDrawn="1"/>
        </p:nvGrpSpPr>
        <p:grpSpPr>
          <a:xfrm>
            <a:off x="1699390" y="0"/>
            <a:ext cx="1440000" cy="1738862"/>
            <a:chOff x="5837032" y="429765"/>
            <a:chExt cx="1440000" cy="1738862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1E22EBBD-946D-EE4B-A99A-9BC7B6497A4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Saving</a:t>
              </a:r>
            </a:p>
          </p:txBody>
        </p:sp>
        <p:pic>
          <p:nvPicPr>
            <p:cNvPr id="122" name="Picture 121" descr="A close up of a sign&#10;&#10;Description automatically generated">
              <a:extLst>
                <a:ext uri="{FF2B5EF4-FFF2-40B4-BE49-F238E27FC236}">
                  <a16:creationId xmlns:a16="http://schemas.microsoft.com/office/drawing/2014/main" id="{8C332DCE-70D7-B94D-A86F-41FCCE60F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0E466CF5-77E6-2849-825F-BCE63DDCA0FC}"/>
              </a:ext>
            </a:extLst>
          </p:cNvPr>
          <p:cNvGrpSpPr/>
          <p:nvPr userDrawn="1"/>
        </p:nvGrpSpPr>
        <p:grpSpPr>
          <a:xfrm>
            <a:off x="7139575" y="9709"/>
            <a:ext cx="1580322" cy="1548606"/>
            <a:chOff x="1638370" y="435355"/>
            <a:chExt cx="1580322" cy="1548606"/>
          </a:xfrm>
        </p:grpSpPr>
        <p:pic>
          <p:nvPicPr>
            <p:cNvPr id="124" name="Picture 123" descr="A close up of a logo&#10;&#10;Description automatically generated">
              <a:extLst>
                <a:ext uri="{FF2B5EF4-FFF2-40B4-BE49-F238E27FC236}">
                  <a16:creationId xmlns:a16="http://schemas.microsoft.com/office/drawing/2014/main" id="{29C8F395-99FF-CB41-9A35-870DA67F2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753119" y="435355"/>
              <a:ext cx="1440000" cy="1440000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11004237-79D8-FF41-BB20-F72958AB83CA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ermal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132D0852-F109-4840-8B7D-22633932F88B}"/>
              </a:ext>
            </a:extLst>
          </p:cNvPr>
          <p:cNvGrpSpPr/>
          <p:nvPr userDrawn="1"/>
        </p:nvGrpSpPr>
        <p:grpSpPr>
          <a:xfrm>
            <a:off x="9951586" y="0"/>
            <a:ext cx="1580322" cy="1530453"/>
            <a:chOff x="3896140" y="405538"/>
            <a:chExt cx="1580322" cy="1530453"/>
          </a:xfrm>
        </p:grpSpPr>
        <p:pic>
          <p:nvPicPr>
            <p:cNvPr id="127" name="Picture 126" descr="A close up of a sign&#10;&#10;Description automatically generated">
              <a:extLst>
                <a:ext uri="{FF2B5EF4-FFF2-40B4-BE49-F238E27FC236}">
                  <a16:creationId xmlns:a16="http://schemas.microsoft.com/office/drawing/2014/main" id="{F253349E-D85B-1A40-A086-F689B655B8B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8875A09-5C32-D144-B13C-55E5EB13EEC9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User interfa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4555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7E0ADF6-E402-3146-B6DE-495BAF74F338}"/>
              </a:ext>
            </a:extLst>
          </p:cNvPr>
          <p:cNvGrpSpPr/>
          <p:nvPr userDrawn="1"/>
        </p:nvGrpSpPr>
        <p:grpSpPr>
          <a:xfrm>
            <a:off x="2060687" y="1219765"/>
            <a:ext cx="1580322" cy="1823574"/>
            <a:chOff x="2060687" y="335183"/>
            <a:chExt cx="1580322" cy="182357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7080020-DBD7-7D4A-A601-0D373779B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70415" y="335183"/>
              <a:ext cx="1560866" cy="1560866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4B66BA5-5251-7D4A-ADB0-F06CA12C04E2}"/>
                </a:ext>
              </a:extLst>
            </p:cNvPr>
            <p:cNvSpPr txBox="1"/>
            <p:nvPr/>
          </p:nvSpPr>
          <p:spPr>
            <a:xfrm>
              <a:off x="2060687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 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311CBF-35F9-7B42-AFD0-7388FA15E194}"/>
              </a:ext>
            </a:extLst>
          </p:cNvPr>
          <p:cNvGrpSpPr/>
          <p:nvPr userDrawn="1"/>
        </p:nvGrpSpPr>
        <p:grpSpPr>
          <a:xfrm>
            <a:off x="3896140" y="1219765"/>
            <a:ext cx="1580322" cy="1823574"/>
            <a:chOff x="3896140" y="335183"/>
            <a:chExt cx="1580322" cy="1823574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3C9B6E8E-D382-C54D-B03F-EC03B231D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05868" y="335183"/>
              <a:ext cx="1560866" cy="1560866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7E95FD9-B3BE-3946-88C9-18D9AF591AE3}"/>
                </a:ext>
              </a:extLst>
            </p:cNvPr>
            <p:cNvSpPr txBox="1"/>
            <p:nvPr/>
          </p:nvSpPr>
          <p:spPr>
            <a:xfrm>
              <a:off x="389614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Harvested Rainwater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7A2DF56-7F4E-B74F-9EF8-22EB940B3D8F}"/>
              </a:ext>
            </a:extLst>
          </p:cNvPr>
          <p:cNvGrpSpPr/>
          <p:nvPr userDrawn="1"/>
        </p:nvGrpSpPr>
        <p:grpSpPr>
          <a:xfrm>
            <a:off x="5750970" y="1219765"/>
            <a:ext cx="1580322" cy="1823574"/>
            <a:chOff x="5750970" y="335183"/>
            <a:chExt cx="1580322" cy="182357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397EC76-47B1-5F40-8B0A-CCCC7E2D7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60698" y="335183"/>
              <a:ext cx="1560866" cy="1560866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AC4E3AF-BD61-5C4F-A121-07463167A4A2}"/>
                </a:ext>
              </a:extLst>
            </p:cNvPr>
            <p:cNvSpPr txBox="1"/>
            <p:nvPr/>
          </p:nvSpPr>
          <p:spPr>
            <a:xfrm>
              <a:off x="575097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 (PETS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A3D937-5DA9-6540-A3B4-35AB5AD80573}"/>
              </a:ext>
            </a:extLst>
          </p:cNvPr>
          <p:cNvGrpSpPr/>
          <p:nvPr userDrawn="1"/>
        </p:nvGrpSpPr>
        <p:grpSpPr>
          <a:xfrm>
            <a:off x="7667309" y="1219765"/>
            <a:ext cx="1580322" cy="1823574"/>
            <a:chOff x="7667309" y="335183"/>
            <a:chExt cx="1580322" cy="1823574"/>
          </a:xfrm>
        </p:grpSpPr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4199837F-648B-3E49-8C70-6CCBA8CB9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677037" y="335183"/>
              <a:ext cx="1560866" cy="1560866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3DD6A3E-810A-E149-B8DC-16C65669000C}"/>
                </a:ext>
              </a:extLst>
            </p:cNvPr>
            <p:cNvSpPr txBox="1"/>
            <p:nvPr/>
          </p:nvSpPr>
          <p:spPr>
            <a:xfrm>
              <a:off x="7667309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ustainable Disposabl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A435C9-18ED-7C47-B379-E289CBD0D831}"/>
              </a:ext>
            </a:extLst>
          </p:cNvPr>
          <p:cNvGrpSpPr/>
          <p:nvPr userDrawn="1"/>
        </p:nvGrpSpPr>
        <p:grpSpPr>
          <a:xfrm>
            <a:off x="9480376" y="1219765"/>
            <a:ext cx="1580322" cy="1823574"/>
            <a:chOff x="9480376" y="335183"/>
            <a:chExt cx="1580322" cy="1823574"/>
          </a:xfrm>
        </p:grpSpPr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B2DFCE71-6805-1940-98AC-BE0857ADF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490104" y="335183"/>
              <a:ext cx="1560866" cy="1560866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D4A8CB-B54E-F342-AD99-33B14AF80D1A}"/>
                </a:ext>
              </a:extLst>
            </p:cNvPr>
            <p:cNvSpPr txBox="1"/>
            <p:nvPr/>
          </p:nvSpPr>
          <p:spPr>
            <a:xfrm>
              <a:off x="9480376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ldlife Conserv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C275B83-58F3-4C41-A29B-A8449C9A03FC}"/>
              </a:ext>
            </a:extLst>
          </p:cNvPr>
          <p:cNvGrpSpPr/>
          <p:nvPr userDrawn="1"/>
        </p:nvGrpSpPr>
        <p:grpSpPr>
          <a:xfrm>
            <a:off x="366479" y="2970743"/>
            <a:ext cx="1580322" cy="1876512"/>
            <a:chOff x="366479" y="2086161"/>
            <a:chExt cx="1580322" cy="187651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D0B128-566C-9946-8291-F34F48BC9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76207" y="2086161"/>
              <a:ext cx="1560866" cy="156086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A6ED507-A5BD-5E41-A120-C59F75E0D899}"/>
                </a:ext>
              </a:extLst>
            </p:cNvPr>
            <p:cNvSpPr txBox="1"/>
            <p:nvPr/>
          </p:nvSpPr>
          <p:spPr>
            <a:xfrm>
              <a:off x="36647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Waste to Landfill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88C6F2-E90C-9D4F-BB44-9C228DB01E7B}"/>
              </a:ext>
            </a:extLst>
          </p:cNvPr>
          <p:cNvGrpSpPr/>
          <p:nvPr userDrawn="1"/>
        </p:nvGrpSpPr>
        <p:grpSpPr>
          <a:xfrm>
            <a:off x="5750970" y="2970743"/>
            <a:ext cx="1580322" cy="1876512"/>
            <a:chOff x="5750970" y="2086161"/>
            <a:chExt cx="1580322" cy="1876512"/>
          </a:xfrm>
        </p:grpSpPr>
        <p:pic>
          <p:nvPicPr>
            <p:cNvPr id="21" name="Picture 20" descr="A close up of a logo&#10;&#10;Description automatically generated">
              <a:extLst>
                <a:ext uri="{FF2B5EF4-FFF2-40B4-BE49-F238E27FC236}">
                  <a16:creationId xmlns:a16="http://schemas.microsoft.com/office/drawing/2014/main" id="{40AF79D2-ABB6-6249-AB90-819D80E27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60698" y="2086161"/>
              <a:ext cx="1560866" cy="1560866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6D520A-1850-6240-AF9C-C53B4319489F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erve Precious Water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E86519-8C0E-7E4A-B35D-EA1C68D21516}"/>
              </a:ext>
            </a:extLst>
          </p:cNvPr>
          <p:cNvGrpSpPr/>
          <p:nvPr userDrawn="1"/>
        </p:nvGrpSpPr>
        <p:grpSpPr>
          <a:xfrm>
            <a:off x="366479" y="4789815"/>
            <a:ext cx="1580322" cy="1823732"/>
            <a:chOff x="366479" y="3905233"/>
            <a:chExt cx="1580322" cy="182373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4DD2E8F-EA5D-BE4D-9771-D7938B9CF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76207" y="3905233"/>
              <a:ext cx="1560866" cy="1560866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FCDF5E6-CEA8-974B-9E45-8BA498AE4982}"/>
                </a:ext>
              </a:extLst>
            </p:cNvPr>
            <p:cNvSpPr txBox="1"/>
            <p:nvPr/>
          </p:nvSpPr>
          <p:spPr>
            <a:xfrm>
              <a:off x="366479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ivert Waste </a:t>
              </a:r>
              <a:br>
                <a:rPr lang="en-US" sz="1200" dirty="0"/>
              </a:br>
              <a:r>
                <a:rPr lang="en-US" sz="1200" dirty="0"/>
                <a:t>From Landfill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6554505-D36A-6B4A-B149-925F6F387039}"/>
              </a:ext>
            </a:extLst>
          </p:cNvPr>
          <p:cNvGrpSpPr/>
          <p:nvPr userDrawn="1"/>
        </p:nvGrpSpPr>
        <p:grpSpPr>
          <a:xfrm>
            <a:off x="2060687" y="4789815"/>
            <a:ext cx="1580322" cy="1639066"/>
            <a:chOff x="2060687" y="3905233"/>
            <a:chExt cx="1580322" cy="1639066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A87986D-6D26-B049-ACB6-D09710666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070415" y="3905233"/>
              <a:ext cx="1560866" cy="156086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A0E7E4B-4EED-EF45-AD38-AB6BBD575001}"/>
                </a:ext>
              </a:extLst>
            </p:cNvPr>
            <p:cNvSpPr txBox="1"/>
            <p:nvPr/>
          </p:nvSpPr>
          <p:spPr>
            <a:xfrm>
              <a:off x="2060687" y="52673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Car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59AC5-5161-3542-A44B-87C140EF1AD7}"/>
              </a:ext>
            </a:extLst>
          </p:cNvPr>
          <p:cNvGrpSpPr/>
          <p:nvPr userDrawn="1"/>
        </p:nvGrpSpPr>
        <p:grpSpPr>
          <a:xfrm>
            <a:off x="3896140" y="4789815"/>
            <a:ext cx="1580322" cy="1823732"/>
            <a:chOff x="3896140" y="3905233"/>
            <a:chExt cx="1580322" cy="1823732"/>
          </a:xfrm>
        </p:grpSpPr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3118C172-C374-7148-8AF8-91DA1163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905868" y="3905233"/>
              <a:ext cx="1560866" cy="1560866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8D30B9-2D0D-5447-B451-99762172B567}"/>
                </a:ext>
              </a:extLst>
            </p:cNvPr>
            <p:cNvSpPr txBox="1"/>
            <p:nvPr/>
          </p:nvSpPr>
          <p:spPr>
            <a:xfrm>
              <a:off x="3896140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FE88D3-964D-F04D-982F-D50679D1A931}"/>
              </a:ext>
            </a:extLst>
          </p:cNvPr>
          <p:cNvGrpSpPr/>
          <p:nvPr userDrawn="1"/>
        </p:nvGrpSpPr>
        <p:grpSpPr>
          <a:xfrm>
            <a:off x="9480376" y="2970743"/>
            <a:ext cx="1580322" cy="1876512"/>
            <a:chOff x="9480376" y="2086161"/>
            <a:chExt cx="1580322" cy="1876512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B81C42D-1A62-0E42-9368-8AB6785A055B}"/>
                </a:ext>
              </a:extLst>
            </p:cNvPr>
            <p:cNvSpPr txBox="1"/>
            <p:nvPr/>
          </p:nvSpPr>
          <p:spPr>
            <a:xfrm>
              <a:off x="9480376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duce Carbon Emissions</a:t>
              </a:r>
            </a:p>
          </p:txBody>
        </p: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8C3D0B-F69D-584A-B789-F78D1EE92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490104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34229A7-5746-1545-9D95-5DB5D524B8B6}"/>
              </a:ext>
            </a:extLst>
          </p:cNvPr>
          <p:cNvGrpSpPr/>
          <p:nvPr userDrawn="1"/>
        </p:nvGrpSpPr>
        <p:grpSpPr>
          <a:xfrm>
            <a:off x="7667309" y="2970743"/>
            <a:ext cx="1580322" cy="1876512"/>
            <a:chOff x="7667309" y="2086161"/>
            <a:chExt cx="1580322" cy="187651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FCA6388-B3D7-E04A-9FFD-911C1AD95D4E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Upcycling Solutions</a:t>
              </a:r>
            </a:p>
          </p:txBody>
        </p:sp>
        <p:pic>
          <p:nvPicPr>
            <p:cNvPr id="37" name="Picture 36" descr="A close up of a logo&#10;&#10;Description automatically generated">
              <a:extLst>
                <a:ext uri="{FF2B5EF4-FFF2-40B4-BE49-F238E27FC236}">
                  <a16:creationId xmlns:a16="http://schemas.microsoft.com/office/drawing/2014/main" id="{87D98C90-3A4F-924E-866C-A3BD078DC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677037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5319109-DF02-FB4B-A59E-90747F79DBD5}"/>
              </a:ext>
            </a:extLst>
          </p:cNvPr>
          <p:cNvGrpSpPr/>
          <p:nvPr userDrawn="1"/>
        </p:nvGrpSpPr>
        <p:grpSpPr>
          <a:xfrm>
            <a:off x="3896140" y="2970743"/>
            <a:ext cx="1580322" cy="1691846"/>
            <a:chOff x="3896140" y="2086161"/>
            <a:chExt cx="1580322" cy="169184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69ACBB5-7413-064B-976E-6770C7943827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458CDF8-B795-7B49-9715-EAF36754E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05868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B72E4C2-6ABB-FC4C-ABD8-C3F418B7756B}"/>
              </a:ext>
            </a:extLst>
          </p:cNvPr>
          <p:cNvGrpSpPr/>
          <p:nvPr userDrawn="1"/>
        </p:nvGrpSpPr>
        <p:grpSpPr>
          <a:xfrm>
            <a:off x="2060687" y="2970743"/>
            <a:ext cx="1580322" cy="1876512"/>
            <a:chOff x="2060687" y="2086161"/>
            <a:chExt cx="1580322" cy="187651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7521234-615B-9B46-946E-CCDAC01ACD92}"/>
                </a:ext>
              </a:extLst>
            </p:cNvPr>
            <p:cNvSpPr txBox="1"/>
            <p:nvPr/>
          </p:nvSpPr>
          <p:spPr>
            <a:xfrm>
              <a:off x="2060687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Vehicles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8AC1DD03-B1F9-6B4C-AA85-870734290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070415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48BFC73-B6AF-004C-B3A9-6E0BA209E43D}"/>
              </a:ext>
            </a:extLst>
          </p:cNvPr>
          <p:cNvGrpSpPr/>
          <p:nvPr userDrawn="1"/>
        </p:nvGrpSpPr>
        <p:grpSpPr>
          <a:xfrm>
            <a:off x="366479" y="1219765"/>
            <a:ext cx="1580322" cy="1638908"/>
            <a:chOff x="366479" y="1219765"/>
            <a:chExt cx="1580322" cy="1638908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6E7A0CA-1D4D-C14A-847A-285EFAADE9AA}"/>
                </a:ext>
              </a:extLst>
            </p:cNvPr>
            <p:cNvSpPr txBox="1"/>
            <p:nvPr/>
          </p:nvSpPr>
          <p:spPr>
            <a:xfrm>
              <a:off x="366479" y="258167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T Plastic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AA491AB-E6B6-604B-BC91-441D57CCB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76207" y="1219765"/>
              <a:ext cx="1560866" cy="1560866"/>
            </a:xfrm>
            <a:prstGeom prst="rect">
              <a:avLst/>
            </a:prstGeom>
          </p:spPr>
        </p:pic>
      </p:grpSp>
      <p:sp>
        <p:nvSpPr>
          <p:cNvPr id="47" name="Title 4">
            <a:extLst>
              <a:ext uri="{FF2B5EF4-FFF2-40B4-BE49-F238E27FC236}">
                <a16:creationId xmlns:a16="http://schemas.microsoft.com/office/drawing/2014/main" id="{77074F7F-7772-E54E-8E65-51F80B009F05}"/>
              </a:ext>
            </a:extLst>
          </p:cNvPr>
          <p:cNvSpPr txBox="1">
            <a:spLocks/>
          </p:cNvSpPr>
          <p:nvPr userDrawn="1"/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net Passionate Icons</a:t>
            </a:r>
            <a:br>
              <a:rPr lang="en-I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704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4613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6E69647-C502-C441-87EF-3977815DA1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045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4DB3BC1-51BC-FA4C-B894-20464786F5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uideline Slide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5058055-1CEA-8F4A-B28D-6EBF057B1F66}"/>
              </a:ext>
            </a:extLst>
          </p:cNvPr>
          <p:cNvSpPr txBox="1"/>
          <p:nvPr userDrawn="1"/>
        </p:nvSpPr>
        <p:spPr>
          <a:xfrm>
            <a:off x="4198976" y="1454019"/>
            <a:ext cx="3609474" cy="51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3200" dirty="0">
                <a:latin typeface="Century Gothic" panose="020B0502020202020204" pitchFamily="34" charset="0"/>
              </a:rPr>
              <a:t>Title </a:t>
            </a:r>
            <a:r>
              <a:rPr lang="en-US" sz="3200" b="0" i="0" dirty="0">
                <a:latin typeface="Century Gothic" panose="020B0502020202020204" pitchFamily="34" charset="0"/>
              </a:rPr>
              <a:t>Size 3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latin typeface="Century Gothic" panose="020B0502020202020204" pitchFamily="34" charset="0"/>
              </a:rPr>
              <a:t>Title </a:t>
            </a:r>
            <a:r>
              <a:rPr lang="en-US" sz="4000" b="0" i="0" dirty="0">
                <a:latin typeface="Century Gothic" panose="020B0502020202020204" pitchFamily="34" charset="0"/>
              </a:rPr>
              <a:t>Size 4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latin typeface="Century Gothic" panose="020B0502020202020204" pitchFamily="34" charset="0"/>
              </a:rPr>
              <a:t>Title </a:t>
            </a:r>
            <a:r>
              <a:rPr lang="en-US" sz="4800" b="0" i="0" dirty="0">
                <a:latin typeface="Century Gothic" panose="020B0502020202020204" pitchFamily="34" charset="0"/>
              </a:rPr>
              <a:t>Size 4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Subtitle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i="0" dirty="0">
                <a:latin typeface="Century Gothic" panose="020B0502020202020204" pitchFamily="34" charset="0"/>
              </a:rPr>
              <a:t>Subtitle Size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i="0" dirty="0">
                <a:latin typeface="Century Gothic" panose="020B0502020202020204" pitchFamily="34" charset="0"/>
              </a:rPr>
              <a:t>Subtitle Size 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0" i="0" dirty="0">
                <a:latin typeface="Century Gothic" panose="020B0502020202020204" pitchFamily="34" charset="0"/>
              </a:rPr>
              <a:t>Subtitle Size 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latin typeface="Century Gothic" panose="020B0502020202020204" pitchFamily="34" charset="0"/>
              </a:rPr>
              <a:t>Body Copy Size 1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dirty="0">
                <a:latin typeface="Century Gothic" panose="020B0502020202020204" pitchFamily="34" charset="0"/>
              </a:rPr>
              <a:t>Body Copy Size 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0" i="0" dirty="0">
                <a:latin typeface="Century Gothic" panose="020B0502020202020204" pitchFamily="34" charset="0"/>
              </a:rPr>
              <a:t>Body Copy Size 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Body Copy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endParaRPr lang="en-US" sz="3200" b="0" i="0" dirty="0">
              <a:latin typeface="Century Gothic" panose="020B0502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A9601FA-2C65-E743-B839-2BC0AA447EFA}"/>
              </a:ext>
            </a:extLst>
          </p:cNvPr>
          <p:cNvGrpSpPr/>
          <p:nvPr userDrawn="1"/>
        </p:nvGrpSpPr>
        <p:grpSpPr>
          <a:xfrm>
            <a:off x="623887" y="1457766"/>
            <a:ext cx="3625820" cy="4943755"/>
            <a:chOff x="-6257760" y="707017"/>
            <a:chExt cx="3625820" cy="494375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BD78F41-BB0F-F94F-B712-97D86AE976FB}"/>
                </a:ext>
              </a:extLst>
            </p:cNvPr>
            <p:cNvSpPr/>
            <p:nvPr/>
          </p:nvSpPr>
          <p:spPr>
            <a:xfrm>
              <a:off x="-6246609" y="707017"/>
              <a:ext cx="881743" cy="881743"/>
            </a:xfrm>
            <a:prstGeom prst="ellipse">
              <a:avLst/>
            </a:prstGeom>
            <a:solidFill>
              <a:srgbClr val="0941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BCF57C2-460B-E046-8C9E-C10EFA6D7193}"/>
                </a:ext>
              </a:extLst>
            </p:cNvPr>
            <p:cNvSpPr/>
            <p:nvPr/>
          </p:nvSpPr>
          <p:spPr>
            <a:xfrm>
              <a:off x="-6246609" y="1726714"/>
              <a:ext cx="881743" cy="881743"/>
            </a:xfrm>
            <a:prstGeom prst="ellipse">
              <a:avLst/>
            </a:prstGeom>
            <a:solidFill>
              <a:srgbClr val="2382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5F50ABA-AC03-BB42-A8AC-FAC93E74E2FA}"/>
                </a:ext>
              </a:extLst>
            </p:cNvPr>
            <p:cNvSpPr/>
            <p:nvPr/>
          </p:nvSpPr>
          <p:spPr>
            <a:xfrm>
              <a:off x="-6246609" y="2740819"/>
              <a:ext cx="881743" cy="881743"/>
            </a:xfrm>
            <a:prstGeom prst="ellipse">
              <a:avLst/>
            </a:prstGeom>
            <a:solidFill>
              <a:srgbClr val="F7A4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78521A9-75E7-4548-A46B-547A9ACB0A3D}"/>
                </a:ext>
              </a:extLst>
            </p:cNvPr>
            <p:cNvSpPr/>
            <p:nvPr/>
          </p:nvSpPr>
          <p:spPr>
            <a:xfrm>
              <a:off x="-6257760" y="3754924"/>
              <a:ext cx="881743" cy="881743"/>
            </a:xfrm>
            <a:prstGeom prst="ellipse">
              <a:avLst/>
            </a:prstGeom>
            <a:solidFill>
              <a:srgbClr val="0FA0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BF5A9BF-9E01-A946-A6D0-4A399D564919}"/>
                </a:ext>
              </a:extLst>
            </p:cNvPr>
            <p:cNvSpPr/>
            <p:nvPr/>
          </p:nvSpPr>
          <p:spPr>
            <a:xfrm>
              <a:off x="-6257760" y="4769029"/>
              <a:ext cx="881743" cy="881743"/>
            </a:xfrm>
            <a:prstGeom prst="ellipse">
              <a:avLst/>
            </a:prstGeom>
            <a:solidFill>
              <a:srgbClr val="C09A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474E757-2D7D-E84A-8F90-67963898E9A5}"/>
                </a:ext>
              </a:extLst>
            </p:cNvPr>
            <p:cNvSpPr txBox="1"/>
            <p:nvPr/>
          </p:nvSpPr>
          <p:spPr>
            <a:xfrm>
              <a:off x="-5235635" y="293357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Orang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0 / 42 / 87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247 / 164 / 45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FBDF904-4B20-C644-BF8D-76EF3776FFF5}"/>
                </a:ext>
              </a:extLst>
            </p:cNvPr>
            <p:cNvSpPr txBox="1"/>
            <p:nvPr/>
          </p:nvSpPr>
          <p:spPr>
            <a:xfrm>
              <a:off x="-5235635" y="191247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0 / 33 / 4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 / 141 / 198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8FEDB90-7B3E-404B-BEE7-B7222F3FF624}"/>
                </a:ext>
              </a:extLst>
            </p:cNvPr>
            <p:cNvSpPr txBox="1"/>
            <p:nvPr/>
          </p:nvSpPr>
          <p:spPr>
            <a:xfrm>
              <a:off x="-5235635" y="851395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100 / 72 / 0 / 18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0 / 66 / 137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2223326-CD12-D04E-AD0D-8F5551660336}"/>
                </a:ext>
              </a:extLst>
            </p:cNvPr>
            <p:cNvSpPr txBox="1"/>
            <p:nvPr/>
          </p:nvSpPr>
          <p:spPr>
            <a:xfrm>
              <a:off x="-5235635" y="396009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Green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1 / 5 / 95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5 / 160 / 66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42560D3-17B6-DD47-A272-449E80C687E5}"/>
                </a:ext>
              </a:extLst>
            </p:cNvPr>
            <p:cNvSpPr txBox="1"/>
            <p:nvPr/>
          </p:nvSpPr>
          <p:spPr>
            <a:xfrm>
              <a:off x="-5235635" y="496178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Gold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30 / 40 / 70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2 / 154 / 9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82314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FF804A-9FCC-3D4F-8E5D-878EB0BC5C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18954" y="1397777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</p:spTree>
    <p:extLst>
      <p:ext uri="{BB962C8B-B14F-4D97-AF65-F5344CB8AC3E}">
        <p14:creationId xmlns:p14="http://schemas.microsoft.com/office/powerpoint/2010/main" val="4027623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4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2559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582F58F-84F7-A348-85DD-03FEC9C57F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71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5" t="27833" r="42531" b="51236"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nsert backdrop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F7D7FD-2E4D-764B-8614-8BB948EDA1D8}"/>
              </a:ext>
            </a:extLst>
          </p:cNvPr>
          <p:cNvSpPr/>
          <p:nvPr userDrawn="1"/>
        </p:nvSpPr>
        <p:spPr>
          <a:xfrm>
            <a:off x="5562600" y="3456947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Right click and use the crop function to size your image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Scale and position your image to fit inside this area.</a:t>
            </a:r>
            <a:br>
              <a:rPr lang="en-US" sz="1400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221964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91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815953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5B61BF-F308-884F-835C-950D755857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452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019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</a:lstStyle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Right click and use the crop function to size your image box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Scale and position your image to fit inside this area.</a:t>
            </a:r>
            <a:br>
              <a:rPr lang="en-US" sz="2000" dirty="0"/>
            </a:br>
            <a:endParaRPr lang="en-US" sz="2000" dirty="0"/>
          </a:p>
          <a:p>
            <a:pPr lvl="0"/>
            <a:endParaRPr lang="en-US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663157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B8647F-9952-F446-B6D5-8D7125A485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63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102005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624025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218787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582842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119362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281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98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4B06EC-548A-3A41-9515-77E050010F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069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573986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D2F7360-C85C-A545-9AC3-C8303F5241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32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589FAB-72DB-3C47-8A59-E513229C35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617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300443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A08F8D-242C-EC41-A05E-7744BFBBC7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187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01CB732-A621-8440-A42B-A3E72ABEF6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353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56A60E4-0332-914F-93F8-9A7AA9093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420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08C281-9C7A-294A-87E1-B2464303E763}"/>
              </a:ext>
            </a:extLst>
          </p:cNvPr>
          <p:cNvSpPr/>
          <p:nvPr userDrawn="1"/>
        </p:nvSpPr>
        <p:spPr>
          <a:xfrm>
            <a:off x="0" y="1"/>
            <a:ext cx="12181021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9" y="1745140"/>
            <a:ext cx="3527424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12113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8023"/>
            <a:ext cx="10934489" cy="54303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49577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E4BDEA-9ED9-9E4A-8299-1ED7EDA0B7BE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530DB3-6D36-8245-B9A4-DFAB045921B8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44A662-5109-9E46-BA25-7B6A075E7F85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C6B76F-1E4F-AC47-9415-689DE31A47F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168B1D-3168-D940-8927-A3A5BAAAFAF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Subtitle 2">
            <a:extLst>
              <a:ext uri="{FF2B5EF4-FFF2-40B4-BE49-F238E27FC236}">
                <a16:creationId xmlns:a16="http://schemas.microsoft.com/office/drawing/2014/main" id="{A69FF014-B939-B84A-B950-4DB7547889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B58088-83A5-AD46-ACC2-6FB2290F56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326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B3BBCE2E-3119-F04F-B262-DE7256C2C7A1}"/>
              </a:ext>
            </a:extLst>
          </p:cNvPr>
          <p:cNvSpPr/>
          <p:nvPr userDrawn="1"/>
        </p:nvSpPr>
        <p:spPr>
          <a:xfrm>
            <a:off x="373198" y="0"/>
            <a:ext cx="11807823" cy="4530723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8" y="1745140"/>
            <a:ext cx="3527425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745140"/>
            <a:ext cx="3556001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01453" y="1745140"/>
            <a:ext cx="3556002" cy="254746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32288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E05B4EB-48E0-2742-B1AE-279309679E4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332288" y="4688681"/>
            <a:ext cx="3527425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CAB8C08-8214-6A4E-A4D8-C6B318A0AFD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3888" y="4688681"/>
            <a:ext cx="3556001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ECE91E5-64B2-9844-9A5C-E74D42AB53F9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8001453" y="4688681"/>
            <a:ext cx="3556002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06BC46-0E61-E540-B5BD-BCDF424A6C78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D66A452-9491-0747-91FC-E3C7677DDB5C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3775A9-4829-B74C-9440-0DEA4FFD7D3E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949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736726"/>
            <a:ext cx="261815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736726"/>
            <a:ext cx="2627312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736726"/>
            <a:ext cx="259238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736726"/>
            <a:ext cx="2627313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B9EAB2A-56B1-E542-B42E-A1585F7F0D9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406405" y="1272949"/>
            <a:ext cx="2598735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0E97C0-517F-494A-9ECE-ABF5BF8D5F5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3888" y="1272949"/>
            <a:ext cx="2627311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6CB81E-2868-C24A-A2D5-F8A38CC80E0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6197605" y="1272949"/>
            <a:ext cx="259873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5484F9-15AE-E747-8437-F25FF8A7112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940800" y="1272949"/>
            <a:ext cx="262731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8A60D2C3-77F9-EA4D-8FDD-D99DA6EE91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3623"/>
            <a:ext cx="10968449" cy="512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Main Titl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AC9DD0D-4687-204C-B610-9E8509660368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23888" y="4801560"/>
            <a:ext cx="10944223" cy="12492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50B2B7B-B299-584F-83B1-8A6E2DAD24C1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1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7E5DAF-191D-4648-A2A4-AC5ABD21B32D}"/>
              </a:ext>
            </a:extLst>
          </p:cNvPr>
          <p:cNvCxnSpPr>
            <a:cxnSpLocks/>
          </p:cNvCxnSpPr>
          <p:nvPr userDrawn="1"/>
        </p:nvCxnSpPr>
        <p:spPr>
          <a:xfrm>
            <a:off x="3406405" y="1125538"/>
            <a:ext cx="261815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3C4C2E8-8905-214A-A6DA-BC1350B2EC69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A5E08C-7312-384E-B73D-6651839252B3}"/>
              </a:ext>
            </a:extLst>
          </p:cNvPr>
          <p:cNvCxnSpPr>
            <a:cxnSpLocks/>
          </p:cNvCxnSpPr>
          <p:nvPr userDrawn="1"/>
        </p:nvCxnSpPr>
        <p:spPr>
          <a:xfrm>
            <a:off x="89408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838D76C-8F40-194F-A2DC-75834602A1A6}"/>
              </a:ext>
            </a:extLst>
          </p:cNvPr>
          <p:cNvCxnSpPr>
            <a:cxnSpLocks/>
          </p:cNvCxnSpPr>
          <p:nvPr userDrawn="1"/>
        </p:nvCxnSpPr>
        <p:spPr>
          <a:xfrm>
            <a:off x="629925" y="4944428"/>
            <a:ext cx="31156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94EDC1BE-5A2F-9141-AD5F-0F7879D6BE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322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3B371F-F73D-7848-955E-6F4A47C7D7A0}"/>
              </a:ext>
            </a:extLst>
          </p:cNvPr>
          <p:cNvSpPr/>
          <p:nvPr userDrawn="1"/>
        </p:nvSpPr>
        <p:spPr>
          <a:xfrm>
            <a:off x="5232400" y="512763"/>
            <a:ext cx="4500563" cy="271747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9BCB5-7570-8940-9AC8-67AF9BFB7BFC}"/>
              </a:ext>
            </a:extLst>
          </p:cNvPr>
          <p:cNvSpPr/>
          <p:nvPr userDrawn="1"/>
        </p:nvSpPr>
        <p:spPr>
          <a:xfrm>
            <a:off x="5228384" y="3362277"/>
            <a:ext cx="3567953" cy="237387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02A2A2-091B-3843-8E8D-C5130D918C0B}"/>
              </a:ext>
            </a:extLst>
          </p:cNvPr>
          <p:cNvSpPr/>
          <p:nvPr userDrawn="1"/>
        </p:nvSpPr>
        <p:spPr>
          <a:xfrm>
            <a:off x="8947152" y="3362277"/>
            <a:ext cx="3244848" cy="237648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B59B44-4EB0-684F-AB52-741961638BCF}"/>
              </a:ext>
            </a:extLst>
          </p:cNvPr>
          <p:cNvSpPr/>
          <p:nvPr userDrawn="1"/>
        </p:nvSpPr>
        <p:spPr>
          <a:xfrm>
            <a:off x="9861552" y="501927"/>
            <a:ext cx="2330448" cy="272831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04AF4BF-EF8E-5246-A68A-86D5DCC9D8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560844" y="1459681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0D1934E5-DFFE-D64A-AC88-7270E46A22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7306656" y="1513469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BE6F2F-98ED-E740-8C3A-11E55932FF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021806" y="4122199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D554C6E-14A7-F240-A7FE-4B4921CCB3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9955726" y="4108752"/>
            <a:ext cx="1150938" cy="1004936"/>
          </a:xfrm>
          <a:prstGeom prst="rect">
            <a:avLst/>
          </a:prstGeom>
        </p:spPr>
      </p:pic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D0040FA-429B-3340-98A6-8EDBE6F6C15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400" y="501926"/>
            <a:ext cx="4500563" cy="2714866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25E71D81-56C6-4741-8183-0B428AFAEF52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5838" y="499315"/>
            <a:ext cx="2316162" cy="2717477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663DCAF0-0A11-9744-996C-8D17C975A9D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1" y="3373115"/>
            <a:ext cx="3251200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BD990BB-3AB6-874E-8F35-63EA9033F064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5232400" y="3373116"/>
            <a:ext cx="3563937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651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06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198804" y="0"/>
            <a:ext cx="798221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Imag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CD41DA-5299-F245-B635-25684774BD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576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 for any mention of Quadcor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 Select the logo and copy to clipboard.</a:t>
            </a:r>
            <a:br>
              <a:rPr lang="en-GB" dirty="0"/>
            </a:br>
            <a:r>
              <a:rPr lang="en-GB" dirty="0"/>
              <a:t>- Close master and place on a slide of your choosing.</a:t>
            </a:r>
            <a:endParaRPr lang="en-US" dirty="0"/>
          </a:p>
          <a:p>
            <a:pPr lvl="0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E78980-CB00-7148-8535-BC8EA3D80D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209547"/>
            <a:ext cx="825028" cy="303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129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8B147F-3449-9841-98AE-A51B6A4FB3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139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1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lace on a slide of your choosing.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B07D24-D394-6B43-9672-1B4A838AF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65975" y="6259606"/>
            <a:ext cx="1875066" cy="513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979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D3A9F48F-DEB8-D54B-9A3F-D74D7B3BDB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E83591B-96D8-4D47-B22F-66A56E777A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788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CB6B763-9BD5-DD42-876D-86BF240D60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C0519C4-C654-324F-A1C1-D78DB6CBA7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970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8693107-CCA3-A44F-A088-CA97182B2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E3C12AD-F3DE-8345-83C1-ED4A54A6FA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182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27396510-F944-4741-BA3C-017EE0787E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F86B7C-BE1A-8143-ADB4-6DDB056CB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619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270B3F9-86D7-C949-8435-04D9B62A3D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44DA6B8-C25A-AE4C-8728-B2D0905C2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442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004AB388-D756-A24F-A1DD-F8134B91DB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28E617-A629-9444-BEB9-06AC835D6C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853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85126B2A-21C1-B843-B973-F8CD5363EB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9231C03-7741-E94C-A68A-77ABA0F6DD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727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348A17DD-BEA2-8848-AA12-6063DC78CA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1E35709-C6B8-1846-9E42-6EBD70173E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418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F34DB94D-7DB1-464A-90FB-C24B1FEAA0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528E442-F367-0A4F-90E7-9580D5CCF9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430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719F52-3F4D-094F-A7E3-CAB8AD389D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95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56D5E389-1BA3-8945-B943-A8A836E009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0B6B91-2D0D-3E40-9B08-7A2F43897A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5214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8F8528-A255-6045-B279-EFF4A71A06DD}"/>
              </a:ext>
            </a:extLst>
          </p:cNvPr>
          <p:cNvSpPr/>
          <p:nvPr userDrawn="1"/>
        </p:nvSpPr>
        <p:spPr>
          <a:xfrm>
            <a:off x="10979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0414" y="2432441"/>
            <a:ext cx="899998" cy="439534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2E7FB9-B022-AB4A-BAC0-F149A0629C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0413" y="2992990"/>
            <a:ext cx="899998" cy="4395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00D63A-3C2D-3140-BC56-D1370DC4894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413" y="4298362"/>
            <a:ext cx="899998" cy="43953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9E988D2-9BC7-BB40-B379-300A8F82E87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989441" y="2434511"/>
            <a:ext cx="899998" cy="28294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AA5258F-A7C4-504C-A201-2E2E3883AF7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989441" y="2744742"/>
            <a:ext cx="899998" cy="28294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514FBC5-ECB4-6E4B-918D-248C86BC33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989441" y="3621350"/>
            <a:ext cx="899998" cy="33076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Logo Asset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EEEF11F-B58A-FD47-AD30-84622B7E652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60413" y="3550163"/>
            <a:ext cx="899999" cy="4395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E37C99C-700A-5A47-8187-38196CD7BE7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35774" y="2452612"/>
            <a:ext cx="2184530" cy="52921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B8D4501-51DF-8449-83DA-B5724F011D8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35774" y="4190510"/>
            <a:ext cx="1998598" cy="547386"/>
          </a:xfrm>
          <a:prstGeom prst="rect">
            <a:avLst/>
          </a:prstGeom>
        </p:spPr>
      </p:pic>
      <p:pic>
        <p:nvPicPr>
          <p:cNvPr id="17" name="Picture 16" descr="A close up of a sign&#10;&#10;Description automatically generated">
            <a:extLst>
              <a:ext uri="{FF2B5EF4-FFF2-40B4-BE49-F238E27FC236}">
                <a16:creationId xmlns:a16="http://schemas.microsoft.com/office/drawing/2014/main" id="{D60CCDB2-0EE1-6543-84A2-4D6FAFFC9AC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969676" y="3220067"/>
            <a:ext cx="899998" cy="2113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AD87397-2A55-3448-9CF3-31235031B11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335774" y="3621350"/>
            <a:ext cx="2254404" cy="43650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881D252-0CE7-8149-AA1C-F3C162BA8436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361028" y="3050202"/>
            <a:ext cx="2261893" cy="43795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32639EA-3281-6442-A50C-851F285B3942}"/>
              </a:ext>
            </a:extLst>
          </p:cNvPr>
          <p:cNvSpPr txBox="1"/>
          <p:nvPr userDrawn="1"/>
        </p:nvSpPr>
        <p:spPr>
          <a:xfrm>
            <a:off x="7045693" y="1474269"/>
            <a:ext cx="22619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access logos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a logo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logos can then be pasted onto a slide of your choosing.</a:t>
            </a:r>
          </a:p>
        </p:txBody>
      </p:sp>
    </p:spTree>
    <p:extLst>
      <p:ext uri="{BB962C8B-B14F-4D97-AF65-F5344CB8AC3E}">
        <p14:creationId xmlns:p14="http://schemas.microsoft.com/office/powerpoint/2010/main" val="1627967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pic>
        <p:nvPicPr>
          <p:cNvPr id="187" name="Picture 186" descr="A group of people in a dark room&#10;&#10;Description automatically generated">
            <a:extLst>
              <a:ext uri="{FF2B5EF4-FFF2-40B4-BE49-F238E27FC236}">
                <a16:creationId xmlns:a16="http://schemas.microsoft.com/office/drawing/2014/main" id="{84355E12-4DC3-A24D-A7D7-89987EA9EB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82411" y="0"/>
            <a:ext cx="10609589" cy="6858000"/>
          </a:xfrm>
          <a:prstGeom prst="rect">
            <a:avLst/>
          </a:prstGeom>
        </p:spPr>
      </p:pic>
      <p:sp>
        <p:nvSpPr>
          <p:cNvPr id="188" name="Content Placeholder 2">
            <a:extLst>
              <a:ext uri="{FF2B5EF4-FFF2-40B4-BE49-F238E27FC236}">
                <a16:creationId xmlns:a16="http://schemas.microsoft.com/office/drawing/2014/main" id="{FF714AA7-CEE4-5F47-99FA-AE15DDF9FB8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615206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map&#10;&#10;Description automatically generated">
            <a:extLst>
              <a:ext uri="{FF2B5EF4-FFF2-40B4-BE49-F238E27FC236}">
                <a16:creationId xmlns:a16="http://schemas.microsoft.com/office/drawing/2014/main" id="{BD34BBF7-F237-CC4A-B3CD-B5C10BA9F6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6745" y="777711"/>
            <a:ext cx="10624276" cy="608028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5BAECDA-3C87-BF41-AD8F-C04F616F40D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</p:spTree>
    <p:extLst>
      <p:ext uri="{BB962C8B-B14F-4D97-AF65-F5344CB8AC3E}">
        <p14:creationId xmlns:p14="http://schemas.microsoft.com/office/powerpoint/2010/main" val="1950769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0D7B03-0C58-0644-9EC7-D53C1D3087E4}"/>
              </a:ext>
            </a:extLst>
          </p:cNvPr>
          <p:cNvGrpSpPr/>
          <p:nvPr userDrawn="1"/>
        </p:nvGrpSpPr>
        <p:grpSpPr>
          <a:xfrm>
            <a:off x="1254681" y="1287006"/>
            <a:ext cx="9682637" cy="5156348"/>
            <a:chOff x="837718" y="2166032"/>
            <a:chExt cx="7093287" cy="3777427"/>
          </a:xfrm>
          <a:solidFill>
            <a:srgbClr val="09417A"/>
          </a:solidFill>
        </p:grpSpPr>
        <p:sp>
          <p:nvSpPr>
            <p:cNvPr id="6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DAF49FA4-B6FB-0F46-A0BA-21C9F57D1D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7718" y="2418601"/>
              <a:ext cx="990263" cy="467668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640446B4-3040-1D4B-840B-0E361CC5EE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72923" y="4820778"/>
              <a:ext cx="177968" cy="194284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01A6F51-C84B-9F47-9EC2-7970EFACE1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1736" y="4608454"/>
              <a:ext cx="268222" cy="281712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5AA18849-39FE-9B41-9D26-DBDF9DB3B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266" y="3838259"/>
              <a:ext cx="236443" cy="176243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D07A088-BF3A-0F44-AC89-393767370D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594016"/>
              <a:ext cx="193222" cy="180406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DD9D767A-7288-1348-84A7-DFED66876D8C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58018"/>
              <a:ext cx="13983" cy="33306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4A198BF-2931-E64C-805B-C2052042E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71" y="3090267"/>
              <a:ext cx="381360" cy="234528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3F5C7D8D-54BB-6146-8610-67E6A95F95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9211" y="3714749"/>
              <a:ext cx="195765" cy="419097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27D2E16E-A5D5-B24D-A2E3-A55D1BD5D3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2902" y="4032542"/>
              <a:ext cx="307630" cy="327507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BDD54B73-5DEE-864C-B0CA-377024D2AF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86029" y="2982023"/>
              <a:ext cx="1262300" cy="682768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2986076-BC4B-B947-B867-E7D21C467CD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2228" y="5232936"/>
              <a:ext cx="119493" cy="134611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62380EB0-BAB6-B54C-AC02-1A836BC10A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80120" y="2678108"/>
              <a:ext cx="185595" cy="290038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1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71DA14FD-819A-9346-80DF-9C39A7306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8946" y="3625934"/>
              <a:ext cx="108051" cy="112407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2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21ED622D-F845-4A49-B303-2D39675ADCB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3770" y="2901534"/>
              <a:ext cx="359749" cy="22065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4D19FE5E-7193-F34E-9986-9D11AFB391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8433" y="4260131"/>
              <a:ext cx="125848" cy="16236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F0D3446-BF62-3A4A-AFBA-4C01FAB82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996" y="3166593"/>
              <a:ext cx="325427" cy="212325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5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BB07076-388E-A34F-A6CC-09DDD04CF9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47499" y="3183246"/>
              <a:ext cx="428393" cy="17763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6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95C5FB4E-E02F-4648-A39E-B7564C1606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5038" y="3320631"/>
              <a:ext cx="87712" cy="19983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7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1671B8CE-94A9-1D4F-98F0-02BCD8AD49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5799" y="4064460"/>
              <a:ext cx="45763" cy="141549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9EA8586-F1DD-0147-8BEA-63245D8588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5142" y="3799402"/>
              <a:ext cx="199578" cy="417710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FA18E-509B-6F4E-B1F6-83832338418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7161" y="4407232"/>
              <a:ext cx="247883" cy="305303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619D18B-1B62-1C4A-AF21-FECBE870D2F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6237" y="3216551"/>
              <a:ext cx="177968" cy="123509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1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923B25CB-9D3E-3945-BBEE-20C381783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2011" y="3660628"/>
              <a:ext cx="38136" cy="9436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2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CEC19507-D2E4-3D46-B0B7-BD5DEBF24E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317856"/>
              <a:ext cx="144917" cy="14571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9D78D97-75EA-1742-BDB4-A9E6A56343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3025043"/>
              <a:ext cx="92797" cy="55510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4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026FE73A-891F-D144-B368-53D5C2C5B6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52581" y="2471335"/>
              <a:ext cx="223731" cy="348323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5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1F8F3C2-9E49-D547-BB98-83EDD700C9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416" y="5106653"/>
              <a:ext cx="33051" cy="47183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6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90AD4590-428C-7845-881F-AD9A60FF4E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397" y="4208785"/>
              <a:ext cx="94069" cy="117958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968A0D37-FD84-814B-B9F3-FC60D033BFB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2512" y="4106092"/>
              <a:ext cx="54661" cy="106856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8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3F5F92B-7E04-904F-A705-6A334CD194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25458" y="3138838"/>
              <a:ext cx="282206" cy="216487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6081DFCA-3607-5F4B-A84F-853A57D02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0300" y="4036705"/>
              <a:ext cx="230087" cy="38995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85663" y="4568210"/>
              <a:ext cx="119493" cy="122121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1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3B0B63E-08BE-024E-8D98-7EAE9C7725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5802" y="3048634"/>
              <a:ext cx="67373" cy="43020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2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F4BDB682-36AD-FF49-9375-C22F06C516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4447" y="2977860"/>
              <a:ext cx="115679" cy="51347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3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10CFEAE4-D597-064F-AA2C-04C7326E18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7068" y="4092214"/>
              <a:ext cx="67373" cy="9436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4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FF44D0B-D47E-0F4D-BE0D-80079287A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9694" y="3900706"/>
              <a:ext cx="134747" cy="129060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5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A848B51-A257-B141-A263-BE224F057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66344"/>
              <a:ext cx="477971" cy="448240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DE846F17-9F01-EF48-962A-D0A9F82C6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365" y="4407232"/>
              <a:ext cx="48306" cy="5134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7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372E6C68-F958-F445-8B73-E7939351B5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33963" y="2716965"/>
              <a:ext cx="97882" cy="421873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F42B9E93-C135-AE4A-A75B-415E4E29E0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17837" y="2196562"/>
              <a:ext cx="2916129" cy="1013050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ED648A8-9E07-0949-9E20-4C80C17ADD1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3013941"/>
              <a:ext cx="198307" cy="12906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B02953AA-348B-2F4E-BD82-9FC16DCE81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2420" y="3634260"/>
              <a:ext cx="21610" cy="4995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2DFD4982-A5B9-4E4F-8E73-67E0780CD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4345" y="3856299"/>
              <a:ext cx="44492" cy="2081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BEA959A1-E334-C94B-8EE0-1F52439F8E2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4018" y="3186021"/>
              <a:ext cx="73730" cy="144325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EFEBD36-86E7-2A46-B431-7A131B104F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9785" y="2834922"/>
              <a:ext cx="200849" cy="158202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4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D605A7B9-5938-034F-BA38-0471753AA7E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80570" y="3846585"/>
              <a:ext cx="230087" cy="42326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1BAB6D50-490A-6047-9A62-6C0F2F27253B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4765" y="4376702"/>
              <a:ext cx="302545" cy="52456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6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5C147906-B4DE-0A4C-B4E8-22D5959DAC6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7481" y="4923471"/>
              <a:ext cx="193222" cy="23869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19558" y="4430823"/>
              <a:ext cx="350851" cy="255344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8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5FEAE546-523E-AC42-A6B1-19CA1E780CA9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1713" y="4106092"/>
              <a:ext cx="130933" cy="680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50BCDF8-3135-5248-93F6-AE4B61D5D3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2168" y="3328958"/>
              <a:ext cx="338139" cy="370527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BCF68BDE-2130-F843-B4A7-1E94A1A95C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4213" y="3888217"/>
              <a:ext cx="30509" cy="22204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6BFC5A4-5C32-5749-9975-344F30D10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8014" y="3667566"/>
              <a:ext cx="174154" cy="237304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2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BB354FDB-0A58-9F46-9FC3-6BA252ED1BF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39445" y="2222930"/>
              <a:ext cx="438563" cy="52595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3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AB4B013-C271-2B47-9FB4-4E78AE94D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3173" y="3983971"/>
              <a:ext cx="269494" cy="2719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4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B3E8443-69F6-7041-AD17-3D1DC6B9C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969" y="3711974"/>
              <a:ext cx="357206" cy="331670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5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3DECCEF-2270-784E-BCAF-F10E57D8B3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3832" y="3957604"/>
              <a:ext cx="105509" cy="116570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21679" y="5350895"/>
              <a:ext cx="409326" cy="34554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BF31AF5-9264-CD44-86C0-EBDC749118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6297" y="2925126"/>
              <a:ext cx="137289" cy="134611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0A28748-E3AD-BD4A-85B0-B8D548584FB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8597" y="2872392"/>
              <a:ext cx="87712" cy="7355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9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E76FF854-0325-AE44-9D8C-AAB4FE65959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8019" y="3513528"/>
              <a:ext cx="189408" cy="11657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AE04FF1B-7800-154B-94D8-D2E361BBBA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5293" y="4858247"/>
              <a:ext cx="307630" cy="342772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811D5E9C-14A7-3A40-8667-0C42E33A39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5480" y="3569037"/>
              <a:ext cx="204663" cy="52734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2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25240E4B-B718-7F43-898D-8636267733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4789" y="4675065"/>
              <a:ext cx="246612" cy="47044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F7E9F73A-3DBC-3A43-B6D7-A4584C9A4D0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593" y="3360876"/>
              <a:ext cx="273307" cy="23314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4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176C0E46-7111-3D41-BC06-D17DC19DB77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2583" y="3143001"/>
              <a:ext cx="36864" cy="4718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5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D797893-1110-BE47-837C-5D9227211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89460" y="2905698"/>
              <a:ext cx="676278" cy="292813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FFF037F-C801-AE4A-A50B-D97EC55A8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96" y="3008390"/>
              <a:ext cx="69916" cy="8326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7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59AA8A-CB58-F746-8029-88751D885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0860" y="3452467"/>
              <a:ext cx="600006" cy="513464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8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E8824692-E2E0-5547-AD8D-0E5BD8CC3AA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17413" y="3351162"/>
              <a:ext cx="10170" cy="9715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9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2171320-371D-9B4B-A33C-220B752FE4E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606506"/>
              <a:ext cx="277121" cy="353874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0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5219B2B8-0AB4-874F-8AEB-AA738990DB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2492" y="3667566"/>
              <a:ext cx="373732" cy="42326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D08ED4CE-9296-2C4B-9BE4-04F85D2B35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9041" y="4186581"/>
              <a:ext cx="99153" cy="154040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990497EC-2119-3B4A-9C01-FCF50F5A68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0399" y="4168541"/>
              <a:ext cx="221189" cy="185957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2E37103F-4E40-6D49-A1C0-07C4AA1E7C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4535" y="4644535"/>
              <a:ext cx="75000" cy="22065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DE19BEA9-2759-8944-BD58-5E193AC6E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4452" y="4726412"/>
              <a:ext cx="191951" cy="383016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5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AF9052D-38A6-BB49-BC34-33F4416CB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346" y="3176306"/>
              <a:ext cx="53390" cy="44408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6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95E272BC-A097-824E-861A-D3A5637968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1987" y="2962594"/>
              <a:ext cx="16525" cy="1526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7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4BF7B08-758B-5042-9A32-DC5C0BD7D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9448" y="2790515"/>
              <a:ext cx="109323" cy="6938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8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3E7960AF-38D7-9E49-B1FD-EC0C15E6E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4445" y="3038921"/>
              <a:ext cx="5085" cy="8326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927E917-C6EC-1F4A-80D6-7E5988E20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3435814"/>
              <a:ext cx="354664" cy="38995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D28C5CB-C809-4F49-87FB-592C56054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0119" y="4133847"/>
              <a:ext cx="99153" cy="122121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2B34936F-976E-5945-8C5F-5214E9E139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3432" y="5189917"/>
              <a:ext cx="53390" cy="5689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14DE609C-CC3F-2D44-8380-22A8EC6CD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9959" y="3395569"/>
              <a:ext cx="34322" cy="55510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3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3CAFEBC2-E7F5-9849-B0D5-18B1C15F69E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2747495"/>
              <a:ext cx="137289" cy="6383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2EB0F508-E6AA-F04B-82F6-8E7C7F7D25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7261" y="3739729"/>
              <a:ext cx="193222" cy="244242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5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5995702-DA7F-4B41-BB2D-A3AD2E217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3101" y="3155491"/>
              <a:ext cx="216104" cy="10963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440E35C6-8F30-F14A-B7B1-6C286308BC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6911" y="3526017"/>
              <a:ext cx="44492" cy="43020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7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9FC9D387-1716-764D-A419-8571984317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19978" y="3285938"/>
              <a:ext cx="87712" cy="14987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1C36E996-9AD7-5745-A5D8-0FF94C28B5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46248" y="3162429"/>
              <a:ext cx="105509" cy="14710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9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10D2CB17-EB05-C64B-9880-8096F1E8A3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4244866"/>
              <a:ext cx="180510" cy="26783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7A27997-3D41-CA49-9CEA-857713EFB7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2819658"/>
              <a:ext cx="811025" cy="40938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4F29EEC-989F-7449-BDA9-F5E9B2181E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434426"/>
              <a:ext cx="90255" cy="117958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2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82F50A72-6FFD-8C4A-975D-2CF4DE9BDD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291" y="3856299"/>
              <a:ext cx="50848" cy="1804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3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504A868F-9630-B647-ABBE-0395C868D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69554" y="3090267"/>
              <a:ext cx="282206" cy="60089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63A4F46-4B32-FD4C-8313-C85B87DCBC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57242" y="3044472"/>
              <a:ext cx="250426" cy="292813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DFE9D0B4-0AEF-AE43-A484-16F8863A49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1060" y="3430263"/>
              <a:ext cx="33051" cy="112407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6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C40B0C6-ABA4-1E40-AF04-AD7D0F94F34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8001" y="2822433"/>
              <a:ext cx="90255" cy="104081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375E5BA3-5F93-5342-A775-E6524381F3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5129" y="3320631"/>
              <a:ext cx="221189" cy="231753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8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C269DEC-7FEA-AC4E-8BB1-4A1DB5957B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9198" y="3249857"/>
              <a:ext cx="463987" cy="414935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0989" y="4217111"/>
              <a:ext cx="1052552" cy="457954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A53D257F-B7C2-FB42-ACA9-5F81B765DD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36492" y="3356713"/>
              <a:ext cx="629243" cy="829868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1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BEEC59A-C859-5F41-A790-C40C37A32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3508" y="2532395"/>
              <a:ext cx="184323" cy="77713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0DE3950-C8D1-AC49-BB7F-8E7082EEA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4277" y="3005615"/>
              <a:ext cx="137289" cy="7771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3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CA5F6AD-6B1B-B847-B0A5-B10A62834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9509" y="3924298"/>
              <a:ext cx="143645" cy="8604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4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4BDD70F8-F59A-194D-ACA9-35B086EE3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1631" y="3814667"/>
              <a:ext cx="63560" cy="54122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5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4A896B05-7090-ED49-89FC-3C32DBB7D11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940" y="4214336"/>
              <a:ext cx="66102" cy="104081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6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E15ED31E-A063-F749-8C3E-9DBE6BF3C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1125" y="4138010"/>
              <a:ext cx="105509" cy="20538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7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D3C30FB3-8756-D646-8F89-F128731296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8423" y="4015889"/>
              <a:ext cx="59746" cy="55510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8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D9AF898F-AB32-0B4B-9B68-8490A53965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60" y="4018665"/>
              <a:ext cx="167798" cy="155427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9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E8CEF630-CD55-CC40-99C6-BFFFB89428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136" y="3870176"/>
              <a:ext cx="95339" cy="117958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54B9099-7E7B-7443-88B7-E3F47D0E83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14434" y="2166032"/>
              <a:ext cx="902551" cy="537056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1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6D8E5FEE-4A9D-2241-96D8-E5910411B1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7075" y="3194347"/>
              <a:ext cx="171611" cy="194284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2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360C1EA2-A8C0-0B40-B87A-ADA32B43BBA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2070" y="4063072"/>
              <a:ext cx="105509" cy="181794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3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F171FAA-1AC8-6F42-B558-1ADF7502645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2832147"/>
              <a:ext cx="181781" cy="206774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A732323D-F9C5-3A42-A22B-D99008E03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1316" y="3143001"/>
              <a:ext cx="148730" cy="7355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5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9C03-4491-9541-8611-3DE2526D62B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254" y="3986746"/>
              <a:ext cx="68645" cy="1804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6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B29C833E-78A1-3144-AE83-3685EFDC460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7920" y="4308702"/>
              <a:ext cx="134747" cy="180406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7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09A6D4BC-0CBA-1944-B8B0-BDCB5890BE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25884" y="2932064"/>
              <a:ext cx="293646" cy="27616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8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8FD2806-F4C2-BC4E-A283-7F5C4220F76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7667" y="2447744"/>
              <a:ext cx="203392" cy="252569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9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0327DD2A-68B7-684E-801A-1DC19D1D10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55976" y="3956216"/>
              <a:ext cx="340681" cy="32473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0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A2F3B1DF-EAE0-E346-B3A5-B5E2E210F9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346" y="2708639"/>
              <a:ext cx="111865" cy="54122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1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832A0616-B6C3-3142-94E2-F09D320E1A0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7163" y="3866013"/>
              <a:ext cx="155086" cy="16097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2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DF39F4F-EF0F-B64E-A406-70972C8CB50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4311477"/>
              <a:ext cx="47034" cy="38857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2C386AC4-3C1B-4D46-9A48-A3DE9F884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627" y="3968706"/>
              <a:ext cx="54661" cy="38857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C2C610D7-DD19-B147-9A77-39DCEA31B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313" y="3480222"/>
              <a:ext cx="254240" cy="283099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5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83D85B79-4B7A-9E43-B64E-A1A34F9C8D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38579" y="4332294"/>
              <a:ext cx="133475" cy="18595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35656" y="4611229"/>
              <a:ext cx="80085" cy="41632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7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C7FD8FF-083B-954C-A87E-E6863FCFDD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292" y="3814667"/>
              <a:ext cx="80085" cy="58285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8A8F7F21-18B6-C644-B3EE-228B6966FA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469" y="4018665"/>
              <a:ext cx="38136" cy="4857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F3EFAEAB-F135-F64F-94D1-82860E49B7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91564" y="2759985"/>
              <a:ext cx="88984" cy="83264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0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64F99F6-EC3C-3C4F-8DCB-C18A2DFF4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0378" y="2937615"/>
              <a:ext cx="136018" cy="680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1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CE846B08-B010-8540-A687-A13636C35D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670" y="3367814"/>
              <a:ext cx="48306" cy="30530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2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8E4C-3A8A-5746-B003-F1639CC13B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195358" y="3718913"/>
              <a:ext cx="237714" cy="9575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3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2EF9A2D4-36FF-8A4F-B138-7E7AB60CEF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3429" y="3062512"/>
              <a:ext cx="118221" cy="97142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4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05D78167-1A54-1D4A-9E20-B34CCF8E6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0035" y="4074174"/>
              <a:ext cx="141103" cy="181794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68C0568-35DB-C14D-B883-EC35C27CCC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35611" y="4060297"/>
              <a:ext cx="77543" cy="80489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6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8C0F3DB1-61AF-A742-9925-ACD308B9E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0548" y="4225437"/>
              <a:ext cx="434750" cy="53428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7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7605DDEA-60BD-DA43-A460-2E1C06BD57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2581" y="4272621"/>
              <a:ext cx="172883" cy="245630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8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5D5A8D6-264B-0342-A508-322110CB9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84342" y="4024216"/>
              <a:ext cx="279664" cy="47322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9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4A195178-707F-EA44-BDFC-6A2541D8C3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10615" y="4877675"/>
              <a:ext cx="372461" cy="106578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0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0319B322-D9B9-6248-867F-8D18BC0BBC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9712" y="2866841"/>
              <a:ext cx="1179672" cy="99362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F1B21333-AFF9-6746-804A-62D7F335F93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5971" y="3711974"/>
              <a:ext cx="238985" cy="45379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19C86435-F022-D445-AD83-576A5B8DE2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28853" y="4067235"/>
              <a:ext cx="294918" cy="245630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3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A28E9468-5E2A-0B46-B3D7-9AB65F3B1D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3402" y="2174358"/>
              <a:ext cx="1796203" cy="1014438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4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9746559D-C56A-3D42-BFC1-A5ACDDE6DA8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5378" y="4004787"/>
              <a:ext cx="175425" cy="326119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5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1E4A2EF-BD0B-EA49-A6F0-BCE0C0822F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2262" y="3965931"/>
              <a:ext cx="122035" cy="117958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5676EECF-3CD9-2D4D-A1D5-75A25C96944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79" y="4447476"/>
              <a:ext cx="43221" cy="58285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4D0E7A1-E73C-6241-8945-207006017BD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72493" y="3952053"/>
              <a:ext cx="184323" cy="158202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057A09AC-6876-F149-AD03-92551D0D49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6482" y="3127736"/>
              <a:ext cx="127120" cy="7910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9EDD2BF4-A4D8-0149-9A23-EFBEB04C4A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05105" y="4228213"/>
              <a:ext cx="897466" cy="110741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0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0EDA2F90-F4C0-8940-A03F-04E3C4578A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0888" y="4881839"/>
              <a:ext cx="208477" cy="256732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DC5CDCDB-9496-E042-B45B-274B38A2E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2837" y="3095817"/>
              <a:ext cx="85170" cy="8326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2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549DBB26-4102-8A4C-9E36-6524310DD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13157" y="4652861"/>
              <a:ext cx="287291" cy="373302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3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CDDAA2D9-E8A5-194E-8995-3C233B4BF0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8869" y="3574588"/>
              <a:ext cx="75000" cy="47183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4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FA3774AE-27A4-244E-B083-A8EDCA0EF6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410" y="4026991"/>
              <a:ext cx="71187" cy="174855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B6ED8C5F-70A3-E946-912C-AF64DA3A8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5865" y="3853523"/>
              <a:ext cx="34322" cy="7493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E06E570C-12DE-7149-8DEA-961D105725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4783" y="2926513"/>
              <a:ext cx="72458" cy="54122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7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182CE3BD-C442-7F45-B9CA-6FDE5314C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8699" y="3625934"/>
              <a:ext cx="120763" cy="14987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C0D8E9D-97C9-5741-9090-340132988C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7753" y="2798841"/>
              <a:ext cx="183053" cy="130448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BC42B544-8F2D-0846-96C3-0D1B5E39E9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2250" y="3627322"/>
              <a:ext cx="8898" cy="1942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C3A1C4F4-DDDB-E64E-9F8C-5D4166505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3190184"/>
              <a:ext cx="116950" cy="102693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7949E105-52FD-5046-A31F-9BC1F196A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9530" y="2993125"/>
              <a:ext cx="147459" cy="7077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94975" y="4679229"/>
              <a:ext cx="915263" cy="936725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3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55469E7-E7D1-3348-A69B-4D2A653C613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2673" y="3205449"/>
              <a:ext cx="71187" cy="7493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4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B3DEFFCF-AAB1-3642-91C5-DE4810571B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58921" y="4998409"/>
              <a:ext cx="352122" cy="859011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7521A6CE-6F98-0B44-99C1-A63D4DE0F1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65293" y="4498823"/>
              <a:ext cx="286019" cy="389955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CB02392A-E2CE-3148-85AE-BCEA1D57B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9189" y="3170755"/>
              <a:ext cx="10170" cy="5551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7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75732-6B7B-B545-80F9-EE99846E28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6221" y="3324795"/>
              <a:ext cx="476699" cy="513464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8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28186DFD-64FA-474B-8D41-2F04044AE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5295" y="3170755"/>
              <a:ext cx="47034" cy="8604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AA1E7552-2310-4D44-AD53-799CC30727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70803" y="5006735"/>
              <a:ext cx="366105" cy="359425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0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977D33B-3CDB-3345-B37D-D72D2A34168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2930" y="3285938"/>
              <a:ext cx="292376" cy="25950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181" name="Group 340">
              <a:extLst>
                <a:ext uri="{FF2B5EF4-FFF2-40B4-BE49-F238E27FC236}">
                  <a16:creationId xmlns:a16="http://schemas.microsoft.com/office/drawing/2014/main" id="{C58EA603-7266-DE48-8A2A-92C7FADF26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07667" y="3072226"/>
              <a:ext cx="88984" cy="119346"/>
              <a:chOff x="2184" y="1242"/>
              <a:chExt cx="257" cy="316"/>
            </a:xfrm>
            <a:grpFill/>
          </p:grpSpPr>
          <p:sp>
            <p:nvSpPr>
              <p:cNvPr id="18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69AE035-7B4F-164B-A9A9-E7FD0AFED4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A648D03-405F-FB4A-9FD3-D4DDC98B11C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2" name="Freeform 8">
              <a:extLst>
                <a:ext uri="{FF2B5EF4-FFF2-40B4-BE49-F238E27FC236}">
                  <a16:creationId xmlns:a16="http://schemas.microsoft.com/office/drawing/2014/main" id="{FD68E863-4757-814A-8DFE-A41707FF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042" y="3717611"/>
              <a:ext cx="388418" cy="415994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9">
              <a:extLst>
                <a:ext uri="{FF2B5EF4-FFF2-40B4-BE49-F238E27FC236}">
                  <a16:creationId xmlns:a16="http://schemas.microsoft.com/office/drawing/2014/main" id="{8B0634EF-FC5F-C744-8278-7C6F7A41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011" y="4027375"/>
              <a:ext cx="279661" cy="255310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560D582-DEA8-E74C-B2B7-4A0667BA1F5A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3184390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Europe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CD78BE-D550-3246-8FEB-D416FAC204D3}"/>
              </a:ext>
            </a:extLst>
          </p:cNvPr>
          <p:cNvGrpSpPr/>
          <p:nvPr userDrawn="1"/>
        </p:nvGrpSpPr>
        <p:grpSpPr>
          <a:xfrm>
            <a:off x="5188350" y="889056"/>
            <a:ext cx="7003650" cy="5968944"/>
            <a:chOff x="2140350" y="889056"/>
            <a:chExt cx="7003650" cy="5968944"/>
          </a:xfrm>
          <a:solidFill>
            <a:srgbClr val="09417A"/>
          </a:solidFill>
        </p:grpSpPr>
        <p:sp>
          <p:nvSpPr>
            <p:cNvPr id="24" name="Schweiz" descr="© INSCALE GmbH, 05.05.2010&#10;http://www.presentationload.com/">
              <a:extLst>
                <a:ext uri="{FF2B5EF4-FFF2-40B4-BE49-F238E27FC236}">
                  <a16:creationId xmlns:a16="http://schemas.microsoft.com/office/drawing/2014/main" id="{0535A40E-70FD-D749-B162-DC04351056F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795" y="4950314"/>
              <a:ext cx="496724" cy="308596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Niederlande" descr="© INSCALE GmbH, 05.05.2010&#10;http://www.presentationload.com/">
              <a:extLst>
                <a:ext uri="{FF2B5EF4-FFF2-40B4-BE49-F238E27FC236}">
                  <a16:creationId xmlns:a16="http://schemas.microsoft.com/office/drawing/2014/main" id="{0DCA152D-5DDD-B948-BCED-F5B1025605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99514" y="4054230"/>
              <a:ext cx="401010" cy="420814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Belgien" descr="© INSCALE GmbH, 05.05.2010&#10;http://www.presentationload.com/">
              <a:extLst>
                <a:ext uri="{FF2B5EF4-FFF2-40B4-BE49-F238E27FC236}">
                  <a16:creationId xmlns:a16="http://schemas.microsoft.com/office/drawing/2014/main" id="{2172DDBA-DAA5-E949-A629-02FCD0C8C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8652" y="4354575"/>
              <a:ext cx="384507" cy="316847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Luxemburg" descr="© INSCALE GmbH, 05.05.2010&#10;http://www.presentationload.com/">
              <a:extLst>
                <a:ext uri="{FF2B5EF4-FFF2-40B4-BE49-F238E27FC236}">
                  <a16:creationId xmlns:a16="http://schemas.microsoft.com/office/drawing/2014/main" id="{78A776CD-D227-524B-ADEE-E471815288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5598" y="4570757"/>
              <a:ext cx="84162" cy="118817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Däne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C6F5416-35DB-0D4D-A2D2-08A7E76DCB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539" y="3400732"/>
              <a:ext cx="640296" cy="488473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Öster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285B4E3B-DD89-CA4E-81BB-B697A13BA9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1953" y="4758886"/>
              <a:ext cx="820172" cy="407611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Vereinigtes König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C9A0A0F0-FBC1-DF4A-8C0E-F29B4DB0CB3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20917" y="2849549"/>
              <a:ext cx="853178" cy="1597439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I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3F1B05C-8F35-D049-B939-DC4F4DDD4F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94169" y="3570708"/>
              <a:ext cx="486822" cy="552833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51C3C924-F01B-9441-898E-A9937FDC4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350" y="5564207"/>
              <a:ext cx="483523" cy="802020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Zypern" descr="© INSCALE GmbH, 05.05.2010&#10;http://www.presentationload.com/">
              <a:extLst>
                <a:ext uri="{FF2B5EF4-FFF2-40B4-BE49-F238E27FC236}">
                  <a16:creationId xmlns:a16="http://schemas.microsoft.com/office/drawing/2014/main" id="{B4366EEE-FEB3-8048-B035-64847330C6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0649" y="6377778"/>
              <a:ext cx="267340" cy="255788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Bosnien und Herzegowina" descr="© INSCALE GmbH, 05.05.2010&#10;http://www.presentationload.com/">
              <a:extLst>
                <a:ext uri="{FF2B5EF4-FFF2-40B4-BE49-F238E27FC236}">
                  <a16:creationId xmlns:a16="http://schemas.microsoft.com/office/drawing/2014/main" id="{B471F671-CFAF-FF41-AAF4-11A16BD358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5156" y="5323271"/>
              <a:ext cx="473621" cy="405961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Alb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57A54FD-ABAE-6B45-8616-11F2359A57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3924" y="5696227"/>
              <a:ext cx="240936" cy="457119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Mazedo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20BD5DB-52E3-E246-A72E-7B5EEE4E1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4095" y="5706128"/>
              <a:ext cx="301996" cy="250837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Norwegen" descr="© INSCALE GmbH, 05.05.2010&#10;http://www.presentationload.com/">
              <a:extLst>
                <a:ext uri="{FF2B5EF4-FFF2-40B4-BE49-F238E27FC236}">
                  <a16:creationId xmlns:a16="http://schemas.microsoft.com/office/drawing/2014/main" id="{629EDFA3-5E72-A84A-A5CA-5AA9A68875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85008" y="1263662"/>
              <a:ext cx="1648597" cy="2099114"/>
            </a:xfrm>
            <a:custGeom>
              <a:avLst/>
              <a:gdLst/>
              <a:ahLst/>
              <a:cxnLst>
                <a:cxn ang="0">
                  <a:pos x="626" y="61"/>
                </a:cxn>
                <a:cxn ang="0">
                  <a:pos x="605" y="40"/>
                </a:cxn>
                <a:cxn ang="0">
                  <a:pos x="586" y="22"/>
                </a:cxn>
                <a:cxn ang="0">
                  <a:pos x="547" y="55"/>
                </a:cxn>
                <a:cxn ang="0">
                  <a:pos x="532" y="46"/>
                </a:cxn>
                <a:cxn ang="0">
                  <a:pos x="465" y="77"/>
                </a:cxn>
                <a:cxn ang="0">
                  <a:pos x="445" y="116"/>
                </a:cxn>
                <a:cxn ang="0">
                  <a:pos x="410" y="132"/>
                </a:cxn>
                <a:cxn ang="0">
                  <a:pos x="380" y="181"/>
                </a:cxn>
                <a:cxn ang="0">
                  <a:pos x="374" y="209"/>
                </a:cxn>
                <a:cxn ang="0">
                  <a:pos x="330" y="227"/>
                </a:cxn>
                <a:cxn ang="0">
                  <a:pos x="331" y="254"/>
                </a:cxn>
                <a:cxn ang="0">
                  <a:pos x="331" y="290"/>
                </a:cxn>
                <a:cxn ang="0">
                  <a:pos x="275" y="339"/>
                </a:cxn>
                <a:cxn ang="0">
                  <a:pos x="261" y="381"/>
                </a:cxn>
                <a:cxn ang="0">
                  <a:pos x="252" y="428"/>
                </a:cxn>
                <a:cxn ang="0">
                  <a:pos x="198" y="471"/>
                </a:cxn>
                <a:cxn ang="0">
                  <a:pos x="224" y="509"/>
                </a:cxn>
                <a:cxn ang="0">
                  <a:pos x="141" y="534"/>
                </a:cxn>
                <a:cxn ang="0">
                  <a:pos x="122" y="571"/>
                </a:cxn>
                <a:cxn ang="0">
                  <a:pos x="96" y="584"/>
                </a:cxn>
                <a:cxn ang="0">
                  <a:pos x="69" y="595"/>
                </a:cxn>
                <a:cxn ang="0">
                  <a:pos x="26" y="611"/>
                </a:cxn>
                <a:cxn ang="0">
                  <a:pos x="23" y="650"/>
                </a:cxn>
                <a:cxn ang="0">
                  <a:pos x="83" y="675"/>
                </a:cxn>
                <a:cxn ang="0">
                  <a:pos x="74" y="678"/>
                </a:cxn>
                <a:cxn ang="0">
                  <a:pos x="38" y="704"/>
                </a:cxn>
                <a:cxn ang="0">
                  <a:pos x="55" y="723"/>
                </a:cxn>
                <a:cxn ang="0">
                  <a:pos x="42" y="766"/>
                </a:cxn>
                <a:cxn ang="0">
                  <a:pos x="26" y="785"/>
                </a:cxn>
                <a:cxn ang="0">
                  <a:pos x="34" y="813"/>
                </a:cxn>
                <a:cxn ang="0">
                  <a:pos x="65" y="873"/>
                </a:cxn>
                <a:cxn ang="0">
                  <a:pos x="182" y="789"/>
                </a:cxn>
                <a:cxn ang="0">
                  <a:pos x="230" y="815"/>
                </a:cxn>
                <a:cxn ang="0">
                  <a:pos x="305" y="482"/>
                </a:cxn>
                <a:cxn ang="0">
                  <a:pos x="443" y="205"/>
                </a:cxn>
                <a:cxn ang="0">
                  <a:pos x="595" y="78"/>
                </a:cxn>
                <a:cxn ang="0">
                  <a:pos x="18" y="803"/>
                </a:cxn>
                <a:cxn ang="0">
                  <a:pos x="10" y="767"/>
                </a:cxn>
                <a:cxn ang="0">
                  <a:pos x="14" y="743"/>
                </a:cxn>
                <a:cxn ang="0">
                  <a:pos x="10" y="711"/>
                </a:cxn>
                <a:cxn ang="0">
                  <a:pos x="8" y="699"/>
                </a:cxn>
                <a:cxn ang="0">
                  <a:pos x="7" y="680"/>
                </a:cxn>
                <a:cxn ang="0">
                  <a:pos x="15" y="632"/>
                </a:cxn>
                <a:cxn ang="0">
                  <a:pos x="44" y="600"/>
                </a:cxn>
                <a:cxn ang="0">
                  <a:pos x="58" y="582"/>
                </a:cxn>
                <a:cxn ang="0">
                  <a:pos x="106" y="551"/>
                </a:cxn>
                <a:cxn ang="0">
                  <a:pos x="123" y="537"/>
                </a:cxn>
                <a:cxn ang="0">
                  <a:pos x="162" y="515"/>
                </a:cxn>
                <a:cxn ang="0">
                  <a:pos x="259" y="367"/>
                </a:cxn>
                <a:cxn ang="0">
                  <a:pos x="264" y="359"/>
                </a:cxn>
                <a:cxn ang="0">
                  <a:pos x="301" y="294"/>
                </a:cxn>
                <a:cxn ang="0">
                  <a:pos x="351" y="208"/>
                </a:cxn>
                <a:cxn ang="0">
                  <a:pos x="296" y="220"/>
                </a:cxn>
                <a:cxn ang="0">
                  <a:pos x="362" y="187"/>
                </a:cxn>
                <a:cxn ang="0">
                  <a:pos x="322" y="218"/>
                </a:cxn>
                <a:cxn ang="0">
                  <a:pos x="320" y="183"/>
                </a:cxn>
                <a:cxn ang="0">
                  <a:pos x="367" y="152"/>
                </a:cxn>
                <a:cxn ang="0">
                  <a:pos x="411" y="97"/>
                </a:cxn>
                <a:cxn ang="0">
                  <a:pos x="407" y="97"/>
                </a:cxn>
                <a:cxn ang="0">
                  <a:pos x="492" y="40"/>
                </a:cxn>
                <a:cxn ang="0">
                  <a:pos x="514" y="56"/>
                </a:cxn>
                <a:cxn ang="0">
                  <a:pos x="538" y="19"/>
                </a:cxn>
              </a:cxnLst>
              <a:rect l="0" t="0" r="r" b="b"/>
              <a:pathLst>
                <a:path w="690" h="880">
                  <a:moveTo>
                    <a:pt x="685" y="71"/>
                  </a:moveTo>
                  <a:cubicBezTo>
                    <a:pt x="685" y="68"/>
                    <a:pt x="685" y="68"/>
                    <a:pt x="685" y="68"/>
                  </a:cubicBezTo>
                  <a:cubicBezTo>
                    <a:pt x="681" y="68"/>
                    <a:pt x="681" y="68"/>
                    <a:pt x="681" y="68"/>
                  </a:cubicBezTo>
                  <a:cubicBezTo>
                    <a:pt x="681" y="68"/>
                    <a:pt x="681" y="66"/>
                    <a:pt x="678" y="66"/>
                  </a:cubicBezTo>
                  <a:cubicBezTo>
                    <a:pt x="673" y="66"/>
                    <a:pt x="673" y="66"/>
                    <a:pt x="673" y="66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3" y="76"/>
                    <a:pt x="673" y="76"/>
                    <a:pt x="673" y="76"/>
                  </a:cubicBezTo>
                  <a:cubicBezTo>
                    <a:pt x="673" y="72"/>
                    <a:pt x="673" y="72"/>
                    <a:pt x="673" y="72"/>
                  </a:cubicBezTo>
                  <a:cubicBezTo>
                    <a:pt x="668" y="64"/>
                    <a:pt x="668" y="64"/>
                    <a:pt x="668" y="64"/>
                  </a:cubicBezTo>
                  <a:cubicBezTo>
                    <a:pt x="666" y="64"/>
                    <a:pt x="666" y="64"/>
                    <a:pt x="666" y="64"/>
                  </a:cubicBezTo>
                  <a:cubicBezTo>
                    <a:pt x="668" y="72"/>
                    <a:pt x="668" y="72"/>
                    <a:pt x="668" y="72"/>
                  </a:cubicBezTo>
                  <a:cubicBezTo>
                    <a:pt x="666" y="76"/>
                    <a:pt x="666" y="76"/>
                    <a:pt x="666" y="76"/>
                  </a:cubicBezTo>
                  <a:cubicBezTo>
                    <a:pt x="664" y="73"/>
                    <a:pt x="664" y="73"/>
                    <a:pt x="664" y="73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59" y="77"/>
                    <a:pt x="659" y="77"/>
                    <a:pt x="659" y="77"/>
                  </a:cubicBezTo>
                  <a:cubicBezTo>
                    <a:pt x="659" y="77"/>
                    <a:pt x="656" y="81"/>
                    <a:pt x="655" y="81"/>
                  </a:cubicBezTo>
                  <a:cubicBezTo>
                    <a:pt x="654" y="80"/>
                    <a:pt x="655" y="77"/>
                    <a:pt x="656" y="75"/>
                  </a:cubicBezTo>
                  <a:cubicBezTo>
                    <a:pt x="657" y="74"/>
                    <a:pt x="657" y="67"/>
                    <a:pt x="654" y="66"/>
                  </a:cubicBezTo>
                  <a:cubicBezTo>
                    <a:pt x="652" y="64"/>
                    <a:pt x="649" y="71"/>
                    <a:pt x="649" y="71"/>
                  </a:cubicBezTo>
                  <a:cubicBezTo>
                    <a:pt x="647" y="71"/>
                    <a:pt x="647" y="71"/>
                    <a:pt x="647" y="71"/>
                  </a:cubicBezTo>
                  <a:cubicBezTo>
                    <a:pt x="647" y="71"/>
                    <a:pt x="653" y="64"/>
                    <a:pt x="649" y="62"/>
                  </a:cubicBezTo>
                  <a:cubicBezTo>
                    <a:pt x="645" y="59"/>
                    <a:pt x="641" y="62"/>
                    <a:pt x="641" y="62"/>
                  </a:cubicBezTo>
                  <a:cubicBezTo>
                    <a:pt x="637" y="59"/>
                    <a:pt x="637" y="59"/>
                    <a:pt x="637" y="59"/>
                  </a:cubicBezTo>
                  <a:cubicBezTo>
                    <a:pt x="633" y="61"/>
                    <a:pt x="633" y="61"/>
                    <a:pt x="633" y="61"/>
                  </a:cubicBezTo>
                  <a:cubicBezTo>
                    <a:pt x="632" y="59"/>
                    <a:pt x="632" y="59"/>
                    <a:pt x="632" y="59"/>
                  </a:cubicBezTo>
                  <a:cubicBezTo>
                    <a:pt x="632" y="59"/>
                    <a:pt x="629" y="62"/>
                    <a:pt x="626" y="61"/>
                  </a:cubicBezTo>
                  <a:cubicBezTo>
                    <a:pt x="624" y="60"/>
                    <a:pt x="626" y="58"/>
                    <a:pt x="626" y="58"/>
                  </a:cubicBezTo>
                  <a:cubicBezTo>
                    <a:pt x="626" y="57"/>
                    <a:pt x="624" y="56"/>
                    <a:pt x="625" y="53"/>
                  </a:cubicBezTo>
                  <a:cubicBezTo>
                    <a:pt x="625" y="51"/>
                    <a:pt x="646" y="57"/>
                    <a:pt x="646" y="57"/>
                  </a:cubicBezTo>
                  <a:cubicBezTo>
                    <a:pt x="646" y="57"/>
                    <a:pt x="655" y="57"/>
                    <a:pt x="662" y="52"/>
                  </a:cubicBezTo>
                  <a:cubicBezTo>
                    <a:pt x="668" y="47"/>
                    <a:pt x="666" y="41"/>
                    <a:pt x="666" y="41"/>
                  </a:cubicBezTo>
                  <a:cubicBezTo>
                    <a:pt x="666" y="41"/>
                    <a:pt x="678" y="35"/>
                    <a:pt x="677" y="30"/>
                  </a:cubicBezTo>
                  <a:cubicBezTo>
                    <a:pt x="675" y="26"/>
                    <a:pt x="667" y="28"/>
                    <a:pt x="667" y="28"/>
                  </a:cubicBezTo>
                  <a:cubicBezTo>
                    <a:pt x="667" y="28"/>
                    <a:pt x="664" y="24"/>
                    <a:pt x="661" y="24"/>
                  </a:cubicBezTo>
                  <a:cubicBezTo>
                    <a:pt x="656" y="24"/>
                    <a:pt x="652" y="27"/>
                    <a:pt x="652" y="27"/>
                  </a:cubicBezTo>
                  <a:cubicBezTo>
                    <a:pt x="655" y="19"/>
                    <a:pt x="655" y="19"/>
                    <a:pt x="655" y="19"/>
                  </a:cubicBezTo>
                  <a:cubicBezTo>
                    <a:pt x="651" y="19"/>
                    <a:pt x="651" y="19"/>
                    <a:pt x="651" y="19"/>
                  </a:cubicBezTo>
                  <a:cubicBezTo>
                    <a:pt x="651" y="19"/>
                    <a:pt x="652" y="16"/>
                    <a:pt x="648" y="16"/>
                  </a:cubicBezTo>
                  <a:cubicBezTo>
                    <a:pt x="644" y="15"/>
                    <a:pt x="645" y="21"/>
                    <a:pt x="642" y="21"/>
                  </a:cubicBezTo>
                  <a:cubicBezTo>
                    <a:pt x="640" y="22"/>
                    <a:pt x="642" y="16"/>
                    <a:pt x="640" y="16"/>
                  </a:cubicBezTo>
                  <a:cubicBezTo>
                    <a:pt x="639" y="16"/>
                    <a:pt x="632" y="22"/>
                    <a:pt x="632" y="22"/>
                  </a:cubicBezTo>
                  <a:cubicBezTo>
                    <a:pt x="632" y="15"/>
                    <a:pt x="632" y="15"/>
                    <a:pt x="632" y="15"/>
                  </a:cubicBezTo>
                  <a:cubicBezTo>
                    <a:pt x="632" y="15"/>
                    <a:pt x="629" y="10"/>
                    <a:pt x="622" y="11"/>
                  </a:cubicBezTo>
                  <a:cubicBezTo>
                    <a:pt x="615" y="11"/>
                    <a:pt x="616" y="22"/>
                    <a:pt x="616" y="22"/>
                  </a:cubicBezTo>
                  <a:cubicBezTo>
                    <a:pt x="617" y="25"/>
                    <a:pt x="617" y="25"/>
                    <a:pt x="617" y="25"/>
                  </a:cubicBezTo>
                  <a:cubicBezTo>
                    <a:pt x="616" y="36"/>
                    <a:pt x="616" y="36"/>
                    <a:pt x="616" y="36"/>
                  </a:cubicBezTo>
                  <a:cubicBezTo>
                    <a:pt x="619" y="36"/>
                    <a:pt x="619" y="36"/>
                    <a:pt x="619" y="36"/>
                  </a:cubicBezTo>
                  <a:cubicBezTo>
                    <a:pt x="619" y="39"/>
                    <a:pt x="619" y="39"/>
                    <a:pt x="619" y="39"/>
                  </a:cubicBezTo>
                  <a:cubicBezTo>
                    <a:pt x="614" y="39"/>
                    <a:pt x="614" y="39"/>
                    <a:pt x="614" y="39"/>
                  </a:cubicBezTo>
                  <a:cubicBezTo>
                    <a:pt x="613" y="35"/>
                    <a:pt x="613" y="35"/>
                    <a:pt x="613" y="35"/>
                  </a:cubicBezTo>
                  <a:cubicBezTo>
                    <a:pt x="608" y="40"/>
                    <a:pt x="608" y="40"/>
                    <a:pt x="608" y="40"/>
                  </a:cubicBezTo>
                  <a:cubicBezTo>
                    <a:pt x="605" y="40"/>
                    <a:pt x="605" y="40"/>
                    <a:pt x="605" y="40"/>
                  </a:cubicBezTo>
                  <a:cubicBezTo>
                    <a:pt x="605" y="42"/>
                    <a:pt x="605" y="42"/>
                    <a:pt x="605" y="42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603" y="37"/>
                    <a:pt x="606" y="34"/>
                    <a:pt x="608" y="33"/>
                  </a:cubicBezTo>
                  <a:cubicBezTo>
                    <a:pt x="610" y="31"/>
                    <a:pt x="612" y="25"/>
                    <a:pt x="610" y="22"/>
                  </a:cubicBezTo>
                  <a:cubicBezTo>
                    <a:pt x="609" y="21"/>
                    <a:pt x="605" y="26"/>
                    <a:pt x="604" y="28"/>
                  </a:cubicBezTo>
                  <a:cubicBezTo>
                    <a:pt x="604" y="30"/>
                    <a:pt x="599" y="32"/>
                    <a:pt x="599" y="32"/>
                  </a:cubicBezTo>
                  <a:cubicBezTo>
                    <a:pt x="599" y="32"/>
                    <a:pt x="601" y="29"/>
                    <a:pt x="602" y="28"/>
                  </a:cubicBezTo>
                  <a:cubicBezTo>
                    <a:pt x="603" y="27"/>
                    <a:pt x="606" y="21"/>
                    <a:pt x="606" y="21"/>
                  </a:cubicBezTo>
                  <a:cubicBezTo>
                    <a:pt x="602" y="21"/>
                    <a:pt x="602" y="21"/>
                    <a:pt x="602" y="21"/>
                  </a:cubicBezTo>
                  <a:cubicBezTo>
                    <a:pt x="601" y="21"/>
                    <a:pt x="598" y="25"/>
                    <a:pt x="598" y="25"/>
                  </a:cubicBezTo>
                  <a:cubicBezTo>
                    <a:pt x="598" y="25"/>
                    <a:pt x="598" y="22"/>
                    <a:pt x="599" y="21"/>
                  </a:cubicBezTo>
                  <a:cubicBezTo>
                    <a:pt x="599" y="19"/>
                    <a:pt x="604" y="19"/>
                    <a:pt x="608" y="18"/>
                  </a:cubicBezTo>
                  <a:cubicBezTo>
                    <a:pt x="613" y="17"/>
                    <a:pt x="612" y="5"/>
                    <a:pt x="612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5"/>
                    <a:pt x="604" y="8"/>
                    <a:pt x="603" y="6"/>
                  </a:cubicBezTo>
                  <a:cubicBezTo>
                    <a:pt x="601" y="6"/>
                    <a:pt x="604" y="2"/>
                    <a:pt x="602" y="1"/>
                  </a:cubicBezTo>
                  <a:cubicBezTo>
                    <a:pt x="600" y="0"/>
                    <a:pt x="598" y="5"/>
                    <a:pt x="596" y="5"/>
                  </a:cubicBezTo>
                  <a:cubicBezTo>
                    <a:pt x="593" y="6"/>
                    <a:pt x="591" y="1"/>
                    <a:pt x="587" y="2"/>
                  </a:cubicBezTo>
                  <a:cubicBezTo>
                    <a:pt x="584" y="4"/>
                    <a:pt x="591" y="11"/>
                    <a:pt x="589" y="11"/>
                  </a:cubicBezTo>
                  <a:cubicBezTo>
                    <a:pt x="587" y="12"/>
                    <a:pt x="585" y="9"/>
                    <a:pt x="581" y="8"/>
                  </a:cubicBezTo>
                  <a:cubicBezTo>
                    <a:pt x="577" y="8"/>
                    <a:pt x="584" y="13"/>
                    <a:pt x="584" y="13"/>
                  </a:cubicBezTo>
                  <a:cubicBezTo>
                    <a:pt x="581" y="14"/>
                    <a:pt x="581" y="14"/>
                    <a:pt x="581" y="14"/>
                  </a:cubicBezTo>
                  <a:cubicBezTo>
                    <a:pt x="583" y="17"/>
                    <a:pt x="583" y="17"/>
                    <a:pt x="583" y="17"/>
                  </a:cubicBezTo>
                  <a:cubicBezTo>
                    <a:pt x="586" y="17"/>
                    <a:pt x="586" y="17"/>
                    <a:pt x="586" y="17"/>
                  </a:cubicBezTo>
                  <a:cubicBezTo>
                    <a:pt x="593" y="21"/>
                    <a:pt x="593" y="21"/>
                    <a:pt x="593" y="21"/>
                  </a:cubicBezTo>
                  <a:cubicBezTo>
                    <a:pt x="586" y="22"/>
                    <a:pt x="586" y="22"/>
                    <a:pt x="586" y="22"/>
                  </a:cubicBezTo>
                  <a:cubicBezTo>
                    <a:pt x="587" y="27"/>
                    <a:pt x="587" y="27"/>
                    <a:pt x="587" y="27"/>
                  </a:cubicBezTo>
                  <a:cubicBezTo>
                    <a:pt x="583" y="27"/>
                    <a:pt x="583" y="27"/>
                    <a:pt x="583" y="27"/>
                  </a:cubicBezTo>
                  <a:cubicBezTo>
                    <a:pt x="583" y="30"/>
                    <a:pt x="583" y="30"/>
                    <a:pt x="583" y="30"/>
                  </a:cubicBezTo>
                  <a:cubicBezTo>
                    <a:pt x="585" y="31"/>
                    <a:pt x="585" y="31"/>
                    <a:pt x="585" y="31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7" y="36"/>
                    <a:pt x="587" y="36"/>
                    <a:pt x="587" y="36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87" y="45"/>
                    <a:pt x="587" y="45"/>
                    <a:pt x="587" y="45"/>
                  </a:cubicBezTo>
                  <a:cubicBezTo>
                    <a:pt x="580" y="45"/>
                    <a:pt x="580" y="45"/>
                    <a:pt x="580" y="45"/>
                  </a:cubicBezTo>
                  <a:cubicBezTo>
                    <a:pt x="576" y="55"/>
                    <a:pt x="576" y="55"/>
                    <a:pt x="576" y="55"/>
                  </a:cubicBezTo>
                  <a:cubicBezTo>
                    <a:pt x="574" y="35"/>
                    <a:pt x="574" y="35"/>
                    <a:pt x="574" y="35"/>
                  </a:cubicBezTo>
                  <a:cubicBezTo>
                    <a:pt x="569" y="37"/>
                    <a:pt x="569" y="37"/>
                    <a:pt x="569" y="37"/>
                  </a:cubicBezTo>
                  <a:cubicBezTo>
                    <a:pt x="575" y="26"/>
                    <a:pt x="575" y="26"/>
                    <a:pt x="575" y="26"/>
                  </a:cubicBezTo>
                  <a:cubicBezTo>
                    <a:pt x="573" y="24"/>
                    <a:pt x="573" y="24"/>
                    <a:pt x="573" y="24"/>
                  </a:cubicBezTo>
                  <a:cubicBezTo>
                    <a:pt x="573" y="24"/>
                    <a:pt x="574" y="17"/>
                    <a:pt x="569" y="17"/>
                  </a:cubicBezTo>
                  <a:cubicBezTo>
                    <a:pt x="564" y="18"/>
                    <a:pt x="564" y="32"/>
                    <a:pt x="564" y="32"/>
                  </a:cubicBezTo>
                  <a:cubicBezTo>
                    <a:pt x="560" y="33"/>
                    <a:pt x="560" y="33"/>
                    <a:pt x="560" y="33"/>
                  </a:cubicBezTo>
                  <a:cubicBezTo>
                    <a:pt x="560" y="33"/>
                    <a:pt x="561" y="41"/>
                    <a:pt x="558" y="45"/>
                  </a:cubicBezTo>
                  <a:cubicBezTo>
                    <a:pt x="556" y="50"/>
                    <a:pt x="550" y="60"/>
                    <a:pt x="550" y="60"/>
                  </a:cubicBezTo>
                  <a:cubicBezTo>
                    <a:pt x="550" y="60"/>
                    <a:pt x="555" y="62"/>
                    <a:pt x="554" y="65"/>
                  </a:cubicBezTo>
                  <a:cubicBezTo>
                    <a:pt x="553" y="68"/>
                    <a:pt x="551" y="73"/>
                    <a:pt x="551" y="73"/>
                  </a:cubicBezTo>
                  <a:cubicBezTo>
                    <a:pt x="549" y="78"/>
                    <a:pt x="549" y="78"/>
                    <a:pt x="549" y="78"/>
                  </a:cubicBezTo>
                  <a:cubicBezTo>
                    <a:pt x="546" y="74"/>
                    <a:pt x="546" y="74"/>
                    <a:pt x="546" y="74"/>
                  </a:cubicBezTo>
                  <a:cubicBezTo>
                    <a:pt x="544" y="77"/>
                    <a:pt x="544" y="77"/>
                    <a:pt x="544" y="77"/>
                  </a:cubicBezTo>
                  <a:cubicBezTo>
                    <a:pt x="541" y="71"/>
                    <a:pt x="541" y="71"/>
                    <a:pt x="541" y="71"/>
                  </a:cubicBezTo>
                  <a:cubicBezTo>
                    <a:pt x="547" y="55"/>
                    <a:pt x="547" y="55"/>
                    <a:pt x="547" y="55"/>
                  </a:cubicBezTo>
                  <a:cubicBezTo>
                    <a:pt x="542" y="55"/>
                    <a:pt x="542" y="55"/>
                    <a:pt x="542" y="55"/>
                  </a:cubicBezTo>
                  <a:cubicBezTo>
                    <a:pt x="541" y="52"/>
                    <a:pt x="541" y="52"/>
                    <a:pt x="541" y="52"/>
                  </a:cubicBezTo>
                  <a:cubicBezTo>
                    <a:pt x="553" y="34"/>
                    <a:pt x="553" y="34"/>
                    <a:pt x="553" y="34"/>
                  </a:cubicBezTo>
                  <a:cubicBezTo>
                    <a:pt x="551" y="32"/>
                    <a:pt x="551" y="32"/>
                    <a:pt x="551" y="32"/>
                  </a:cubicBezTo>
                  <a:cubicBezTo>
                    <a:pt x="551" y="32"/>
                    <a:pt x="556" y="25"/>
                    <a:pt x="554" y="24"/>
                  </a:cubicBezTo>
                  <a:cubicBezTo>
                    <a:pt x="552" y="22"/>
                    <a:pt x="546" y="29"/>
                    <a:pt x="546" y="29"/>
                  </a:cubicBezTo>
                  <a:cubicBezTo>
                    <a:pt x="546" y="22"/>
                    <a:pt x="546" y="22"/>
                    <a:pt x="546" y="22"/>
                  </a:cubicBezTo>
                  <a:cubicBezTo>
                    <a:pt x="540" y="22"/>
                    <a:pt x="540" y="22"/>
                    <a:pt x="540" y="22"/>
                  </a:cubicBezTo>
                  <a:cubicBezTo>
                    <a:pt x="542" y="26"/>
                    <a:pt x="542" y="26"/>
                    <a:pt x="542" y="26"/>
                  </a:cubicBezTo>
                  <a:cubicBezTo>
                    <a:pt x="541" y="31"/>
                    <a:pt x="541" y="31"/>
                    <a:pt x="541" y="31"/>
                  </a:cubicBezTo>
                  <a:cubicBezTo>
                    <a:pt x="537" y="26"/>
                    <a:pt x="537" y="26"/>
                    <a:pt x="537" y="26"/>
                  </a:cubicBezTo>
                  <a:cubicBezTo>
                    <a:pt x="534" y="29"/>
                    <a:pt x="534" y="29"/>
                    <a:pt x="534" y="29"/>
                  </a:cubicBezTo>
                  <a:cubicBezTo>
                    <a:pt x="535" y="24"/>
                    <a:pt x="535" y="24"/>
                    <a:pt x="535" y="24"/>
                  </a:cubicBezTo>
                  <a:cubicBezTo>
                    <a:pt x="534" y="22"/>
                    <a:pt x="534" y="22"/>
                    <a:pt x="534" y="22"/>
                  </a:cubicBezTo>
                  <a:cubicBezTo>
                    <a:pt x="532" y="26"/>
                    <a:pt x="532" y="26"/>
                    <a:pt x="532" y="26"/>
                  </a:cubicBezTo>
                  <a:cubicBezTo>
                    <a:pt x="525" y="21"/>
                    <a:pt x="525" y="21"/>
                    <a:pt x="525" y="21"/>
                  </a:cubicBezTo>
                  <a:cubicBezTo>
                    <a:pt x="523" y="27"/>
                    <a:pt x="523" y="27"/>
                    <a:pt x="523" y="27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6" y="31"/>
                    <a:pt x="526" y="31"/>
                    <a:pt x="526" y="31"/>
                  </a:cubicBezTo>
                  <a:cubicBezTo>
                    <a:pt x="526" y="35"/>
                    <a:pt x="526" y="35"/>
                    <a:pt x="526" y="35"/>
                  </a:cubicBezTo>
                  <a:cubicBezTo>
                    <a:pt x="523" y="34"/>
                    <a:pt x="523" y="34"/>
                    <a:pt x="523" y="3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9"/>
                    <a:pt x="519" y="39"/>
                    <a:pt x="519" y="39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46"/>
                    <a:pt x="532" y="46"/>
                    <a:pt x="532" y="46"/>
                  </a:cubicBezTo>
                  <a:cubicBezTo>
                    <a:pt x="532" y="48"/>
                    <a:pt x="532" y="48"/>
                    <a:pt x="532" y="48"/>
                  </a:cubicBezTo>
                  <a:cubicBezTo>
                    <a:pt x="532" y="48"/>
                    <a:pt x="530" y="46"/>
                    <a:pt x="527" y="45"/>
                  </a:cubicBezTo>
                  <a:cubicBezTo>
                    <a:pt x="525" y="43"/>
                    <a:pt x="521" y="43"/>
                    <a:pt x="521" y="43"/>
                  </a:cubicBezTo>
                  <a:cubicBezTo>
                    <a:pt x="520" y="53"/>
                    <a:pt x="520" y="53"/>
                    <a:pt x="520" y="53"/>
                  </a:cubicBezTo>
                  <a:cubicBezTo>
                    <a:pt x="522" y="52"/>
                    <a:pt x="522" y="52"/>
                    <a:pt x="522" y="52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25" y="58"/>
                    <a:pt x="522" y="57"/>
                    <a:pt x="519" y="56"/>
                  </a:cubicBezTo>
                  <a:cubicBezTo>
                    <a:pt x="515" y="56"/>
                    <a:pt x="514" y="59"/>
                    <a:pt x="514" y="59"/>
                  </a:cubicBezTo>
                  <a:cubicBezTo>
                    <a:pt x="505" y="75"/>
                    <a:pt x="505" y="75"/>
                    <a:pt x="505" y="75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4" y="78"/>
                    <a:pt x="504" y="78"/>
                    <a:pt x="504" y="78"/>
                  </a:cubicBezTo>
                  <a:cubicBezTo>
                    <a:pt x="508" y="83"/>
                    <a:pt x="508" y="83"/>
                    <a:pt x="508" y="83"/>
                  </a:cubicBezTo>
                  <a:cubicBezTo>
                    <a:pt x="505" y="85"/>
                    <a:pt x="505" y="85"/>
                    <a:pt x="505" y="85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04" y="92"/>
                    <a:pt x="504" y="92"/>
                    <a:pt x="504" y="92"/>
                  </a:cubicBezTo>
                  <a:cubicBezTo>
                    <a:pt x="499" y="83"/>
                    <a:pt x="499" y="83"/>
                    <a:pt x="499" y="83"/>
                  </a:cubicBezTo>
                  <a:cubicBezTo>
                    <a:pt x="486" y="91"/>
                    <a:pt x="486" y="91"/>
                    <a:pt x="486" y="91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6" y="89"/>
                    <a:pt x="497" y="83"/>
                    <a:pt x="498" y="79"/>
                  </a:cubicBezTo>
                  <a:cubicBezTo>
                    <a:pt x="499" y="76"/>
                    <a:pt x="489" y="78"/>
                    <a:pt x="489" y="78"/>
                  </a:cubicBezTo>
                  <a:cubicBezTo>
                    <a:pt x="489" y="78"/>
                    <a:pt x="486" y="75"/>
                    <a:pt x="484" y="78"/>
                  </a:cubicBezTo>
                  <a:cubicBezTo>
                    <a:pt x="481" y="81"/>
                    <a:pt x="487" y="84"/>
                    <a:pt x="487" y="84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1" y="76"/>
                    <a:pt x="476" y="76"/>
                  </a:cubicBezTo>
                  <a:cubicBezTo>
                    <a:pt x="472" y="76"/>
                    <a:pt x="472" y="82"/>
                    <a:pt x="472" y="82"/>
                  </a:cubicBezTo>
                  <a:cubicBezTo>
                    <a:pt x="465" y="77"/>
                    <a:pt x="465" y="77"/>
                    <a:pt x="465" y="77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464" y="80"/>
                    <a:pt x="460" y="79"/>
                    <a:pt x="458" y="82"/>
                  </a:cubicBezTo>
                  <a:cubicBezTo>
                    <a:pt x="456" y="87"/>
                    <a:pt x="465" y="87"/>
                    <a:pt x="465" y="87"/>
                  </a:cubicBezTo>
                  <a:cubicBezTo>
                    <a:pt x="462" y="90"/>
                    <a:pt x="462" y="90"/>
                    <a:pt x="462" y="90"/>
                  </a:cubicBezTo>
                  <a:cubicBezTo>
                    <a:pt x="472" y="92"/>
                    <a:pt x="472" y="92"/>
                    <a:pt x="472" y="92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3" y="94"/>
                    <a:pt x="473" y="94"/>
                    <a:pt x="473" y="94"/>
                  </a:cubicBezTo>
                  <a:cubicBezTo>
                    <a:pt x="474" y="95"/>
                    <a:pt x="474" y="95"/>
                    <a:pt x="474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7"/>
                    <a:pt x="478" y="97"/>
                    <a:pt x="478" y="97"/>
                  </a:cubicBezTo>
                  <a:cubicBezTo>
                    <a:pt x="475" y="97"/>
                    <a:pt x="475" y="97"/>
                    <a:pt x="475" y="97"/>
                  </a:cubicBezTo>
                  <a:cubicBezTo>
                    <a:pt x="478" y="103"/>
                    <a:pt x="478" y="103"/>
                    <a:pt x="478" y="103"/>
                  </a:cubicBezTo>
                  <a:cubicBezTo>
                    <a:pt x="478" y="106"/>
                    <a:pt x="478" y="106"/>
                    <a:pt x="478" y="106"/>
                  </a:cubicBezTo>
                  <a:cubicBezTo>
                    <a:pt x="478" y="106"/>
                    <a:pt x="484" y="110"/>
                    <a:pt x="482" y="111"/>
                  </a:cubicBezTo>
                  <a:cubicBezTo>
                    <a:pt x="479" y="112"/>
                    <a:pt x="474" y="103"/>
                    <a:pt x="474" y="103"/>
                  </a:cubicBezTo>
                  <a:cubicBezTo>
                    <a:pt x="469" y="100"/>
                    <a:pt x="469" y="100"/>
                    <a:pt x="469" y="100"/>
                  </a:cubicBezTo>
                  <a:cubicBezTo>
                    <a:pt x="469" y="100"/>
                    <a:pt x="465" y="94"/>
                    <a:pt x="460" y="94"/>
                  </a:cubicBezTo>
                  <a:cubicBezTo>
                    <a:pt x="457" y="94"/>
                    <a:pt x="459" y="100"/>
                    <a:pt x="459" y="100"/>
                  </a:cubicBezTo>
                  <a:cubicBezTo>
                    <a:pt x="461" y="104"/>
                    <a:pt x="461" y="104"/>
                    <a:pt x="461" y="104"/>
                  </a:cubicBezTo>
                  <a:cubicBezTo>
                    <a:pt x="458" y="106"/>
                    <a:pt x="458" y="106"/>
                    <a:pt x="458" y="106"/>
                  </a:cubicBezTo>
                  <a:cubicBezTo>
                    <a:pt x="456" y="111"/>
                    <a:pt x="456" y="111"/>
                    <a:pt x="456" y="111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57" y="102"/>
                    <a:pt x="457" y="102"/>
                    <a:pt x="457" y="102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1" y="106"/>
                    <a:pt x="451" y="106"/>
                    <a:pt x="451" y="106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448" y="124"/>
                    <a:pt x="448" y="124"/>
                    <a:pt x="448" y="124"/>
                  </a:cubicBezTo>
                  <a:cubicBezTo>
                    <a:pt x="452" y="129"/>
                    <a:pt x="452" y="129"/>
                    <a:pt x="452" y="129"/>
                  </a:cubicBezTo>
                  <a:cubicBezTo>
                    <a:pt x="444" y="126"/>
                    <a:pt x="444" y="126"/>
                    <a:pt x="444" y="126"/>
                  </a:cubicBezTo>
                  <a:cubicBezTo>
                    <a:pt x="442" y="140"/>
                    <a:pt x="442" y="140"/>
                    <a:pt x="442" y="140"/>
                  </a:cubicBezTo>
                  <a:cubicBezTo>
                    <a:pt x="440" y="140"/>
                    <a:pt x="440" y="140"/>
                    <a:pt x="440" y="140"/>
                  </a:cubicBezTo>
                  <a:cubicBezTo>
                    <a:pt x="436" y="147"/>
                    <a:pt x="436" y="147"/>
                    <a:pt x="436" y="147"/>
                  </a:cubicBezTo>
                  <a:cubicBezTo>
                    <a:pt x="434" y="144"/>
                    <a:pt x="434" y="144"/>
                    <a:pt x="434" y="144"/>
                  </a:cubicBezTo>
                  <a:cubicBezTo>
                    <a:pt x="439" y="138"/>
                    <a:pt x="439" y="138"/>
                    <a:pt x="439" y="138"/>
                  </a:cubicBezTo>
                  <a:cubicBezTo>
                    <a:pt x="441" y="129"/>
                    <a:pt x="441" y="129"/>
                    <a:pt x="441" y="129"/>
                  </a:cubicBezTo>
                  <a:cubicBezTo>
                    <a:pt x="440" y="128"/>
                    <a:pt x="440" y="128"/>
                    <a:pt x="440" y="128"/>
                  </a:cubicBezTo>
                  <a:cubicBezTo>
                    <a:pt x="443" y="125"/>
                    <a:pt x="443" y="125"/>
                    <a:pt x="443" y="125"/>
                  </a:cubicBezTo>
                  <a:cubicBezTo>
                    <a:pt x="441" y="120"/>
                    <a:pt x="441" y="120"/>
                    <a:pt x="441" y="120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09"/>
                    <a:pt x="439" y="102"/>
                    <a:pt x="439" y="102"/>
                  </a:cubicBezTo>
                  <a:cubicBezTo>
                    <a:pt x="434" y="106"/>
                    <a:pt x="434" y="106"/>
                    <a:pt x="434" y="106"/>
                  </a:cubicBezTo>
                  <a:cubicBezTo>
                    <a:pt x="434" y="106"/>
                    <a:pt x="435" y="112"/>
                    <a:pt x="432" y="115"/>
                  </a:cubicBezTo>
                  <a:cubicBezTo>
                    <a:pt x="428" y="118"/>
                    <a:pt x="431" y="124"/>
                    <a:pt x="431" y="124"/>
                  </a:cubicBezTo>
                  <a:cubicBezTo>
                    <a:pt x="434" y="126"/>
                    <a:pt x="434" y="126"/>
                    <a:pt x="434" y="126"/>
                  </a:cubicBezTo>
                  <a:cubicBezTo>
                    <a:pt x="429" y="128"/>
                    <a:pt x="429" y="128"/>
                    <a:pt x="429" y="128"/>
                  </a:cubicBezTo>
                  <a:cubicBezTo>
                    <a:pt x="429" y="137"/>
                    <a:pt x="429" y="137"/>
                    <a:pt x="429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7" y="124"/>
                    <a:pt x="427" y="124"/>
                    <a:pt x="427" y="124"/>
                  </a:cubicBezTo>
                  <a:cubicBezTo>
                    <a:pt x="426" y="124"/>
                    <a:pt x="426" y="124"/>
                    <a:pt x="426" y="124"/>
                  </a:cubicBezTo>
                  <a:cubicBezTo>
                    <a:pt x="426" y="113"/>
                    <a:pt x="426" y="113"/>
                    <a:pt x="426" y="113"/>
                  </a:cubicBezTo>
                  <a:cubicBezTo>
                    <a:pt x="426" y="113"/>
                    <a:pt x="421" y="115"/>
                    <a:pt x="413" y="119"/>
                  </a:cubicBezTo>
                  <a:cubicBezTo>
                    <a:pt x="405" y="121"/>
                    <a:pt x="410" y="132"/>
                    <a:pt x="410" y="132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3" y="132"/>
                    <a:pt x="413" y="134"/>
                    <a:pt x="412" y="137"/>
                  </a:cubicBezTo>
                  <a:cubicBezTo>
                    <a:pt x="411" y="139"/>
                    <a:pt x="416" y="142"/>
                    <a:pt x="420" y="142"/>
                  </a:cubicBezTo>
                  <a:cubicBezTo>
                    <a:pt x="424" y="143"/>
                    <a:pt x="424" y="150"/>
                    <a:pt x="424" y="150"/>
                  </a:cubicBezTo>
                  <a:cubicBezTo>
                    <a:pt x="427" y="151"/>
                    <a:pt x="427" y="151"/>
                    <a:pt x="427" y="151"/>
                  </a:cubicBezTo>
                  <a:cubicBezTo>
                    <a:pt x="425" y="152"/>
                    <a:pt x="425" y="152"/>
                    <a:pt x="425" y="152"/>
                  </a:cubicBezTo>
                  <a:cubicBezTo>
                    <a:pt x="425" y="152"/>
                    <a:pt x="421" y="150"/>
                    <a:pt x="421" y="147"/>
                  </a:cubicBezTo>
                  <a:cubicBezTo>
                    <a:pt x="421" y="144"/>
                    <a:pt x="416" y="144"/>
                    <a:pt x="412" y="143"/>
                  </a:cubicBezTo>
                  <a:cubicBezTo>
                    <a:pt x="410" y="143"/>
                    <a:pt x="407" y="134"/>
                    <a:pt x="407" y="134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9" y="136"/>
                    <a:pt x="400" y="140"/>
                    <a:pt x="402" y="143"/>
                  </a:cubicBezTo>
                  <a:cubicBezTo>
                    <a:pt x="405" y="146"/>
                    <a:pt x="409" y="147"/>
                    <a:pt x="409" y="147"/>
                  </a:cubicBezTo>
                  <a:cubicBezTo>
                    <a:pt x="409" y="147"/>
                    <a:pt x="405" y="148"/>
                    <a:pt x="402" y="146"/>
                  </a:cubicBezTo>
                  <a:cubicBezTo>
                    <a:pt x="399" y="145"/>
                    <a:pt x="394" y="138"/>
                    <a:pt x="394" y="138"/>
                  </a:cubicBezTo>
                  <a:cubicBezTo>
                    <a:pt x="390" y="139"/>
                    <a:pt x="390" y="139"/>
                    <a:pt x="390" y="139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92" y="159"/>
                    <a:pt x="392" y="159"/>
                    <a:pt x="392" y="159"/>
                  </a:cubicBezTo>
                  <a:cubicBezTo>
                    <a:pt x="380" y="160"/>
                    <a:pt x="380" y="160"/>
                    <a:pt x="380" y="160"/>
                  </a:cubicBezTo>
                  <a:cubicBezTo>
                    <a:pt x="384" y="165"/>
                    <a:pt x="384" y="165"/>
                    <a:pt x="384" y="165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84" y="174"/>
                    <a:pt x="384" y="174"/>
                    <a:pt x="384" y="174"/>
                  </a:cubicBezTo>
                  <a:cubicBezTo>
                    <a:pt x="387" y="176"/>
                    <a:pt x="387" y="176"/>
                    <a:pt x="387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0" y="181"/>
                    <a:pt x="380" y="181"/>
                    <a:pt x="380" y="181"/>
                  </a:cubicBezTo>
                  <a:cubicBezTo>
                    <a:pt x="385" y="183"/>
                    <a:pt x="385" y="183"/>
                    <a:pt x="385" y="183"/>
                  </a:cubicBezTo>
                  <a:cubicBezTo>
                    <a:pt x="377" y="183"/>
                    <a:pt x="377" y="183"/>
                    <a:pt x="377" y="183"/>
                  </a:cubicBezTo>
                  <a:cubicBezTo>
                    <a:pt x="371" y="184"/>
                    <a:pt x="377" y="187"/>
                    <a:pt x="377" y="187"/>
                  </a:cubicBezTo>
                  <a:cubicBezTo>
                    <a:pt x="382" y="189"/>
                    <a:pt x="382" y="189"/>
                    <a:pt x="382" y="189"/>
                  </a:cubicBezTo>
                  <a:cubicBezTo>
                    <a:pt x="382" y="189"/>
                    <a:pt x="375" y="187"/>
                    <a:pt x="372" y="188"/>
                  </a:cubicBezTo>
                  <a:cubicBezTo>
                    <a:pt x="370" y="188"/>
                    <a:pt x="371" y="190"/>
                    <a:pt x="371" y="190"/>
                  </a:cubicBezTo>
                  <a:cubicBezTo>
                    <a:pt x="375" y="191"/>
                    <a:pt x="375" y="191"/>
                    <a:pt x="375" y="191"/>
                  </a:cubicBezTo>
                  <a:cubicBezTo>
                    <a:pt x="374" y="195"/>
                    <a:pt x="374" y="195"/>
                    <a:pt x="374" y="195"/>
                  </a:cubicBezTo>
                  <a:cubicBezTo>
                    <a:pt x="374" y="192"/>
                    <a:pt x="374" y="192"/>
                    <a:pt x="374" y="192"/>
                  </a:cubicBezTo>
                  <a:cubicBezTo>
                    <a:pt x="370" y="191"/>
                    <a:pt x="370" y="191"/>
                    <a:pt x="370" y="191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91"/>
                    <a:pt x="367" y="191"/>
                    <a:pt x="367" y="191"/>
                  </a:cubicBezTo>
                  <a:cubicBezTo>
                    <a:pt x="367" y="191"/>
                    <a:pt x="366" y="192"/>
                    <a:pt x="361" y="192"/>
                  </a:cubicBezTo>
                  <a:cubicBezTo>
                    <a:pt x="357" y="192"/>
                    <a:pt x="357" y="200"/>
                    <a:pt x="357" y="200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68" y="203"/>
                    <a:pt x="369" y="205"/>
                    <a:pt x="372" y="205"/>
                  </a:cubicBezTo>
                  <a:cubicBezTo>
                    <a:pt x="375" y="205"/>
                    <a:pt x="382" y="199"/>
                    <a:pt x="382" y="199"/>
                  </a:cubicBezTo>
                  <a:cubicBezTo>
                    <a:pt x="380" y="203"/>
                    <a:pt x="380" y="203"/>
                    <a:pt x="380" y="203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76" y="207"/>
                    <a:pt x="376" y="207"/>
                    <a:pt x="376" y="207"/>
                  </a:cubicBezTo>
                  <a:cubicBezTo>
                    <a:pt x="376" y="213"/>
                    <a:pt x="376" y="213"/>
                    <a:pt x="376" y="213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4" y="209"/>
                    <a:pt x="374" y="209"/>
                    <a:pt x="374" y="209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211"/>
                    <a:pt x="364" y="208"/>
                    <a:pt x="361" y="208"/>
                  </a:cubicBezTo>
                  <a:cubicBezTo>
                    <a:pt x="358" y="207"/>
                    <a:pt x="353" y="209"/>
                    <a:pt x="351" y="213"/>
                  </a:cubicBezTo>
                  <a:cubicBezTo>
                    <a:pt x="348" y="215"/>
                    <a:pt x="355" y="215"/>
                    <a:pt x="358" y="216"/>
                  </a:cubicBezTo>
                  <a:cubicBezTo>
                    <a:pt x="362" y="217"/>
                    <a:pt x="361" y="221"/>
                    <a:pt x="361" y="221"/>
                  </a:cubicBezTo>
                  <a:cubicBezTo>
                    <a:pt x="364" y="223"/>
                    <a:pt x="364" y="223"/>
                    <a:pt x="364" y="223"/>
                  </a:cubicBezTo>
                  <a:cubicBezTo>
                    <a:pt x="363" y="224"/>
                    <a:pt x="363" y="224"/>
                    <a:pt x="363" y="224"/>
                  </a:cubicBezTo>
                  <a:cubicBezTo>
                    <a:pt x="363" y="224"/>
                    <a:pt x="359" y="221"/>
                    <a:pt x="357" y="219"/>
                  </a:cubicBezTo>
                  <a:cubicBezTo>
                    <a:pt x="355" y="217"/>
                    <a:pt x="348" y="216"/>
                    <a:pt x="348" y="216"/>
                  </a:cubicBezTo>
                  <a:cubicBezTo>
                    <a:pt x="347" y="218"/>
                    <a:pt x="347" y="218"/>
                    <a:pt x="347" y="218"/>
                  </a:cubicBezTo>
                  <a:cubicBezTo>
                    <a:pt x="353" y="219"/>
                    <a:pt x="353" y="219"/>
                    <a:pt x="353" y="219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52" y="223"/>
                    <a:pt x="352" y="223"/>
                    <a:pt x="352" y="223"/>
                  </a:cubicBezTo>
                  <a:cubicBezTo>
                    <a:pt x="355" y="222"/>
                    <a:pt x="355" y="222"/>
                    <a:pt x="355" y="222"/>
                  </a:cubicBezTo>
                  <a:cubicBezTo>
                    <a:pt x="358" y="223"/>
                    <a:pt x="358" y="223"/>
                    <a:pt x="358" y="223"/>
                  </a:cubicBezTo>
                  <a:cubicBezTo>
                    <a:pt x="351" y="226"/>
                    <a:pt x="351" y="226"/>
                    <a:pt x="351" y="226"/>
                  </a:cubicBezTo>
                  <a:cubicBezTo>
                    <a:pt x="352" y="230"/>
                    <a:pt x="352" y="230"/>
                    <a:pt x="352" y="230"/>
                  </a:cubicBezTo>
                  <a:cubicBezTo>
                    <a:pt x="352" y="230"/>
                    <a:pt x="354" y="229"/>
                    <a:pt x="356" y="231"/>
                  </a:cubicBezTo>
                  <a:cubicBezTo>
                    <a:pt x="357" y="233"/>
                    <a:pt x="352" y="236"/>
                    <a:pt x="348" y="235"/>
                  </a:cubicBezTo>
                  <a:cubicBezTo>
                    <a:pt x="345" y="233"/>
                    <a:pt x="346" y="221"/>
                    <a:pt x="346" y="221"/>
                  </a:cubicBezTo>
                  <a:cubicBezTo>
                    <a:pt x="343" y="221"/>
                    <a:pt x="343" y="221"/>
                    <a:pt x="343" y="221"/>
                  </a:cubicBezTo>
                  <a:cubicBezTo>
                    <a:pt x="338" y="230"/>
                    <a:pt x="338" y="230"/>
                    <a:pt x="338" y="230"/>
                  </a:cubicBezTo>
                  <a:cubicBezTo>
                    <a:pt x="337" y="224"/>
                    <a:pt x="337" y="224"/>
                    <a:pt x="337" y="224"/>
                  </a:cubicBezTo>
                  <a:cubicBezTo>
                    <a:pt x="335" y="224"/>
                    <a:pt x="335" y="224"/>
                    <a:pt x="335" y="224"/>
                  </a:cubicBezTo>
                  <a:cubicBezTo>
                    <a:pt x="334" y="229"/>
                    <a:pt x="334" y="229"/>
                    <a:pt x="334" y="229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27" y="235"/>
                    <a:pt x="327" y="235"/>
                    <a:pt x="327" y="235"/>
                  </a:cubicBezTo>
                  <a:cubicBezTo>
                    <a:pt x="329" y="238"/>
                    <a:pt x="329" y="238"/>
                    <a:pt x="329" y="238"/>
                  </a:cubicBezTo>
                  <a:cubicBezTo>
                    <a:pt x="331" y="237"/>
                    <a:pt x="331" y="237"/>
                    <a:pt x="331" y="237"/>
                  </a:cubicBezTo>
                  <a:cubicBezTo>
                    <a:pt x="331" y="234"/>
                    <a:pt x="331" y="234"/>
                    <a:pt x="331" y="234"/>
                  </a:cubicBezTo>
                  <a:cubicBezTo>
                    <a:pt x="335" y="232"/>
                    <a:pt x="335" y="232"/>
                    <a:pt x="335" y="232"/>
                  </a:cubicBezTo>
                  <a:cubicBezTo>
                    <a:pt x="337" y="234"/>
                    <a:pt x="337" y="234"/>
                    <a:pt x="337" y="234"/>
                  </a:cubicBezTo>
                  <a:cubicBezTo>
                    <a:pt x="333" y="237"/>
                    <a:pt x="333" y="237"/>
                    <a:pt x="333" y="237"/>
                  </a:cubicBezTo>
                  <a:cubicBezTo>
                    <a:pt x="335" y="238"/>
                    <a:pt x="335" y="238"/>
                    <a:pt x="335" y="238"/>
                  </a:cubicBezTo>
                  <a:cubicBezTo>
                    <a:pt x="335" y="238"/>
                    <a:pt x="339" y="238"/>
                    <a:pt x="341" y="239"/>
                  </a:cubicBezTo>
                  <a:cubicBezTo>
                    <a:pt x="343" y="239"/>
                    <a:pt x="340" y="236"/>
                    <a:pt x="340" y="234"/>
                  </a:cubicBezTo>
                  <a:cubicBezTo>
                    <a:pt x="340" y="233"/>
                    <a:pt x="344" y="234"/>
                    <a:pt x="345" y="236"/>
                  </a:cubicBezTo>
                  <a:cubicBezTo>
                    <a:pt x="346" y="238"/>
                    <a:pt x="344" y="242"/>
                    <a:pt x="343" y="242"/>
                  </a:cubicBezTo>
                  <a:cubicBezTo>
                    <a:pt x="341" y="244"/>
                    <a:pt x="342" y="242"/>
                    <a:pt x="339" y="240"/>
                  </a:cubicBezTo>
                  <a:cubicBezTo>
                    <a:pt x="336" y="239"/>
                    <a:pt x="334" y="244"/>
                    <a:pt x="330" y="244"/>
                  </a:cubicBezTo>
                  <a:cubicBezTo>
                    <a:pt x="327" y="244"/>
                    <a:pt x="322" y="245"/>
                    <a:pt x="322" y="245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2" y="248"/>
                    <a:pt x="322" y="248"/>
                    <a:pt x="322" y="248"/>
                  </a:cubicBezTo>
                  <a:cubicBezTo>
                    <a:pt x="318" y="248"/>
                    <a:pt x="318" y="248"/>
                    <a:pt x="318" y="248"/>
                  </a:cubicBezTo>
                  <a:cubicBezTo>
                    <a:pt x="315" y="252"/>
                    <a:pt x="315" y="252"/>
                    <a:pt x="315" y="252"/>
                  </a:cubicBezTo>
                  <a:cubicBezTo>
                    <a:pt x="321" y="253"/>
                    <a:pt x="321" y="253"/>
                    <a:pt x="321" y="253"/>
                  </a:cubicBezTo>
                  <a:cubicBezTo>
                    <a:pt x="315" y="256"/>
                    <a:pt x="315" y="256"/>
                    <a:pt x="315" y="256"/>
                  </a:cubicBezTo>
                  <a:cubicBezTo>
                    <a:pt x="315" y="256"/>
                    <a:pt x="318" y="260"/>
                    <a:pt x="322" y="258"/>
                  </a:cubicBezTo>
                  <a:cubicBezTo>
                    <a:pt x="327" y="256"/>
                    <a:pt x="331" y="249"/>
                    <a:pt x="331" y="249"/>
                  </a:cubicBezTo>
                  <a:cubicBezTo>
                    <a:pt x="342" y="256"/>
                    <a:pt x="342" y="256"/>
                    <a:pt x="342" y="256"/>
                  </a:cubicBezTo>
                  <a:cubicBezTo>
                    <a:pt x="334" y="253"/>
                    <a:pt x="334" y="253"/>
                    <a:pt x="334" y="253"/>
                  </a:cubicBezTo>
                  <a:cubicBezTo>
                    <a:pt x="331" y="254"/>
                    <a:pt x="331" y="254"/>
                    <a:pt x="331" y="254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29" y="256"/>
                    <a:pt x="329" y="256"/>
                    <a:pt x="329" y="256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0" y="263"/>
                    <a:pt x="330" y="263"/>
                    <a:pt x="330" y="263"/>
                  </a:cubicBezTo>
                  <a:cubicBezTo>
                    <a:pt x="328" y="267"/>
                    <a:pt x="328" y="267"/>
                    <a:pt x="328" y="267"/>
                  </a:cubicBezTo>
                  <a:cubicBezTo>
                    <a:pt x="329" y="269"/>
                    <a:pt x="335" y="267"/>
                    <a:pt x="335" y="267"/>
                  </a:cubicBezTo>
                  <a:cubicBezTo>
                    <a:pt x="339" y="265"/>
                    <a:pt x="339" y="265"/>
                    <a:pt x="339" y="265"/>
                  </a:cubicBezTo>
                  <a:cubicBezTo>
                    <a:pt x="336" y="274"/>
                    <a:pt x="336" y="274"/>
                    <a:pt x="336" y="274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7" y="278"/>
                    <a:pt x="337" y="278"/>
                    <a:pt x="337" y="278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1"/>
                    <a:pt x="339" y="281"/>
                    <a:pt x="337" y="280"/>
                  </a:cubicBezTo>
                  <a:cubicBezTo>
                    <a:pt x="335" y="280"/>
                    <a:pt x="333" y="271"/>
                    <a:pt x="331" y="270"/>
                  </a:cubicBezTo>
                  <a:cubicBezTo>
                    <a:pt x="329" y="270"/>
                    <a:pt x="327" y="271"/>
                    <a:pt x="327" y="271"/>
                  </a:cubicBezTo>
                  <a:cubicBezTo>
                    <a:pt x="327" y="271"/>
                    <a:pt x="325" y="267"/>
                    <a:pt x="322" y="266"/>
                  </a:cubicBezTo>
                  <a:cubicBezTo>
                    <a:pt x="319" y="266"/>
                    <a:pt x="313" y="273"/>
                    <a:pt x="313" y="273"/>
                  </a:cubicBezTo>
                  <a:cubicBezTo>
                    <a:pt x="321" y="274"/>
                    <a:pt x="321" y="274"/>
                    <a:pt x="321" y="274"/>
                  </a:cubicBezTo>
                  <a:cubicBezTo>
                    <a:pt x="321" y="274"/>
                    <a:pt x="318" y="276"/>
                    <a:pt x="314" y="276"/>
                  </a:cubicBezTo>
                  <a:cubicBezTo>
                    <a:pt x="312" y="276"/>
                    <a:pt x="313" y="279"/>
                    <a:pt x="312" y="281"/>
                  </a:cubicBezTo>
                  <a:cubicBezTo>
                    <a:pt x="310" y="283"/>
                    <a:pt x="306" y="285"/>
                    <a:pt x="306" y="285"/>
                  </a:cubicBezTo>
                  <a:cubicBezTo>
                    <a:pt x="317" y="285"/>
                    <a:pt x="317" y="285"/>
                    <a:pt x="317" y="285"/>
                  </a:cubicBezTo>
                  <a:cubicBezTo>
                    <a:pt x="322" y="285"/>
                    <a:pt x="327" y="282"/>
                    <a:pt x="327" y="282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35" y="285"/>
                    <a:pt x="335" y="285"/>
                    <a:pt x="335" y="285"/>
                  </a:cubicBezTo>
                  <a:cubicBezTo>
                    <a:pt x="334" y="295"/>
                    <a:pt x="334" y="295"/>
                    <a:pt x="334" y="295"/>
                  </a:cubicBezTo>
                  <a:cubicBezTo>
                    <a:pt x="331" y="290"/>
                    <a:pt x="331" y="290"/>
                    <a:pt x="331" y="290"/>
                  </a:cubicBezTo>
                  <a:cubicBezTo>
                    <a:pt x="323" y="287"/>
                    <a:pt x="323" y="287"/>
                    <a:pt x="323" y="287"/>
                  </a:cubicBezTo>
                  <a:cubicBezTo>
                    <a:pt x="318" y="294"/>
                    <a:pt x="318" y="294"/>
                    <a:pt x="318" y="294"/>
                  </a:cubicBezTo>
                  <a:cubicBezTo>
                    <a:pt x="321" y="287"/>
                    <a:pt x="321" y="287"/>
                    <a:pt x="321" y="287"/>
                  </a:cubicBezTo>
                  <a:cubicBezTo>
                    <a:pt x="308" y="288"/>
                    <a:pt x="308" y="288"/>
                    <a:pt x="308" y="288"/>
                  </a:cubicBezTo>
                  <a:cubicBezTo>
                    <a:pt x="303" y="302"/>
                    <a:pt x="303" y="302"/>
                    <a:pt x="303" y="302"/>
                  </a:cubicBezTo>
                  <a:cubicBezTo>
                    <a:pt x="297" y="301"/>
                    <a:pt x="297" y="301"/>
                    <a:pt x="297" y="301"/>
                  </a:cubicBezTo>
                  <a:cubicBezTo>
                    <a:pt x="296" y="304"/>
                    <a:pt x="296" y="304"/>
                    <a:pt x="296" y="304"/>
                  </a:cubicBezTo>
                  <a:cubicBezTo>
                    <a:pt x="296" y="304"/>
                    <a:pt x="295" y="303"/>
                    <a:pt x="290" y="305"/>
                  </a:cubicBezTo>
                  <a:cubicBezTo>
                    <a:pt x="284" y="308"/>
                    <a:pt x="284" y="311"/>
                    <a:pt x="284" y="311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286" y="316"/>
                    <a:pt x="286" y="316"/>
                    <a:pt x="286" y="316"/>
                  </a:cubicBezTo>
                  <a:cubicBezTo>
                    <a:pt x="281" y="317"/>
                    <a:pt x="281" y="317"/>
                    <a:pt x="281" y="317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79" y="321"/>
                    <a:pt x="279" y="321"/>
                    <a:pt x="279" y="321"/>
                  </a:cubicBezTo>
                  <a:cubicBezTo>
                    <a:pt x="276" y="321"/>
                    <a:pt x="276" y="321"/>
                    <a:pt x="276" y="321"/>
                  </a:cubicBezTo>
                  <a:cubicBezTo>
                    <a:pt x="282" y="327"/>
                    <a:pt x="282" y="327"/>
                    <a:pt x="282" y="327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75" y="331"/>
                    <a:pt x="275" y="331"/>
                    <a:pt x="275" y="331"/>
                  </a:cubicBezTo>
                  <a:cubicBezTo>
                    <a:pt x="277" y="333"/>
                    <a:pt x="277" y="333"/>
                    <a:pt x="277" y="333"/>
                  </a:cubicBezTo>
                  <a:cubicBezTo>
                    <a:pt x="281" y="332"/>
                    <a:pt x="281" y="332"/>
                    <a:pt x="281" y="332"/>
                  </a:cubicBezTo>
                  <a:cubicBezTo>
                    <a:pt x="287" y="335"/>
                    <a:pt x="287" y="335"/>
                    <a:pt x="287" y="335"/>
                  </a:cubicBezTo>
                  <a:cubicBezTo>
                    <a:pt x="287" y="335"/>
                    <a:pt x="282" y="334"/>
                    <a:pt x="279" y="335"/>
                  </a:cubicBezTo>
                  <a:cubicBezTo>
                    <a:pt x="276" y="336"/>
                    <a:pt x="278" y="339"/>
                    <a:pt x="278" y="339"/>
                  </a:cubicBezTo>
                  <a:cubicBezTo>
                    <a:pt x="275" y="339"/>
                    <a:pt x="275" y="339"/>
                    <a:pt x="275" y="339"/>
                  </a:cubicBezTo>
                  <a:cubicBezTo>
                    <a:pt x="275" y="335"/>
                    <a:pt x="275" y="335"/>
                    <a:pt x="275" y="335"/>
                  </a:cubicBezTo>
                  <a:cubicBezTo>
                    <a:pt x="271" y="334"/>
                    <a:pt x="271" y="334"/>
                    <a:pt x="271" y="334"/>
                  </a:cubicBezTo>
                  <a:cubicBezTo>
                    <a:pt x="270" y="336"/>
                    <a:pt x="270" y="336"/>
                    <a:pt x="270" y="336"/>
                  </a:cubicBezTo>
                  <a:cubicBezTo>
                    <a:pt x="273" y="340"/>
                    <a:pt x="273" y="340"/>
                    <a:pt x="273" y="340"/>
                  </a:cubicBezTo>
                  <a:cubicBezTo>
                    <a:pt x="273" y="340"/>
                    <a:pt x="270" y="346"/>
                    <a:pt x="272" y="348"/>
                  </a:cubicBezTo>
                  <a:cubicBezTo>
                    <a:pt x="275" y="350"/>
                    <a:pt x="284" y="347"/>
                    <a:pt x="284" y="348"/>
                  </a:cubicBezTo>
                  <a:cubicBezTo>
                    <a:pt x="284" y="349"/>
                    <a:pt x="275" y="350"/>
                    <a:pt x="275" y="350"/>
                  </a:cubicBezTo>
                  <a:cubicBezTo>
                    <a:pt x="271" y="356"/>
                    <a:pt x="271" y="356"/>
                    <a:pt x="271" y="35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85" y="351"/>
                    <a:pt x="285" y="351"/>
                    <a:pt x="285" y="351"/>
                  </a:cubicBezTo>
                  <a:cubicBezTo>
                    <a:pt x="287" y="351"/>
                    <a:pt x="287" y="351"/>
                    <a:pt x="287" y="351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0" y="353"/>
                    <a:pt x="290" y="353"/>
                    <a:pt x="290" y="353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285" y="360"/>
                    <a:pt x="285" y="360"/>
                    <a:pt x="285" y="360"/>
                  </a:cubicBezTo>
                  <a:cubicBezTo>
                    <a:pt x="285" y="360"/>
                    <a:pt x="286" y="355"/>
                    <a:pt x="285" y="353"/>
                  </a:cubicBezTo>
                  <a:cubicBezTo>
                    <a:pt x="282" y="351"/>
                    <a:pt x="277" y="356"/>
                    <a:pt x="275" y="357"/>
                  </a:cubicBezTo>
                  <a:cubicBezTo>
                    <a:pt x="273" y="359"/>
                    <a:pt x="263" y="360"/>
                    <a:pt x="262" y="363"/>
                  </a:cubicBezTo>
                  <a:cubicBezTo>
                    <a:pt x="260" y="366"/>
                    <a:pt x="269" y="364"/>
                    <a:pt x="269" y="364"/>
                  </a:cubicBezTo>
                  <a:cubicBezTo>
                    <a:pt x="268" y="371"/>
                    <a:pt x="268" y="371"/>
                    <a:pt x="268" y="371"/>
                  </a:cubicBezTo>
                  <a:cubicBezTo>
                    <a:pt x="274" y="375"/>
                    <a:pt x="274" y="375"/>
                    <a:pt x="274" y="375"/>
                  </a:cubicBezTo>
                  <a:cubicBezTo>
                    <a:pt x="274" y="375"/>
                    <a:pt x="262" y="372"/>
                    <a:pt x="261" y="375"/>
                  </a:cubicBezTo>
                  <a:cubicBezTo>
                    <a:pt x="259" y="378"/>
                    <a:pt x="261" y="381"/>
                    <a:pt x="261" y="381"/>
                  </a:cubicBezTo>
                  <a:cubicBezTo>
                    <a:pt x="259" y="381"/>
                    <a:pt x="259" y="381"/>
                    <a:pt x="259" y="381"/>
                  </a:cubicBezTo>
                  <a:cubicBezTo>
                    <a:pt x="257" y="383"/>
                    <a:pt x="257" y="383"/>
                    <a:pt x="257" y="383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7"/>
                    <a:pt x="256" y="386"/>
                    <a:pt x="253" y="389"/>
                  </a:cubicBezTo>
                  <a:cubicBezTo>
                    <a:pt x="249" y="391"/>
                    <a:pt x="254" y="398"/>
                    <a:pt x="254" y="398"/>
                  </a:cubicBezTo>
                  <a:cubicBezTo>
                    <a:pt x="258" y="399"/>
                    <a:pt x="258" y="399"/>
                    <a:pt x="258" y="399"/>
                  </a:cubicBezTo>
                  <a:cubicBezTo>
                    <a:pt x="259" y="405"/>
                    <a:pt x="259" y="405"/>
                    <a:pt x="259" y="405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49" y="396"/>
                    <a:pt x="249" y="396"/>
                    <a:pt x="249" y="396"/>
                  </a:cubicBezTo>
                  <a:cubicBezTo>
                    <a:pt x="247" y="404"/>
                    <a:pt x="247" y="404"/>
                    <a:pt x="247" y="404"/>
                  </a:cubicBezTo>
                  <a:cubicBezTo>
                    <a:pt x="252" y="404"/>
                    <a:pt x="252" y="404"/>
                    <a:pt x="252" y="404"/>
                  </a:cubicBezTo>
                  <a:cubicBezTo>
                    <a:pt x="252" y="404"/>
                    <a:pt x="248" y="406"/>
                    <a:pt x="246" y="409"/>
                  </a:cubicBezTo>
                  <a:cubicBezTo>
                    <a:pt x="244" y="411"/>
                    <a:pt x="246" y="416"/>
                    <a:pt x="246" y="416"/>
                  </a:cubicBezTo>
                  <a:cubicBezTo>
                    <a:pt x="241" y="418"/>
                    <a:pt x="241" y="418"/>
                    <a:pt x="241" y="418"/>
                  </a:cubicBezTo>
                  <a:cubicBezTo>
                    <a:pt x="243" y="420"/>
                    <a:pt x="243" y="420"/>
                    <a:pt x="243" y="420"/>
                  </a:cubicBezTo>
                  <a:cubicBezTo>
                    <a:pt x="248" y="416"/>
                    <a:pt x="248" y="416"/>
                    <a:pt x="248" y="416"/>
                  </a:cubicBezTo>
                  <a:cubicBezTo>
                    <a:pt x="248" y="413"/>
                    <a:pt x="248" y="413"/>
                    <a:pt x="248" y="413"/>
                  </a:cubicBezTo>
                  <a:cubicBezTo>
                    <a:pt x="253" y="411"/>
                    <a:pt x="253" y="411"/>
                    <a:pt x="253" y="411"/>
                  </a:cubicBezTo>
                  <a:cubicBezTo>
                    <a:pt x="249" y="415"/>
                    <a:pt x="249" y="415"/>
                    <a:pt x="249" y="415"/>
                  </a:cubicBezTo>
                  <a:cubicBezTo>
                    <a:pt x="254" y="419"/>
                    <a:pt x="254" y="419"/>
                    <a:pt x="254" y="419"/>
                  </a:cubicBezTo>
                  <a:cubicBezTo>
                    <a:pt x="253" y="423"/>
                    <a:pt x="253" y="423"/>
                    <a:pt x="253" y="423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1" y="414"/>
                    <a:pt x="271" y="414"/>
                    <a:pt x="271" y="414"/>
                  </a:cubicBezTo>
                  <a:cubicBezTo>
                    <a:pt x="256" y="427"/>
                    <a:pt x="256" y="427"/>
                    <a:pt x="256" y="427"/>
                  </a:cubicBezTo>
                  <a:cubicBezTo>
                    <a:pt x="252" y="428"/>
                    <a:pt x="252" y="428"/>
                    <a:pt x="252" y="428"/>
                  </a:cubicBezTo>
                  <a:cubicBezTo>
                    <a:pt x="249" y="421"/>
                    <a:pt x="249" y="421"/>
                    <a:pt x="249" y="421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43" y="424"/>
                    <a:pt x="243" y="424"/>
                    <a:pt x="243" y="424"/>
                  </a:cubicBezTo>
                  <a:cubicBezTo>
                    <a:pt x="243" y="424"/>
                    <a:pt x="239" y="424"/>
                    <a:pt x="239" y="426"/>
                  </a:cubicBezTo>
                  <a:cubicBezTo>
                    <a:pt x="239" y="427"/>
                    <a:pt x="235" y="435"/>
                    <a:pt x="231" y="435"/>
                  </a:cubicBezTo>
                  <a:cubicBezTo>
                    <a:pt x="228" y="436"/>
                    <a:pt x="222" y="440"/>
                    <a:pt x="222" y="440"/>
                  </a:cubicBezTo>
                  <a:cubicBezTo>
                    <a:pt x="224" y="442"/>
                    <a:pt x="224" y="442"/>
                    <a:pt x="224" y="442"/>
                  </a:cubicBezTo>
                  <a:cubicBezTo>
                    <a:pt x="224" y="442"/>
                    <a:pt x="216" y="446"/>
                    <a:pt x="221" y="450"/>
                  </a:cubicBezTo>
                  <a:cubicBezTo>
                    <a:pt x="224" y="452"/>
                    <a:pt x="231" y="441"/>
                    <a:pt x="231" y="441"/>
                  </a:cubicBezTo>
                  <a:cubicBezTo>
                    <a:pt x="242" y="436"/>
                    <a:pt x="242" y="436"/>
                    <a:pt x="242" y="436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8" y="446"/>
                    <a:pt x="232" y="447"/>
                    <a:pt x="228" y="450"/>
                  </a:cubicBezTo>
                  <a:cubicBezTo>
                    <a:pt x="223" y="452"/>
                    <a:pt x="226" y="457"/>
                    <a:pt x="226" y="457"/>
                  </a:cubicBezTo>
                  <a:cubicBezTo>
                    <a:pt x="223" y="458"/>
                    <a:pt x="223" y="458"/>
                    <a:pt x="223" y="458"/>
                  </a:cubicBezTo>
                  <a:cubicBezTo>
                    <a:pt x="219" y="455"/>
                    <a:pt x="219" y="455"/>
                    <a:pt x="219" y="455"/>
                  </a:cubicBezTo>
                  <a:cubicBezTo>
                    <a:pt x="215" y="457"/>
                    <a:pt x="215" y="457"/>
                    <a:pt x="215" y="457"/>
                  </a:cubicBezTo>
                  <a:cubicBezTo>
                    <a:pt x="215" y="457"/>
                    <a:pt x="219" y="463"/>
                    <a:pt x="221" y="465"/>
                  </a:cubicBezTo>
                  <a:cubicBezTo>
                    <a:pt x="222" y="467"/>
                    <a:pt x="231" y="459"/>
                    <a:pt x="231" y="459"/>
                  </a:cubicBezTo>
                  <a:cubicBezTo>
                    <a:pt x="226" y="468"/>
                    <a:pt x="226" y="468"/>
                    <a:pt x="226" y="468"/>
                  </a:cubicBezTo>
                  <a:cubicBezTo>
                    <a:pt x="221" y="471"/>
                    <a:pt x="221" y="471"/>
                    <a:pt x="221" y="471"/>
                  </a:cubicBezTo>
                  <a:cubicBezTo>
                    <a:pt x="213" y="459"/>
                    <a:pt x="213" y="459"/>
                    <a:pt x="213" y="459"/>
                  </a:cubicBezTo>
                  <a:cubicBezTo>
                    <a:pt x="204" y="467"/>
                    <a:pt x="204" y="467"/>
                    <a:pt x="204" y="467"/>
                  </a:cubicBezTo>
                  <a:cubicBezTo>
                    <a:pt x="207" y="470"/>
                    <a:pt x="207" y="470"/>
                    <a:pt x="207" y="470"/>
                  </a:cubicBezTo>
                  <a:cubicBezTo>
                    <a:pt x="200" y="468"/>
                    <a:pt x="200" y="468"/>
                    <a:pt x="200" y="468"/>
                  </a:cubicBezTo>
                  <a:cubicBezTo>
                    <a:pt x="198" y="471"/>
                    <a:pt x="198" y="471"/>
                    <a:pt x="198" y="471"/>
                  </a:cubicBezTo>
                  <a:cubicBezTo>
                    <a:pt x="203" y="474"/>
                    <a:pt x="203" y="474"/>
                    <a:pt x="203" y="474"/>
                  </a:cubicBezTo>
                  <a:cubicBezTo>
                    <a:pt x="198" y="475"/>
                    <a:pt x="198" y="475"/>
                    <a:pt x="198" y="475"/>
                  </a:cubicBezTo>
                  <a:cubicBezTo>
                    <a:pt x="198" y="475"/>
                    <a:pt x="189" y="485"/>
                    <a:pt x="188" y="486"/>
                  </a:cubicBezTo>
                  <a:cubicBezTo>
                    <a:pt x="188" y="487"/>
                    <a:pt x="191" y="490"/>
                    <a:pt x="191" y="490"/>
                  </a:cubicBezTo>
                  <a:cubicBezTo>
                    <a:pt x="184" y="489"/>
                    <a:pt x="184" y="489"/>
                    <a:pt x="184" y="489"/>
                  </a:cubicBezTo>
                  <a:cubicBezTo>
                    <a:pt x="182" y="498"/>
                    <a:pt x="182" y="498"/>
                    <a:pt x="182" y="498"/>
                  </a:cubicBezTo>
                  <a:cubicBezTo>
                    <a:pt x="182" y="498"/>
                    <a:pt x="188" y="498"/>
                    <a:pt x="188" y="500"/>
                  </a:cubicBezTo>
                  <a:cubicBezTo>
                    <a:pt x="188" y="502"/>
                    <a:pt x="179" y="504"/>
                    <a:pt x="174" y="505"/>
                  </a:cubicBezTo>
                  <a:cubicBezTo>
                    <a:pt x="169" y="507"/>
                    <a:pt x="169" y="517"/>
                    <a:pt x="169" y="517"/>
                  </a:cubicBezTo>
                  <a:cubicBezTo>
                    <a:pt x="169" y="517"/>
                    <a:pt x="184" y="509"/>
                    <a:pt x="183" y="514"/>
                  </a:cubicBezTo>
                  <a:cubicBezTo>
                    <a:pt x="183" y="518"/>
                    <a:pt x="176" y="517"/>
                    <a:pt x="176" y="517"/>
                  </a:cubicBezTo>
                  <a:cubicBezTo>
                    <a:pt x="177" y="520"/>
                    <a:pt x="177" y="520"/>
                    <a:pt x="177" y="520"/>
                  </a:cubicBezTo>
                  <a:cubicBezTo>
                    <a:pt x="182" y="522"/>
                    <a:pt x="182" y="522"/>
                    <a:pt x="182" y="52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181" y="529"/>
                    <a:pt x="181" y="529"/>
                    <a:pt x="181" y="529"/>
                  </a:cubicBezTo>
                  <a:cubicBezTo>
                    <a:pt x="198" y="520"/>
                    <a:pt x="198" y="520"/>
                    <a:pt x="198" y="520"/>
                  </a:cubicBezTo>
                  <a:cubicBezTo>
                    <a:pt x="198" y="520"/>
                    <a:pt x="202" y="517"/>
                    <a:pt x="203" y="516"/>
                  </a:cubicBezTo>
                  <a:cubicBezTo>
                    <a:pt x="205" y="515"/>
                    <a:pt x="206" y="513"/>
                    <a:pt x="209" y="512"/>
                  </a:cubicBezTo>
                  <a:cubicBezTo>
                    <a:pt x="211" y="512"/>
                    <a:pt x="213" y="508"/>
                    <a:pt x="213" y="505"/>
                  </a:cubicBezTo>
                  <a:cubicBezTo>
                    <a:pt x="213" y="502"/>
                    <a:pt x="202" y="507"/>
                    <a:pt x="202" y="507"/>
                  </a:cubicBezTo>
                  <a:cubicBezTo>
                    <a:pt x="202" y="507"/>
                    <a:pt x="209" y="502"/>
                    <a:pt x="212" y="500"/>
                  </a:cubicBezTo>
                  <a:cubicBezTo>
                    <a:pt x="214" y="499"/>
                    <a:pt x="215" y="494"/>
                    <a:pt x="221" y="494"/>
                  </a:cubicBezTo>
                  <a:cubicBezTo>
                    <a:pt x="225" y="494"/>
                    <a:pt x="226" y="498"/>
                    <a:pt x="226" y="498"/>
                  </a:cubicBezTo>
                  <a:cubicBezTo>
                    <a:pt x="215" y="503"/>
                    <a:pt x="215" y="503"/>
                    <a:pt x="215" y="503"/>
                  </a:cubicBezTo>
                  <a:cubicBezTo>
                    <a:pt x="214" y="506"/>
                    <a:pt x="214" y="506"/>
                    <a:pt x="214" y="506"/>
                  </a:cubicBezTo>
                  <a:cubicBezTo>
                    <a:pt x="214" y="506"/>
                    <a:pt x="223" y="506"/>
                    <a:pt x="224" y="509"/>
                  </a:cubicBezTo>
                  <a:cubicBezTo>
                    <a:pt x="224" y="513"/>
                    <a:pt x="214" y="515"/>
                    <a:pt x="211" y="516"/>
                  </a:cubicBezTo>
                  <a:cubicBezTo>
                    <a:pt x="208" y="516"/>
                    <a:pt x="203" y="521"/>
                    <a:pt x="202" y="524"/>
                  </a:cubicBezTo>
                  <a:cubicBezTo>
                    <a:pt x="202" y="528"/>
                    <a:pt x="206" y="522"/>
                    <a:pt x="208" y="523"/>
                  </a:cubicBezTo>
                  <a:cubicBezTo>
                    <a:pt x="209" y="525"/>
                    <a:pt x="206" y="526"/>
                    <a:pt x="205" y="528"/>
                  </a:cubicBezTo>
                  <a:cubicBezTo>
                    <a:pt x="203" y="530"/>
                    <a:pt x="208" y="531"/>
                    <a:pt x="208" y="531"/>
                  </a:cubicBezTo>
                  <a:cubicBezTo>
                    <a:pt x="205" y="533"/>
                    <a:pt x="205" y="533"/>
                    <a:pt x="205" y="533"/>
                  </a:cubicBezTo>
                  <a:cubicBezTo>
                    <a:pt x="205" y="533"/>
                    <a:pt x="194" y="530"/>
                    <a:pt x="188" y="532"/>
                  </a:cubicBezTo>
                  <a:cubicBezTo>
                    <a:pt x="181" y="534"/>
                    <a:pt x="187" y="539"/>
                    <a:pt x="187" y="539"/>
                  </a:cubicBezTo>
                  <a:cubicBezTo>
                    <a:pt x="180" y="538"/>
                    <a:pt x="180" y="538"/>
                    <a:pt x="180" y="538"/>
                  </a:cubicBezTo>
                  <a:cubicBezTo>
                    <a:pt x="175" y="540"/>
                    <a:pt x="175" y="540"/>
                    <a:pt x="175" y="540"/>
                  </a:cubicBezTo>
                  <a:cubicBezTo>
                    <a:pt x="180" y="532"/>
                    <a:pt x="180" y="532"/>
                    <a:pt x="180" y="532"/>
                  </a:cubicBezTo>
                  <a:cubicBezTo>
                    <a:pt x="175" y="518"/>
                    <a:pt x="175" y="518"/>
                    <a:pt x="175" y="518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6" y="523"/>
                    <a:pt x="166" y="523"/>
                    <a:pt x="166" y="523"/>
                  </a:cubicBezTo>
                  <a:cubicBezTo>
                    <a:pt x="158" y="526"/>
                    <a:pt x="158" y="526"/>
                    <a:pt x="158" y="526"/>
                  </a:cubicBezTo>
                  <a:cubicBezTo>
                    <a:pt x="157" y="530"/>
                    <a:pt x="157" y="530"/>
                    <a:pt x="157" y="530"/>
                  </a:cubicBezTo>
                  <a:cubicBezTo>
                    <a:pt x="164" y="531"/>
                    <a:pt x="164" y="531"/>
                    <a:pt x="164" y="531"/>
                  </a:cubicBezTo>
                  <a:cubicBezTo>
                    <a:pt x="157" y="532"/>
                    <a:pt x="157" y="532"/>
                    <a:pt x="157" y="532"/>
                  </a:cubicBezTo>
                  <a:cubicBezTo>
                    <a:pt x="156" y="536"/>
                    <a:pt x="156" y="536"/>
                    <a:pt x="156" y="536"/>
                  </a:cubicBezTo>
                  <a:cubicBezTo>
                    <a:pt x="162" y="537"/>
                    <a:pt x="162" y="537"/>
                    <a:pt x="162" y="537"/>
                  </a:cubicBezTo>
                  <a:cubicBezTo>
                    <a:pt x="150" y="539"/>
                    <a:pt x="150" y="539"/>
                    <a:pt x="150" y="539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47" y="534"/>
                    <a:pt x="147" y="534"/>
                    <a:pt x="147" y="534"/>
                  </a:cubicBezTo>
                  <a:cubicBezTo>
                    <a:pt x="145" y="532"/>
                    <a:pt x="145" y="532"/>
                    <a:pt x="145" y="532"/>
                  </a:cubicBezTo>
                  <a:cubicBezTo>
                    <a:pt x="141" y="534"/>
                    <a:pt x="141" y="534"/>
                    <a:pt x="141" y="534"/>
                  </a:cubicBezTo>
                  <a:cubicBezTo>
                    <a:pt x="145" y="538"/>
                    <a:pt x="145" y="538"/>
                    <a:pt x="145" y="538"/>
                  </a:cubicBezTo>
                  <a:cubicBezTo>
                    <a:pt x="138" y="538"/>
                    <a:pt x="138" y="538"/>
                    <a:pt x="138" y="538"/>
                  </a:cubicBezTo>
                  <a:cubicBezTo>
                    <a:pt x="134" y="541"/>
                    <a:pt x="134" y="541"/>
                    <a:pt x="134" y="541"/>
                  </a:cubicBezTo>
                  <a:cubicBezTo>
                    <a:pt x="139" y="547"/>
                    <a:pt x="139" y="547"/>
                    <a:pt x="139" y="547"/>
                  </a:cubicBezTo>
                  <a:cubicBezTo>
                    <a:pt x="143" y="548"/>
                    <a:pt x="143" y="548"/>
                    <a:pt x="143" y="548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5" y="552"/>
                    <a:pt x="135" y="552"/>
                    <a:pt x="135" y="552"/>
                  </a:cubicBezTo>
                  <a:cubicBezTo>
                    <a:pt x="126" y="551"/>
                    <a:pt x="126" y="551"/>
                    <a:pt x="126" y="551"/>
                  </a:cubicBezTo>
                  <a:cubicBezTo>
                    <a:pt x="126" y="555"/>
                    <a:pt x="126" y="555"/>
                    <a:pt x="126" y="555"/>
                  </a:cubicBezTo>
                  <a:cubicBezTo>
                    <a:pt x="132" y="563"/>
                    <a:pt x="132" y="563"/>
                    <a:pt x="132" y="563"/>
                  </a:cubicBezTo>
                  <a:cubicBezTo>
                    <a:pt x="138" y="561"/>
                    <a:pt x="138" y="561"/>
                    <a:pt x="138" y="561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2" y="566"/>
                    <a:pt x="132" y="566"/>
                    <a:pt x="132" y="566"/>
                  </a:cubicBezTo>
                  <a:cubicBezTo>
                    <a:pt x="137" y="568"/>
                    <a:pt x="137" y="568"/>
                    <a:pt x="137" y="568"/>
                  </a:cubicBezTo>
                  <a:cubicBezTo>
                    <a:pt x="135" y="569"/>
                    <a:pt x="135" y="569"/>
                    <a:pt x="135" y="569"/>
                  </a:cubicBezTo>
                  <a:cubicBezTo>
                    <a:pt x="130" y="567"/>
                    <a:pt x="130" y="567"/>
                    <a:pt x="130" y="567"/>
                  </a:cubicBezTo>
                  <a:cubicBezTo>
                    <a:pt x="129" y="561"/>
                    <a:pt x="129" y="561"/>
                    <a:pt x="129" y="561"/>
                  </a:cubicBezTo>
                  <a:cubicBezTo>
                    <a:pt x="123" y="552"/>
                    <a:pt x="123" y="552"/>
                    <a:pt x="123" y="552"/>
                  </a:cubicBezTo>
                  <a:cubicBezTo>
                    <a:pt x="114" y="557"/>
                    <a:pt x="114" y="557"/>
                    <a:pt x="114" y="557"/>
                  </a:cubicBezTo>
                  <a:cubicBezTo>
                    <a:pt x="116" y="558"/>
                    <a:pt x="116" y="558"/>
                    <a:pt x="116" y="558"/>
                  </a:cubicBezTo>
                  <a:cubicBezTo>
                    <a:pt x="118" y="558"/>
                    <a:pt x="118" y="558"/>
                    <a:pt x="118" y="558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32" y="577"/>
                    <a:pt x="132" y="577"/>
                    <a:pt x="132" y="577"/>
                  </a:cubicBezTo>
                  <a:cubicBezTo>
                    <a:pt x="133" y="579"/>
                    <a:pt x="133" y="579"/>
                    <a:pt x="133" y="579"/>
                  </a:cubicBezTo>
                  <a:cubicBezTo>
                    <a:pt x="122" y="571"/>
                    <a:pt x="122" y="571"/>
                    <a:pt x="122" y="571"/>
                  </a:cubicBezTo>
                  <a:cubicBezTo>
                    <a:pt x="122" y="562"/>
                    <a:pt x="122" y="562"/>
                    <a:pt x="122" y="562"/>
                  </a:cubicBezTo>
                  <a:cubicBezTo>
                    <a:pt x="113" y="562"/>
                    <a:pt x="113" y="562"/>
                    <a:pt x="113" y="562"/>
                  </a:cubicBezTo>
                  <a:cubicBezTo>
                    <a:pt x="111" y="565"/>
                    <a:pt x="111" y="565"/>
                    <a:pt x="111" y="565"/>
                  </a:cubicBezTo>
                  <a:cubicBezTo>
                    <a:pt x="112" y="560"/>
                    <a:pt x="112" y="560"/>
                    <a:pt x="112" y="560"/>
                  </a:cubicBezTo>
                  <a:cubicBezTo>
                    <a:pt x="108" y="560"/>
                    <a:pt x="108" y="560"/>
                    <a:pt x="108" y="560"/>
                  </a:cubicBezTo>
                  <a:cubicBezTo>
                    <a:pt x="107" y="563"/>
                    <a:pt x="107" y="563"/>
                    <a:pt x="107" y="563"/>
                  </a:cubicBezTo>
                  <a:cubicBezTo>
                    <a:pt x="101" y="564"/>
                    <a:pt x="101" y="564"/>
                    <a:pt x="101" y="564"/>
                  </a:cubicBezTo>
                  <a:cubicBezTo>
                    <a:pt x="96" y="557"/>
                    <a:pt x="96" y="557"/>
                    <a:pt x="96" y="557"/>
                  </a:cubicBezTo>
                  <a:cubicBezTo>
                    <a:pt x="96" y="557"/>
                    <a:pt x="92" y="557"/>
                    <a:pt x="85" y="562"/>
                  </a:cubicBezTo>
                  <a:cubicBezTo>
                    <a:pt x="80" y="567"/>
                    <a:pt x="93" y="567"/>
                    <a:pt x="94" y="569"/>
                  </a:cubicBezTo>
                  <a:cubicBezTo>
                    <a:pt x="94" y="571"/>
                    <a:pt x="91" y="570"/>
                    <a:pt x="88" y="570"/>
                  </a:cubicBezTo>
                  <a:cubicBezTo>
                    <a:pt x="83" y="571"/>
                    <a:pt x="87" y="577"/>
                    <a:pt x="87" y="577"/>
                  </a:cubicBezTo>
                  <a:cubicBezTo>
                    <a:pt x="87" y="577"/>
                    <a:pt x="104" y="571"/>
                    <a:pt x="105" y="573"/>
                  </a:cubicBezTo>
                  <a:cubicBezTo>
                    <a:pt x="106" y="575"/>
                    <a:pt x="99" y="575"/>
                    <a:pt x="99" y="575"/>
                  </a:cubicBezTo>
                  <a:cubicBezTo>
                    <a:pt x="99" y="578"/>
                    <a:pt x="99" y="578"/>
                    <a:pt x="99" y="578"/>
                  </a:cubicBezTo>
                  <a:cubicBezTo>
                    <a:pt x="99" y="578"/>
                    <a:pt x="108" y="575"/>
                    <a:pt x="113" y="573"/>
                  </a:cubicBezTo>
                  <a:cubicBezTo>
                    <a:pt x="118" y="573"/>
                    <a:pt x="122" y="579"/>
                    <a:pt x="122" y="579"/>
                  </a:cubicBezTo>
                  <a:cubicBezTo>
                    <a:pt x="122" y="579"/>
                    <a:pt x="117" y="576"/>
                    <a:pt x="114" y="575"/>
                  </a:cubicBezTo>
                  <a:cubicBezTo>
                    <a:pt x="112" y="575"/>
                    <a:pt x="104" y="578"/>
                    <a:pt x="104" y="578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2" y="581"/>
                    <a:pt x="102" y="581"/>
                    <a:pt x="102" y="581"/>
                  </a:cubicBezTo>
                  <a:cubicBezTo>
                    <a:pt x="100" y="582"/>
                    <a:pt x="100" y="582"/>
                    <a:pt x="100" y="582"/>
                  </a:cubicBezTo>
                  <a:cubicBezTo>
                    <a:pt x="102" y="586"/>
                    <a:pt x="102" y="586"/>
                    <a:pt x="102" y="586"/>
                  </a:cubicBezTo>
                  <a:cubicBezTo>
                    <a:pt x="108" y="586"/>
                    <a:pt x="108" y="586"/>
                    <a:pt x="108" y="586"/>
                  </a:cubicBezTo>
                  <a:cubicBezTo>
                    <a:pt x="104" y="591"/>
                    <a:pt x="104" y="591"/>
                    <a:pt x="104" y="591"/>
                  </a:cubicBezTo>
                  <a:cubicBezTo>
                    <a:pt x="96" y="584"/>
                    <a:pt x="96" y="584"/>
                    <a:pt x="96" y="584"/>
                  </a:cubicBezTo>
                  <a:cubicBezTo>
                    <a:pt x="92" y="582"/>
                    <a:pt x="92" y="582"/>
                    <a:pt x="92" y="582"/>
                  </a:cubicBezTo>
                  <a:cubicBezTo>
                    <a:pt x="92" y="585"/>
                    <a:pt x="92" y="585"/>
                    <a:pt x="92" y="585"/>
                  </a:cubicBezTo>
                  <a:cubicBezTo>
                    <a:pt x="92" y="585"/>
                    <a:pt x="90" y="581"/>
                    <a:pt x="87" y="580"/>
                  </a:cubicBezTo>
                  <a:cubicBezTo>
                    <a:pt x="83" y="579"/>
                    <a:pt x="83" y="583"/>
                    <a:pt x="83" y="583"/>
                  </a:cubicBezTo>
                  <a:cubicBezTo>
                    <a:pt x="83" y="583"/>
                    <a:pt x="81" y="581"/>
                    <a:pt x="80" y="580"/>
                  </a:cubicBezTo>
                  <a:cubicBezTo>
                    <a:pt x="78" y="580"/>
                    <a:pt x="74" y="583"/>
                    <a:pt x="74" y="583"/>
                  </a:cubicBezTo>
                  <a:cubicBezTo>
                    <a:pt x="74" y="583"/>
                    <a:pt x="72" y="582"/>
                    <a:pt x="69" y="581"/>
                  </a:cubicBezTo>
                  <a:cubicBezTo>
                    <a:pt x="66" y="581"/>
                    <a:pt x="65" y="584"/>
                    <a:pt x="63" y="587"/>
                  </a:cubicBezTo>
                  <a:cubicBezTo>
                    <a:pt x="62" y="589"/>
                    <a:pt x="74" y="586"/>
                    <a:pt x="74" y="586"/>
                  </a:cubicBezTo>
                  <a:cubicBezTo>
                    <a:pt x="74" y="586"/>
                    <a:pt x="82" y="592"/>
                    <a:pt x="84" y="594"/>
                  </a:cubicBezTo>
                  <a:cubicBezTo>
                    <a:pt x="85" y="595"/>
                    <a:pt x="84" y="600"/>
                    <a:pt x="84" y="600"/>
                  </a:cubicBezTo>
                  <a:cubicBezTo>
                    <a:pt x="87" y="603"/>
                    <a:pt x="87" y="603"/>
                    <a:pt x="87" y="603"/>
                  </a:cubicBezTo>
                  <a:cubicBezTo>
                    <a:pt x="92" y="604"/>
                    <a:pt x="92" y="604"/>
                    <a:pt x="92" y="604"/>
                  </a:cubicBezTo>
                  <a:cubicBezTo>
                    <a:pt x="94" y="603"/>
                    <a:pt x="94" y="603"/>
                    <a:pt x="94" y="603"/>
                  </a:cubicBezTo>
                  <a:cubicBezTo>
                    <a:pt x="93" y="605"/>
                    <a:pt x="93" y="605"/>
                    <a:pt x="93" y="605"/>
                  </a:cubicBezTo>
                  <a:cubicBezTo>
                    <a:pt x="85" y="605"/>
                    <a:pt x="85" y="605"/>
                    <a:pt x="85" y="605"/>
                  </a:cubicBezTo>
                  <a:cubicBezTo>
                    <a:pt x="87" y="608"/>
                    <a:pt x="87" y="608"/>
                    <a:pt x="87" y="608"/>
                  </a:cubicBezTo>
                  <a:cubicBezTo>
                    <a:pt x="83" y="614"/>
                    <a:pt x="83" y="614"/>
                    <a:pt x="83" y="614"/>
                  </a:cubicBezTo>
                  <a:cubicBezTo>
                    <a:pt x="85" y="616"/>
                    <a:pt x="85" y="616"/>
                    <a:pt x="85" y="616"/>
                  </a:cubicBezTo>
                  <a:cubicBezTo>
                    <a:pt x="80" y="615"/>
                    <a:pt x="80" y="615"/>
                    <a:pt x="80" y="615"/>
                  </a:cubicBezTo>
                  <a:cubicBezTo>
                    <a:pt x="84" y="607"/>
                    <a:pt x="84" y="607"/>
                    <a:pt x="84" y="607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82" y="594"/>
                    <a:pt x="82" y="594"/>
                    <a:pt x="82" y="594"/>
                  </a:cubicBezTo>
                  <a:cubicBezTo>
                    <a:pt x="73" y="593"/>
                    <a:pt x="73" y="593"/>
                    <a:pt x="73" y="593"/>
                  </a:cubicBezTo>
                  <a:cubicBezTo>
                    <a:pt x="73" y="597"/>
                    <a:pt x="73" y="597"/>
                    <a:pt x="73" y="597"/>
                  </a:cubicBezTo>
                  <a:cubicBezTo>
                    <a:pt x="69" y="595"/>
                    <a:pt x="69" y="595"/>
                    <a:pt x="69" y="595"/>
                  </a:cubicBezTo>
                  <a:cubicBezTo>
                    <a:pt x="66" y="595"/>
                    <a:pt x="66" y="595"/>
                    <a:pt x="66" y="595"/>
                  </a:cubicBezTo>
                  <a:cubicBezTo>
                    <a:pt x="72" y="611"/>
                    <a:pt x="72" y="611"/>
                    <a:pt x="72" y="611"/>
                  </a:cubicBezTo>
                  <a:cubicBezTo>
                    <a:pt x="71" y="613"/>
                    <a:pt x="71" y="613"/>
                    <a:pt x="71" y="613"/>
                  </a:cubicBezTo>
                  <a:cubicBezTo>
                    <a:pt x="68" y="607"/>
                    <a:pt x="68" y="607"/>
                    <a:pt x="68" y="607"/>
                  </a:cubicBezTo>
                  <a:cubicBezTo>
                    <a:pt x="65" y="602"/>
                    <a:pt x="65" y="602"/>
                    <a:pt x="65" y="602"/>
                  </a:cubicBezTo>
                  <a:cubicBezTo>
                    <a:pt x="65" y="602"/>
                    <a:pt x="66" y="598"/>
                    <a:pt x="63" y="597"/>
                  </a:cubicBezTo>
                  <a:cubicBezTo>
                    <a:pt x="61" y="596"/>
                    <a:pt x="52" y="603"/>
                    <a:pt x="52" y="603"/>
                  </a:cubicBezTo>
                  <a:cubicBezTo>
                    <a:pt x="56" y="607"/>
                    <a:pt x="56" y="607"/>
                    <a:pt x="56" y="607"/>
                  </a:cubicBezTo>
                  <a:cubicBezTo>
                    <a:pt x="50" y="607"/>
                    <a:pt x="50" y="607"/>
                    <a:pt x="50" y="607"/>
                  </a:cubicBezTo>
                  <a:cubicBezTo>
                    <a:pt x="50" y="607"/>
                    <a:pt x="52" y="608"/>
                    <a:pt x="55" y="610"/>
                  </a:cubicBezTo>
                  <a:cubicBezTo>
                    <a:pt x="57" y="613"/>
                    <a:pt x="61" y="616"/>
                    <a:pt x="61" y="616"/>
                  </a:cubicBezTo>
                  <a:cubicBezTo>
                    <a:pt x="55" y="615"/>
                    <a:pt x="55" y="615"/>
                    <a:pt x="55" y="615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8" y="617"/>
                    <a:pt x="48" y="617"/>
                    <a:pt x="48" y="617"/>
                  </a:cubicBezTo>
                  <a:cubicBezTo>
                    <a:pt x="51" y="610"/>
                    <a:pt x="51" y="610"/>
                    <a:pt x="51" y="610"/>
                  </a:cubicBezTo>
                  <a:cubicBezTo>
                    <a:pt x="51" y="610"/>
                    <a:pt x="50" y="608"/>
                    <a:pt x="46" y="608"/>
                  </a:cubicBezTo>
                  <a:cubicBezTo>
                    <a:pt x="42" y="608"/>
                    <a:pt x="43" y="612"/>
                    <a:pt x="43" y="612"/>
                  </a:cubicBezTo>
                  <a:cubicBezTo>
                    <a:pt x="43" y="612"/>
                    <a:pt x="40" y="608"/>
                    <a:pt x="38" y="608"/>
                  </a:cubicBezTo>
                  <a:cubicBezTo>
                    <a:pt x="34" y="608"/>
                    <a:pt x="33" y="612"/>
                    <a:pt x="33" y="612"/>
                  </a:cubicBezTo>
                  <a:cubicBezTo>
                    <a:pt x="39" y="615"/>
                    <a:pt x="39" y="615"/>
                    <a:pt x="39" y="615"/>
                  </a:cubicBezTo>
                  <a:cubicBezTo>
                    <a:pt x="38" y="616"/>
                    <a:pt x="38" y="616"/>
                    <a:pt x="38" y="616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32" y="609"/>
                    <a:pt x="32" y="609"/>
                    <a:pt x="32" y="609"/>
                  </a:cubicBezTo>
                  <a:cubicBezTo>
                    <a:pt x="28" y="605"/>
                    <a:pt x="28" y="605"/>
                    <a:pt x="28" y="605"/>
                  </a:cubicBezTo>
                  <a:cubicBezTo>
                    <a:pt x="25" y="609"/>
                    <a:pt x="25" y="609"/>
                    <a:pt x="25" y="609"/>
                  </a:cubicBezTo>
                  <a:cubicBezTo>
                    <a:pt x="26" y="611"/>
                    <a:pt x="26" y="611"/>
                    <a:pt x="26" y="611"/>
                  </a:cubicBezTo>
                  <a:cubicBezTo>
                    <a:pt x="26" y="611"/>
                    <a:pt x="32" y="616"/>
                    <a:pt x="32" y="618"/>
                  </a:cubicBezTo>
                  <a:cubicBezTo>
                    <a:pt x="31" y="621"/>
                    <a:pt x="25" y="620"/>
                    <a:pt x="25" y="624"/>
                  </a:cubicBezTo>
                  <a:cubicBezTo>
                    <a:pt x="25" y="627"/>
                    <a:pt x="34" y="623"/>
                    <a:pt x="34" y="623"/>
                  </a:cubicBezTo>
                  <a:cubicBezTo>
                    <a:pt x="50" y="627"/>
                    <a:pt x="50" y="627"/>
                    <a:pt x="50" y="627"/>
                  </a:cubicBezTo>
                  <a:cubicBezTo>
                    <a:pt x="49" y="628"/>
                    <a:pt x="49" y="628"/>
                    <a:pt x="49" y="628"/>
                  </a:cubicBezTo>
                  <a:cubicBezTo>
                    <a:pt x="64" y="632"/>
                    <a:pt x="64" y="632"/>
                    <a:pt x="64" y="632"/>
                  </a:cubicBezTo>
                  <a:cubicBezTo>
                    <a:pt x="71" y="629"/>
                    <a:pt x="71" y="629"/>
                    <a:pt x="71" y="629"/>
                  </a:cubicBezTo>
                  <a:cubicBezTo>
                    <a:pt x="78" y="631"/>
                    <a:pt x="78" y="631"/>
                    <a:pt x="78" y="631"/>
                  </a:cubicBezTo>
                  <a:cubicBezTo>
                    <a:pt x="78" y="632"/>
                    <a:pt x="78" y="632"/>
                    <a:pt x="78" y="632"/>
                  </a:cubicBezTo>
                  <a:cubicBezTo>
                    <a:pt x="72" y="631"/>
                    <a:pt x="72" y="631"/>
                    <a:pt x="72" y="631"/>
                  </a:cubicBezTo>
                  <a:cubicBezTo>
                    <a:pt x="65" y="633"/>
                    <a:pt x="65" y="633"/>
                    <a:pt x="65" y="633"/>
                  </a:cubicBezTo>
                  <a:cubicBezTo>
                    <a:pt x="56" y="631"/>
                    <a:pt x="56" y="631"/>
                    <a:pt x="56" y="631"/>
                  </a:cubicBezTo>
                  <a:cubicBezTo>
                    <a:pt x="55" y="633"/>
                    <a:pt x="55" y="633"/>
                    <a:pt x="55" y="633"/>
                  </a:cubicBezTo>
                  <a:cubicBezTo>
                    <a:pt x="55" y="633"/>
                    <a:pt x="42" y="626"/>
                    <a:pt x="35" y="626"/>
                  </a:cubicBezTo>
                  <a:cubicBezTo>
                    <a:pt x="28" y="626"/>
                    <a:pt x="29" y="629"/>
                    <a:pt x="29" y="629"/>
                  </a:cubicBezTo>
                  <a:cubicBezTo>
                    <a:pt x="29" y="629"/>
                    <a:pt x="28" y="629"/>
                    <a:pt x="25" y="631"/>
                  </a:cubicBezTo>
                  <a:cubicBezTo>
                    <a:pt x="23" y="632"/>
                    <a:pt x="25" y="635"/>
                    <a:pt x="25" y="635"/>
                  </a:cubicBezTo>
                  <a:cubicBezTo>
                    <a:pt x="25" y="635"/>
                    <a:pt x="19" y="634"/>
                    <a:pt x="17" y="638"/>
                  </a:cubicBezTo>
                  <a:cubicBezTo>
                    <a:pt x="16" y="641"/>
                    <a:pt x="19" y="642"/>
                    <a:pt x="19" y="642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2" y="646"/>
                    <a:pt x="32" y="646"/>
                    <a:pt x="32" y="646"/>
                  </a:cubicBezTo>
                  <a:cubicBezTo>
                    <a:pt x="26" y="644"/>
                    <a:pt x="26" y="644"/>
                    <a:pt x="26" y="644"/>
                  </a:cubicBezTo>
                  <a:cubicBezTo>
                    <a:pt x="24" y="646"/>
                    <a:pt x="24" y="646"/>
                    <a:pt x="24" y="646"/>
                  </a:cubicBezTo>
                  <a:cubicBezTo>
                    <a:pt x="28" y="648"/>
                    <a:pt x="28" y="648"/>
                    <a:pt x="28" y="648"/>
                  </a:cubicBezTo>
                  <a:cubicBezTo>
                    <a:pt x="23" y="648"/>
                    <a:pt x="23" y="648"/>
                    <a:pt x="23" y="648"/>
                  </a:cubicBezTo>
                  <a:cubicBezTo>
                    <a:pt x="23" y="650"/>
                    <a:pt x="23" y="650"/>
                    <a:pt x="23" y="650"/>
                  </a:cubicBezTo>
                  <a:cubicBezTo>
                    <a:pt x="32" y="652"/>
                    <a:pt x="32" y="652"/>
                    <a:pt x="32" y="652"/>
                  </a:cubicBezTo>
                  <a:cubicBezTo>
                    <a:pt x="17" y="655"/>
                    <a:pt x="17" y="655"/>
                    <a:pt x="17" y="655"/>
                  </a:cubicBezTo>
                  <a:cubicBezTo>
                    <a:pt x="17" y="657"/>
                    <a:pt x="17" y="657"/>
                    <a:pt x="17" y="657"/>
                  </a:cubicBezTo>
                  <a:cubicBezTo>
                    <a:pt x="20" y="657"/>
                    <a:pt x="20" y="657"/>
                    <a:pt x="20" y="657"/>
                  </a:cubicBezTo>
                  <a:cubicBezTo>
                    <a:pt x="20" y="660"/>
                    <a:pt x="20" y="660"/>
                    <a:pt x="20" y="660"/>
                  </a:cubicBezTo>
                  <a:cubicBezTo>
                    <a:pt x="30" y="660"/>
                    <a:pt x="30" y="660"/>
                    <a:pt x="30" y="660"/>
                  </a:cubicBezTo>
                  <a:cubicBezTo>
                    <a:pt x="17" y="663"/>
                    <a:pt x="17" y="663"/>
                    <a:pt x="17" y="663"/>
                  </a:cubicBezTo>
                  <a:cubicBezTo>
                    <a:pt x="15" y="667"/>
                    <a:pt x="15" y="667"/>
                    <a:pt x="15" y="667"/>
                  </a:cubicBezTo>
                  <a:cubicBezTo>
                    <a:pt x="22" y="670"/>
                    <a:pt x="22" y="670"/>
                    <a:pt x="22" y="670"/>
                  </a:cubicBezTo>
                  <a:cubicBezTo>
                    <a:pt x="18" y="670"/>
                    <a:pt x="18" y="670"/>
                    <a:pt x="18" y="670"/>
                  </a:cubicBezTo>
                  <a:cubicBezTo>
                    <a:pt x="23" y="675"/>
                    <a:pt x="23" y="675"/>
                    <a:pt x="23" y="675"/>
                  </a:cubicBezTo>
                  <a:cubicBezTo>
                    <a:pt x="26" y="675"/>
                    <a:pt x="26" y="675"/>
                    <a:pt x="26" y="675"/>
                  </a:cubicBezTo>
                  <a:cubicBezTo>
                    <a:pt x="28" y="677"/>
                    <a:pt x="28" y="677"/>
                    <a:pt x="28" y="677"/>
                  </a:cubicBezTo>
                  <a:cubicBezTo>
                    <a:pt x="48" y="672"/>
                    <a:pt x="48" y="672"/>
                    <a:pt x="48" y="672"/>
                  </a:cubicBezTo>
                  <a:cubicBezTo>
                    <a:pt x="46" y="675"/>
                    <a:pt x="46" y="675"/>
                    <a:pt x="46" y="675"/>
                  </a:cubicBezTo>
                  <a:cubicBezTo>
                    <a:pt x="55" y="674"/>
                    <a:pt x="55" y="674"/>
                    <a:pt x="55" y="674"/>
                  </a:cubicBezTo>
                  <a:cubicBezTo>
                    <a:pt x="55" y="674"/>
                    <a:pt x="56" y="677"/>
                    <a:pt x="61" y="677"/>
                  </a:cubicBezTo>
                  <a:cubicBezTo>
                    <a:pt x="65" y="677"/>
                    <a:pt x="63" y="668"/>
                    <a:pt x="63" y="668"/>
                  </a:cubicBezTo>
                  <a:cubicBezTo>
                    <a:pt x="66" y="667"/>
                    <a:pt x="66" y="667"/>
                    <a:pt x="66" y="667"/>
                  </a:cubicBezTo>
                  <a:cubicBezTo>
                    <a:pt x="71" y="661"/>
                    <a:pt x="71" y="661"/>
                    <a:pt x="71" y="661"/>
                  </a:cubicBezTo>
                  <a:cubicBezTo>
                    <a:pt x="72" y="662"/>
                    <a:pt x="72" y="662"/>
                    <a:pt x="72" y="662"/>
                  </a:cubicBezTo>
                  <a:cubicBezTo>
                    <a:pt x="67" y="670"/>
                    <a:pt x="67" y="670"/>
                    <a:pt x="67" y="670"/>
                  </a:cubicBezTo>
                  <a:cubicBezTo>
                    <a:pt x="69" y="674"/>
                    <a:pt x="69" y="674"/>
                    <a:pt x="69" y="674"/>
                  </a:cubicBezTo>
                  <a:cubicBezTo>
                    <a:pt x="79" y="675"/>
                    <a:pt x="79" y="675"/>
                    <a:pt x="79" y="675"/>
                  </a:cubicBezTo>
                  <a:cubicBezTo>
                    <a:pt x="83" y="671"/>
                    <a:pt x="83" y="671"/>
                    <a:pt x="83" y="671"/>
                  </a:cubicBezTo>
                  <a:cubicBezTo>
                    <a:pt x="83" y="675"/>
                    <a:pt x="83" y="675"/>
                    <a:pt x="83" y="675"/>
                  </a:cubicBezTo>
                  <a:cubicBezTo>
                    <a:pt x="76" y="677"/>
                    <a:pt x="76" y="677"/>
                    <a:pt x="76" y="677"/>
                  </a:cubicBezTo>
                  <a:cubicBezTo>
                    <a:pt x="78" y="679"/>
                    <a:pt x="78" y="679"/>
                    <a:pt x="78" y="679"/>
                  </a:cubicBezTo>
                  <a:cubicBezTo>
                    <a:pt x="90" y="675"/>
                    <a:pt x="90" y="675"/>
                    <a:pt x="90" y="675"/>
                  </a:cubicBezTo>
                  <a:cubicBezTo>
                    <a:pt x="89" y="668"/>
                    <a:pt x="89" y="668"/>
                    <a:pt x="89" y="668"/>
                  </a:cubicBezTo>
                  <a:cubicBezTo>
                    <a:pt x="89" y="668"/>
                    <a:pt x="91" y="664"/>
                    <a:pt x="93" y="661"/>
                  </a:cubicBezTo>
                  <a:cubicBezTo>
                    <a:pt x="94" y="659"/>
                    <a:pt x="98" y="656"/>
                    <a:pt x="98" y="656"/>
                  </a:cubicBezTo>
                  <a:cubicBezTo>
                    <a:pt x="99" y="658"/>
                    <a:pt x="99" y="658"/>
                    <a:pt x="99" y="658"/>
                  </a:cubicBezTo>
                  <a:cubicBezTo>
                    <a:pt x="99" y="658"/>
                    <a:pt x="97" y="660"/>
                    <a:pt x="95" y="662"/>
                  </a:cubicBezTo>
                  <a:cubicBezTo>
                    <a:pt x="93" y="663"/>
                    <a:pt x="90" y="668"/>
                    <a:pt x="90" y="668"/>
                  </a:cubicBezTo>
                  <a:cubicBezTo>
                    <a:pt x="92" y="671"/>
                    <a:pt x="92" y="671"/>
                    <a:pt x="92" y="671"/>
                  </a:cubicBezTo>
                  <a:cubicBezTo>
                    <a:pt x="93" y="675"/>
                    <a:pt x="93" y="675"/>
                    <a:pt x="93" y="675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98" y="676"/>
                    <a:pt x="98" y="676"/>
                    <a:pt x="98" y="676"/>
                  </a:cubicBezTo>
                  <a:cubicBezTo>
                    <a:pt x="96" y="676"/>
                    <a:pt x="96" y="676"/>
                    <a:pt x="96" y="676"/>
                  </a:cubicBezTo>
                  <a:cubicBezTo>
                    <a:pt x="92" y="677"/>
                    <a:pt x="92" y="677"/>
                    <a:pt x="92" y="677"/>
                  </a:cubicBezTo>
                  <a:cubicBezTo>
                    <a:pt x="92" y="680"/>
                    <a:pt x="92" y="680"/>
                    <a:pt x="92" y="680"/>
                  </a:cubicBezTo>
                  <a:cubicBezTo>
                    <a:pt x="88" y="678"/>
                    <a:pt x="88" y="678"/>
                    <a:pt x="88" y="678"/>
                  </a:cubicBezTo>
                  <a:cubicBezTo>
                    <a:pt x="80" y="680"/>
                    <a:pt x="80" y="680"/>
                    <a:pt x="80" y="680"/>
                  </a:cubicBezTo>
                  <a:cubicBezTo>
                    <a:pt x="80" y="686"/>
                    <a:pt x="80" y="686"/>
                    <a:pt x="80" y="686"/>
                  </a:cubicBezTo>
                  <a:cubicBezTo>
                    <a:pt x="82" y="691"/>
                    <a:pt x="82" y="691"/>
                    <a:pt x="82" y="691"/>
                  </a:cubicBezTo>
                  <a:cubicBezTo>
                    <a:pt x="79" y="688"/>
                    <a:pt x="79" y="688"/>
                    <a:pt x="79" y="688"/>
                  </a:cubicBezTo>
                  <a:cubicBezTo>
                    <a:pt x="76" y="690"/>
                    <a:pt x="76" y="690"/>
                    <a:pt x="76" y="690"/>
                  </a:cubicBezTo>
                  <a:cubicBezTo>
                    <a:pt x="78" y="686"/>
                    <a:pt x="78" y="686"/>
                    <a:pt x="78" y="686"/>
                  </a:cubicBezTo>
                  <a:cubicBezTo>
                    <a:pt x="77" y="681"/>
                    <a:pt x="77" y="681"/>
                    <a:pt x="77" y="68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4" y="678"/>
                    <a:pt x="74" y="678"/>
                    <a:pt x="74" y="678"/>
                  </a:cubicBezTo>
                  <a:cubicBezTo>
                    <a:pt x="74" y="678"/>
                    <a:pt x="67" y="676"/>
                    <a:pt x="66" y="675"/>
                  </a:cubicBezTo>
                  <a:cubicBezTo>
                    <a:pt x="65" y="675"/>
                    <a:pt x="64" y="679"/>
                    <a:pt x="64" y="679"/>
                  </a:cubicBezTo>
                  <a:cubicBezTo>
                    <a:pt x="56" y="680"/>
                    <a:pt x="56" y="680"/>
                    <a:pt x="56" y="680"/>
                  </a:cubicBezTo>
                  <a:cubicBezTo>
                    <a:pt x="56" y="678"/>
                    <a:pt x="56" y="678"/>
                    <a:pt x="56" y="678"/>
                  </a:cubicBezTo>
                  <a:cubicBezTo>
                    <a:pt x="42" y="676"/>
                    <a:pt x="42" y="676"/>
                    <a:pt x="42" y="676"/>
                  </a:cubicBezTo>
                  <a:cubicBezTo>
                    <a:pt x="41" y="678"/>
                    <a:pt x="41" y="678"/>
                    <a:pt x="41" y="678"/>
                  </a:cubicBezTo>
                  <a:cubicBezTo>
                    <a:pt x="39" y="676"/>
                    <a:pt x="39" y="676"/>
                    <a:pt x="39" y="676"/>
                  </a:cubicBezTo>
                  <a:cubicBezTo>
                    <a:pt x="33" y="678"/>
                    <a:pt x="33" y="678"/>
                    <a:pt x="33" y="678"/>
                  </a:cubicBezTo>
                  <a:cubicBezTo>
                    <a:pt x="31" y="681"/>
                    <a:pt x="31" y="681"/>
                    <a:pt x="31" y="681"/>
                  </a:cubicBezTo>
                  <a:cubicBezTo>
                    <a:pt x="24" y="680"/>
                    <a:pt x="24" y="680"/>
                    <a:pt x="24" y="680"/>
                  </a:cubicBezTo>
                  <a:cubicBezTo>
                    <a:pt x="24" y="680"/>
                    <a:pt x="23" y="678"/>
                    <a:pt x="19" y="678"/>
                  </a:cubicBezTo>
                  <a:cubicBezTo>
                    <a:pt x="16" y="678"/>
                    <a:pt x="15" y="682"/>
                    <a:pt x="15" y="682"/>
                  </a:cubicBezTo>
                  <a:cubicBezTo>
                    <a:pt x="18" y="686"/>
                    <a:pt x="18" y="686"/>
                    <a:pt x="18" y="686"/>
                  </a:cubicBezTo>
                  <a:cubicBezTo>
                    <a:pt x="14" y="687"/>
                    <a:pt x="14" y="687"/>
                    <a:pt x="14" y="687"/>
                  </a:cubicBezTo>
                  <a:cubicBezTo>
                    <a:pt x="14" y="687"/>
                    <a:pt x="14" y="692"/>
                    <a:pt x="18" y="693"/>
                  </a:cubicBezTo>
                  <a:cubicBezTo>
                    <a:pt x="22" y="695"/>
                    <a:pt x="24" y="691"/>
                    <a:pt x="24" y="691"/>
                  </a:cubicBezTo>
                  <a:cubicBezTo>
                    <a:pt x="28" y="691"/>
                    <a:pt x="28" y="691"/>
                    <a:pt x="28" y="691"/>
                  </a:cubicBezTo>
                  <a:cubicBezTo>
                    <a:pt x="27" y="692"/>
                    <a:pt x="27" y="692"/>
                    <a:pt x="27" y="692"/>
                  </a:cubicBezTo>
                  <a:cubicBezTo>
                    <a:pt x="27" y="692"/>
                    <a:pt x="23" y="692"/>
                    <a:pt x="22" y="697"/>
                  </a:cubicBezTo>
                  <a:cubicBezTo>
                    <a:pt x="20" y="703"/>
                    <a:pt x="27" y="704"/>
                    <a:pt x="27" y="704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7" y="707"/>
                    <a:pt x="27" y="707"/>
                    <a:pt x="27" y="707"/>
                  </a:cubicBezTo>
                  <a:cubicBezTo>
                    <a:pt x="30" y="707"/>
                    <a:pt x="30" y="707"/>
                    <a:pt x="30" y="707"/>
                  </a:cubicBezTo>
                  <a:cubicBezTo>
                    <a:pt x="30" y="707"/>
                    <a:pt x="29" y="705"/>
                    <a:pt x="29" y="703"/>
                  </a:cubicBezTo>
                  <a:cubicBezTo>
                    <a:pt x="29" y="702"/>
                    <a:pt x="32" y="701"/>
                    <a:pt x="32" y="701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8" y="704"/>
                    <a:pt x="36" y="708"/>
                    <a:pt x="35" y="711"/>
                  </a:cubicBezTo>
                  <a:cubicBezTo>
                    <a:pt x="34" y="714"/>
                    <a:pt x="34" y="719"/>
                    <a:pt x="34" y="719"/>
                  </a:cubicBezTo>
                  <a:cubicBezTo>
                    <a:pt x="25" y="720"/>
                    <a:pt x="25" y="720"/>
                    <a:pt x="25" y="720"/>
                  </a:cubicBezTo>
                  <a:cubicBezTo>
                    <a:pt x="25" y="720"/>
                    <a:pt x="24" y="713"/>
                    <a:pt x="19" y="714"/>
                  </a:cubicBezTo>
                  <a:cubicBezTo>
                    <a:pt x="15" y="715"/>
                    <a:pt x="19" y="723"/>
                    <a:pt x="19" y="723"/>
                  </a:cubicBezTo>
                  <a:cubicBezTo>
                    <a:pt x="19" y="723"/>
                    <a:pt x="15" y="723"/>
                    <a:pt x="15" y="727"/>
                  </a:cubicBezTo>
                  <a:cubicBezTo>
                    <a:pt x="15" y="731"/>
                    <a:pt x="18" y="730"/>
                    <a:pt x="18" y="730"/>
                  </a:cubicBezTo>
                  <a:cubicBezTo>
                    <a:pt x="17" y="733"/>
                    <a:pt x="17" y="733"/>
                    <a:pt x="17" y="733"/>
                  </a:cubicBezTo>
                  <a:cubicBezTo>
                    <a:pt x="22" y="738"/>
                    <a:pt x="22" y="738"/>
                    <a:pt x="22" y="738"/>
                  </a:cubicBezTo>
                  <a:cubicBezTo>
                    <a:pt x="26" y="735"/>
                    <a:pt x="26" y="735"/>
                    <a:pt x="26" y="735"/>
                  </a:cubicBezTo>
                  <a:cubicBezTo>
                    <a:pt x="29" y="727"/>
                    <a:pt x="29" y="727"/>
                    <a:pt x="29" y="727"/>
                  </a:cubicBezTo>
                  <a:cubicBezTo>
                    <a:pt x="27" y="734"/>
                    <a:pt x="27" y="734"/>
                    <a:pt x="27" y="734"/>
                  </a:cubicBezTo>
                  <a:cubicBezTo>
                    <a:pt x="27" y="738"/>
                    <a:pt x="27" y="738"/>
                    <a:pt x="27" y="738"/>
                  </a:cubicBezTo>
                  <a:cubicBezTo>
                    <a:pt x="32" y="738"/>
                    <a:pt x="32" y="738"/>
                    <a:pt x="32" y="738"/>
                  </a:cubicBezTo>
                  <a:cubicBezTo>
                    <a:pt x="33" y="739"/>
                    <a:pt x="31" y="743"/>
                    <a:pt x="31" y="743"/>
                  </a:cubicBezTo>
                  <a:cubicBezTo>
                    <a:pt x="32" y="744"/>
                    <a:pt x="32" y="744"/>
                    <a:pt x="32" y="744"/>
                  </a:cubicBezTo>
                  <a:cubicBezTo>
                    <a:pt x="30" y="744"/>
                    <a:pt x="30" y="744"/>
                    <a:pt x="30" y="744"/>
                  </a:cubicBezTo>
                  <a:cubicBezTo>
                    <a:pt x="30" y="746"/>
                    <a:pt x="30" y="746"/>
                    <a:pt x="30" y="746"/>
                  </a:cubicBezTo>
                  <a:cubicBezTo>
                    <a:pt x="34" y="750"/>
                    <a:pt x="34" y="750"/>
                    <a:pt x="34" y="750"/>
                  </a:cubicBezTo>
                  <a:cubicBezTo>
                    <a:pt x="38" y="745"/>
                    <a:pt x="38" y="745"/>
                    <a:pt x="38" y="745"/>
                  </a:cubicBezTo>
                  <a:cubicBezTo>
                    <a:pt x="38" y="738"/>
                    <a:pt x="38" y="738"/>
                    <a:pt x="38" y="738"/>
                  </a:cubicBezTo>
                  <a:cubicBezTo>
                    <a:pt x="40" y="737"/>
                    <a:pt x="40" y="737"/>
                    <a:pt x="40" y="737"/>
                  </a:cubicBezTo>
                  <a:cubicBezTo>
                    <a:pt x="42" y="731"/>
                    <a:pt x="42" y="731"/>
                    <a:pt x="42" y="731"/>
                  </a:cubicBezTo>
                  <a:cubicBezTo>
                    <a:pt x="42" y="731"/>
                    <a:pt x="45" y="734"/>
                    <a:pt x="47" y="731"/>
                  </a:cubicBezTo>
                  <a:cubicBezTo>
                    <a:pt x="48" y="730"/>
                    <a:pt x="47" y="726"/>
                    <a:pt x="47" y="726"/>
                  </a:cubicBezTo>
                  <a:cubicBezTo>
                    <a:pt x="47" y="726"/>
                    <a:pt x="49" y="725"/>
                    <a:pt x="55" y="723"/>
                  </a:cubicBezTo>
                  <a:cubicBezTo>
                    <a:pt x="59" y="720"/>
                    <a:pt x="64" y="720"/>
                    <a:pt x="64" y="720"/>
                  </a:cubicBezTo>
                  <a:cubicBezTo>
                    <a:pt x="64" y="722"/>
                    <a:pt x="64" y="722"/>
                    <a:pt x="64" y="722"/>
                  </a:cubicBezTo>
                  <a:cubicBezTo>
                    <a:pt x="71" y="719"/>
                    <a:pt x="71" y="719"/>
                    <a:pt x="71" y="719"/>
                  </a:cubicBezTo>
                  <a:cubicBezTo>
                    <a:pt x="72" y="715"/>
                    <a:pt x="72" y="715"/>
                    <a:pt x="72" y="715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3" y="719"/>
                    <a:pt x="73" y="719"/>
                    <a:pt x="73" y="719"/>
                  </a:cubicBezTo>
                  <a:cubicBezTo>
                    <a:pt x="77" y="720"/>
                    <a:pt x="77" y="720"/>
                    <a:pt x="77" y="720"/>
                  </a:cubicBezTo>
                  <a:cubicBezTo>
                    <a:pt x="77" y="720"/>
                    <a:pt x="68" y="721"/>
                    <a:pt x="65" y="726"/>
                  </a:cubicBezTo>
                  <a:cubicBezTo>
                    <a:pt x="62" y="731"/>
                    <a:pt x="63" y="735"/>
                    <a:pt x="62" y="738"/>
                  </a:cubicBezTo>
                  <a:cubicBezTo>
                    <a:pt x="62" y="740"/>
                    <a:pt x="58" y="743"/>
                    <a:pt x="58" y="743"/>
                  </a:cubicBezTo>
                  <a:cubicBezTo>
                    <a:pt x="62" y="726"/>
                    <a:pt x="62" y="726"/>
                    <a:pt x="62" y="726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62" y="723"/>
                    <a:pt x="58" y="724"/>
                    <a:pt x="56" y="726"/>
                  </a:cubicBezTo>
                  <a:cubicBezTo>
                    <a:pt x="52" y="727"/>
                    <a:pt x="47" y="735"/>
                    <a:pt x="47" y="735"/>
                  </a:cubicBezTo>
                  <a:cubicBezTo>
                    <a:pt x="47" y="735"/>
                    <a:pt x="44" y="736"/>
                    <a:pt x="44" y="739"/>
                  </a:cubicBezTo>
                  <a:cubicBezTo>
                    <a:pt x="45" y="742"/>
                    <a:pt x="50" y="740"/>
                    <a:pt x="48" y="742"/>
                  </a:cubicBezTo>
                  <a:cubicBezTo>
                    <a:pt x="47" y="743"/>
                    <a:pt x="43" y="743"/>
                    <a:pt x="41" y="745"/>
                  </a:cubicBezTo>
                  <a:cubicBezTo>
                    <a:pt x="39" y="747"/>
                    <a:pt x="39" y="752"/>
                    <a:pt x="39" y="752"/>
                  </a:cubicBezTo>
                  <a:cubicBezTo>
                    <a:pt x="32" y="752"/>
                    <a:pt x="32" y="752"/>
                    <a:pt x="32" y="752"/>
                  </a:cubicBezTo>
                  <a:cubicBezTo>
                    <a:pt x="28" y="757"/>
                    <a:pt x="28" y="757"/>
                    <a:pt x="28" y="757"/>
                  </a:cubicBezTo>
                  <a:cubicBezTo>
                    <a:pt x="33" y="762"/>
                    <a:pt x="33" y="762"/>
                    <a:pt x="33" y="762"/>
                  </a:cubicBezTo>
                  <a:cubicBezTo>
                    <a:pt x="39" y="759"/>
                    <a:pt x="39" y="759"/>
                    <a:pt x="39" y="759"/>
                  </a:cubicBezTo>
                  <a:cubicBezTo>
                    <a:pt x="38" y="764"/>
                    <a:pt x="38" y="764"/>
                    <a:pt x="38" y="764"/>
                  </a:cubicBezTo>
                  <a:cubicBezTo>
                    <a:pt x="40" y="765"/>
                    <a:pt x="40" y="765"/>
                    <a:pt x="40" y="765"/>
                  </a:cubicBezTo>
                  <a:cubicBezTo>
                    <a:pt x="46" y="760"/>
                    <a:pt x="46" y="760"/>
                    <a:pt x="46" y="760"/>
                  </a:cubicBezTo>
                  <a:cubicBezTo>
                    <a:pt x="42" y="766"/>
                    <a:pt x="42" y="766"/>
                    <a:pt x="42" y="766"/>
                  </a:cubicBezTo>
                  <a:cubicBezTo>
                    <a:pt x="44" y="768"/>
                    <a:pt x="44" y="768"/>
                    <a:pt x="44" y="768"/>
                  </a:cubicBezTo>
                  <a:cubicBezTo>
                    <a:pt x="34" y="765"/>
                    <a:pt x="34" y="765"/>
                    <a:pt x="34" y="765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72"/>
                    <a:pt x="34" y="772"/>
                    <a:pt x="34" y="772"/>
                  </a:cubicBezTo>
                  <a:cubicBezTo>
                    <a:pt x="26" y="768"/>
                    <a:pt x="26" y="768"/>
                    <a:pt x="26" y="768"/>
                  </a:cubicBezTo>
                  <a:cubicBezTo>
                    <a:pt x="23" y="770"/>
                    <a:pt x="23" y="770"/>
                    <a:pt x="23" y="770"/>
                  </a:cubicBezTo>
                  <a:cubicBezTo>
                    <a:pt x="20" y="778"/>
                    <a:pt x="20" y="778"/>
                    <a:pt x="20" y="778"/>
                  </a:cubicBezTo>
                  <a:cubicBezTo>
                    <a:pt x="18" y="780"/>
                    <a:pt x="18" y="780"/>
                    <a:pt x="18" y="780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9" y="767"/>
                    <a:pt x="19" y="767"/>
                    <a:pt x="19" y="767"/>
                  </a:cubicBezTo>
                  <a:cubicBezTo>
                    <a:pt x="18" y="771"/>
                    <a:pt x="18" y="771"/>
                    <a:pt x="18" y="771"/>
                  </a:cubicBezTo>
                  <a:cubicBezTo>
                    <a:pt x="15" y="771"/>
                    <a:pt x="15" y="771"/>
                    <a:pt x="15" y="771"/>
                  </a:cubicBezTo>
                  <a:cubicBezTo>
                    <a:pt x="10" y="780"/>
                    <a:pt x="10" y="780"/>
                    <a:pt x="10" y="780"/>
                  </a:cubicBezTo>
                  <a:cubicBezTo>
                    <a:pt x="13" y="793"/>
                    <a:pt x="13" y="793"/>
                    <a:pt x="13" y="793"/>
                  </a:cubicBezTo>
                  <a:cubicBezTo>
                    <a:pt x="14" y="792"/>
                    <a:pt x="14" y="792"/>
                    <a:pt x="14" y="792"/>
                  </a:cubicBezTo>
                  <a:cubicBezTo>
                    <a:pt x="14" y="800"/>
                    <a:pt x="14" y="800"/>
                    <a:pt x="14" y="800"/>
                  </a:cubicBezTo>
                  <a:cubicBezTo>
                    <a:pt x="17" y="800"/>
                    <a:pt x="17" y="800"/>
                    <a:pt x="17" y="800"/>
                  </a:cubicBezTo>
                  <a:cubicBezTo>
                    <a:pt x="17" y="793"/>
                    <a:pt x="17" y="793"/>
                    <a:pt x="17" y="793"/>
                  </a:cubicBezTo>
                  <a:cubicBezTo>
                    <a:pt x="22" y="792"/>
                    <a:pt x="22" y="792"/>
                    <a:pt x="22" y="792"/>
                  </a:cubicBezTo>
                  <a:cubicBezTo>
                    <a:pt x="22" y="789"/>
                    <a:pt x="22" y="789"/>
                    <a:pt x="22" y="789"/>
                  </a:cubicBezTo>
                  <a:cubicBezTo>
                    <a:pt x="25" y="791"/>
                    <a:pt x="25" y="791"/>
                    <a:pt x="25" y="791"/>
                  </a:cubicBezTo>
                  <a:cubicBezTo>
                    <a:pt x="23" y="794"/>
                    <a:pt x="23" y="794"/>
                    <a:pt x="23" y="794"/>
                  </a:cubicBezTo>
                  <a:cubicBezTo>
                    <a:pt x="24" y="796"/>
                    <a:pt x="24" y="796"/>
                    <a:pt x="24" y="796"/>
                  </a:cubicBezTo>
                  <a:cubicBezTo>
                    <a:pt x="32" y="788"/>
                    <a:pt x="32" y="788"/>
                    <a:pt x="32" y="788"/>
                  </a:cubicBezTo>
                  <a:cubicBezTo>
                    <a:pt x="30" y="784"/>
                    <a:pt x="30" y="784"/>
                    <a:pt x="30" y="784"/>
                  </a:cubicBezTo>
                  <a:cubicBezTo>
                    <a:pt x="26" y="785"/>
                    <a:pt x="26" y="785"/>
                    <a:pt x="26" y="785"/>
                  </a:cubicBezTo>
                  <a:cubicBezTo>
                    <a:pt x="31" y="782"/>
                    <a:pt x="31" y="782"/>
                    <a:pt x="31" y="782"/>
                  </a:cubicBezTo>
                  <a:cubicBezTo>
                    <a:pt x="32" y="778"/>
                    <a:pt x="32" y="778"/>
                    <a:pt x="32" y="778"/>
                  </a:cubicBezTo>
                  <a:cubicBezTo>
                    <a:pt x="34" y="783"/>
                    <a:pt x="34" y="783"/>
                    <a:pt x="34" y="783"/>
                  </a:cubicBezTo>
                  <a:cubicBezTo>
                    <a:pt x="39" y="784"/>
                    <a:pt x="39" y="784"/>
                    <a:pt x="39" y="784"/>
                  </a:cubicBezTo>
                  <a:cubicBezTo>
                    <a:pt x="35" y="785"/>
                    <a:pt x="35" y="785"/>
                    <a:pt x="35" y="785"/>
                  </a:cubicBezTo>
                  <a:cubicBezTo>
                    <a:pt x="36" y="788"/>
                    <a:pt x="36" y="788"/>
                    <a:pt x="36" y="788"/>
                  </a:cubicBezTo>
                  <a:cubicBezTo>
                    <a:pt x="41" y="786"/>
                    <a:pt x="41" y="786"/>
                    <a:pt x="41" y="786"/>
                  </a:cubicBezTo>
                  <a:cubicBezTo>
                    <a:pt x="43" y="780"/>
                    <a:pt x="43" y="780"/>
                    <a:pt x="43" y="780"/>
                  </a:cubicBezTo>
                  <a:cubicBezTo>
                    <a:pt x="45" y="778"/>
                    <a:pt x="45" y="778"/>
                    <a:pt x="45" y="778"/>
                  </a:cubicBezTo>
                  <a:cubicBezTo>
                    <a:pt x="47" y="773"/>
                    <a:pt x="47" y="773"/>
                    <a:pt x="47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7" y="780"/>
                    <a:pt x="47" y="780"/>
                    <a:pt x="47" y="780"/>
                  </a:cubicBezTo>
                  <a:cubicBezTo>
                    <a:pt x="52" y="777"/>
                    <a:pt x="52" y="777"/>
                    <a:pt x="52" y="777"/>
                  </a:cubicBezTo>
                  <a:cubicBezTo>
                    <a:pt x="52" y="778"/>
                    <a:pt x="52" y="778"/>
                    <a:pt x="52" y="778"/>
                  </a:cubicBezTo>
                  <a:cubicBezTo>
                    <a:pt x="45" y="782"/>
                    <a:pt x="45" y="782"/>
                    <a:pt x="45" y="782"/>
                  </a:cubicBezTo>
                  <a:cubicBezTo>
                    <a:pt x="44" y="788"/>
                    <a:pt x="44" y="788"/>
                    <a:pt x="44" y="788"/>
                  </a:cubicBezTo>
                  <a:cubicBezTo>
                    <a:pt x="38" y="790"/>
                    <a:pt x="38" y="790"/>
                    <a:pt x="38" y="790"/>
                  </a:cubicBezTo>
                  <a:cubicBezTo>
                    <a:pt x="40" y="792"/>
                    <a:pt x="40" y="792"/>
                    <a:pt x="40" y="792"/>
                  </a:cubicBezTo>
                  <a:cubicBezTo>
                    <a:pt x="40" y="792"/>
                    <a:pt x="41" y="790"/>
                    <a:pt x="44" y="791"/>
                  </a:cubicBezTo>
                  <a:cubicBezTo>
                    <a:pt x="46" y="792"/>
                    <a:pt x="41" y="796"/>
                    <a:pt x="41" y="796"/>
                  </a:cubicBezTo>
                  <a:cubicBezTo>
                    <a:pt x="49" y="793"/>
                    <a:pt x="49" y="793"/>
                    <a:pt x="49" y="793"/>
                  </a:cubicBezTo>
                  <a:cubicBezTo>
                    <a:pt x="49" y="793"/>
                    <a:pt x="42" y="797"/>
                    <a:pt x="41" y="798"/>
                  </a:cubicBezTo>
                  <a:cubicBezTo>
                    <a:pt x="39" y="799"/>
                    <a:pt x="36" y="803"/>
                    <a:pt x="36" y="803"/>
                  </a:cubicBezTo>
                  <a:cubicBezTo>
                    <a:pt x="38" y="805"/>
                    <a:pt x="38" y="805"/>
                    <a:pt x="38" y="805"/>
                  </a:cubicBezTo>
                  <a:cubicBezTo>
                    <a:pt x="31" y="807"/>
                    <a:pt x="31" y="807"/>
                    <a:pt x="31" y="807"/>
                  </a:cubicBezTo>
                  <a:cubicBezTo>
                    <a:pt x="34" y="813"/>
                    <a:pt x="34" y="813"/>
                    <a:pt x="34" y="813"/>
                  </a:cubicBezTo>
                  <a:cubicBezTo>
                    <a:pt x="35" y="817"/>
                    <a:pt x="35" y="817"/>
                    <a:pt x="35" y="817"/>
                  </a:cubicBezTo>
                  <a:cubicBezTo>
                    <a:pt x="43" y="813"/>
                    <a:pt x="43" y="813"/>
                    <a:pt x="43" y="813"/>
                  </a:cubicBezTo>
                  <a:cubicBezTo>
                    <a:pt x="50" y="814"/>
                    <a:pt x="50" y="814"/>
                    <a:pt x="50" y="814"/>
                  </a:cubicBezTo>
                  <a:cubicBezTo>
                    <a:pt x="44" y="815"/>
                    <a:pt x="44" y="815"/>
                    <a:pt x="44" y="815"/>
                  </a:cubicBezTo>
                  <a:cubicBezTo>
                    <a:pt x="38" y="819"/>
                    <a:pt x="38" y="819"/>
                    <a:pt x="38" y="819"/>
                  </a:cubicBezTo>
                  <a:cubicBezTo>
                    <a:pt x="38" y="822"/>
                    <a:pt x="38" y="822"/>
                    <a:pt x="38" y="822"/>
                  </a:cubicBezTo>
                  <a:cubicBezTo>
                    <a:pt x="30" y="816"/>
                    <a:pt x="30" y="816"/>
                    <a:pt x="30" y="816"/>
                  </a:cubicBezTo>
                  <a:cubicBezTo>
                    <a:pt x="25" y="820"/>
                    <a:pt x="25" y="820"/>
                    <a:pt x="25" y="820"/>
                  </a:cubicBezTo>
                  <a:cubicBezTo>
                    <a:pt x="25" y="814"/>
                    <a:pt x="25" y="814"/>
                    <a:pt x="25" y="814"/>
                  </a:cubicBezTo>
                  <a:cubicBezTo>
                    <a:pt x="19" y="812"/>
                    <a:pt x="19" y="812"/>
                    <a:pt x="19" y="812"/>
                  </a:cubicBezTo>
                  <a:cubicBezTo>
                    <a:pt x="20" y="820"/>
                    <a:pt x="20" y="820"/>
                    <a:pt x="20" y="820"/>
                  </a:cubicBezTo>
                  <a:cubicBezTo>
                    <a:pt x="18" y="821"/>
                    <a:pt x="18" y="821"/>
                    <a:pt x="18" y="821"/>
                  </a:cubicBezTo>
                  <a:cubicBezTo>
                    <a:pt x="17" y="824"/>
                    <a:pt x="17" y="824"/>
                    <a:pt x="17" y="824"/>
                  </a:cubicBezTo>
                  <a:cubicBezTo>
                    <a:pt x="14" y="829"/>
                    <a:pt x="14" y="829"/>
                    <a:pt x="14" y="829"/>
                  </a:cubicBezTo>
                  <a:cubicBezTo>
                    <a:pt x="14" y="829"/>
                    <a:pt x="18" y="841"/>
                    <a:pt x="23" y="844"/>
                  </a:cubicBezTo>
                  <a:cubicBezTo>
                    <a:pt x="26" y="847"/>
                    <a:pt x="29" y="849"/>
                    <a:pt x="31" y="853"/>
                  </a:cubicBezTo>
                  <a:cubicBezTo>
                    <a:pt x="33" y="857"/>
                    <a:pt x="49" y="863"/>
                    <a:pt x="49" y="863"/>
                  </a:cubicBezTo>
                  <a:cubicBezTo>
                    <a:pt x="50" y="866"/>
                    <a:pt x="50" y="866"/>
                    <a:pt x="50" y="866"/>
                  </a:cubicBezTo>
                  <a:cubicBezTo>
                    <a:pt x="53" y="862"/>
                    <a:pt x="53" y="862"/>
                    <a:pt x="53" y="862"/>
                  </a:cubicBezTo>
                  <a:cubicBezTo>
                    <a:pt x="58" y="865"/>
                    <a:pt x="58" y="865"/>
                    <a:pt x="58" y="865"/>
                  </a:cubicBezTo>
                  <a:cubicBezTo>
                    <a:pt x="48" y="872"/>
                    <a:pt x="48" y="872"/>
                    <a:pt x="48" y="872"/>
                  </a:cubicBezTo>
                  <a:cubicBezTo>
                    <a:pt x="50" y="876"/>
                    <a:pt x="50" y="876"/>
                    <a:pt x="50" y="876"/>
                  </a:cubicBezTo>
                  <a:cubicBezTo>
                    <a:pt x="58" y="876"/>
                    <a:pt x="58" y="876"/>
                    <a:pt x="58" y="876"/>
                  </a:cubicBezTo>
                  <a:cubicBezTo>
                    <a:pt x="56" y="873"/>
                    <a:pt x="56" y="873"/>
                    <a:pt x="56" y="873"/>
                  </a:cubicBezTo>
                  <a:cubicBezTo>
                    <a:pt x="60" y="871"/>
                    <a:pt x="60" y="871"/>
                    <a:pt x="60" y="871"/>
                  </a:cubicBezTo>
                  <a:cubicBezTo>
                    <a:pt x="65" y="873"/>
                    <a:pt x="65" y="873"/>
                    <a:pt x="65" y="873"/>
                  </a:cubicBezTo>
                  <a:cubicBezTo>
                    <a:pt x="60" y="875"/>
                    <a:pt x="60" y="875"/>
                    <a:pt x="60" y="875"/>
                  </a:cubicBezTo>
                  <a:cubicBezTo>
                    <a:pt x="64" y="879"/>
                    <a:pt x="64" y="879"/>
                    <a:pt x="64" y="879"/>
                  </a:cubicBezTo>
                  <a:cubicBezTo>
                    <a:pt x="68" y="877"/>
                    <a:pt x="68" y="877"/>
                    <a:pt x="68" y="877"/>
                  </a:cubicBezTo>
                  <a:cubicBezTo>
                    <a:pt x="68" y="877"/>
                    <a:pt x="74" y="880"/>
                    <a:pt x="80" y="880"/>
                  </a:cubicBezTo>
                  <a:cubicBezTo>
                    <a:pt x="85" y="880"/>
                    <a:pt x="88" y="878"/>
                    <a:pt x="92" y="877"/>
                  </a:cubicBezTo>
                  <a:cubicBezTo>
                    <a:pt x="96" y="876"/>
                    <a:pt x="101" y="870"/>
                    <a:pt x="101" y="870"/>
                  </a:cubicBezTo>
                  <a:cubicBezTo>
                    <a:pt x="101" y="877"/>
                    <a:pt x="101" y="877"/>
                    <a:pt x="101" y="877"/>
                  </a:cubicBezTo>
                  <a:cubicBezTo>
                    <a:pt x="124" y="857"/>
                    <a:pt x="124" y="857"/>
                    <a:pt x="124" y="857"/>
                  </a:cubicBezTo>
                  <a:cubicBezTo>
                    <a:pt x="124" y="853"/>
                    <a:pt x="124" y="853"/>
                    <a:pt x="124" y="853"/>
                  </a:cubicBezTo>
                  <a:cubicBezTo>
                    <a:pt x="142" y="839"/>
                    <a:pt x="142" y="839"/>
                    <a:pt x="142" y="839"/>
                  </a:cubicBezTo>
                  <a:cubicBezTo>
                    <a:pt x="141" y="835"/>
                    <a:pt x="141" y="835"/>
                    <a:pt x="141" y="835"/>
                  </a:cubicBezTo>
                  <a:cubicBezTo>
                    <a:pt x="145" y="836"/>
                    <a:pt x="145" y="836"/>
                    <a:pt x="145" y="836"/>
                  </a:cubicBezTo>
                  <a:cubicBezTo>
                    <a:pt x="150" y="830"/>
                    <a:pt x="150" y="830"/>
                    <a:pt x="150" y="830"/>
                  </a:cubicBezTo>
                  <a:cubicBezTo>
                    <a:pt x="146" y="828"/>
                    <a:pt x="146" y="828"/>
                    <a:pt x="146" y="828"/>
                  </a:cubicBezTo>
                  <a:cubicBezTo>
                    <a:pt x="161" y="817"/>
                    <a:pt x="161" y="817"/>
                    <a:pt x="161" y="817"/>
                  </a:cubicBezTo>
                  <a:cubicBezTo>
                    <a:pt x="156" y="810"/>
                    <a:pt x="156" y="810"/>
                    <a:pt x="156" y="810"/>
                  </a:cubicBezTo>
                  <a:cubicBezTo>
                    <a:pt x="159" y="812"/>
                    <a:pt x="159" y="812"/>
                    <a:pt x="159" y="812"/>
                  </a:cubicBezTo>
                  <a:cubicBezTo>
                    <a:pt x="167" y="821"/>
                    <a:pt x="167" y="821"/>
                    <a:pt x="167" y="821"/>
                  </a:cubicBezTo>
                  <a:cubicBezTo>
                    <a:pt x="180" y="817"/>
                    <a:pt x="180" y="817"/>
                    <a:pt x="180" y="817"/>
                  </a:cubicBezTo>
                  <a:cubicBezTo>
                    <a:pt x="181" y="805"/>
                    <a:pt x="181" y="805"/>
                    <a:pt x="181" y="805"/>
                  </a:cubicBezTo>
                  <a:cubicBezTo>
                    <a:pt x="184" y="808"/>
                    <a:pt x="184" y="808"/>
                    <a:pt x="184" y="808"/>
                  </a:cubicBezTo>
                  <a:cubicBezTo>
                    <a:pt x="188" y="806"/>
                    <a:pt x="188" y="806"/>
                    <a:pt x="188" y="806"/>
                  </a:cubicBezTo>
                  <a:cubicBezTo>
                    <a:pt x="186" y="803"/>
                    <a:pt x="186" y="803"/>
                    <a:pt x="186" y="803"/>
                  </a:cubicBezTo>
                  <a:cubicBezTo>
                    <a:pt x="189" y="803"/>
                    <a:pt x="189" y="803"/>
                    <a:pt x="189" y="803"/>
                  </a:cubicBezTo>
                  <a:cubicBezTo>
                    <a:pt x="188" y="791"/>
                    <a:pt x="188" y="791"/>
                    <a:pt x="188" y="791"/>
                  </a:cubicBezTo>
                  <a:cubicBezTo>
                    <a:pt x="182" y="789"/>
                    <a:pt x="182" y="789"/>
                    <a:pt x="182" y="789"/>
                  </a:cubicBezTo>
                  <a:cubicBezTo>
                    <a:pt x="179" y="782"/>
                    <a:pt x="179" y="782"/>
                    <a:pt x="179" y="782"/>
                  </a:cubicBezTo>
                  <a:cubicBezTo>
                    <a:pt x="183" y="785"/>
                    <a:pt x="183" y="785"/>
                    <a:pt x="183" y="785"/>
                  </a:cubicBezTo>
                  <a:cubicBezTo>
                    <a:pt x="183" y="776"/>
                    <a:pt x="183" y="776"/>
                    <a:pt x="183" y="776"/>
                  </a:cubicBezTo>
                  <a:cubicBezTo>
                    <a:pt x="178" y="771"/>
                    <a:pt x="178" y="771"/>
                    <a:pt x="178" y="771"/>
                  </a:cubicBezTo>
                  <a:cubicBezTo>
                    <a:pt x="181" y="770"/>
                    <a:pt x="181" y="770"/>
                    <a:pt x="181" y="770"/>
                  </a:cubicBezTo>
                  <a:cubicBezTo>
                    <a:pt x="186" y="773"/>
                    <a:pt x="186" y="773"/>
                    <a:pt x="186" y="773"/>
                  </a:cubicBezTo>
                  <a:cubicBezTo>
                    <a:pt x="186" y="785"/>
                    <a:pt x="186" y="785"/>
                    <a:pt x="186" y="785"/>
                  </a:cubicBezTo>
                  <a:cubicBezTo>
                    <a:pt x="186" y="785"/>
                    <a:pt x="191" y="784"/>
                    <a:pt x="192" y="781"/>
                  </a:cubicBezTo>
                  <a:cubicBezTo>
                    <a:pt x="192" y="776"/>
                    <a:pt x="189" y="773"/>
                    <a:pt x="189" y="773"/>
                  </a:cubicBezTo>
                  <a:cubicBezTo>
                    <a:pt x="189" y="773"/>
                    <a:pt x="189" y="767"/>
                    <a:pt x="190" y="762"/>
                  </a:cubicBezTo>
                  <a:cubicBezTo>
                    <a:pt x="190" y="758"/>
                    <a:pt x="197" y="759"/>
                    <a:pt x="199" y="762"/>
                  </a:cubicBezTo>
                  <a:cubicBezTo>
                    <a:pt x="200" y="765"/>
                    <a:pt x="197" y="769"/>
                    <a:pt x="197" y="769"/>
                  </a:cubicBezTo>
                  <a:cubicBezTo>
                    <a:pt x="195" y="764"/>
                    <a:pt x="195" y="764"/>
                    <a:pt x="195" y="764"/>
                  </a:cubicBezTo>
                  <a:cubicBezTo>
                    <a:pt x="193" y="769"/>
                    <a:pt x="193" y="769"/>
                    <a:pt x="193" y="769"/>
                  </a:cubicBezTo>
                  <a:cubicBezTo>
                    <a:pt x="194" y="776"/>
                    <a:pt x="194" y="776"/>
                    <a:pt x="194" y="776"/>
                  </a:cubicBezTo>
                  <a:cubicBezTo>
                    <a:pt x="194" y="788"/>
                    <a:pt x="194" y="788"/>
                    <a:pt x="194" y="788"/>
                  </a:cubicBezTo>
                  <a:cubicBezTo>
                    <a:pt x="192" y="789"/>
                    <a:pt x="192" y="789"/>
                    <a:pt x="192" y="789"/>
                  </a:cubicBezTo>
                  <a:cubicBezTo>
                    <a:pt x="195" y="800"/>
                    <a:pt x="195" y="800"/>
                    <a:pt x="195" y="800"/>
                  </a:cubicBezTo>
                  <a:cubicBezTo>
                    <a:pt x="198" y="798"/>
                    <a:pt x="198" y="798"/>
                    <a:pt x="198" y="798"/>
                  </a:cubicBezTo>
                  <a:cubicBezTo>
                    <a:pt x="199" y="809"/>
                    <a:pt x="199" y="809"/>
                    <a:pt x="199" y="809"/>
                  </a:cubicBezTo>
                  <a:cubicBezTo>
                    <a:pt x="208" y="810"/>
                    <a:pt x="208" y="810"/>
                    <a:pt x="208" y="810"/>
                  </a:cubicBezTo>
                  <a:cubicBezTo>
                    <a:pt x="211" y="808"/>
                    <a:pt x="211" y="808"/>
                    <a:pt x="211" y="808"/>
                  </a:cubicBezTo>
                  <a:cubicBezTo>
                    <a:pt x="212" y="814"/>
                    <a:pt x="212" y="814"/>
                    <a:pt x="212" y="814"/>
                  </a:cubicBezTo>
                  <a:cubicBezTo>
                    <a:pt x="212" y="814"/>
                    <a:pt x="220" y="809"/>
                    <a:pt x="221" y="814"/>
                  </a:cubicBezTo>
                  <a:cubicBezTo>
                    <a:pt x="222" y="819"/>
                    <a:pt x="219" y="828"/>
                    <a:pt x="223" y="828"/>
                  </a:cubicBezTo>
                  <a:cubicBezTo>
                    <a:pt x="227" y="828"/>
                    <a:pt x="228" y="822"/>
                    <a:pt x="230" y="815"/>
                  </a:cubicBezTo>
                  <a:cubicBezTo>
                    <a:pt x="232" y="808"/>
                    <a:pt x="236" y="800"/>
                    <a:pt x="236" y="800"/>
                  </a:cubicBezTo>
                  <a:cubicBezTo>
                    <a:pt x="236" y="800"/>
                    <a:pt x="227" y="782"/>
                    <a:pt x="230" y="780"/>
                  </a:cubicBezTo>
                  <a:cubicBezTo>
                    <a:pt x="232" y="776"/>
                    <a:pt x="238" y="777"/>
                    <a:pt x="238" y="773"/>
                  </a:cubicBezTo>
                  <a:cubicBezTo>
                    <a:pt x="239" y="768"/>
                    <a:pt x="232" y="767"/>
                    <a:pt x="237" y="764"/>
                  </a:cubicBezTo>
                  <a:cubicBezTo>
                    <a:pt x="241" y="760"/>
                    <a:pt x="252" y="766"/>
                    <a:pt x="256" y="754"/>
                  </a:cubicBezTo>
                  <a:cubicBezTo>
                    <a:pt x="259" y="741"/>
                    <a:pt x="255" y="738"/>
                    <a:pt x="256" y="734"/>
                  </a:cubicBezTo>
                  <a:cubicBezTo>
                    <a:pt x="257" y="729"/>
                    <a:pt x="265" y="733"/>
                    <a:pt x="262" y="725"/>
                  </a:cubicBezTo>
                  <a:cubicBezTo>
                    <a:pt x="260" y="718"/>
                    <a:pt x="254" y="704"/>
                    <a:pt x="254" y="704"/>
                  </a:cubicBezTo>
                  <a:cubicBezTo>
                    <a:pt x="252" y="695"/>
                    <a:pt x="252" y="695"/>
                    <a:pt x="252" y="695"/>
                  </a:cubicBezTo>
                  <a:cubicBezTo>
                    <a:pt x="247" y="689"/>
                    <a:pt x="247" y="689"/>
                    <a:pt x="247" y="689"/>
                  </a:cubicBezTo>
                  <a:cubicBezTo>
                    <a:pt x="256" y="686"/>
                    <a:pt x="256" y="686"/>
                    <a:pt x="256" y="686"/>
                  </a:cubicBezTo>
                  <a:cubicBezTo>
                    <a:pt x="256" y="686"/>
                    <a:pt x="264" y="692"/>
                    <a:pt x="266" y="680"/>
                  </a:cubicBezTo>
                  <a:cubicBezTo>
                    <a:pt x="270" y="668"/>
                    <a:pt x="269" y="664"/>
                    <a:pt x="265" y="660"/>
                  </a:cubicBezTo>
                  <a:cubicBezTo>
                    <a:pt x="261" y="657"/>
                    <a:pt x="256" y="654"/>
                    <a:pt x="256" y="654"/>
                  </a:cubicBezTo>
                  <a:cubicBezTo>
                    <a:pt x="246" y="644"/>
                    <a:pt x="246" y="644"/>
                    <a:pt x="246" y="644"/>
                  </a:cubicBezTo>
                  <a:cubicBezTo>
                    <a:pt x="252" y="609"/>
                    <a:pt x="252" y="609"/>
                    <a:pt x="252" y="609"/>
                  </a:cubicBezTo>
                  <a:cubicBezTo>
                    <a:pt x="244" y="586"/>
                    <a:pt x="244" y="586"/>
                    <a:pt x="244" y="586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4" y="567"/>
                    <a:pt x="244" y="567"/>
                    <a:pt x="244" y="567"/>
                  </a:cubicBezTo>
                  <a:cubicBezTo>
                    <a:pt x="248" y="561"/>
                    <a:pt x="248" y="561"/>
                    <a:pt x="248" y="561"/>
                  </a:cubicBezTo>
                  <a:cubicBezTo>
                    <a:pt x="241" y="542"/>
                    <a:pt x="241" y="542"/>
                    <a:pt x="241" y="542"/>
                  </a:cubicBezTo>
                  <a:cubicBezTo>
                    <a:pt x="249" y="531"/>
                    <a:pt x="249" y="531"/>
                    <a:pt x="249" y="531"/>
                  </a:cubicBezTo>
                  <a:cubicBezTo>
                    <a:pt x="246" y="522"/>
                    <a:pt x="246" y="522"/>
                    <a:pt x="246" y="522"/>
                  </a:cubicBezTo>
                  <a:cubicBezTo>
                    <a:pt x="246" y="522"/>
                    <a:pt x="258" y="494"/>
                    <a:pt x="270" y="491"/>
                  </a:cubicBezTo>
                  <a:cubicBezTo>
                    <a:pt x="280" y="488"/>
                    <a:pt x="300" y="494"/>
                    <a:pt x="300" y="494"/>
                  </a:cubicBezTo>
                  <a:cubicBezTo>
                    <a:pt x="305" y="482"/>
                    <a:pt x="305" y="482"/>
                    <a:pt x="305" y="48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309" y="425"/>
                    <a:pt x="309" y="425"/>
                    <a:pt x="309" y="425"/>
                  </a:cubicBezTo>
                  <a:cubicBezTo>
                    <a:pt x="310" y="415"/>
                    <a:pt x="310" y="415"/>
                    <a:pt x="310" y="415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3" y="390"/>
                    <a:pt x="313" y="390"/>
                    <a:pt x="313" y="390"/>
                  </a:cubicBezTo>
                  <a:cubicBezTo>
                    <a:pt x="315" y="378"/>
                    <a:pt x="315" y="378"/>
                    <a:pt x="315" y="378"/>
                  </a:cubicBezTo>
                  <a:cubicBezTo>
                    <a:pt x="311" y="358"/>
                    <a:pt x="311" y="358"/>
                    <a:pt x="311" y="358"/>
                  </a:cubicBezTo>
                  <a:cubicBezTo>
                    <a:pt x="324" y="356"/>
                    <a:pt x="324" y="356"/>
                    <a:pt x="324" y="356"/>
                  </a:cubicBezTo>
                  <a:cubicBezTo>
                    <a:pt x="337" y="346"/>
                    <a:pt x="337" y="346"/>
                    <a:pt x="337" y="346"/>
                  </a:cubicBezTo>
                  <a:cubicBezTo>
                    <a:pt x="334" y="333"/>
                    <a:pt x="334" y="333"/>
                    <a:pt x="334" y="333"/>
                  </a:cubicBezTo>
                  <a:cubicBezTo>
                    <a:pt x="334" y="333"/>
                    <a:pt x="339" y="332"/>
                    <a:pt x="341" y="326"/>
                  </a:cubicBezTo>
                  <a:cubicBezTo>
                    <a:pt x="343" y="319"/>
                    <a:pt x="341" y="314"/>
                    <a:pt x="347" y="308"/>
                  </a:cubicBezTo>
                  <a:cubicBezTo>
                    <a:pt x="355" y="300"/>
                    <a:pt x="361" y="298"/>
                    <a:pt x="359" y="292"/>
                  </a:cubicBezTo>
                  <a:cubicBezTo>
                    <a:pt x="358" y="284"/>
                    <a:pt x="351" y="273"/>
                    <a:pt x="351" y="273"/>
                  </a:cubicBezTo>
                  <a:cubicBezTo>
                    <a:pt x="351" y="266"/>
                    <a:pt x="351" y="266"/>
                    <a:pt x="351" y="266"/>
                  </a:cubicBezTo>
                  <a:cubicBezTo>
                    <a:pt x="351" y="266"/>
                    <a:pt x="359" y="268"/>
                    <a:pt x="360" y="263"/>
                  </a:cubicBezTo>
                  <a:cubicBezTo>
                    <a:pt x="360" y="258"/>
                    <a:pt x="364" y="241"/>
                    <a:pt x="364" y="241"/>
                  </a:cubicBezTo>
                  <a:cubicBezTo>
                    <a:pt x="378" y="226"/>
                    <a:pt x="378" y="226"/>
                    <a:pt x="378" y="226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4" y="234"/>
                    <a:pt x="397" y="223"/>
                    <a:pt x="399" y="218"/>
                  </a:cubicBezTo>
                  <a:cubicBezTo>
                    <a:pt x="400" y="213"/>
                    <a:pt x="397" y="198"/>
                    <a:pt x="397" y="198"/>
                  </a:cubicBezTo>
                  <a:cubicBezTo>
                    <a:pt x="405" y="193"/>
                    <a:pt x="405" y="193"/>
                    <a:pt x="405" y="193"/>
                  </a:cubicBezTo>
                  <a:cubicBezTo>
                    <a:pt x="409" y="198"/>
                    <a:pt x="409" y="198"/>
                    <a:pt x="409" y="198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43" y="205"/>
                    <a:pt x="443" y="205"/>
                    <a:pt x="443" y="205"/>
                  </a:cubicBezTo>
                  <a:cubicBezTo>
                    <a:pt x="450" y="195"/>
                    <a:pt x="450" y="195"/>
                    <a:pt x="450" y="195"/>
                  </a:cubicBezTo>
                  <a:cubicBezTo>
                    <a:pt x="442" y="191"/>
                    <a:pt x="442" y="191"/>
                    <a:pt x="442" y="191"/>
                  </a:cubicBezTo>
                  <a:cubicBezTo>
                    <a:pt x="442" y="191"/>
                    <a:pt x="450" y="182"/>
                    <a:pt x="449" y="174"/>
                  </a:cubicBezTo>
                  <a:cubicBezTo>
                    <a:pt x="448" y="168"/>
                    <a:pt x="441" y="159"/>
                    <a:pt x="441" y="159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5" y="154"/>
                    <a:pt x="455" y="154"/>
                    <a:pt x="455" y="154"/>
                  </a:cubicBezTo>
                  <a:cubicBezTo>
                    <a:pt x="455" y="154"/>
                    <a:pt x="464" y="159"/>
                    <a:pt x="466" y="157"/>
                  </a:cubicBezTo>
                  <a:cubicBezTo>
                    <a:pt x="467" y="155"/>
                    <a:pt x="459" y="148"/>
                    <a:pt x="465" y="144"/>
                  </a:cubicBezTo>
                  <a:cubicBezTo>
                    <a:pt x="469" y="139"/>
                    <a:pt x="478" y="142"/>
                    <a:pt x="478" y="142"/>
                  </a:cubicBezTo>
                  <a:cubicBezTo>
                    <a:pt x="478" y="142"/>
                    <a:pt x="485" y="152"/>
                    <a:pt x="490" y="157"/>
                  </a:cubicBezTo>
                  <a:cubicBezTo>
                    <a:pt x="497" y="163"/>
                    <a:pt x="499" y="172"/>
                    <a:pt x="499" y="172"/>
                  </a:cubicBezTo>
                  <a:cubicBezTo>
                    <a:pt x="504" y="171"/>
                    <a:pt x="504" y="171"/>
                    <a:pt x="504" y="171"/>
                  </a:cubicBezTo>
                  <a:cubicBezTo>
                    <a:pt x="515" y="171"/>
                    <a:pt x="515" y="171"/>
                    <a:pt x="515" y="171"/>
                  </a:cubicBezTo>
                  <a:cubicBezTo>
                    <a:pt x="522" y="175"/>
                    <a:pt x="522" y="175"/>
                    <a:pt x="522" y="175"/>
                  </a:cubicBezTo>
                  <a:cubicBezTo>
                    <a:pt x="531" y="169"/>
                    <a:pt x="531" y="169"/>
                    <a:pt x="531" y="169"/>
                  </a:cubicBezTo>
                  <a:cubicBezTo>
                    <a:pt x="531" y="169"/>
                    <a:pt x="533" y="161"/>
                    <a:pt x="539" y="161"/>
                  </a:cubicBezTo>
                  <a:cubicBezTo>
                    <a:pt x="544" y="161"/>
                    <a:pt x="546" y="166"/>
                    <a:pt x="546" y="166"/>
                  </a:cubicBezTo>
                  <a:cubicBezTo>
                    <a:pt x="558" y="167"/>
                    <a:pt x="558" y="167"/>
                    <a:pt x="558" y="167"/>
                  </a:cubicBezTo>
                  <a:cubicBezTo>
                    <a:pt x="565" y="174"/>
                    <a:pt x="565" y="174"/>
                    <a:pt x="565" y="174"/>
                  </a:cubicBezTo>
                  <a:cubicBezTo>
                    <a:pt x="565" y="174"/>
                    <a:pt x="567" y="161"/>
                    <a:pt x="570" y="157"/>
                  </a:cubicBezTo>
                  <a:cubicBezTo>
                    <a:pt x="572" y="154"/>
                    <a:pt x="575" y="150"/>
                    <a:pt x="575" y="144"/>
                  </a:cubicBezTo>
                  <a:cubicBezTo>
                    <a:pt x="574" y="139"/>
                    <a:pt x="572" y="130"/>
                    <a:pt x="572" y="130"/>
                  </a:cubicBezTo>
                  <a:cubicBezTo>
                    <a:pt x="574" y="97"/>
                    <a:pt x="574" y="97"/>
                    <a:pt x="574" y="97"/>
                  </a:cubicBezTo>
                  <a:cubicBezTo>
                    <a:pt x="577" y="93"/>
                    <a:pt x="577" y="93"/>
                    <a:pt x="577" y="93"/>
                  </a:cubicBezTo>
                  <a:cubicBezTo>
                    <a:pt x="577" y="93"/>
                    <a:pt x="576" y="81"/>
                    <a:pt x="582" y="79"/>
                  </a:cubicBezTo>
                  <a:cubicBezTo>
                    <a:pt x="588" y="76"/>
                    <a:pt x="595" y="78"/>
                    <a:pt x="595" y="78"/>
                  </a:cubicBezTo>
                  <a:cubicBezTo>
                    <a:pt x="595" y="78"/>
                    <a:pt x="604" y="66"/>
                    <a:pt x="610" y="65"/>
                  </a:cubicBezTo>
                  <a:cubicBezTo>
                    <a:pt x="616" y="64"/>
                    <a:pt x="625" y="77"/>
                    <a:pt x="625" y="77"/>
                  </a:cubicBezTo>
                  <a:cubicBezTo>
                    <a:pt x="648" y="80"/>
                    <a:pt x="648" y="80"/>
                    <a:pt x="648" y="80"/>
                  </a:cubicBezTo>
                  <a:cubicBezTo>
                    <a:pt x="655" y="91"/>
                    <a:pt x="655" y="91"/>
                    <a:pt x="655" y="91"/>
                  </a:cubicBezTo>
                  <a:cubicBezTo>
                    <a:pt x="655" y="91"/>
                    <a:pt x="647" y="105"/>
                    <a:pt x="647" y="110"/>
                  </a:cubicBezTo>
                  <a:cubicBezTo>
                    <a:pt x="647" y="116"/>
                    <a:pt x="650" y="121"/>
                    <a:pt x="650" y="121"/>
                  </a:cubicBezTo>
                  <a:cubicBezTo>
                    <a:pt x="650" y="121"/>
                    <a:pt x="654" y="125"/>
                    <a:pt x="656" y="123"/>
                  </a:cubicBezTo>
                  <a:cubicBezTo>
                    <a:pt x="659" y="121"/>
                    <a:pt x="658" y="107"/>
                    <a:pt x="658" y="107"/>
                  </a:cubicBezTo>
                  <a:cubicBezTo>
                    <a:pt x="658" y="107"/>
                    <a:pt x="655" y="108"/>
                    <a:pt x="656" y="105"/>
                  </a:cubicBezTo>
                  <a:cubicBezTo>
                    <a:pt x="657" y="102"/>
                    <a:pt x="661" y="102"/>
                    <a:pt x="663" y="100"/>
                  </a:cubicBezTo>
                  <a:cubicBezTo>
                    <a:pt x="666" y="98"/>
                    <a:pt x="665" y="93"/>
                    <a:pt x="666" y="93"/>
                  </a:cubicBezTo>
                  <a:cubicBezTo>
                    <a:pt x="668" y="92"/>
                    <a:pt x="674" y="94"/>
                    <a:pt x="674" y="90"/>
                  </a:cubicBezTo>
                  <a:cubicBezTo>
                    <a:pt x="674" y="85"/>
                    <a:pt x="669" y="78"/>
                    <a:pt x="669" y="78"/>
                  </a:cubicBezTo>
                  <a:cubicBezTo>
                    <a:pt x="669" y="78"/>
                    <a:pt x="673" y="78"/>
                    <a:pt x="675" y="79"/>
                  </a:cubicBezTo>
                  <a:cubicBezTo>
                    <a:pt x="678" y="79"/>
                    <a:pt x="685" y="87"/>
                    <a:pt x="687" y="80"/>
                  </a:cubicBezTo>
                  <a:cubicBezTo>
                    <a:pt x="690" y="74"/>
                    <a:pt x="685" y="71"/>
                    <a:pt x="685" y="71"/>
                  </a:cubicBezTo>
                  <a:close/>
                  <a:moveTo>
                    <a:pt x="8" y="787"/>
                  </a:moveTo>
                  <a:cubicBezTo>
                    <a:pt x="8" y="787"/>
                    <a:pt x="7" y="793"/>
                    <a:pt x="8" y="794"/>
                  </a:cubicBezTo>
                  <a:cubicBezTo>
                    <a:pt x="9" y="796"/>
                    <a:pt x="6" y="800"/>
                    <a:pt x="6" y="800"/>
                  </a:cubicBezTo>
                  <a:cubicBezTo>
                    <a:pt x="9" y="800"/>
                    <a:pt x="9" y="800"/>
                    <a:pt x="9" y="800"/>
                  </a:cubicBezTo>
                  <a:cubicBezTo>
                    <a:pt x="11" y="798"/>
                    <a:pt x="11" y="798"/>
                    <a:pt x="11" y="798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0" y="785"/>
                    <a:pt x="10" y="785"/>
                    <a:pt x="10" y="785"/>
                  </a:cubicBezTo>
                  <a:lnTo>
                    <a:pt x="8" y="787"/>
                  </a:lnTo>
                  <a:close/>
                  <a:moveTo>
                    <a:pt x="27" y="805"/>
                  </a:moveTo>
                  <a:cubicBezTo>
                    <a:pt x="18" y="803"/>
                    <a:pt x="18" y="803"/>
                    <a:pt x="18" y="803"/>
                  </a:cubicBezTo>
                  <a:cubicBezTo>
                    <a:pt x="26" y="808"/>
                    <a:pt x="26" y="808"/>
                    <a:pt x="26" y="808"/>
                  </a:cubicBezTo>
                  <a:lnTo>
                    <a:pt x="27" y="805"/>
                  </a:lnTo>
                  <a:close/>
                  <a:moveTo>
                    <a:pt x="36" y="794"/>
                  </a:moveTo>
                  <a:cubicBezTo>
                    <a:pt x="32" y="794"/>
                    <a:pt x="32" y="794"/>
                    <a:pt x="32" y="794"/>
                  </a:cubicBezTo>
                  <a:cubicBezTo>
                    <a:pt x="30" y="799"/>
                    <a:pt x="30" y="799"/>
                    <a:pt x="30" y="799"/>
                  </a:cubicBezTo>
                  <a:cubicBezTo>
                    <a:pt x="38" y="798"/>
                    <a:pt x="38" y="798"/>
                    <a:pt x="38" y="798"/>
                  </a:cubicBezTo>
                  <a:lnTo>
                    <a:pt x="36" y="794"/>
                  </a:lnTo>
                  <a:close/>
                  <a:moveTo>
                    <a:pt x="16" y="750"/>
                  </a:moveTo>
                  <a:cubicBezTo>
                    <a:pt x="16" y="753"/>
                    <a:pt x="16" y="753"/>
                    <a:pt x="16" y="753"/>
                  </a:cubicBezTo>
                  <a:cubicBezTo>
                    <a:pt x="14" y="754"/>
                    <a:pt x="14" y="754"/>
                    <a:pt x="14" y="754"/>
                  </a:cubicBezTo>
                  <a:cubicBezTo>
                    <a:pt x="14" y="754"/>
                    <a:pt x="16" y="762"/>
                    <a:pt x="20" y="762"/>
                  </a:cubicBezTo>
                  <a:cubicBezTo>
                    <a:pt x="26" y="762"/>
                    <a:pt x="22" y="753"/>
                    <a:pt x="22" y="753"/>
                  </a:cubicBezTo>
                  <a:cubicBezTo>
                    <a:pt x="17" y="750"/>
                    <a:pt x="17" y="750"/>
                    <a:pt x="17" y="750"/>
                  </a:cubicBezTo>
                  <a:lnTo>
                    <a:pt x="16" y="750"/>
                  </a:lnTo>
                  <a:close/>
                  <a:moveTo>
                    <a:pt x="15" y="768"/>
                  </a:moveTo>
                  <a:cubicBezTo>
                    <a:pt x="17" y="766"/>
                    <a:pt x="17" y="766"/>
                    <a:pt x="17" y="766"/>
                  </a:cubicBezTo>
                  <a:cubicBezTo>
                    <a:pt x="15" y="762"/>
                    <a:pt x="15" y="762"/>
                    <a:pt x="15" y="762"/>
                  </a:cubicBezTo>
                  <a:cubicBezTo>
                    <a:pt x="15" y="758"/>
                    <a:pt x="15" y="758"/>
                    <a:pt x="15" y="758"/>
                  </a:cubicBezTo>
                  <a:cubicBezTo>
                    <a:pt x="11" y="756"/>
                    <a:pt x="11" y="756"/>
                    <a:pt x="11" y="756"/>
                  </a:cubicBezTo>
                  <a:cubicBezTo>
                    <a:pt x="11" y="757"/>
                    <a:pt x="11" y="757"/>
                    <a:pt x="11" y="757"/>
                  </a:cubicBezTo>
                  <a:cubicBezTo>
                    <a:pt x="11" y="757"/>
                    <a:pt x="10" y="758"/>
                    <a:pt x="9" y="760"/>
                  </a:cubicBezTo>
                  <a:cubicBezTo>
                    <a:pt x="8" y="762"/>
                    <a:pt x="12" y="764"/>
                    <a:pt x="12" y="764"/>
                  </a:cubicBezTo>
                  <a:cubicBezTo>
                    <a:pt x="9" y="767"/>
                    <a:pt x="9" y="767"/>
                    <a:pt x="9" y="767"/>
                  </a:cubicBezTo>
                  <a:cubicBezTo>
                    <a:pt x="9" y="773"/>
                    <a:pt x="9" y="773"/>
                    <a:pt x="9" y="773"/>
                  </a:cubicBezTo>
                  <a:cubicBezTo>
                    <a:pt x="13" y="772"/>
                    <a:pt x="13" y="772"/>
                    <a:pt x="13" y="772"/>
                  </a:cubicBezTo>
                  <a:cubicBezTo>
                    <a:pt x="10" y="767"/>
                    <a:pt x="10" y="767"/>
                    <a:pt x="10" y="767"/>
                  </a:cubicBezTo>
                  <a:cubicBezTo>
                    <a:pt x="14" y="764"/>
                    <a:pt x="14" y="764"/>
                    <a:pt x="14" y="764"/>
                  </a:cubicBezTo>
                  <a:cubicBezTo>
                    <a:pt x="15" y="764"/>
                    <a:pt x="15" y="764"/>
                    <a:pt x="15" y="764"/>
                  </a:cubicBezTo>
                  <a:cubicBezTo>
                    <a:pt x="14" y="766"/>
                    <a:pt x="14" y="766"/>
                    <a:pt x="14" y="766"/>
                  </a:cubicBezTo>
                  <a:lnTo>
                    <a:pt x="15" y="768"/>
                  </a:lnTo>
                  <a:close/>
                  <a:moveTo>
                    <a:pt x="29" y="766"/>
                  </a:moveTo>
                  <a:cubicBezTo>
                    <a:pt x="33" y="764"/>
                    <a:pt x="33" y="764"/>
                    <a:pt x="33" y="764"/>
                  </a:cubicBezTo>
                  <a:cubicBezTo>
                    <a:pt x="27" y="759"/>
                    <a:pt x="27" y="759"/>
                    <a:pt x="27" y="759"/>
                  </a:cubicBezTo>
                  <a:cubicBezTo>
                    <a:pt x="25" y="761"/>
                    <a:pt x="25" y="761"/>
                    <a:pt x="25" y="761"/>
                  </a:cubicBezTo>
                  <a:lnTo>
                    <a:pt x="29" y="766"/>
                  </a:lnTo>
                  <a:close/>
                  <a:moveTo>
                    <a:pt x="28" y="743"/>
                  </a:moveTo>
                  <a:cubicBezTo>
                    <a:pt x="23" y="744"/>
                    <a:pt x="23" y="744"/>
                    <a:pt x="23" y="744"/>
                  </a:cubicBezTo>
                  <a:cubicBezTo>
                    <a:pt x="23" y="747"/>
                    <a:pt x="23" y="747"/>
                    <a:pt x="23" y="747"/>
                  </a:cubicBezTo>
                  <a:cubicBezTo>
                    <a:pt x="20" y="749"/>
                    <a:pt x="20" y="749"/>
                    <a:pt x="20" y="749"/>
                  </a:cubicBezTo>
                  <a:cubicBezTo>
                    <a:pt x="23" y="751"/>
                    <a:pt x="23" y="751"/>
                    <a:pt x="23" y="751"/>
                  </a:cubicBezTo>
                  <a:cubicBezTo>
                    <a:pt x="25" y="754"/>
                    <a:pt x="25" y="754"/>
                    <a:pt x="25" y="754"/>
                  </a:cubicBezTo>
                  <a:cubicBezTo>
                    <a:pt x="27" y="754"/>
                    <a:pt x="27" y="754"/>
                    <a:pt x="27" y="754"/>
                  </a:cubicBezTo>
                  <a:cubicBezTo>
                    <a:pt x="27" y="751"/>
                    <a:pt x="27" y="751"/>
                    <a:pt x="27" y="751"/>
                  </a:cubicBezTo>
                  <a:cubicBezTo>
                    <a:pt x="29" y="749"/>
                    <a:pt x="29" y="749"/>
                    <a:pt x="29" y="749"/>
                  </a:cubicBezTo>
                  <a:lnTo>
                    <a:pt x="28" y="743"/>
                  </a:lnTo>
                  <a:close/>
                  <a:moveTo>
                    <a:pt x="19" y="743"/>
                  </a:moveTo>
                  <a:cubicBezTo>
                    <a:pt x="16" y="746"/>
                    <a:pt x="19" y="747"/>
                    <a:pt x="20" y="746"/>
                  </a:cubicBezTo>
                  <a:cubicBezTo>
                    <a:pt x="23" y="744"/>
                    <a:pt x="22" y="740"/>
                    <a:pt x="19" y="743"/>
                  </a:cubicBezTo>
                  <a:close/>
                  <a:moveTo>
                    <a:pt x="10" y="738"/>
                  </a:moveTo>
                  <a:cubicBezTo>
                    <a:pt x="11" y="740"/>
                    <a:pt x="11" y="740"/>
                    <a:pt x="11" y="740"/>
                  </a:cubicBezTo>
                  <a:cubicBezTo>
                    <a:pt x="12" y="740"/>
                    <a:pt x="12" y="740"/>
                    <a:pt x="12" y="740"/>
                  </a:cubicBezTo>
                  <a:cubicBezTo>
                    <a:pt x="14" y="743"/>
                    <a:pt x="14" y="743"/>
                    <a:pt x="14" y="743"/>
                  </a:cubicBezTo>
                  <a:cubicBezTo>
                    <a:pt x="12" y="745"/>
                    <a:pt x="12" y="745"/>
                    <a:pt x="12" y="745"/>
                  </a:cubicBezTo>
                  <a:cubicBezTo>
                    <a:pt x="15" y="746"/>
                    <a:pt x="15" y="746"/>
                    <a:pt x="15" y="746"/>
                  </a:cubicBezTo>
                  <a:cubicBezTo>
                    <a:pt x="16" y="742"/>
                    <a:pt x="16" y="742"/>
                    <a:pt x="16" y="742"/>
                  </a:cubicBezTo>
                  <a:cubicBezTo>
                    <a:pt x="12" y="737"/>
                    <a:pt x="12" y="737"/>
                    <a:pt x="12" y="737"/>
                  </a:cubicBezTo>
                  <a:lnTo>
                    <a:pt x="10" y="738"/>
                  </a:lnTo>
                  <a:close/>
                  <a:moveTo>
                    <a:pt x="13" y="749"/>
                  </a:moveTo>
                  <a:cubicBezTo>
                    <a:pt x="11" y="746"/>
                    <a:pt x="11" y="746"/>
                    <a:pt x="11" y="746"/>
                  </a:cubicBezTo>
                  <a:cubicBezTo>
                    <a:pt x="8" y="749"/>
                    <a:pt x="8" y="749"/>
                    <a:pt x="8" y="749"/>
                  </a:cubicBezTo>
                  <a:cubicBezTo>
                    <a:pt x="9" y="751"/>
                    <a:pt x="9" y="751"/>
                    <a:pt x="9" y="751"/>
                  </a:cubicBezTo>
                  <a:lnTo>
                    <a:pt x="13" y="749"/>
                  </a:lnTo>
                  <a:close/>
                  <a:moveTo>
                    <a:pt x="41" y="738"/>
                  </a:moveTo>
                  <a:cubicBezTo>
                    <a:pt x="39" y="740"/>
                    <a:pt x="39" y="740"/>
                    <a:pt x="39" y="740"/>
                  </a:cubicBezTo>
                  <a:cubicBezTo>
                    <a:pt x="40" y="744"/>
                    <a:pt x="40" y="744"/>
                    <a:pt x="40" y="744"/>
                  </a:cubicBezTo>
                  <a:cubicBezTo>
                    <a:pt x="43" y="741"/>
                    <a:pt x="43" y="741"/>
                    <a:pt x="43" y="741"/>
                  </a:cubicBezTo>
                  <a:lnTo>
                    <a:pt x="41" y="738"/>
                  </a:lnTo>
                  <a:close/>
                  <a:moveTo>
                    <a:pt x="9" y="733"/>
                  </a:moveTo>
                  <a:cubicBezTo>
                    <a:pt x="11" y="734"/>
                    <a:pt x="13" y="734"/>
                    <a:pt x="13" y="734"/>
                  </a:cubicBezTo>
                  <a:cubicBezTo>
                    <a:pt x="11" y="729"/>
                    <a:pt x="11" y="729"/>
                    <a:pt x="11" y="729"/>
                  </a:cubicBezTo>
                  <a:cubicBezTo>
                    <a:pt x="13" y="727"/>
                    <a:pt x="13" y="727"/>
                    <a:pt x="13" y="727"/>
                  </a:cubicBezTo>
                  <a:cubicBezTo>
                    <a:pt x="10" y="719"/>
                    <a:pt x="10" y="719"/>
                    <a:pt x="10" y="719"/>
                  </a:cubicBezTo>
                  <a:cubicBezTo>
                    <a:pt x="9" y="722"/>
                    <a:pt x="9" y="722"/>
                    <a:pt x="9" y="722"/>
                  </a:cubicBezTo>
                  <a:cubicBezTo>
                    <a:pt x="11" y="726"/>
                    <a:pt x="11" y="726"/>
                    <a:pt x="11" y="726"/>
                  </a:cubicBezTo>
                  <a:cubicBezTo>
                    <a:pt x="7" y="727"/>
                    <a:pt x="7" y="727"/>
                    <a:pt x="7" y="727"/>
                  </a:cubicBezTo>
                  <a:cubicBezTo>
                    <a:pt x="7" y="727"/>
                    <a:pt x="7" y="731"/>
                    <a:pt x="9" y="733"/>
                  </a:cubicBezTo>
                  <a:close/>
                  <a:moveTo>
                    <a:pt x="16" y="715"/>
                  </a:moveTo>
                  <a:cubicBezTo>
                    <a:pt x="10" y="711"/>
                    <a:pt x="10" y="711"/>
                    <a:pt x="10" y="711"/>
                  </a:cubicBezTo>
                  <a:cubicBezTo>
                    <a:pt x="9" y="712"/>
                    <a:pt x="9" y="712"/>
                    <a:pt x="9" y="712"/>
                  </a:cubicBezTo>
                  <a:cubicBezTo>
                    <a:pt x="12" y="714"/>
                    <a:pt x="12" y="714"/>
                    <a:pt x="12" y="714"/>
                  </a:cubicBezTo>
                  <a:cubicBezTo>
                    <a:pt x="12" y="718"/>
                    <a:pt x="12" y="718"/>
                    <a:pt x="12" y="718"/>
                  </a:cubicBezTo>
                  <a:cubicBezTo>
                    <a:pt x="14" y="721"/>
                    <a:pt x="14" y="721"/>
                    <a:pt x="14" y="721"/>
                  </a:cubicBezTo>
                  <a:cubicBezTo>
                    <a:pt x="17" y="721"/>
                    <a:pt x="17" y="721"/>
                    <a:pt x="17" y="721"/>
                  </a:cubicBezTo>
                  <a:lnTo>
                    <a:pt x="16" y="715"/>
                  </a:lnTo>
                  <a:close/>
                  <a:moveTo>
                    <a:pt x="24" y="713"/>
                  </a:moveTo>
                  <a:cubicBezTo>
                    <a:pt x="28" y="719"/>
                    <a:pt x="28" y="719"/>
                    <a:pt x="28" y="719"/>
                  </a:cubicBezTo>
                  <a:cubicBezTo>
                    <a:pt x="32" y="717"/>
                    <a:pt x="32" y="717"/>
                    <a:pt x="32" y="717"/>
                  </a:cubicBezTo>
                  <a:cubicBezTo>
                    <a:pt x="34" y="706"/>
                    <a:pt x="34" y="706"/>
                    <a:pt x="34" y="706"/>
                  </a:cubicBezTo>
                  <a:cubicBezTo>
                    <a:pt x="33" y="705"/>
                    <a:pt x="33" y="705"/>
                    <a:pt x="33" y="705"/>
                  </a:cubicBezTo>
                  <a:cubicBezTo>
                    <a:pt x="29" y="710"/>
                    <a:pt x="29" y="710"/>
                    <a:pt x="29" y="710"/>
                  </a:cubicBezTo>
                  <a:cubicBezTo>
                    <a:pt x="29" y="710"/>
                    <a:pt x="28" y="710"/>
                    <a:pt x="26" y="711"/>
                  </a:cubicBezTo>
                  <a:cubicBezTo>
                    <a:pt x="24" y="711"/>
                    <a:pt x="24" y="713"/>
                    <a:pt x="24" y="713"/>
                  </a:cubicBezTo>
                  <a:close/>
                  <a:moveTo>
                    <a:pt x="22" y="703"/>
                  </a:moveTo>
                  <a:cubicBezTo>
                    <a:pt x="13" y="694"/>
                    <a:pt x="13" y="694"/>
                    <a:pt x="13" y="694"/>
                  </a:cubicBezTo>
                  <a:cubicBezTo>
                    <a:pt x="12" y="695"/>
                    <a:pt x="12" y="695"/>
                    <a:pt x="12" y="695"/>
                  </a:cubicBezTo>
                  <a:cubicBezTo>
                    <a:pt x="18" y="703"/>
                    <a:pt x="18" y="703"/>
                    <a:pt x="18" y="703"/>
                  </a:cubicBezTo>
                  <a:cubicBezTo>
                    <a:pt x="17" y="705"/>
                    <a:pt x="17" y="705"/>
                    <a:pt x="17" y="705"/>
                  </a:cubicBezTo>
                  <a:cubicBezTo>
                    <a:pt x="15" y="704"/>
                    <a:pt x="15" y="704"/>
                    <a:pt x="15" y="704"/>
                  </a:cubicBezTo>
                  <a:cubicBezTo>
                    <a:pt x="20" y="711"/>
                    <a:pt x="20" y="711"/>
                    <a:pt x="20" y="711"/>
                  </a:cubicBezTo>
                  <a:cubicBezTo>
                    <a:pt x="23" y="711"/>
                    <a:pt x="25" y="708"/>
                    <a:pt x="25" y="708"/>
                  </a:cubicBezTo>
                  <a:cubicBezTo>
                    <a:pt x="23" y="705"/>
                    <a:pt x="23" y="705"/>
                    <a:pt x="23" y="705"/>
                  </a:cubicBezTo>
                  <a:lnTo>
                    <a:pt x="22" y="703"/>
                  </a:lnTo>
                  <a:close/>
                  <a:moveTo>
                    <a:pt x="9" y="699"/>
                  </a:moveTo>
                  <a:cubicBezTo>
                    <a:pt x="8" y="699"/>
                    <a:pt x="8" y="699"/>
                    <a:pt x="8" y="699"/>
                  </a:cubicBezTo>
                  <a:cubicBezTo>
                    <a:pt x="8" y="699"/>
                    <a:pt x="10" y="703"/>
                    <a:pt x="11" y="704"/>
                  </a:cubicBezTo>
                  <a:cubicBezTo>
                    <a:pt x="12" y="705"/>
                    <a:pt x="14" y="707"/>
                    <a:pt x="14" y="707"/>
                  </a:cubicBezTo>
                  <a:cubicBezTo>
                    <a:pt x="14" y="707"/>
                    <a:pt x="15" y="705"/>
                    <a:pt x="13" y="703"/>
                  </a:cubicBezTo>
                  <a:cubicBezTo>
                    <a:pt x="12" y="701"/>
                    <a:pt x="9" y="699"/>
                    <a:pt x="9" y="699"/>
                  </a:cubicBezTo>
                  <a:close/>
                  <a:moveTo>
                    <a:pt x="10" y="707"/>
                  </a:moveTo>
                  <a:cubicBezTo>
                    <a:pt x="9" y="707"/>
                    <a:pt x="10" y="709"/>
                    <a:pt x="11" y="710"/>
                  </a:cubicBezTo>
                  <a:cubicBezTo>
                    <a:pt x="12" y="710"/>
                    <a:pt x="16" y="712"/>
                    <a:pt x="16" y="712"/>
                  </a:cubicBezTo>
                  <a:cubicBezTo>
                    <a:pt x="16" y="710"/>
                    <a:pt x="16" y="710"/>
                    <a:pt x="16" y="710"/>
                  </a:cubicBezTo>
                  <a:cubicBezTo>
                    <a:pt x="16" y="710"/>
                    <a:pt x="11" y="707"/>
                    <a:pt x="10" y="707"/>
                  </a:cubicBezTo>
                  <a:close/>
                  <a:moveTo>
                    <a:pt x="9" y="693"/>
                  </a:moveTo>
                  <a:cubicBezTo>
                    <a:pt x="7" y="695"/>
                    <a:pt x="7" y="695"/>
                    <a:pt x="7" y="695"/>
                  </a:cubicBezTo>
                  <a:cubicBezTo>
                    <a:pt x="11" y="698"/>
                    <a:pt x="11" y="698"/>
                    <a:pt x="11" y="698"/>
                  </a:cubicBezTo>
                  <a:lnTo>
                    <a:pt x="9" y="693"/>
                  </a:lnTo>
                  <a:close/>
                  <a:moveTo>
                    <a:pt x="10" y="692"/>
                  </a:moveTo>
                  <a:cubicBezTo>
                    <a:pt x="9" y="687"/>
                    <a:pt x="9" y="687"/>
                    <a:pt x="9" y="687"/>
                  </a:cubicBezTo>
                  <a:cubicBezTo>
                    <a:pt x="7" y="689"/>
                    <a:pt x="7" y="689"/>
                    <a:pt x="7" y="689"/>
                  </a:cubicBezTo>
                  <a:lnTo>
                    <a:pt x="10" y="692"/>
                  </a:lnTo>
                  <a:close/>
                  <a:moveTo>
                    <a:pt x="9" y="678"/>
                  </a:moveTo>
                  <a:cubicBezTo>
                    <a:pt x="11" y="676"/>
                    <a:pt x="11" y="676"/>
                    <a:pt x="11" y="676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15" y="676"/>
                    <a:pt x="15" y="674"/>
                  </a:cubicBezTo>
                  <a:cubicBezTo>
                    <a:pt x="15" y="671"/>
                    <a:pt x="12" y="670"/>
                    <a:pt x="12" y="670"/>
                  </a:cubicBezTo>
                  <a:cubicBezTo>
                    <a:pt x="10" y="671"/>
                    <a:pt x="10" y="671"/>
                    <a:pt x="10" y="671"/>
                  </a:cubicBezTo>
                  <a:cubicBezTo>
                    <a:pt x="10" y="671"/>
                    <a:pt x="8" y="675"/>
                    <a:pt x="9" y="678"/>
                  </a:cubicBezTo>
                  <a:close/>
                  <a:moveTo>
                    <a:pt x="6" y="680"/>
                  </a:moveTo>
                  <a:cubicBezTo>
                    <a:pt x="7" y="680"/>
                    <a:pt x="7" y="680"/>
                    <a:pt x="7" y="680"/>
                  </a:cubicBezTo>
                  <a:cubicBezTo>
                    <a:pt x="8" y="676"/>
                    <a:pt x="8" y="676"/>
                    <a:pt x="8" y="676"/>
                  </a:cubicBezTo>
                  <a:cubicBezTo>
                    <a:pt x="7" y="676"/>
                    <a:pt x="7" y="676"/>
                    <a:pt x="7" y="676"/>
                  </a:cubicBezTo>
                  <a:lnTo>
                    <a:pt x="6" y="680"/>
                  </a:lnTo>
                  <a:close/>
                  <a:moveTo>
                    <a:pt x="3" y="678"/>
                  </a:moveTo>
                  <a:cubicBezTo>
                    <a:pt x="0" y="678"/>
                    <a:pt x="1" y="681"/>
                    <a:pt x="2" y="681"/>
                  </a:cubicBezTo>
                  <a:cubicBezTo>
                    <a:pt x="4" y="682"/>
                    <a:pt x="7" y="677"/>
                    <a:pt x="3" y="678"/>
                  </a:cubicBezTo>
                  <a:close/>
                  <a:moveTo>
                    <a:pt x="7" y="661"/>
                  </a:moveTo>
                  <a:cubicBezTo>
                    <a:pt x="3" y="661"/>
                    <a:pt x="4" y="663"/>
                    <a:pt x="6" y="663"/>
                  </a:cubicBezTo>
                  <a:cubicBezTo>
                    <a:pt x="9" y="663"/>
                    <a:pt x="10" y="662"/>
                    <a:pt x="7" y="661"/>
                  </a:cubicBezTo>
                  <a:close/>
                  <a:moveTo>
                    <a:pt x="17" y="658"/>
                  </a:moveTo>
                  <a:cubicBezTo>
                    <a:pt x="14" y="657"/>
                    <a:pt x="14" y="657"/>
                    <a:pt x="14" y="657"/>
                  </a:cubicBezTo>
                  <a:cubicBezTo>
                    <a:pt x="11" y="660"/>
                    <a:pt x="11" y="660"/>
                    <a:pt x="11" y="660"/>
                  </a:cubicBezTo>
                  <a:cubicBezTo>
                    <a:pt x="13" y="662"/>
                    <a:pt x="13" y="662"/>
                    <a:pt x="13" y="662"/>
                  </a:cubicBezTo>
                  <a:lnTo>
                    <a:pt x="17" y="658"/>
                  </a:lnTo>
                  <a:close/>
                  <a:moveTo>
                    <a:pt x="18" y="649"/>
                  </a:moveTo>
                  <a:cubicBezTo>
                    <a:pt x="14" y="646"/>
                    <a:pt x="14" y="646"/>
                    <a:pt x="14" y="646"/>
                  </a:cubicBezTo>
                  <a:cubicBezTo>
                    <a:pt x="15" y="650"/>
                    <a:pt x="15" y="650"/>
                    <a:pt x="15" y="650"/>
                  </a:cubicBezTo>
                  <a:lnTo>
                    <a:pt x="18" y="649"/>
                  </a:lnTo>
                  <a:close/>
                  <a:moveTo>
                    <a:pt x="22" y="643"/>
                  </a:moveTo>
                  <a:cubicBezTo>
                    <a:pt x="17" y="645"/>
                    <a:pt x="17" y="645"/>
                    <a:pt x="17" y="645"/>
                  </a:cubicBezTo>
                  <a:cubicBezTo>
                    <a:pt x="22" y="647"/>
                    <a:pt x="22" y="647"/>
                    <a:pt x="22" y="647"/>
                  </a:cubicBezTo>
                  <a:lnTo>
                    <a:pt x="22" y="643"/>
                  </a:lnTo>
                  <a:close/>
                  <a:moveTo>
                    <a:pt x="14" y="639"/>
                  </a:moveTo>
                  <a:cubicBezTo>
                    <a:pt x="14" y="635"/>
                    <a:pt x="11" y="635"/>
                    <a:pt x="12" y="638"/>
                  </a:cubicBezTo>
                  <a:cubicBezTo>
                    <a:pt x="12" y="641"/>
                    <a:pt x="14" y="641"/>
                    <a:pt x="14" y="639"/>
                  </a:cubicBezTo>
                  <a:close/>
                  <a:moveTo>
                    <a:pt x="15" y="632"/>
                  </a:moveTo>
                  <a:cubicBezTo>
                    <a:pt x="24" y="629"/>
                    <a:pt x="24" y="629"/>
                    <a:pt x="24" y="629"/>
                  </a:cubicBezTo>
                  <a:cubicBezTo>
                    <a:pt x="25" y="626"/>
                    <a:pt x="25" y="626"/>
                    <a:pt x="25" y="626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15" y="623"/>
                    <a:pt x="15" y="623"/>
                    <a:pt x="15" y="623"/>
                  </a:cubicBezTo>
                  <a:cubicBezTo>
                    <a:pt x="15" y="626"/>
                    <a:pt x="15" y="626"/>
                    <a:pt x="15" y="626"/>
                  </a:cubicBezTo>
                  <a:cubicBezTo>
                    <a:pt x="12" y="627"/>
                    <a:pt x="12" y="627"/>
                    <a:pt x="12" y="627"/>
                  </a:cubicBezTo>
                  <a:cubicBezTo>
                    <a:pt x="16" y="628"/>
                    <a:pt x="16" y="628"/>
                    <a:pt x="16" y="628"/>
                  </a:cubicBezTo>
                  <a:lnTo>
                    <a:pt x="15" y="632"/>
                  </a:lnTo>
                  <a:close/>
                  <a:moveTo>
                    <a:pt x="12" y="630"/>
                  </a:moveTo>
                  <a:cubicBezTo>
                    <a:pt x="13" y="632"/>
                    <a:pt x="13" y="632"/>
                    <a:pt x="13" y="632"/>
                  </a:cubicBezTo>
                  <a:cubicBezTo>
                    <a:pt x="14" y="633"/>
                    <a:pt x="14" y="633"/>
                    <a:pt x="14" y="633"/>
                  </a:cubicBezTo>
                  <a:cubicBezTo>
                    <a:pt x="14" y="629"/>
                    <a:pt x="14" y="629"/>
                    <a:pt x="14" y="629"/>
                  </a:cubicBezTo>
                  <a:lnTo>
                    <a:pt x="12" y="630"/>
                  </a:lnTo>
                  <a:close/>
                  <a:moveTo>
                    <a:pt x="20" y="618"/>
                  </a:moveTo>
                  <a:cubicBezTo>
                    <a:pt x="22" y="619"/>
                    <a:pt x="22" y="623"/>
                    <a:pt x="22" y="623"/>
                  </a:cubicBezTo>
                  <a:cubicBezTo>
                    <a:pt x="25" y="623"/>
                    <a:pt x="25" y="623"/>
                    <a:pt x="25" y="623"/>
                  </a:cubicBezTo>
                  <a:cubicBezTo>
                    <a:pt x="25" y="616"/>
                    <a:pt x="25" y="616"/>
                    <a:pt x="25" y="616"/>
                  </a:cubicBezTo>
                  <a:cubicBezTo>
                    <a:pt x="20" y="615"/>
                    <a:pt x="20" y="615"/>
                    <a:pt x="20" y="615"/>
                  </a:cubicBezTo>
                  <a:cubicBezTo>
                    <a:pt x="20" y="615"/>
                    <a:pt x="18" y="617"/>
                    <a:pt x="20" y="618"/>
                  </a:cubicBezTo>
                  <a:close/>
                  <a:moveTo>
                    <a:pt x="36" y="604"/>
                  </a:moveTo>
                  <a:cubicBezTo>
                    <a:pt x="36" y="601"/>
                    <a:pt x="36" y="601"/>
                    <a:pt x="36" y="601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4"/>
                    <a:pt x="34" y="604"/>
                    <a:pt x="34" y="604"/>
                  </a:cubicBezTo>
                  <a:lnTo>
                    <a:pt x="36" y="604"/>
                  </a:lnTo>
                  <a:close/>
                  <a:moveTo>
                    <a:pt x="45" y="607"/>
                  </a:moveTo>
                  <a:cubicBezTo>
                    <a:pt x="48" y="605"/>
                    <a:pt x="48" y="601"/>
                    <a:pt x="44" y="600"/>
                  </a:cubicBezTo>
                  <a:cubicBezTo>
                    <a:pt x="40" y="598"/>
                    <a:pt x="40" y="603"/>
                    <a:pt x="40" y="603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7"/>
                    <a:pt x="42" y="608"/>
                    <a:pt x="45" y="607"/>
                  </a:cubicBezTo>
                  <a:close/>
                  <a:moveTo>
                    <a:pt x="42" y="598"/>
                  </a:moveTo>
                  <a:cubicBezTo>
                    <a:pt x="45" y="598"/>
                    <a:pt x="45" y="598"/>
                    <a:pt x="45" y="598"/>
                  </a:cubicBezTo>
                  <a:cubicBezTo>
                    <a:pt x="46" y="596"/>
                    <a:pt x="46" y="596"/>
                    <a:pt x="46" y="596"/>
                  </a:cubicBezTo>
                  <a:cubicBezTo>
                    <a:pt x="43" y="593"/>
                    <a:pt x="43" y="593"/>
                    <a:pt x="43" y="593"/>
                  </a:cubicBezTo>
                  <a:cubicBezTo>
                    <a:pt x="41" y="593"/>
                    <a:pt x="41" y="593"/>
                    <a:pt x="41" y="593"/>
                  </a:cubicBezTo>
                  <a:cubicBezTo>
                    <a:pt x="42" y="596"/>
                    <a:pt x="42" y="596"/>
                    <a:pt x="42" y="596"/>
                  </a:cubicBezTo>
                  <a:lnTo>
                    <a:pt x="42" y="598"/>
                  </a:lnTo>
                  <a:close/>
                  <a:moveTo>
                    <a:pt x="53" y="593"/>
                  </a:moveTo>
                  <a:cubicBezTo>
                    <a:pt x="49" y="594"/>
                    <a:pt x="49" y="594"/>
                    <a:pt x="49" y="594"/>
                  </a:cubicBezTo>
                  <a:cubicBezTo>
                    <a:pt x="49" y="603"/>
                    <a:pt x="49" y="603"/>
                    <a:pt x="49" y="603"/>
                  </a:cubicBezTo>
                  <a:cubicBezTo>
                    <a:pt x="57" y="598"/>
                    <a:pt x="57" y="598"/>
                    <a:pt x="57" y="598"/>
                  </a:cubicBezTo>
                  <a:lnTo>
                    <a:pt x="53" y="593"/>
                  </a:lnTo>
                  <a:close/>
                  <a:moveTo>
                    <a:pt x="57" y="593"/>
                  </a:moveTo>
                  <a:cubicBezTo>
                    <a:pt x="60" y="596"/>
                    <a:pt x="60" y="596"/>
                    <a:pt x="60" y="596"/>
                  </a:cubicBezTo>
                  <a:cubicBezTo>
                    <a:pt x="65" y="594"/>
                    <a:pt x="65" y="594"/>
                    <a:pt x="65" y="594"/>
                  </a:cubicBezTo>
                  <a:cubicBezTo>
                    <a:pt x="61" y="592"/>
                    <a:pt x="61" y="592"/>
                    <a:pt x="61" y="592"/>
                  </a:cubicBezTo>
                  <a:lnTo>
                    <a:pt x="57" y="593"/>
                  </a:lnTo>
                  <a:close/>
                  <a:moveTo>
                    <a:pt x="55" y="587"/>
                  </a:moveTo>
                  <a:cubicBezTo>
                    <a:pt x="51" y="591"/>
                    <a:pt x="51" y="591"/>
                    <a:pt x="51" y="591"/>
                  </a:cubicBezTo>
                  <a:cubicBezTo>
                    <a:pt x="58" y="591"/>
                    <a:pt x="58" y="591"/>
                    <a:pt x="58" y="591"/>
                  </a:cubicBezTo>
                  <a:lnTo>
                    <a:pt x="55" y="587"/>
                  </a:lnTo>
                  <a:close/>
                  <a:moveTo>
                    <a:pt x="57" y="586"/>
                  </a:moveTo>
                  <a:cubicBezTo>
                    <a:pt x="59" y="586"/>
                    <a:pt x="61" y="581"/>
                    <a:pt x="58" y="582"/>
                  </a:cubicBezTo>
                  <a:cubicBezTo>
                    <a:pt x="55" y="583"/>
                    <a:pt x="56" y="586"/>
                    <a:pt x="57" y="586"/>
                  </a:cubicBezTo>
                  <a:close/>
                  <a:moveTo>
                    <a:pt x="63" y="580"/>
                  </a:moveTo>
                  <a:cubicBezTo>
                    <a:pt x="59" y="579"/>
                    <a:pt x="59" y="579"/>
                    <a:pt x="59" y="579"/>
                  </a:cubicBezTo>
                  <a:cubicBezTo>
                    <a:pt x="62" y="582"/>
                    <a:pt x="62" y="582"/>
                    <a:pt x="62" y="582"/>
                  </a:cubicBezTo>
                  <a:lnTo>
                    <a:pt x="63" y="580"/>
                  </a:lnTo>
                  <a:close/>
                  <a:moveTo>
                    <a:pt x="63" y="577"/>
                  </a:moveTo>
                  <a:cubicBezTo>
                    <a:pt x="62" y="578"/>
                    <a:pt x="62" y="578"/>
                    <a:pt x="62" y="578"/>
                  </a:cubicBezTo>
                  <a:cubicBezTo>
                    <a:pt x="65" y="580"/>
                    <a:pt x="65" y="580"/>
                    <a:pt x="65" y="580"/>
                  </a:cubicBezTo>
                  <a:lnTo>
                    <a:pt x="63" y="577"/>
                  </a:lnTo>
                  <a:close/>
                  <a:moveTo>
                    <a:pt x="71" y="575"/>
                  </a:moveTo>
                  <a:cubicBezTo>
                    <a:pt x="71" y="571"/>
                    <a:pt x="71" y="571"/>
                    <a:pt x="71" y="571"/>
                  </a:cubicBezTo>
                  <a:cubicBezTo>
                    <a:pt x="69" y="571"/>
                    <a:pt x="69" y="571"/>
                    <a:pt x="69" y="571"/>
                  </a:cubicBezTo>
                  <a:cubicBezTo>
                    <a:pt x="69" y="575"/>
                    <a:pt x="69" y="575"/>
                    <a:pt x="69" y="575"/>
                  </a:cubicBezTo>
                  <a:lnTo>
                    <a:pt x="71" y="575"/>
                  </a:lnTo>
                  <a:close/>
                  <a:moveTo>
                    <a:pt x="80" y="578"/>
                  </a:moveTo>
                  <a:cubicBezTo>
                    <a:pt x="85" y="576"/>
                    <a:pt x="85" y="575"/>
                    <a:pt x="82" y="575"/>
                  </a:cubicBezTo>
                  <a:cubicBezTo>
                    <a:pt x="78" y="573"/>
                    <a:pt x="77" y="576"/>
                    <a:pt x="77" y="577"/>
                  </a:cubicBezTo>
                  <a:cubicBezTo>
                    <a:pt x="77" y="578"/>
                    <a:pt x="80" y="578"/>
                    <a:pt x="80" y="578"/>
                  </a:cubicBezTo>
                  <a:close/>
                  <a:moveTo>
                    <a:pt x="87" y="568"/>
                  </a:moveTo>
                  <a:cubicBezTo>
                    <a:pt x="82" y="567"/>
                    <a:pt x="82" y="567"/>
                    <a:pt x="82" y="567"/>
                  </a:cubicBezTo>
                  <a:cubicBezTo>
                    <a:pt x="80" y="568"/>
                    <a:pt x="80" y="568"/>
                    <a:pt x="80" y="568"/>
                  </a:cubicBezTo>
                  <a:cubicBezTo>
                    <a:pt x="83" y="571"/>
                    <a:pt x="83" y="571"/>
                    <a:pt x="83" y="571"/>
                  </a:cubicBezTo>
                  <a:lnTo>
                    <a:pt x="87" y="568"/>
                  </a:lnTo>
                  <a:close/>
                  <a:moveTo>
                    <a:pt x="110" y="557"/>
                  </a:moveTo>
                  <a:cubicBezTo>
                    <a:pt x="109" y="551"/>
                    <a:pt x="109" y="551"/>
                    <a:pt x="109" y="551"/>
                  </a:cubicBezTo>
                  <a:cubicBezTo>
                    <a:pt x="106" y="551"/>
                    <a:pt x="106" y="551"/>
                    <a:pt x="106" y="551"/>
                  </a:cubicBezTo>
                  <a:cubicBezTo>
                    <a:pt x="107" y="554"/>
                    <a:pt x="107" y="554"/>
                    <a:pt x="107" y="554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0" y="558"/>
                    <a:pt x="100" y="558"/>
                    <a:pt x="100" y="558"/>
                  </a:cubicBezTo>
                  <a:cubicBezTo>
                    <a:pt x="105" y="562"/>
                    <a:pt x="105" y="562"/>
                    <a:pt x="105" y="562"/>
                  </a:cubicBezTo>
                  <a:lnTo>
                    <a:pt x="110" y="557"/>
                  </a:lnTo>
                  <a:close/>
                  <a:moveTo>
                    <a:pt x="116" y="555"/>
                  </a:moveTo>
                  <a:cubicBezTo>
                    <a:pt x="116" y="552"/>
                    <a:pt x="116" y="552"/>
                    <a:pt x="116" y="552"/>
                  </a:cubicBezTo>
                  <a:cubicBezTo>
                    <a:pt x="111" y="553"/>
                    <a:pt x="111" y="553"/>
                    <a:pt x="111" y="553"/>
                  </a:cubicBezTo>
                  <a:cubicBezTo>
                    <a:pt x="112" y="557"/>
                    <a:pt x="112" y="557"/>
                    <a:pt x="112" y="557"/>
                  </a:cubicBezTo>
                  <a:lnTo>
                    <a:pt x="116" y="555"/>
                  </a:lnTo>
                  <a:close/>
                  <a:moveTo>
                    <a:pt x="113" y="548"/>
                  </a:moveTo>
                  <a:cubicBezTo>
                    <a:pt x="111" y="552"/>
                    <a:pt x="111" y="552"/>
                    <a:pt x="111" y="552"/>
                  </a:cubicBezTo>
                  <a:cubicBezTo>
                    <a:pt x="115" y="551"/>
                    <a:pt x="115" y="551"/>
                    <a:pt x="115" y="551"/>
                  </a:cubicBezTo>
                  <a:lnTo>
                    <a:pt x="113" y="548"/>
                  </a:lnTo>
                  <a:close/>
                  <a:moveTo>
                    <a:pt x="124" y="545"/>
                  </a:moveTo>
                  <a:cubicBezTo>
                    <a:pt x="117" y="545"/>
                    <a:pt x="121" y="549"/>
                    <a:pt x="123" y="549"/>
                  </a:cubicBezTo>
                  <a:cubicBezTo>
                    <a:pt x="126" y="550"/>
                    <a:pt x="130" y="545"/>
                    <a:pt x="124" y="545"/>
                  </a:cubicBezTo>
                  <a:close/>
                  <a:moveTo>
                    <a:pt x="135" y="547"/>
                  </a:moveTo>
                  <a:cubicBezTo>
                    <a:pt x="133" y="542"/>
                    <a:pt x="133" y="542"/>
                    <a:pt x="133" y="542"/>
                  </a:cubicBezTo>
                  <a:cubicBezTo>
                    <a:pt x="132" y="544"/>
                    <a:pt x="132" y="544"/>
                    <a:pt x="132" y="544"/>
                  </a:cubicBezTo>
                  <a:cubicBezTo>
                    <a:pt x="129" y="541"/>
                    <a:pt x="129" y="541"/>
                    <a:pt x="129" y="541"/>
                  </a:cubicBezTo>
                  <a:cubicBezTo>
                    <a:pt x="127" y="542"/>
                    <a:pt x="127" y="542"/>
                    <a:pt x="127" y="542"/>
                  </a:cubicBezTo>
                  <a:cubicBezTo>
                    <a:pt x="132" y="549"/>
                    <a:pt x="132" y="549"/>
                    <a:pt x="132" y="549"/>
                  </a:cubicBezTo>
                  <a:lnTo>
                    <a:pt x="135" y="547"/>
                  </a:lnTo>
                  <a:close/>
                  <a:moveTo>
                    <a:pt x="118" y="535"/>
                  </a:moveTo>
                  <a:cubicBezTo>
                    <a:pt x="123" y="537"/>
                    <a:pt x="123" y="537"/>
                    <a:pt x="123" y="537"/>
                  </a:cubicBezTo>
                  <a:cubicBezTo>
                    <a:pt x="127" y="536"/>
                    <a:pt x="127" y="536"/>
                    <a:pt x="127" y="536"/>
                  </a:cubicBezTo>
                  <a:cubicBezTo>
                    <a:pt x="127" y="536"/>
                    <a:pt x="127" y="529"/>
                    <a:pt x="123" y="530"/>
                  </a:cubicBezTo>
                  <a:cubicBezTo>
                    <a:pt x="117" y="530"/>
                    <a:pt x="115" y="531"/>
                    <a:pt x="115" y="531"/>
                  </a:cubicBezTo>
                  <a:cubicBezTo>
                    <a:pt x="116" y="535"/>
                    <a:pt x="116" y="535"/>
                    <a:pt x="116" y="535"/>
                  </a:cubicBezTo>
                  <a:lnTo>
                    <a:pt x="118" y="535"/>
                  </a:lnTo>
                  <a:close/>
                  <a:moveTo>
                    <a:pt x="138" y="522"/>
                  </a:moveTo>
                  <a:cubicBezTo>
                    <a:pt x="138" y="522"/>
                    <a:pt x="131" y="524"/>
                    <a:pt x="131" y="528"/>
                  </a:cubicBezTo>
                  <a:cubicBezTo>
                    <a:pt x="131" y="533"/>
                    <a:pt x="138" y="530"/>
                    <a:pt x="145" y="529"/>
                  </a:cubicBezTo>
                  <a:cubicBezTo>
                    <a:pt x="154" y="526"/>
                    <a:pt x="158" y="523"/>
                    <a:pt x="156" y="522"/>
                  </a:cubicBezTo>
                  <a:cubicBezTo>
                    <a:pt x="154" y="521"/>
                    <a:pt x="150" y="521"/>
                    <a:pt x="150" y="521"/>
                  </a:cubicBezTo>
                  <a:cubicBezTo>
                    <a:pt x="150" y="518"/>
                    <a:pt x="150" y="518"/>
                    <a:pt x="150" y="518"/>
                  </a:cubicBezTo>
                  <a:cubicBezTo>
                    <a:pt x="150" y="518"/>
                    <a:pt x="147" y="518"/>
                    <a:pt x="143" y="519"/>
                  </a:cubicBezTo>
                  <a:cubicBezTo>
                    <a:pt x="139" y="519"/>
                    <a:pt x="138" y="522"/>
                    <a:pt x="138" y="522"/>
                  </a:cubicBezTo>
                  <a:close/>
                  <a:moveTo>
                    <a:pt x="139" y="516"/>
                  </a:moveTo>
                  <a:cubicBezTo>
                    <a:pt x="147" y="514"/>
                    <a:pt x="147" y="514"/>
                    <a:pt x="147" y="514"/>
                  </a:cubicBezTo>
                  <a:cubicBezTo>
                    <a:pt x="146" y="508"/>
                    <a:pt x="146" y="508"/>
                    <a:pt x="146" y="508"/>
                  </a:cubicBezTo>
                  <a:cubicBezTo>
                    <a:pt x="146" y="508"/>
                    <a:pt x="142" y="513"/>
                    <a:pt x="139" y="513"/>
                  </a:cubicBezTo>
                  <a:cubicBezTo>
                    <a:pt x="137" y="514"/>
                    <a:pt x="131" y="515"/>
                    <a:pt x="131" y="515"/>
                  </a:cubicBezTo>
                  <a:cubicBezTo>
                    <a:pt x="132" y="516"/>
                    <a:pt x="132" y="516"/>
                    <a:pt x="132" y="516"/>
                  </a:cubicBezTo>
                  <a:lnTo>
                    <a:pt x="139" y="516"/>
                  </a:lnTo>
                  <a:close/>
                  <a:moveTo>
                    <a:pt x="159" y="517"/>
                  </a:moveTo>
                  <a:cubicBezTo>
                    <a:pt x="154" y="518"/>
                    <a:pt x="154" y="518"/>
                    <a:pt x="154" y="518"/>
                  </a:cubicBezTo>
                  <a:cubicBezTo>
                    <a:pt x="153" y="519"/>
                    <a:pt x="153" y="519"/>
                    <a:pt x="153" y="519"/>
                  </a:cubicBezTo>
                  <a:cubicBezTo>
                    <a:pt x="159" y="519"/>
                    <a:pt x="159" y="519"/>
                    <a:pt x="159" y="519"/>
                  </a:cubicBezTo>
                  <a:lnTo>
                    <a:pt x="159" y="517"/>
                  </a:lnTo>
                  <a:close/>
                  <a:moveTo>
                    <a:pt x="162" y="515"/>
                  </a:moveTo>
                  <a:cubicBezTo>
                    <a:pt x="162" y="521"/>
                    <a:pt x="162" y="521"/>
                    <a:pt x="162" y="521"/>
                  </a:cubicBezTo>
                  <a:cubicBezTo>
                    <a:pt x="166" y="519"/>
                    <a:pt x="166" y="519"/>
                    <a:pt x="166" y="519"/>
                  </a:cubicBezTo>
                  <a:lnTo>
                    <a:pt x="162" y="515"/>
                  </a:lnTo>
                  <a:close/>
                  <a:moveTo>
                    <a:pt x="235" y="425"/>
                  </a:moveTo>
                  <a:cubicBezTo>
                    <a:pt x="235" y="425"/>
                    <a:pt x="232" y="424"/>
                    <a:pt x="230" y="425"/>
                  </a:cubicBezTo>
                  <a:cubicBezTo>
                    <a:pt x="227" y="427"/>
                    <a:pt x="229" y="430"/>
                    <a:pt x="229" y="430"/>
                  </a:cubicBezTo>
                  <a:lnTo>
                    <a:pt x="235" y="425"/>
                  </a:lnTo>
                  <a:close/>
                  <a:moveTo>
                    <a:pt x="215" y="439"/>
                  </a:moveTo>
                  <a:cubicBezTo>
                    <a:pt x="216" y="439"/>
                    <a:pt x="214" y="441"/>
                    <a:pt x="214" y="441"/>
                  </a:cubicBezTo>
                  <a:cubicBezTo>
                    <a:pt x="216" y="443"/>
                    <a:pt x="216" y="443"/>
                    <a:pt x="216" y="443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9"/>
                    <a:pt x="220" y="434"/>
                    <a:pt x="214" y="435"/>
                  </a:cubicBezTo>
                  <a:cubicBezTo>
                    <a:pt x="210" y="436"/>
                    <a:pt x="207" y="440"/>
                    <a:pt x="207" y="440"/>
                  </a:cubicBezTo>
                  <a:cubicBezTo>
                    <a:pt x="210" y="442"/>
                    <a:pt x="210" y="442"/>
                    <a:pt x="210" y="442"/>
                  </a:cubicBezTo>
                  <a:cubicBezTo>
                    <a:pt x="210" y="442"/>
                    <a:pt x="214" y="438"/>
                    <a:pt x="215" y="439"/>
                  </a:cubicBezTo>
                  <a:close/>
                  <a:moveTo>
                    <a:pt x="239" y="396"/>
                  </a:moveTo>
                  <a:cubicBezTo>
                    <a:pt x="244" y="390"/>
                    <a:pt x="244" y="390"/>
                    <a:pt x="244" y="390"/>
                  </a:cubicBezTo>
                  <a:cubicBezTo>
                    <a:pt x="242" y="387"/>
                    <a:pt x="242" y="387"/>
                    <a:pt x="242" y="387"/>
                  </a:cubicBezTo>
                  <a:cubicBezTo>
                    <a:pt x="242" y="387"/>
                    <a:pt x="236" y="386"/>
                    <a:pt x="237" y="391"/>
                  </a:cubicBezTo>
                  <a:cubicBezTo>
                    <a:pt x="237" y="396"/>
                    <a:pt x="239" y="396"/>
                    <a:pt x="239" y="396"/>
                  </a:cubicBezTo>
                  <a:close/>
                  <a:moveTo>
                    <a:pt x="242" y="408"/>
                  </a:moveTo>
                  <a:cubicBezTo>
                    <a:pt x="244" y="408"/>
                    <a:pt x="244" y="408"/>
                    <a:pt x="244" y="408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4" y="402"/>
                    <a:pt x="244" y="402"/>
                    <a:pt x="244" y="402"/>
                  </a:cubicBezTo>
                  <a:lnTo>
                    <a:pt x="242" y="408"/>
                  </a:lnTo>
                  <a:close/>
                  <a:moveTo>
                    <a:pt x="259" y="367"/>
                  </a:moveTo>
                  <a:cubicBezTo>
                    <a:pt x="259" y="367"/>
                    <a:pt x="254" y="371"/>
                    <a:pt x="253" y="373"/>
                  </a:cubicBezTo>
                  <a:cubicBezTo>
                    <a:pt x="252" y="374"/>
                    <a:pt x="255" y="378"/>
                    <a:pt x="255" y="378"/>
                  </a:cubicBezTo>
                  <a:cubicBezTo>
                    <a:pt x="260" y="373"/>
                    <a:pt x="260" y="373"/>
                    <a:pt x="260" y="373"/>
                  </a:cubicBezTo>
                  <a:cubicBezTo>
                    <a:pt x="265" y="370"/>
                    <a:pt x="265" y="370"/>
                    <a:pt x="265" y="370"/>
                  </a:cubicBezTo>
                  <a:cubicBezTo>
                    <a:pt x="266" y="367"/>
                    <a:pt x="266" y="367"/>
                    <a:pt x="266" y="367"/>
                  </a:cubicBezTo>
                  <a:cubicBezTo>
                    <a:pt x="260" y="370"/>
                    <a:pt x="260" y="370"/>
                    <a:pt x="260" y="370"/>
                  </a:cubicBezTo>
                  <a:lnTo>
                    <a:pt x="259" y="367"/>
                  </a:lnTo>
                  <a:close/>
                  <a:moveTo>
                    <a:pt x="253" y="366"/>
                  </a:moveTo>
                  <a:cubicBezTo>
                    <a:pt x="259" y="363"/>
                    <a:pt x="259" y="363"/>
                    <a:pt x="259" y="363"/>
                  </a:cubicBezTo>
                  <a:cubicBezTo>
                    <a:pt x="260" y="360"/>
                    <a:pt x="260" y="360"/>
                    <a:pt x="260" y="360"/>
                  </a:cubicBezTo>
                  <a:cubicBezTo>
                    <a:pt x="258" y="359"/>
                    <a:pt x="258" y="359"/>
                    <a:pt x="258" y="359"/>
                  </a:cubicBezTo>
                  <a:cubicBezTo>
                    <a:pt x="260" y="357"/>
                    <a:pt x="260" y="357"/>
                    <a:pt x="260" y="357"/>
                  </a:cubicBezTo>
                  <a:cubicBezTo>
                    <a:pt x="259" y="353"/>
                    <a:pt x="259" y="353"/>
                    <a:pt x="259" y="353"/>
                  </a:cubicBezTo>
                  <a:cubicBezTo>
                    <a:pt x="255" y="356"/>
                    <a:pt x="255" y="356"/>
                    <a:pt x="255" y="356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2" y="363"/>
                    <a:pt x="252" y="363"/>
                    <a:pt x="252" y="363"/>
                  </a:cubicBezTo>
                  <a:lnTo>
                    <a:pt x="253" y="366"/>
                  </a:lnTo>
                  <a:close/>
                  <a:moveTo>
                    <a:pt x="263" y="349"/>
                  </a:moveTo>
                  <a:cubicBezTo>
                    <a:pt x="262" y="352"/>
                    <a:pt x="262" y="352"/>
                    <a:pt x="262" y="352"/>
                  </a:cubicBezTo>
                  <a:cubicBezTo>
                    <a:pt x="264" y="355"/>
                    <a:pt x="264" y="355"/>
                    <a:pt x="264" y="355"/>
                  </a:cubicBezTo>
                  <a:cubicBezTo>
                    <a:pt x="268" y="350"/>
                    <a:pt x="268" y="350"/>
                    <a:pt x="268" y="350"/>
                  </a:cubicBezTo>
                  <a:lnTo>
                    <a:pt x="263" y="349"/>
                  </a:lnTo>
                  <a:close/>
                  <a:moveTo>
                    <a:pt x="264" y="359"/>
                  </a:moveTo>
                  <a:cubicBezTo>
                    <a:pt x="265" y="357"/>
                    <a:pt x="265" y="357"/>
                    <a:pt x="265" y="357"/>
                  </a:cubicBezTo>
                  <a:cubicBezTo>
                    <a:pt x="262" y="357"/>
                    <a:pt x="262" y="357"/>
                    <a:pt x="262" y="357"/>
                  </a:cubicBezTo>
                  <a:lnTo>
                    <a:pt x="264" y="359"/>
                  </a:lnTo>
                  <a:close/>
                  <a:moveTo>
                    <a:pt x="266" y="343"/>
                  </a:moveTo>
                  <a:cubicBezTo>
                    <a:pt x="269" y="340"/>
                    <a:pt x="269" y="340"/>
                    <a:pt x="269" y="340"/>
                  </a:cubicBezTo>
                  <a:cubicBezTo>
                    <a:pt x="265" y="339"/>
                    <a:pt x="265" y="339"/>
                    <a:pt x="265" y="339"/>
                  </a:cubicBezTo>
                  <a:lnTo>
                    <a:pt x="266" y="343"/>
                  </a:lnTo>
                  <a:close/>
                  <a:moveTo>
                    <a:pt x="261" y="330"/>
                  </a:moveTo>
                  <a:cubicBezTo>
                    <a:pt x="258" y="329"/>
                    <a:pt x="258" y="329"/>
                    <a:pt x="258" y="329"/>
                  </a:cubicBezTo>
                  <a:cubicBezTo>
                    <a:pt x="257" y="333"/>
                    <a:pt x="257" y="333"/>
                    <a:pt x="257" y="333"/>
                  </a:cubicBezTo>
                  <a:cubicBezTo>
                    <a:pt x="260" y="332"/>
                    <a:pt x="260" y="332"/>
                    <a:pt x="260" y="332"/>
                  </a:cubicBezTo>
                  <a:lnTo>
                    <a:pt x="261" y="330"/>
                  </a:lnTo>
                  <a:close/>
                  <a:moveTo>
                    <a:pt x="272" y="351"/>
                  </a:moveTo>
                  <a:cubicBezTo>
                    <a:pt x="269" y="350"/>
                    <a:pt x="269" y="350"/>
                    <a:pt x="269" y="350"/>
                  </a:cubicBezTo>
                  <a:cubicBezTo>
                    <a:pt x="268" y="356"/>
                    <a:pt x="268" y="356"/>
                    <a:pt x="268" y="356"/>
                  </a:cubicBezTo>
                  <a:lnTo>
                    <a:pt x="272" y="351"/>
                  </a:lnTo>
                  <a:close/>
                  <a:moveTo>
                    <a:pt x="280" y="319"/>
                  </a:moveTo>
                  <a:cubicBezTo>
                    <a:pt x="278" y="317"/>
                    <a:pt x="278" y="317"/>
                    <a:pt x="278" y="317"/>
                  </a:cubicBezTo>
                  <a:cubicBezTo>
                    <a:pt x="276" y="320"/>
                    <a:pt x="276" y="320"/>
                    <a:pt x="276" y="320"/>
                  </a:cubicBezTo>
                  <a:lnTo>
                    <a:pt x="280" y="319"/>
                  </a:lnTo>
                  <a:close/>
                  <a:moveTo>
                    <a:pt x="284" y="313"/>
                  </a:moveTo>
                  <a:cubicBezTo>
                    <a:pt x="279" y="312"/>
                    <a:pt x="279" y="312"/>
                    <a:pt x="279" y="312"/>
                  </a:cubicBezTo>
                  <a:cubicBezTo>
                    <a:pt x="276" y="315"/>
                    <a:pt x="276" y="315"/>
                    <a:pt x="276" y="315"/>
                  </a:cubicBezTo>
                  <a:cubicBezTo>
                    <a:pt x="284" y="315"/>
                    <a:pt x="284" y="315"/>
                    <a:pt x="284" y="315"/>
                  </a:cubicBezTo>
                  <a:lnTo>
                    <a:pt x="284" y="313"/>
                  </a:lnTo>
                  <a:close/>
                  <a:moveTo>
                    <a:pt x="301" y="300"/>
                  </a:moveTo>
                  <a:cubicBezTo>
                    <a:pt x="304" y="290"/>
                    <a:pt x="304" y="290"/>
                    <a:pt x="304" y="290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1" y="294"/>
                    <a:pt x="301" y="294"/>
                    <a:pt x="301" y="294"/>
                  </a:cubicBezTo>
                  <a:cubicBezTo>
                    <a:pt x="297" y="292"/>
                    <a:pt x="297" y="292"/>
                    <a:pt x="297" y="292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300" y="298"/>
                    <a:pt x="300" y="298"/>
                    <a:pt x="300" y="298"/>
                  </a:cubicBezTo>
                  <a:cubicBezTo>
                    <a:pt x="300" y="300"/>
                    <a:pt x="300" y="300"/>
                    <a:pt x="300" y="300"/>
                  </a:cubicBezTo>
                  <a:lnTo>
                    <a:pt x="301" y="300"/>
                  </a:lnTo>
                  <a:close/>
                  <a:moveTo>
                    <a:pt x="305" y="276"/>
                  </a:moveTo>
                  <a:cubicBezTo>
                    <a:pt x="298" y="279"/>
                    <a:pt x="304" y="279"/>
                    <a:pt x="306" y="278"/>
                  </a:cubicBezTo>
                  <a:cubicBezTo>
                    <a:pt x="311" y="276"/>
                    <a:pt x="310" y="273"/>
                    <a:pt x="305" y="276"/>
                  </a:cubicBezTo>
                  <a:close/>
                  <a:moveTo>
                    <a:pt x="262" y="260"/>
                  </a:moveTo>
                  <a:cubicBezTo>
                    <a:pt x="260" y="266"/>
                    <a:pt x="260" y="266"/>
                    <a:pt x="260" y="266"/>
                  </a:cubicBezTo>
                  <a:cubicBezTo>
                    <a:pt x="265" y="263"/>
                    <a:pt x="265" y="263"/>
                    <a:pt x="265" y="263"/>
                  </a:cubicBezTo>
                  <a:lnTo>
                    <a:pt x="262" y="260"/>
                  </a:lnTo>
                  <a:close/>
                  <a:moveTo>
                    <a:pt x="320" y="244"/>
                  </a:moveTo>
                  <a:cubicBezTo>
                    <a:pt x="327" y="242"/>
                    <a:pt x="327" y="242"/>
                    <a:pt x="327" y="242"/>
                  </a:cubicBezTo>
                  <a:cubicBezTo>
                    <a:pt x="327" y="241"/>
                    <a:pt x="327" y="241"/>
                    <a:pt x="327" y="241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44"/>
                  </a:lnTo>
                  <a:close/>
                  <a:moveTo>
                    <a:pt x="323" y="236"/>
                  </a:moveTo>
                  <a:cubicBezTo>
                    <a:pt x="327" y="239"/>
                    <a:pt x="327" y="239"/>
                    <a:pt x="327" y="239"/>
                  </a:cubicBezTo>
                  <a:cubicBezTo>
                    <a:pt x="327" y="238"/>
                    <a:pt x="324" y="234"/>
                    <a:pt x="324" y="234"/>
                  </a:cubicBezTo>
                  <a:lnTo>
                    <a:pt x="323" y="236"/>
                  </a:lnTo>
                  <a:close/>
                  <a:moveTo>
                    <a:pt x="353" y="201"/>
                  </a:moveTo>
                  <a:cubicBezTo>
                    <a:pt x="346" y="195"/>
                    <a:pt x="347" y="207"/>
                    <a:pt x="347" y="207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45" y="210"/>
                    <a:pt x="345" y="210"/>
                    <a:pt x="345" y="210"/>
                  </a:cubicBezTo>
                  <a:cubicBezTo>
                    <a:pt x="351" y="208"/>
                    <a:pt x="351" y="208"/>
                    <a:pt x="351" y="208"/>
                  </a:cubicBezTo>
                  <a:cubicBezTo>
                    <a:pt x="351" y="208"/>
                    <a:pt x="358" y="206"/>
                    <a:pt x="353" y="201"/>
                  </a:cubicBezTo>
                  <a:close/>
                  <a:moveTo>
                    <a:pt x="343" y="217"/>
                  </a:moveTo>
                  <a:cubicBezTo>
                    <a:pt x="348" y="213"/>
                    <a:pt x="348" y="213"/>
                    <a:pt x="348" y="213"/>
                  </a:cubicBezTo>
                  <a:cubicBezTo>
                    <a:pt x="343" y="214"/>
                    <a:pt x="343" y="214"/>
                    <a:pt x="343" y="214"/>
                  </a:cubicBezTo>
                  <a:lnTo>
                    <a:pt x="343" y="217"/>
                  </a:lnTo>
                  <a:close/>
                  <a:moveTo>
                    <a:pt x="350" y="229"/>
                  </a:moveTo>
                  <a:cubicBezTo>
                    <a:pt x="348" y="232"/>
                    <a:pt x="348" y="232"/>
                    <a:pt x="348" y="232"/>
                  </a:cubicBezTo>
                  <a:cubicBezTo>
                    <a:pt x="354" y="232"/>
                    <a:pt x="354" y="232"/>
                    <a:pt x="354" y="232"/>
                  </a:cubicBezTo>
                  <a:lnTo>
                    <a:pt x="350" y="229"/>
                  </a:lnTo>
                  <a:close/>
                  <a:moveTo>
                    <a:pt x="265" y="251"/>
                  </a:moveTo>
                  <a:cubicBezTo>
                    <a:pt x="265" y="251"/>
                    <a:pt x="270" y="250"/>
                    <a:pt x="271" y="247"/>
                  </a:cubicBezTo>
                  <a:cubicBezTo>
                    <a:pt x="271" y="245"/>
                    <a:pt x="270" y="242"/>
                    <a:pt x="271" y="242"/>
                  </a:cubicBezTo>
                  <a:cubicBezTo>
                    <a:pt x="272" y="242"/>
                    <a:pt x="275" y="238"/>
                    <a:pt x="275" y="238"/>
                  </a:cubicBezTo>
                  <a:cubicBezTo>
                    <a:pt x="275" y="238"/>
                    <a:pt x="281" y="237"/>
                    <a:pt x="281" y="232"/>
                  </a:cubicBezTo>
                  <a:cubicBezTo>
                    <a:pt x="281" y="226"/>
                    <a:pt x="278" y="227"/>
                    <a:pt x="278" y="227"/>
                  </a:cubicBezTo>
                  <a:cubicBezTo>
                    <a:pt x="274" y="235"/>
                    <a:pt x="274" y="235"/>
                    <a:pt x="274" y="235"/>
                  </a:cubicBezTo>
                  <a:cubicBezTo>
                    <a:pt x="272" y="232"/>
                    <a:pt x="272" y="232"/>
                    <a:pt x="272" y="232"/>
                  </a:cubicBezTo>
                  <a:cubicBezTo>
                    <a:pt x="272" y="232"/>
                    <a:pt x="266" y="239"/>
                    <a:pt x="266" y="242"/>
                  </a:cubicBezTo>
                  <a:cubicBezTo>
                    <a:pt x="265" y="245"/>
                    <a:pt x="266" y="247"/>
                    <a:pt x="266" y="248"/>
                  </a:cubicBezTo>
                  <a:cubicBezTo>
                    <a:pt x="266" y="249"/>
                    <a:pt x="264" y="250"/>
                    <a:pt x="265" y="251"/>
                  </a:cubicBezTo>
                  <a:close/>
                  <a:moveTo>
                    <a:pt x="282" y="233"/>
                  </a:moveTo>
                  <a:cubicBezTo>
                    <a:pt x="282" y="233"/>
                    <a:pt x="287" y="233"/>
                    <a:pt x="289" y="232"/>
                  </a:cubicBezTo>
                  <a:cubicBezTo>
                    <a:pt x="292" y="231"/>
                    <a:pt x="290" y="226"/>
                    <a:pt x="290" y="226"/>
                  </a:cubicBezTo>
                  <a:cubicBezTo>
                    <a:pt x="290" y="226"/>
                    <a:pt x="297" y="222"/>
                    <a:pt x="301" y="221"/>
                  </a:cubicBezTo>
                  <a:cubicBezTo>
                    <a:pt x="303" y="220"/>
                    <a:pt x="298" y="215"/>
                    <a:pt x="296" y="215"/>
                  </a:cubicBezTo>
                  <a:cubicBezTo>
                    <a:pt x="293" y="215"/>
                    <a:pt x="298" y="219"/>
                    <a:pt x="296" y="220"/>
                  </a:cubicBezTo>
                  <a:cubicBezTo>
                    <a:pt x="294" y="221"/>
                    <a:pt x="292" y="215"/>
                    <a:pt x="292" y="215"/>
                  </a:cubicBezTo>
                  <a:cubicBezTo>
                    <a:pt x="288" y="219"/>
                    <a:pt x="288" y="219"/>
                    <a:pt x="288" y="219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85" y="223"/>
                    <a:pt x="285" y="223"/>
                    <a:pt x="285" y="223"/>
                  </a:cubicBezTo>
                  <a:cubicBezTo>
                    <a:pt x="282" y="224"/>
                    <a:pt x="282" y="224"/>
                    <a:pt x="282" y="224"/>
                  </a:cubicBezTo>
                  <a:cubicBezTo>
                    <a:pt x="282" y="227"/>
                    <a:pt x="282" y="227"/>
                    <a:pt x="282" y="227"/>
                  </a:cubicBezTo>
                  <a:cubicBezTo>
                    <a:pt x="284" y="229"/>
                    <a:pt x="284" y="229"/>
                    <a:pt x="284" y="229"/>
                  </a:cubicBezTo>
                  <a:lnTo>
                    <a:pt x="282" y="233"/>
                  </a:lnTo>
                  <a:close/>
                  <a:moveTo>
                    <a:pt x="303" y="221"/>
                  </a:moveTo>
                  <a:cubicBezTo>
                    <a:pt x="303" y="223"/>
                    <a:pt x="301" y="226"/>
                    <a:pt x="301" y="226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11" y="216"/>
                    <a:pt x="311" y="216"/>
                    <a:pt x="311" y="216"/>
                  </a:cubicBezTo>
                  <a:cubicBezTo>
                    <a:pt x="313" y="220"/>
                    <a:pt x="313" y="220"/>
                    <a:pt x="313" y="220"/>
                  </a:cubicBezTo>
                  <a:cubicBezTo>
                    <a:pt x="322" y="207"/>
                    <a:pt x="322" y="207"/>
                    <a:pt x="322" y="207"/>
                  </a:cubicBezTo>
                  <a:cubicBezTo>
                    <a:pt x="322" y="207"/>
                    <a:pt x="317" y="208"/>
                    <a:pt x="317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05" y="213"/>
                    <a:pt x="305" y="213"/>
                    <a:pt x="305" y="213"/>
                  </a:cubicBezTo>
                  <a:cubicBezTo>
                    <a:pt x="306" y="217"/>
                    <a:pt x="306" y="217"/>
                    <a:pt x="306" y="217"/>
                  </a:cubicBezTo>
                  <a:cubicBezTo>
                    <a:pt x="303" y="216"/>
                    <a:pt x="303" y="216"/>
                    <a:pt x="303" y="216"/>
                  </a:cubicBezTo>
                  <a:cubicBezTo>
                    <a:pt x="303" y="216"/>
                    <a:pt x="304" y="219"/>
                    <a:pt x="303" y="221"/>
                  </a:cubicBezTo>
                  <a:close/>
                  <a:moveTo>
                    <a:pt x="362" y="187"/>
                  </a:moveTo>
                  <a:cubicBezTo>
                    <a:pt x="362" y="187"/>
                    <a:pt x="366" y="187"/>
                    <a:pt x="367" y="186"/>
                  </a:cubicBezTo>
                  <a:cubicBezTo>
                    <a:pt x="369" y="186"/>
                    <a:pt x="372" y="184"/>
                    <a:pt x="372" y="184"/>
                  </a:cubicBezTo>
                  <a:cubicBezTo>
                    <a:pt x="367" y="178"/>
                    <a:pt x="367" y="178"/>
                    <a:pt x="367" y="178"/>
                  </a:cubicBezTo>
                  <a:lnTo>
                    <a:pt x="362" y="187"/>
                  </a:lnTo>
                  <a:close/>
                  <a:moveTo>
                    <a:pt x="378" y="177"/>
                  </a:moveTo>
                  <a:cubicBezTo>
                    <a:pt x="377" y="175"/>
                    <a:pt x="376" y="174"/>
                    <a:pt x="374" y="174"/>
                  </a:cubicBezTo>
                  <a:cubicBezTo>
                    <a:pt x="371" y="173"/>
                    <a:pt x="369" y="175"/>
                    <a:pt x="369" y="175"/>
                  </a:cubicBezTo>
                  <a:cubicBezTo>
                    <a:pt x="369" y="175"/>
                    <a:pt x="370" y="182"/>
                    <a:pt x="373" y="182"/>
                  </a:cubicBezTo>
                  <a:cubicBezTo>
                    <a:pt x="375" y="183"/>
                    <a:pt x="379" y="178"/>
                    <a:pt x="378" y="177"/>
                  </a:cubicBezTo>
                  <a:close/>
                  <a:moveTo>
                    <a:pt x="352" y="177"/>
                  </a:moveTo>
                  <a:cubicBezTo>
                    <a:pt x="355" y="179"/>
                    <a:pt x="357" y="179"/>
                    <a:pt x="357" y="179"/>
                  </a:cubicBezTo>
                  <a:cubicBezTo>
                    <a:pt x="357" y="174"/>
                    <a:pt x="357" y="174"/>
                    <a:pt x="357" y="174"/>
                  </a:cubicBezTo>
                  <a:cubicBezTo>
                    <a:pt x="350" y="171"/>
                    <a:pt x="350" y="171"/>
                    <a:pt x="350" y="171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50" y="177"/>
                    <a:pt x="352" y="177"/>
                  </a:cubicBezTo>
                  <a:close/>
                  <a:moveTo>
                    <a:pt x="348" y="178"/>
                  </a:moveTo>
                  <a:cubicBezTo>
                    <a:pt x="344" y="183"/>
                    <a:pt x="344" y="183"/>
                    <a:pt x="344" y="183"/>
                  </a:cubicBezTo>
                  <a:cubicBezTo>
                    <a:pt x="348" y="188"/>
                    <a:pt x="348" y="188"/>
                    <a:pt x="348" y="188"/>
                  </a:cubicBezTo>
                  <a:cubicBezTo>
                    <a:pt x="344" y="189"/>
                    <a:pt x="344" y="189"/>
                    <a:pt x="344" y="189"/>
                  </a:cubicBezTo>
                  <a:cubicBezTo>
                    <a:pt x="337" y="201"/>
                    <a:pt x="337" y="201"/>
                    <a:pt x="337" y="201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2" y="177"/>
                    <a:pt x="338" y="175"/>
                  </a:cubicBezTo>
                  <a:cubicBezTo>
                    <a:pt x="333" y="173"/>
                    <a:pt x="333" y="185"/>
                    <a:pt x="333" y="185"/>
                  </a:cubicBezTo>
                  <a:cubicBezTo>
                    <a:pt x="330" y="186"/>
                    <a:pt x="330" y="186"/>
                    <a:pt x="330" y="186"/>
                  </a:cubicBezTo>
                  <a:cubicBezTo>
                    <a:pt x="331" y="197"/>
                    <a:pt x="331" y="197"/>
                    <a:pt x="331" y="197"/>
                  </a:cubicBezTo>
                  <a:cubicBezTo>
                    <a:pt x="324" y="202"/>
                    <a:pt x="324" y="202"/>
                    <a:pt x="324" y="202"/>
                  </a:cubicBezTo>
                  <a:cubicBezTo>
                    <a:pt x="325" y="206"/>
                    <a:pt x="325" y="206"/>
                    <a:pt x="325" y="206"/>
                  </a:cubicBezTo>
                  <a:cubicBezTo>
                    <a:pt x="319" y="218"/>
                    <a:pt x="319" y="218"/>
                    <a:pt x="319" y="218"/>
                  </a:cubicBezTo>
                  <a:cubicBezTo>
                    <a:pt x="322" y="218"/>
                    <a:pt x="322" y="218"/>
                    <a:pt x="322" y="218"/>
                  </a:cubicBezTo>
                  <a:cubicBezTo>
                    <a:pt x="331" y="208"/>
                    <a:pt x="331" y="208"/>
                    <a:pt x="331" y="208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35" y="215"/>
                    <a:pt x="335" y="215"/>
                    <a:pt x="335" y="215"/>
                  </a:cubicBezTo>
                  <a:cubicBezTo>
                    <a:pt x="336" y="215"/>
                    <a:pt x="337" y="209"/>
                    <a:pt x="337" y="209"/>
                  </a:cubicBezTo>
                  <a:cubicBezTo>
                    <a:pt x="340" y="211"/>
                    <a:pt x="340" y="211"/>
                    <a:pt x="340" y="211"/>
                  </a:cubicBezTo>
                  <a:cubicBezTo>
                    <a:pt x="340" y="211"/>
                    <a:pt x="345" y="202"/>
                    <a:pt x="346" y="200"/>
                  </a:cubicBezTo>
                  <a:cubicBezTo>
                    <a:pt x="347" y="198"/>
                    <a:pt x="354" y="198"/>
                    <a:pt x="354" y="198"/>
                  </a:cubicBezTo>
                  <a:cubicBezTo>
                    <a:pt x="354" y="198"/>
                    <a:pt x="357" y="193"/>
                    <a:pt x="358" y="188"/>
                  </a:cubicBezTo>
                  <a:cubicBezTo>
                    <a:pt x="359" y="184"/>
                    <a:pt x="348" y="178"/>
                    <a:pt x="348" y="178"/>
                  </a:cubicBezTo>
                  <a:close/>
                  <a:moveTo>
                    <a:pt x="330" y="179"/>
                  </a:moveTo>
                  <a:cubicBezTo>
                    <a:pt x="330" y="174"/>
                    <a:pt x="330" y="174"/>
                    <a:pt x="330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43" y="162"/>
                    <a:pt x="343" y="162"/>
                    <a:pt x="343" y="162"/>
                  </a:cubicBezTo>
                  <a:cubicBezTo>
                    <a:pt x="343" y="162"/>
                    <a:pt x="351" y="146"/>
                    <a:pt x="341" y="155"/>
                  </a:cubicBezTo>
                  <a:cubicBezTo>
                    <a:pt x="331" y="162"/>
                    <a:pt x="326" y="174"/>
                    <a:pt x="327" y="177"/>
                  </a:cubicBezTo>
                  <a:cubicBezTo>
                    <a:pt x="328" y="181"/>
                    <a:pt x="330" y="179"/>
                    <a:pt x="330" y="179"/>
                  </a:cubicBezTo>
                  <a:close/>
                  <a:moveTo>
                    <a:pt x="312" y="197"/>
                  </a:moveTo>
                  <a:cubicBezTo>
                    <a:pt x="315" y="194"/>
                    <a:pt x="319" y="192"/>
                    <a:pt x="319" y="192"/>
                  </a:cubicBezTo>
                  <a:cubicBezTo>
                    <a:pt x="313" y="199"/>
                    <a:pt x="313" y="199"/>
                    <a:pt x="313" y="199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27" y="191"/>
                    <a:pt x="327" y="191"/>
                    <a:pt x="327" y="191"/>
                  </a:cubicBezTo>
                  <a:cubicBezTo>
                    <a:pt x="325" y="187"/>
                    <a:pt x="325" y="187"/>
                    <a:pt x="325" y="187"/>
                  </a:cubicBezTo>
                  <a:cubicBezTo>
                    <a:pt x="327" y="185"/>
                    <a:pt x="327" y="185"/>
                    <a:pt x="327" y="185"/>
                  </a:cubicBezTo>
                  <a:cubicBezTo>
                    <a:pt x="322" y="171"/>
                    <a:pt x="322" y="171"/>
                    <a:pt x="322" y="171"/>
                  </a:cubicBezTo>
                  <a:cubicBezTo>
                    <a:pt x="315" y="172"/>
                    <a:pt x="315" y="172"/>
                    <a:pt x="315" y="172"/>
                  </a:cubicBezTo>
                  <a:cubicBezTo>
                    <a:pt x="320" y="183"/>
                    <a:pt x="320" y="183"/>
                    <a:pt x="320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7" y="188"/>
                    <a:pt x="317" y="188"/>
                    <a:pt x="317" y="188"/>
                  </a:cubicBezTo>
                  <a:cubicBezTo>
                    <a:pt x="309" y="186"/>
                    <a:pt x="309" y="186"/>
                    <a:pt x="309" y="186"/>
                  </a:cubicBezTo>
                  <a:cubicBezTo>
                    <a:pt x="309" y="186"/>
                    <a:pt x="306" y="191"/>
                    <a:pt x="305" y="194"/>
                  </a:cubicBezTo>
                  <a:cubicBezTo>
                    <a:pt x="303" y="199"/>
                    <a:pt x="308" y="198"/>
                    <a:pt x="312" y="197"/>
                  </a:cubicBezTo>
                  <a:close/>
                  <a:moveTo>
                    <a:pt x="309" y="186"/>
                  </a:moveTo>
                  <a:cubicBezTo>
                    <a:pt x="309" y="186"/>
                    <a:pt x="309" y="186"/>
                    <a:pt x="309" y="186"/>
                  </a:cubicBezTo>
                  <a:moveTo>
                    <a:pt x="313" y="206"/>
                  </a:moveTo>
                  <a:cubicBezTo>
                    <a:pt x="322" y="206"/>
                    <a:pt x="319" y="202"/>
                    <a:pt x="313" y="202"/>
                  </a:cubicBezTo>
                  <a:cubicBezTo>
                    <a:pt x="307" y="202"/>
                    <a:pt x="306" y="206"/>
                    <a:pt x="313" y="206"/>
                  </a:cubicBezTo>
                  <a:close/>
                  <a:moveTo>
                    <a:pt x="361" y="157"/>
                  </a:moveTo>
                  <a:cubicBezTo>
                    <a:pt x="367" y="159"/>
                    <a:pt x="367" y="159"/>
                    <a:pt x="367" y="159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62" y="168"/>
                    <a:pt x="368" y="170"/>
                    <a:pt x="371" y="168"/>
                  </a:cubicBezTo>
                  <a:cubicBezTo>
                    <a:pt x="376" y="157"/>
                    <a:pt x="376" y="157"/>
                    <a:pt x="376" y="157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9" y="144"/>
                    <a:pt x="389" y="144"/>
                    <a:pt x="389" y="144"/>
                  </a:cubicBezTo>
                  <a:cubicBezTo>
                    <a:pt x="389" y="144"/>
                    <a:pt x="391" y="135"/>
                    <a:pt x="384" y="132"/>
                  </a:cubicBezTo>
                  <a:cubicBezTo>
                    <a:pt x="376" y="129"/>
                    <a:pt x="370" y="139"/>
                    <a:pt x="370" y="139"/>
                  </a:cubicBezTo>
                  <a:cubicBezTo>
                    <a:pt x="375" y="145"/>
                    <a:pt x="375" y="145"/>
                    <a:pt x="375" y="145"/>
                  </a:cubicBezTo>
                  <a:cubicBezTo>
                    <a:pt x="371" y="143"/>
                    <a:pt x="371" y="143"/>
                    <a:pt x="371" y="143"/>
                  </a:cubicBezTo>
                  <a:cubicBezTo>
                    <a:pt x="371" y="143"/>
                    <a:pt x="362" y="144"/>
                    <a:pt x="362" y="145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7" y="152"/>
                    <a:pt x="367" y="152"/>
                    <a:pt x="367" y="152"/>
                  </a:cubicBezTo>
                  <a:cubicBezTo>
                    <a:pt x="360" y="155"/>
                    <a:pt x="360" y="155"/>
                    <a:pt x="360" y="155"/>
                  </a:cubicBezTo>
                  <a:lnTo>
                    <a:pt x="361" y="157"/>
                  </a:lnTo>
                  <a:close/>
                  <a:moveTo>
                    <a:pt x="401" y="132"/>
                  </a:moveTo>
                  <a:cubicBezTo>
                    <a:pt x="406" y="130"/>
                    <a:pt x="406" y="127"/>
                    <a:pt x="406" y="127"/>
                  </a:cubicBezTo>
                  <a:cubicBezTo>
                    <a:pt x="404" y="127"/>
                    <a:pt x="404" y="127"/>
                    <a:pt x="404" y="127"/>
                  </a:cubicBezTo>
                  <a:cubicBezTo>
                    <a:pt x="404" y="127"/>
                    <a:pt x="405" y="121"/>
                    <a:pt x="407" y="120"/>
                  </a:cubicBezTo>
                  <a:cubicBezTo>
                    <a:pt x="408" y="119"/>
                    <a:pt x="410" y="118"/>
                    <a:pt x="410" y="118"/>
                  </a:cubicBezTo>
                  <a:cubicBezTo>
                    <a:pt x="410" y="118"/>
                    <a:pt x="408" y="111"/>
                    <a:pt x="403" y="112"/>
                  </a:cubicBezTo>
                  <a:cubicBezTo>
                    <a:pt x="399" y="112"/>
                    <a:pt x="401" y="119"/>
                    <a:pt x="401" y="119"/>
                  </a:cubicBezTo>
                  <a:cubicBezTo>
                    <a:pt x="397" y="118"/>
                    <a:pt x="397" y="118"/>
                    <a:pt x="397" y="118"/>
                  </a:cubicBezTo>
                  <a:cubicBezTo>
                    <a:pt x="393" y="121"/>
                    <a:pt x="393" y="121"/>
                    <a:pt x="393" y="121"/>
                  </a:cubicBezTo>
                  <a:cubicBezTo>
                    <a:pt x="394" y="124"/>
                    <a:pt x="394" y="124"/>
                    <a:pt x="394" y="124"/>
                  </a:cubicBezTo>
                  <a:cubicBezTo>
                    <a:pt x="390" y="123"/>
                    <a:pt x="390" y="123"/>
                    <a:pt x="390" y="123"/>
                  </a:cubicBezTo>
                  <a:cubicBezTo>
                    <a:pt x="389" y="126"/>
                    <a:pt x="389" y="126"/>
                    <a:pt x="389" y="126"/>
                  </a:cubicBezTo>
                  <a:cubicBezTo>
                    <a:pt x="390" y="129"/>
                    <a:pt x="390" y="129"/>
                    <a:pt x="390" y="129"/>
                  </a:cubicBezTo>
                  <a:cubicBezTo>
                    <a:pt x="388" y="128"/>
                    <a:pt x="388" y="128"/>
                    <a:pt x="388" y="128"/>
                  </a:cubicBezTo>
                  <a:cubicBezTo>
                    <a:pt x="388" y="132"/>
                    <a:pt x="388" y="132"/>
                    <a:pt x="388" y="132"/>
                  </a:cubicBezTo>
                  <a:cubicBezTo>
                    <a:pt x="388" y="132"/>
                    <a:pt x="395" y="134"/>
                    <a:pt x="401" y="132"/>
                  </a:cubicBezTo>
                  <a:close/>
                  <a:moveTo>
                    <a:pt x="408" y="111"/>
                  </a:moveTo>
                  <a:cubicBezTo>
                    <a:pt x="410" y="112"/>
                    <a:pt x="411" y="112"/>
                    <a:pt x="411" y="112"/>
                  </a:cubicBezTo>
                  <a:cubicBezTo>
                    <a:pt x="412" y="115"/>
                    <a:pt x="412" y="115"/>
                    <a:pt x="412" y="115"/>
                  </a:cubicBezTo>
                  <a:cubicBezTo>
                    <a:pt x="412" y="115"/>
                    <a:pt x="420" y="113"/>
                    <a:pt x="420" y="109"/>
                  </a:cubicBezTo>
                  <a:cubicBezTo>
                    <a:pt x="420" y="106"/>
                    <a:pt x="420" y="106"/>
                    <a:pt x="420" y="106"/>
                  </a:cubicBezTo>
                  <a:cubicBezTo>
                    <a:pt x="420" y="106"/>
                    <a:pt x="426" y="104"/>
                    <a:pt x="424" y="102"/>
                  </a:cubicBezTo>
                  <a:cubicBezTo>
                    <a:pt x="423" y="99"/>
                    <a:pt x="418" y="100"/>
                    <a:pt x="418" y="100"/>
                  </a:cubicBezTo>
                  <a:cubicBezTo>
                    <a:pt x="418" y="100"/>
                    <a:pt x="416" y="96"/>
                    <a:pt x="411" y="97"/>
                  </a:cubicBezTo>
                  <a:cubicBezTo>
                    <a:pt x="408" y="98"/>
                    <a:pt x="403" y="106"/>
                    <a:pt x="403" y="106"/>
                  </a:cubicBezTo>
                  <a:cubicBezTo>
                    <a:pt x="403" y="106"/>
                    <a:pt x="406" y="110"/>
                    <a:pt x="408" y="111"/>
                  </a:cubicBezTo>
                  <a:close/>
                  <a:moveTo>
                    <a:pt x="424" y="106"/>
                  </a:moveTo>
                  <a:cubicBezTo>
                    <a:pt x="421" y="111"/>
                    <a:pt x="421" y="111"/>
                    <a:pt x="421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33" y="100"/>
                    <a:pt x="433" y="100"/>
                    <a:pt x="433" y="100"/>
                  </a:cubicBezTo>
                  <a:cubicBezTo>
                    <a:pt x="429" y="100"/>
                    <a:pt x="429" y="100"/>
                    <a:pt x="429" y="100"/>
                  </a:cubicBezTo>
                  <a:lnTo>
                    <a:pt x="424" y="106"/>
                  </a:lnTo>
                  <a:close/>
                  <a:moveTo>
                    <a:pt x="426" y="97"/>
                  </a:moveTo>
                  <a:cubicBezTo>
                    <a:pt x="433" y="98"/>
                    <a:pt x="434" y="97"/>
                    <a:pt x="433" y="93"/>
                  </a:cubicBezTo>
                  <a:cubicBezTo>
                    <a:pt x="431" y="90"/>
                    <a:pt x="427" y="87"/>
                    <a:pt x="427" y="87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2" y="83"/>
                    <a:pt x="422" y="83"/>
                    <a:pt x="422" y="83"/>
                  </a:cubicBezTo>
                  <a:cubicBezTo>
                    <a:pt x="420" y="87"/>
                    <a:pt x="420" y="87"/>
                    <a:pt x="420" y="87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4" y="94"/>
                    <a:pt x="422" y="96"/>
                    <a:pt x="426" y="97"/>
                  </a:cubicBezTo>
                  <a:close/>
                  <a:moveTo>
                    <a:pt x="421" y="95"/>
                  </a:moveTo>
                  <a:cubicBezTo>
                    <a:pt x="417" y="91"/>
                    <a:pt x="417" y="91"/>
                    <a:pt x="417" y="91"/>
                  </a:cubicBezTo>
                  <a:cubicBezTo>
                    <a:pt x="417" y="94"/>
                    <a:pt x="417" y="94"/>
                    <a:pt x="417" y="94"/>
                  </a:cubicBezTo>
                  <a:lnTo>
                    <a:pt x="421" y="95"/>
                  </a:lnTo>
                  <a:close/>
                  <a:moveTo>
                    <a:pt x="413" y="95"/>
                  </a:moveTo>
                  <a:cubicBezTo>
                    <a:pt x="415" y="87"/>
                    <a:pt x="415" y="87"/>
                    <a:pt x="415" y="87"/>
                  </a:cubicBezTo>
                  <a:cubicBezTo>
                    <a:pt x="409" y="84"/>
                    <a:pt x="409" y="84"/>
                    <a:pt x="409" y="84"/>
                  </a:cubicBezTo>
                  <a:cubicBezTo>
                    <a:pt x="409" y="95"/>
                    <a:pt x="409" y="95"/>
                    <a:pt x="409" y="95"/>
                  </a:cubicBezTo>
                  <a:lnTo>
                    <a:pt x="413" y="95"/>
                  </a:lnTo>
                  <a:close/>
                  <a:moveTo>
                    <a:pt x="407" y="97"/>
                  </a:moveTo>
                  <a:cubicBezTo>
                    <a:pt x="403" y="94"/>
                    <a:pt x="403" y="94"/>
                    <a:pt x="403" y="94"/>
                  </a:cubicBezTo>
                  <a:cubicBezTo>
                    <a:pt x="403" y="98"/>
                    <a:pt x="403" y="98"/>
                    <a:pt x="403" y="98"/>
                  </a:cubicBezTo>
                  <a:cubicBezTo>
                    <a:pt x="397" y="96"/>
                    <a:pt x="397" y="96"/>
                    <a:pt x="397" y="96"/>
                  </a:cubicBezTo>
                  <a:cubicBezTo>
                    <a:pt x="400" y="103"/>
                    <a:pt x="400" y="103"/>
                    <a:pt x="400" y="103"/>
                  </a:cubicBezTo>
                  <a:lnTo>
                    <a:pt x="407" y="97"/>
                  </a:lnTo>
                  <a:close/>
                  <a:moveTo>
                    <a:pt x="443" y="96"/>
                  </a:moveTo>
                  <a:cubicBezTo>
                    <a:pt x="449" y="97"/>
                    <a:pt x="452" y="90"/>
                    <a:pt x="449" y="84"/>
                  </a:cubicBezTo>
                  <a:cubicBezTo>
                    <a:pt x="446" y="79"/>
                    <a:pt x="441" y="83"/>
                    <a:pt x="440" y="90"/>
                  </a:cubicBezTo>
                  <a:cubicBezTo>
                    <a:pt x="439" y="95"/>
                    <a:pt x="443" y="96"/>
                    <a:pt x="443" y="96"/>
                  </a:cubicBezTo>
                  <a:close/>
                  <a:moveTo>
                    <a:pt x="455" y="99"/>
                  </a:moveTo>
                  <a:cubicBezTo>
                    <a:pt x="451" y="96"/>
                    <a:pt x="451" y="96"/>
                    <a:pt x="451" y="96"/>
                  </a:cubicBezTo>
                  <a:cubicBezTo>
                    <a:pt x="451" y="96"/>
                    <a:pt x="449" y="99"/>
                    <a:pt x="448" y="100"/>
                  </a:cubicBezTo>
                  <a:lnTo>
                    <a:pt x="455" y="99"/>
                  </a:lnTo>
                  <a:close/>
                  <a:moveTo>
                    <a:pt x="445" y="105"/>
                  </a:moveTo>
                  <a:cubicBezTo>
                    <a:pt x="444" y="111"/>
                    <a:pt x="444" y="111"/>
                    <a:pt x="444" y="111"/>
                  </a:cubicBezTo>
                  <a:cubicBezTo>
                    <a:pt x="449" y="109"/>
                    <a:pt x="449" y="109"/>
                    <a:pt x="449" y="109"/>
                  </a:cubicBezTo>
                  <a:cubicBezTo>
                    <a:pt x="448" y="104"/>
                    <a:pt x="448" y="104"/>
                    <a:pt x="448" y="104"/>
                  </a:cubicBezTo>
                  <a:lnTo>
                    <a:pt x="445" y="105"/>
                  </a:lnTo>
                  <a:close/>
                  <a:moveTo>
                    <a:pt x="474" y="58"/>
                  </a:moveTo>
                  <a:cubicBezTo>
                    <a:pt x="479" y="58"/>
                    <a:pt x="479" y="58"/>
                    <a:pt x="479" y="58"/>
                  </a:cubicBezTo>
                  <a:cubicBezTo>
                    <a:pt x="476" y="63"/>
                    <a:pt x="476" y="63"/>
                    <a:pt x="476" y="63"/>
                  </a:cubicBezTo>
                  <a:cubicBezTo>
                    <a:pt x="478" y="65"/>
                    <a:pt x="484" y="64"/>
                    <a:pt x="492" y="60"/>
                  </a:cubicBezTo>
                  <a:cubicBezTo>
                    <a:pt x="500" y="56"/>
                    <a:pt x="497" y="50"/>
                    <a:pt x="497" y="50"/>
                  </a:cubicBezTo>
                  <a:cubicBezTo>
                    <a:pt x="504" y="41"/>
                    <a:pt x="504" y="41"/>
                    <a:pt x="504" y="41"/>
                  </a:cubicBezTo>
                  <a:cubicBezTo>
                    <a:pt x="500" y="36"/>
                    <a:pt x="500" y="36"/>
                    <a:pt x="500" y="36"/>
                  </a:cubicBezTo>
                  <a:cubicBezTo>
                    <a:pt x="492" y="40"/>
                    <a:pt x="492" y="40"/>
                    <a:pt x="492" y="40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88" y="44"/>
                    <a:pt x="488" y="44"/>
                    <a:pt x="488" y="44"/>
                  </a:cubicBezTo>
                  <a:cubicBezTo>
                    <a:pt x="486" y="46"/>
                    <a:pt x="486" y="46"/>
                    <a:pt x="486" y="46"/>
                  </a:cubicBezTo>
                  <a:cubicBezTo>
                    <a:pt x="490" y="52"/>
                    <a:pt x="490" y="52"/>
                    <a:pt x="490" y="52"/>
                  </a:cubicBezTo>
                  <a:cubicBezTo>
                    <a:pt x="483" y="48"/>
                    <a:pt x="483" y="48"/>
                    <a:pt x="483" y="48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79" y="53"/>
                    <a:pt x="479" y="53"/>
                    <a:pt x="479" y="53"/>
                  </a:cubicBezTo>
                  <a:cubicBezTo>
                    <a:pt x="472" y="55"/>
                    <a:pt x="472" y="55"/>
                    <a:pt x="472" y="55"/>
                  </a:cubicBezTo>
                  <a:lnTo>
                    <a:pt x="474" y="58"/>
                  </a:lnTo>
                  <a:close/>
                  <a:moveTo>
                    <a:pt x="484" y="73"/>
                  </a:moveTo>
                  <a:cubicBezTo>
                    <a:pt x="484" y="76"/>
                    <a:pt x="489" y="76"/>
                    <a:pt x="489" y="76"/>
                  </a:cubicBezTo>
                  <a:cubicBezTo>
                    <a:pt x="489" y="76"/>
                    <a:pt x="498" y="77"/>
                    <a:pt x="497" y="73"/>
                  </a:cubicBezTo>
                  <a:cubicBezTo>
                    <a:pt x="497" y="68"/>
                    <a:pt x="482" y="66"/>
                    <a:pt x="484" y="73"/>
                  </a:cubicBezTo>
                  <a:close/>
                  <a:moveTo>
                    <a:pt x="503" y="55"/>
                  </a:moveTo>
                  <a:cubicBezTo>
                    <a:pt x="501" y="59"/>
                    <a:pt x="501" y="59"/>
                    <a:pt x="501" y="59"/>
                  </a:cubicBezTo>
                  <a:cubicBezTo>
                    <a:pt x="499" y="57"/>
                    <a:pt x="499" y="57"/>
                    <a:pt x="499" y="57"/>
                  </a:cubicBezTo>
                  <a:cubicBezTo>
                    <a:pt x="493" y="66"/>
                    <a:pt x="493" y="66"/>
                    <a:pt x="493" y="66"/>
                  </a:cubicBezTo>
                  <a:cubicBezTo>
                    <a:pt x="499" y="68"/>
                    <a:pt x="499" y="68"/>
                    <a:pt x="499" y="68"/>
                  </a:cubicBezTo>
                  <a:cubicBezTo>
                    <a:pt x="500" y="66"/>
                    <a:pt x="500" y="66"/>
                    <a:pt x="500" y="66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4" y="72"/>
                    <a:pt x="504" y="72"/>
                    <a:pt x="504" y="72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05" y="48"/>
                    <a:pt x="505" y="48"/>
                    <a:pt x="505" y="48"/>
                  </a:cubicBezTo>
                  <a:cubicBezTo>
                    <a:pt x="501" y="50"/>
                    <a:pt x="501" y="50"/>
                    <a:pt x="501" y="50"/>
                  </a:cubicBezTo>
                  <a:lnTo>
                    <a:pt x="503" y="55"/>
                  </a:lnTo>
                  <a:close/>
                  <a:moveTo>
                    <a:pt x="514" y="56"/>
                  </a:moveTo>
                  <a:cubicBezTo>
                    <a:pt x="517" y="56"/>
                    <a:pt x="521" y="48"/>
                    <a:pt x="516" y="43"/>
                  </a:cubicBezTo>
                  <a:cubicBezTo>
                    <a:pt x="509" y="37"/>
                    <a:pt x="505" y="43"/>
                    <a:pt x="508" y="50"/>
                  </a:cubicBezTo>
                  <a:cubicBezTo>
                    <a:pt x="508" y="50"/>
                    <a:pt x="510" y="56"/>
                    <a:pt x="514" y="56"/>
                  </a:cubicBezTo>
                  <a:close/>
                  <a:moveTo>
                    <a:pt x="513" y="22"/>
                  </a:moveTo>
                  <a:cubicBezTo>
                    <a:pt x="506" y="22"/>
                    <a:pt x="511" y="30"/>
                    <a:pt x="511" y="30"/>
                  </a:cubicBezTo>
                  <a:cubicBezTo>
                    <a:pt x="517" y="29"/>
                    <a:pt x="518" y="22"/>
                    <a:pt x="513" y="22"/>
                  </a:cubicBezTo>
                  <a:close/>
                  <a:moveTo>
                    <a:pt x="528" y="14"/>
                  </a:moveTo>
                  <a:cubicBezTo>
                    <a:pt x="523" y="17"/>
                    <a:pt x="523" y="17"/>
                    <a:pt x="523" y="17"/>
                  </a:cubicBezTo>
                  <a:cubicBezTo>
                    <a:pt x="531" y="19"/>
                    <a:pt x="531" y="19"/>
                    <a:pt x="531" y="19"/>
                  </a:cubicBezTo>
                  <a:lnTo>
                    <a:pt x="528" y="14"/>
                  </a:lnTo>
                  <a:close/>
                  <a:moveTo>
                    <a:pt x="538" y="19"/>
                  </a:moveTo>
                  <a:cubicBezTo>
                    <a:pt x="539" y="19"/>
                    <a:pt x="541" y="17"/>
                    <a:pt x="541" y="17"/>
                  </a:cubicBezTo>
                  <a:cubicBezTo>
                    <a:pt x="541" y="20"/>
                    <a:pt x="541" y="20"/>
                    <a:pt x="541" y="20"/>
                  </a:cubicBezTo>
                  <a:cubicBezTo>
                    <a:pt x="548" y="22"/>
                    <a:pt x="548" y="22"/>
                    <a:pt x="548" y="22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559" y="12"/>
                    <a:pt x="559" y="12"/>
                    <a:pt x="559" y="12"/>
                  </a:cubicBezTo>
                  <a:cubicBezTo>
                    <a:pt x="553" y="16"/>
                    <a:pt x="553" y="16"/>
                    <a:pt x="553" y="16"/>
                  </a:cubicBezTo>
                  <a:cubicBezTo>
                    <a:pt x="550" y="14"/>
                    <a:pt x="550" y="14"/>
                    <a:pt x="550" y="14"/>
                  </a:cubicBezTo>
                  <a:cubicBezTo>
                    <a:pt x="555" y="10"/>
                    <a:pt x="555" y="10"/>
                    <a:pt x="555" y="10"/>
                  </a:cubicBezTo>
                  <a:cubicBezTo>
                    <a:pt x="552" y="6"/>
                    <a:pt x="552" y="6"/>
                    <a:pt x="552" y="6"/>
                  </a:cubicBezTo>
                  <a:cubicBezTo>
                    <a:pt x="550" y="10"/>
                    <a:pt x="550" y="10"/>
                    <a:pt x="550" y="10"/>
                  </a:cubicBezTo>
                  <a:cubicBezTo>
                    <a:pt x="548" y="5"/>
                    <a:pt x="548" y="5"/>
                    <a:pt x="548" y="5"/>
                  </a:cubicBezTo>
                  <a:cubicBezTo>
                    <a:pt x="544" y="8"/>
                    <a:pt x="544" y="8"/>
                    <a:pt x="544" y="8"/>
                  </a:cubicBezTo>
                  <a:cubicBezTo>
                    <a:pt x="546" y="12"/>
                    <a:pt x="546" y="12"/>
                    <a:pt x="546" y="12"/>
                  </a:cubicBezTo>
                  <a:cubicBezTo>
                    <a:pt x="537" y="14"/>
                    <a:pt x="537" y="14"/>
                    <a:pt x="537" y="14"/>
                  </a:cubicBezTo>
                  <a:lnTo>
                    <a:pt x="538" y="19"/>
                  </a:lnTo>
                  <a:close/>
                  <a:moveTo>
                    <a:pt x="658" y="62"/>
                  </a:moveTo>
                  <a:cubicBezTo>
                    <a:pt x="659" y="72"/>
                    <a:pt x="659" y="72"/>
                    <a:pt x="659" y="72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2" y="60"/>
                    <a:pt x="662" y="60"/>
                    <a:pt x="662" y="60"/>
                  </a:cubicBezTo>
                  <a:lnTo>
                    <a:pt x="658" y="6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Es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671E315-3C47-824F-A5A3-69AB71AF8C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9465" y="2996422"/>
              <a:ext cx="513227" cy="326749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Weiß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8C100FD-BEE3-1C42-8D88-5EE56446FF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3604" y="3489846"/>
              <a:ext cx="871330" cy="788819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Let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165B0C-0C09-8A4A-9C6B-43FD4A0558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8112" y="3255510"/>
              <a:ext cx="636995" cy="359755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Moldawien" descr="© INSCALE GmbH, 05.05.2010&#10;http://www.presentationload.com/">
              <a:extLst>
                <a:ext uri="{FF2B5EF4-FFF2-40B4-BE49-F238E27FC236}">
                  <a16:creationId xmlns:a16="http://schemas.microsoft.com/office/drawing/2014/main" id="{49A541BA-EE10-0C4F-96B4-A95A88D331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3924" y="4656571"/>
              <a:ext cx="429064" cy="448867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7" name="Fin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D681938-DCF9-3D4F-9FBD-19B7F7E68B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65919" y="1417135"/>
              <a:ext cx="912587" cy="1608991"/>
            </a:xfrm>
            <a:custGeom>
              <a:avLst/>
              <a:gdLst/>
              <a:ahLst/>
              <a:cxnLst>
                <a:cxn ang="0">
                  <a:pos x="318" y="380"/>
                </a:cxn>
                <a:cxn ang="0">
                  <a:pos x="302" y="312"/>
                </a:cxn>
                <a:cxn ang="0">
                  <a:pos x="283" y="281"/>
                </a:cxn>
                <a:cxn ang="0">
                  <a:pos x="264" y="225"/>
                </a:cxn>
                <a:cxn ang="0">
                  <a:pos x="205" y="113"/>
                </a:cxn>
                <a:cxn ang="0">
                  <a:pos x="202" y="27"/>
                </a:cxn>
                <a:cxn ang="0">
                  <a:pos x="124" y="29"/>
                </a:cxn>
                <a:cxn ang="0">
                  <a:pos x="105" y="103"/>
                </a:cxn>
                <a:cxn ang="0">
                  <a:pos x="51" y="107"/>
                </a:cxn>
                <a:cxn ang="0">
                  <a:pos x="2" y="90"/>
                </a:cxn>
                <a:cxn ang="0">
                  <a:pos x="23" y="108"/>
                </a:cxn>
                <a:cxn ang="0">
                  <a:pos x="63" y="131"/>
                </a:cxn>
                <a:cxn ang="0">
                  <a:pos x="86" y="186"/>
                </a:cxn>
                <a:cxn ang="0">
                  <a:pos x="106" y="229"/>
                </a:cxn>
                <a:cxn ang="0">
                  <a:pos x="116" y="275"/>
                </a:cxn>
                <a:cxn ang="0">
                  <a:pos x="147" y="294"/>
                </a:cxn>
                <a:cxn ang="0">
                  <a:pos x="163" y="331"/>
                </a:cxn>
                <a:cxn ang="0">
                  <a:pos x="147" y="355"/>
                </a:cxn>
                <a:cxn ang="0">
                  <a:pos x="131" y="401"/>
                </a:cxn>
                <a:cxn ang="0">
                  <a:pos x="108" y="414"/>
                </a:cxn>
                <a:cxn ang="0">
                  <a:pos x="111" y="430"/>
                </a:cxn>
                <a:cxn ang="0">
                  <a:pos x="96" y="438"/>
                </a:cxn>
                <a:cxn ang="0">
                  <a:pos x="80" y="462"/>
                </a:cxn>
                <a:cxn ang="0">
                  <a:pos x="77" y="486"/>
                </a:cxn>
                <a:cxn ang="0">
                  <a:pos x="80" y="523"/>
                </a:cxn>
                <a:cxn ang="0">
                  <a:pos x="91" y="559"/>
                </a:cxn>
                <a:cxn ang="0">
                  <a:pos x="93" y="572"/>
                </a:cxn>
                <a:cxn ang="0">
                  <a:pos x="95" y="598"/>
                </a:cxn>
                <a:cxn ang="0">
                  <a:pos x="95" y="613"/>
                </a:cxn>
                <a:cxn ang="0">
                  <a:pos x="104" y="635"/>
                </a:cxn>
                <a:cxn ang="0">
                  <a:pos x="118" y="635"/>
                </a:cxn>
                <a:cxn ang="0">
                  <a:pos x="144" y="645"/>
                </a:cxn>
                <a:cxn ang="0">
                  <a:pos x="157" y="656"/>
                </a:cxn>
                <a:cxn ang="0">
                  <a:pos x="161" y="666"/>
                </a:cxn>
                <a:cxn ang="0">
                  <a:pos x="189" y="654"/>
                </a:cxn>
                <a:cxn ang="0">
                  <a:pos x="206" y="645"/>
                </a:cxn>
                <a:cxn ang="0">
                  <a:pos x="248" y="626"/>
                </a:cxn>
                <a:cxn ang="0">
                  <a:pos x="260" y="617"/>
                </a:cxn>
                <a:cxn ang="0">
                  <a:pos x="293" y="603"/>
                </a:cxn>
                <a:cxn ang="0">
                  <a:pos x="328" y="554"/>
                </a:cxn>
                <a:cxn ang="0">
                  <a:pos x="382" y="418"/>
                </a:cxn>
                <a:cxn ang="0">
                  <a:pos x="60" y="653"/>
                </a:cxn>
                <a:cxn ang="0">
                  <a:pos x="45" y="651"/>
                </a:cxn>
                <a:cxn ang="0">
                  <a:pos x="50" y="670"/>
                </a:cxn>
                <a:cxn ang="0">
                  <a:pos x="39" y="658"/>
                </a:cxn>
                <a:cxn ang="0">
                  <a:pos x="55" y="670"/>
                </a:cxn>
                <a:cxn ang="0">
                  <a:pos x="107" y="657"/>
                </a:cxn>
                <a:cxn ang="0">
                  <a:pos x="113" y="654"/>
                </a:cxn>
                <a:cxn ang="0">
                  <a:pos x="148" y="643"/>
                </a:cxn>
                <a:cxn ang="0">
                  <a:pos x="136" y="655"/>
                </a:cxn>
                <a:cxn ang="0">
                  <a:pos x="147" y="649"/>
                </a:cxn>
                <a:cxn ang="0">
                  <a:pos x="112" y="643"/>
                </a:cxn>
                <a:cxn ang="0">
                  <a:pos x="99" y="634"/>
                </a:cxn>
                <a:cxn ang="0">
                  <a:pos x="94" y="628"/>
                </a:cxn>
                <a:cxn ang="0">
                  <a:pos x="175" y="667"/>
                </a:cxn>
                <a:cxn ang="0">
                  <a:pos x="62" y="461"/>
                </a:cxn>
                <a:cxn ang="0">
                  <a:pos x="72" y="456"/>
                </a:cxn>
                <a:cxn ang="0">
                  <a:pos x="157" y="329"/>
                </a:cxn>
                <a:cxn ang="0">
                  <a:pos x="153" y="336"/>
                </a:cxn>
                <a:cxn ang="0">
                  <a:pos x="243" y="631"/>
                </a:cxn>
                <a:cxn ang="0">
                  <a:pos x="265" y="614"/>
                </a:cxn>
              </a:cxnLst>
              <a:rect l="0" t="0" r="r" b="b"/>
              <a:pathLst>
                <a:path w="382" h="674">
                  <a:moveTo>
                    <a:pt x="382" y="418"/>
                  </a:moveTo>
                  <a:cubicBezTo>
                    <a:pt x="381" y="412"/>
                    <a:pt x="369" y="412"/>
                    <a:pt x="369" y="412"/>
                  </a:cubicBezTo>
                  <a:cubicBezTo>
                    <a:pt x="366" y="404"/>
                    <a:pt x="366" y="404"/>
                    <a:pt x="366" y="404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39" y="394"/>
                    <a:pt x="339" y="394"/>
                    <a:pt x="339" y="394"/>
                  </a:cubicBezTo>
                  <a:cubicBezTo>
                    <a:pt x="318" y="380"/>
                    <a:pt x="318" y="380"/>
                    <a:pt x="318" y="380"/>
                  </a:cubicBezTo>
                  <a:cubicBezTo>
                    <a:pt x="327" y="374"/>
                    <a:pt x="327" y="374"/>
                    <a:pt x="327" y="374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26" y="370"/>
                    <a:pt x="331" y="355"/>
                    <a:pt x="327" y="346"/>
                  </a:cubicBezTo>
                  <a:cubicBezTo>
                    <a:pt x="323" y="338"/>
                    <a:pt x="313" y="344"/>
                    <a:pt x="308" y="335"/>
                  </a:cubicBezTo>
                  <a:cubicBezTo>
                    <a:pt x="301" y="326"/>
                    <a:pt x="307" y="320"/>
                    <a:pt x="307" y="320"/>
                  </a:cubicBezTo>
                  <a:cubicBezTo>
                    <a:pt x="302" y="312"/>
                    <a:pt x="302" y="312"/>
                    <a:pt x="302" y="312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285" y="301"/>
                    <a:pt x="285" y="301"/>
                    <a:pt x="285" y="301"/>
                  </a:cubicBezTo>
                  <a:cubicBezTo>
                    <a:pt x="292" y="296"/>
                    <a:pt x="292" y="296"/>
                    <a:pt x="292" y="296"/>
                  </a:cubicBezTo>
                  <a:cubicBezTo>
                    <a:pt x="291" y="291"/>
                    <a:pt x="291" y="291"/>
                    <a:pt x="291" y="291"/>
                  </a:cubicBezTo>
                  <a:cubicBezTo>
                    <a:pt x="280" y="293"/>
                    <a:pt x="280" y="293"/>
                    <a:pt x="280" y="293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0" y="272"/>
                    <a:pt x="280" y="272"/>
                    <a:pt x="280" y="272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8" y="259"/>
                    <a:pt x="288" y="259"/>
                    <a:pt x="288" y="259"/>
                  </a:cubicBezTo>
                  <a:cubicBezTo>
                    <a:pt x="288" y="259"/>
                    <a:pt x="286" y="249"/>
                    <a:pt x="281" y="240"/>
                  </a:cubicBezTo>
                  <a:cubicBezTo>
                    <a:pt x="277" y="232"/>
                    <a:pt x="264" y="225"/>
                    <a:pt x="264" y="225"/>
                  </a:cubicBezTo>
                  <a:cubicBezTo>
                    <a:pt x="261" y="223"/>
                    <a:pt x="262" y="214"/>
                    <a:pt x="254" y="208"/>
                  </a:cubicBezTo>
                  <a:cubicBezTo>
                    <a:pt x="248" y="204"/>
                    <a:pt x="237" y="187"/>
                    <a:pt x="237" y="187"/>
                  </a:cubicBezTo>
                  <a:cubicBezTo>
                    <a:pt x="237" y="187"/>
                    <a:pt x="252" y="152"/>
                    <a:pt x="251" y="142"/>
                  </a:cubicBezTo>
                  <a:cubicBezTo>
                    <a:pt x="250" y="133"/>
                    <a:pt x="238" y="133"/>
                    <a:pt x="238" y="133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05" y="113"/>
                    <a:pt x="205" y="113"/>
                    <a:pt x="205" y="113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9" y="70"/>
                    <a:pt x="199" y="70"/>
                    <a:pt x="199" y="70"/>
                  </a:cubicBezTo>
                  <a:cubicBezTo>
                    <a:pt x="188" y="68"/>
                    <a:pt x="188" y="68"/>
                    <a:pt x="188" y="68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197" y="57"/>
                    <a:pt x="194" y="52"/>
                    <a:pt x="194" y="46"/>
                  </a:cubicBezTo>
                  <a:cubicBezTo>
                    <a:pt x="194" y="41"/>
                    <a:pt x="202" y="27"/>
                    <a:pt x="202" y="27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13"/>
                    <a:pt x="163" y="0"/>
                    <a:pt x="157" y="1"/>
                  </a:cubicBezTo>
                  <a:cubicBezTo>
                    <a:pt x="151" y="2"/>
                    <a:pt x="142" y="14"/>
                    <a:pt x="142" y="14"/>
                  </a:cubicBezTo>
                  <a:cubicBezTo>
                    <a:pt x="142" y="14"/>
                    <a:pt x="135" y="12"/>
                    <a:pt x="129" y="15"/>
                  </a:cubicBezTo>
                  <a:cubicBezTo>
                    <a:pt x="123" y="17"/>
                    <a:pt x="124" y="29"/>
                    <a:pt x="124" y="29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1" y="75"/>
                    <a:pt x="122" y="80"/>
                  </a:cubicBezTo>
                  <a:cubicBezTo>
                    <a:pt x="122" y="86"/>
                    <a:pt x="119" y="90"/>
                    <a:pt x="117" y="93"/>
                  </a:cubicBezTo>
                  <a:cubicBezTo>
                    <a:pt x="114" y="97"/>
                    <a:pt x="112" y="110"/>
                    <a:pt x="112" y="110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1" y="97"/>
                    <a:pt x="86" y="97"/>
                  </a:cubicBezTo>
                  <a:cubicBezTo>
                    <a:pt x="80" y="97"/>
                    <a:pt x="78" y="105"/>
                    <a:pt x="78" y="105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4" y="99"/>
                    <a:pt x="37" y="93"/>
                  </a:cubicBezTo>
                  <a:cubicBezTo>
                    <a:pt x="32" y="88"/>
                    <a:pt x="25" y="78"/>
                    <a:pt x="25" y="78"/>
                  </a:cubicBezTo>
                  <a:cubicBezTo>
                    <a:pt x="25" y="78"/>
                    <a:pt x="16" y="75"/>
                    <a:pt x="12" y="80"/>
                  </a:cubicBezTo>
                  <a:cubicBezTo>
                    <a:pt x="6" y="84"/>
                    <a:pt x="14" y="91"/>
                    <a:pt x="13" y="93"/>
                  </a:cubicBezTo>
                  <a:cubicBezTo>
                    <a:pt x="11" y="95"/>
                    <a:pt x="2" y="90"/>
                    <a:pt x="2" y="9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53" y="126"/>
                    <a:pt x="63" y="131"/>
                  </a:cubicBezTo>
                  <a:cubicBezTo>
                    <a:pt x="72" y="136"/>
                    <a:pt x="73" y="146"/>
                    <a:pt x="73" y="146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86" y="152"/>
                    <a:pt x="88" y="155"/>
                  </a:cubicBezTo>
                  <a:cubicBezTo>
                    <a:pt x="90" y="158"/>
                    <a:pt x="85" y="158"/>
                    <a:pt x="84" y="162"/>
                  </a:cubicBezTo>
                  <a:cubicBezTo>
                    <a:pt x="83" y="167"/>
                    <a:pt x="85" y="170"/>
                    <a:pt x="86" y="174"/>
                  </a:cubicBezTo>
                  <a:cubicBezTo>
                    <a:pt x="88" y="180"/>
                    <a:pt x="86" y="186"/>
                    <a:pt x="86" y="186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95" y="197"/>
                    <a:pt x="94" y="199"/>
                    <a:pt x="94" y="204"/>
                  </a:cubicBezTo>
                  <a:cubicBezTo>
                    <a:pt x="94" y="210"/>
                    <a:pt x="103" y="215"/>
                    <a:pt x="105" y="218"/>
                  </a:cubicBezTo>
                  <a:cubicBezTo>
                    <a:pt x="107" y="222"/>
                    <a:pt x="106" y="229"/>
                    <a:pt x="106" y="229"/>
                  </a:cubicBezTo>
                  <a:cubicBezTo>
                    <a:pt x="106" y="229"/>
                    <a:pt x="108" y="233"/>
                    <a:pt x="110" y="237"/>
                  </a:cubicBezTo>
                  <a:cubicBezTo>
                    <a:pt x="111" y="240"/>
                    <a:pt x="106" y="243"/>
                    <a:pt x="103" y="248"/>
                  </a:cubicBezTo>
                  <a:cubicBezTo>
                    <a:pt x="101" y="252"/>
                    <a:pt x="106" y="253"/>
                    <a:pt x="106" y="253"/>
                  </a:cubicBezTo>
                  <a:cubicBezTo>
                    <a:pt x="106" y="253"/>
                    <a:pt x="106" y="254"/>
                    <a:pt x="105" y="260"/>
                  </a:cubicBezTo>
                  <a:cubicBezTo>
                    <a:pt x="105" y="264"/>
                    <a:pt x="112" y="265"/>
                    <a:pt x="114" y="266"/>
                  </a:cubicBezTo>
                  <a:cubicBezTo>
                    <a:pt x="116" y="268"/>
                    <a:pt x="115" y="271"/>
                    <a:pt x="116" y="275"/>
                  </a:cubicBezTo>
                  <a:cubicBezTo>
                    <a:pt x="117" y="279"/>
                    <a:pt x="122" y="281"/>
                    <a:pt x="122" y="281"/>
                  </a:cubicBezTo>
                  <a:cubicBezTo>
                    <a:pt x="123" y="288"/>
                    <a:pt x="123" y="288"/>
                    <a:pt x="123" y="288"/>
                  </a:cubicBezTo>
                  <a:cubicBezTo>
                    <a:pt x="128" y="286"/>
                    <a:pt x="128" y="286"/>
                    <a:pt x="128" y="286"/>
                  </a:cubicBezTo>
                  <a:cubicBezTo>
                    <a:pt x="139" y="293"/>
                    <a:pt x="139" y="293"/>
                    <a:pt x="139" y="293"/>
                  </a:cubicBezTo>
                  <a:cubicBezTo>
                    <a:pt x="139" y="295"/>
                    <a:pt x="139" y="295"/>
                    <a:pt x="139" y="295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54" y="297"/>
                    <a:pt x="154" y="297"/>
                    <a:pt x="154" y="297"/>
                  </a:cubicBezTo>
                  <a:cubicBezTo>
                    <a:pt x="154" y="297"/>
                    <a:pt x="159" y="301"/>
                    <a:pt x="162" y="308"/>
                  </a:cubicBezTo>
                  <a:cubicBezTo>
                    <a:pt x="166" y="314"/>
                    <a:pt x="162" y="324"/>
                    <a:pt x="162" y="324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2" y="334"/>
                    <a:pt x="162" y="334"/>
                    <a:pt x="162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7" y="342"/>
                    <a:pt x="160" y="340"/>
                    <a:pt x="154" y="341"/>
                  </a:cubicBezTo>
                  <a:cubicBezTo>
                    <a:pt x="150" y="342"/>
                    <a:pt x="147" y="346"/>
                    <a:pt x="147" y="346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66"/>
                    <a:pt x="145" y="366"/>
                    <a:pt x="145" y="366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37" y="376"/>
                    <a:pt x="137" y="376"/>
                    <a:pt x="137" y="376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1" y="401"/>
                    <a:pt x="131" y="401"/>
                    <a:pt x="131" y="401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409"/>
                    <a:pt x="124" y="409"/>
                    <a:pt x="124" y="409"/>
                  </a:cubicBezTo>
                  <a:cubicBezTo>
                    <a:pt x="117" y="413"/>
                    <a:pt x="117" y="413"/>
                    <a:pt x="117" y="413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2" y="413"/>
                    <a:pt x="112" y="413"/>
                    <a:pt x="112" y="413"/>
                  </a:cubicBezTo>
                  <a:cubicBezTo>
                    <a:pt x="108" y="414"/>
                    <a:pt x="108" y="414"/>
                    <a:pt x="108" y="414"/>
                  </a:cubicBezTo>
                  <a:cubicBezTo>
                    <a:pt x="108" y="417"/>
                    <a:pt x="108" y="417"/>
                    <a:pt x="108" y="417"/>
                  </a:cubicBezTo>
                  <a:cubicBezTo>
                    <a:pt x="106" y="418"/>
                    <a:pt x="106" y="418"/>
                    <a:pt x="106" y="418"/>
                  </a:cubicBezTo>
                  <a:cubicBezTo>
                    <a:pt x="105" y="421"/>
                    <a:pt x="105" y="421"/>
                    <a:pt x="105" y="421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3" y="422"/>
                    <a:pt x="113" y="422"/>
                    <a:pt x="113" y="422"/>
                  </a:cubicBezTo>
                  <a:cubicBezTo>
                    <a:pt x="111" y="430"/>
                    <a:pt x="111" y="430"/>
                    <a:pt x="111" y="430"/>
                  </a:cubicBezTo>
                  <a:cubicBezTo>
                    <a:pt x="111" y="430"/>
                    <a:pt x="107" y="426"/>
                    <a:pt x="104" y="428"/>
                  </a:cubicBezTo>
                  <a:cubicBezTo>
                    <a:pt x="100" y="430"/>
                    <a:pt x="102" y="436"/>
                    <a:pt x="102" y="436"/>
                  </a:cubicBezTo>
                  <a:cubicBezTo>
                    <a:pt x="102" y="439"/>
                    <a:pt x="102" y="439"/>
                    <a:pt x="102" y="439"/>
                  </a:cubicBezTo>
                  <a:cubicBezTo>
                    <a:pt x="101" y="441"/>
                    <a:pt x="100" y="442"/>
                    <a:pt x="100" y="442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6" y="438"/>
                    <a:pt x="96" y="438"/>
                    <a:pt x="96" y="438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444"/>
                    <a:pt x="99" y="455"/>
                    <a:pt x="98" y="457"/>
                  </a:cubicBezTo>
                  <a:cubicBezTo>
                    <a:pt x="97" y="460"/>
                    <a:pt x="91" y="458"/>
                    <a:pt x="89" y="458"/>
                  </a:cubicBezTo>
                  <a:cubicBezTo>
                    <a:pt x="82" y="458"/>
                    <a:pt x="82" y="458"/>
                    <a:pt x="82" y="458"/>
                  </a:cubicBezTo>
                  <a:cubicBezTo>
                    <a:pt x="82" y="458"/>
                    <a:pt x="82" y="462"/>
                    <a:pt x="80" y="462"/>
                  </a:cubicBezTo>
                  <a:cubicBezTo>
                    <a:pt x="79" y="462"/>
                    <a:pt x="77" y="459"/>
                    <a:pt x="77" y="459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83" y="475"/>
                    <a:pt x="83" y="475"/>
                    <a:pt x="83" y="475"/>
                  </a:cubicBezTo>
                  <a:cubicBezTo>
                    <a:pt x="77" y="474"/>
                    <a:pt x="77" y="474"/>
                    <a:pt x="77" y="474"/>
                  </a:cubicBezTo>
                  <a:cubicBezTo>
                    <a:pt x="75" y="482"/>
                    <a:pt x="75" y="482"/>
                    <a:pt x="75" y="482"/>
                  </a:cubicBezTo>
                  <a:cubicBezTo>
                    <a:pt x="75" y="482"/>
                    <a:pt x="77" y="484"/>
                    <a:pt x="77" y="486"/>
                  </a:cubicBezTo>
                  <a:cubicBezTo>
                    <a:pt x="77" y="487"/>
                    <a:pt x="72" y="487"/>
                    <a:pt x="72" y="487"/>
                  </a:cubicBezTo>
                  <a:cubicBezTo>
                    <a:pt x="69" y="492"/>
                    <a:pt x="69" y="492"/>
                    <a:pt x="69" y="492"/>
                  </a:cubicBezTo>
                  <a:cubicBezTo>
                    <a:pt x="68" y="504"/>
                    <a:pt x="68" y="504"/>
                    <a:pt x="68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72" y="504"/>
                    <a:pt x="69" y="508"/>
                    <a:pt x="70" y="513"/>
                  </a:cubicBezTo>
                  <a:cubicBezTo>
                    <a:pt x="70" y="517"/>
                    <a:pt x="78" y="519"/>
                    <a:pt x="80" y="523"/>
                  </a:cubicBezTo>
                  <a:cubicBezTo>
                    <a:pt x="83" y="528"/>
                    <a:pt x="80" y="534"/>
                    <a:pt x="80" y="534"/>
                  </a:cubicBezTo>
                  <a:cubicBezTo>
                    <a:pt x="80" y="543"/>
                    <a:pt x="80" y="543"/>
                    <a:pt x="80" y="543"/>
                  </a:cubicBezTo>
                  <a:cubicBezTo>
                    <a:pt x="83" y="546"/>
                    <a:pt x="83" y="546"/>
                    <a:pt x="83" y="546"/>
                  </a:cubicBezTo>
                  <a:cubicBezTo>
                    <a:pt x="86" y="544"/>
                    <a:pt x="86" y="544"/>
                    <a:pt x="86" y="544"/>
                  </a:cubicBezTo>
                  <a:cubicBezTo>
                    <a:pt x="86" y="544"/>
                    <a:pt x="86" y="550"/>
                    <a:pt x="87" y="552"/>
                  </a:cubicBezTo>
                  <a:cubicBezTo>
                    <a:pt x="88" y="555"/>
                    <a:pt x="91" y="559"/>
                    <a:pt x="91" y="559"/>
                  </a:cubicBezTo>
                  <a:cubicBezTo>
                    <a:pt x="90" y="561"/>
                    <a:pt x="90" y="561"/>
                    <a:pt x="90" y="561"/>
                  </a:cubicBezTo>
                  <a:cubicBezTo>
                    <a:pt x="94" y="562"/>
                    <a:pt x="94" y="562"/>
                    <a:pt x="94" y="562"/>
                  </a:cubicBezTo>
                  <a:cubicBezTo>
                    <a:pt x="95" y="567"/>
                    <a:pt x="95" y="567"/>
                    <a:pt x="95" y="567"/>
                  </a:cubicBezTo>
                  <a:cubicBezTo>
                    <a:pt x="90" y="566"/>
                    <a:pt x="90" y="566"/>
                    <a:pt x="90" y="566"/>
                  </a:cubicBezTo>
                  <a:cubicBezTo>
                    <a:pt x="90" y="569"/>
                    <a:pt x="90" y="569"/>
                    <a:pt x="90" y="569"/>
                  </a:cubicBezTo>
                  <a:cubicBezTo>
                    <a:pt x="93" y="572"/>
                    <a:pt x="93" y="572"/>
                    <a:pt x="93" y="572"/>
                  </a:cubicBezTo>
                  <a:cubicBezTo>
                    <a:pt x="89" y="572"/>
                    <a:pt x="89" y="572"/>
                    <a:pt x="89" y="572"/>
                  </a:cubicBezTo>
                  <a:cubicBezTo>
                    <a:pt x="93" y="577"/>
                    <a:pt x="93" y="577"/>
                    <a:pt x="93" y="577"/>
                  </a:cubicBezTo>
                  <a:cubicBezTo>
                    <a:pt x="90" y="578"/>
                    <a:pt x="90" y="578"/>
                    <a:pt x="90" y="578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5" y="584"/>
                    <a:pt x="96" y="588"/>
                    <a:pt x="94" y="591"/>
                  </a:cubicBezTo>
                  <a:cubicBezTo>
                    <a:pt x="91" y="593"/>
                    <a:pt x="95" y="598"/>
                    <a:pt x="95" y="598"/>
                  </a:cubicBezTo>
                  <a:cubicBezTo>
                    <a:pt x="95" y="598"/>
                    <a:pt x="90" y="599"/>
                    <a:pt x="90" y="603"/>
                  </a:cubicBezTo>
                  <a:cubicBezTo>
                    <a:pt x="91" y="607"/>
                    <a:pt x="94" y="610"/>
                    <a:pt x="94" y="610"/>
                  </a:cubicBezTo>
                  <a:cubicBezTo>
                    <a:pt x="91" y="610"/>
                    <a:pt x="91" y="610"/>
                    <a:pt x="91" y="610"/>
                  </a:cubicBezTo>
                  <a:cubicBezTo>
                    <a:pt x="88" y="607"/>
                    <a:pt x="88" y="607"/>
                    <a:pt x="88" y="607"/>
                  </a:cubicBezTo>
                  <a:cubicBezTo>
                    <a:pt x="87" y="613"/>
                    <a:pt x="87" y="613"/>
                    <a:pt x="87" y="613"/>
                  </a:cubicBezTo>
                  <a:cubicBezTo>
                    <a:pt x="95" y="613"/>
                    <a:pt x="95" y="613"/>
                    <a:pt x="95" y="613"/>
                  </a:cubicBezTo>
                  <a:cubicBezTo>
                    <a:pt x="93" y="614"/>
                    <a:pt x="93" y="614"/>
                    <a:pt x="93" y="614"/>
                  </a:cubicBezTo>
                  <a:cubicBezTo>
                    <a:pt x="94" y="619"/>
                    <a:pt x="94" y="619"/>
                    <a:pt x="94" y="619"/>
                  </a:cubicBezTo>
                  <a:cubicBezTo>
                    <a:pt x="97" y="622"/>
                    <a:pt x="97" y="622"/>
                    <a:pt x="97" y="622"/>
                  </a:cubicBezTo>
                  <a:cubicBezTo>
                    <a:pt x="97" y="622"/>
                    <a:pt x="95" y="624"/>
                    <a:pt x="97" y="628"/>
                  </a:cubicBezTo>
                  <a:cubicBezTo>
                    <a:pt x="99" y="632"/>
                    <a:pt x="101" y="632"/>
                    <a:pt x="101" y="632"/>
                  </a:cubicBezTo>
                  <a:cubicBezTo>
                    <a:pt x="104" y="635"/>
                    <a:pt x="104" y="635"/>
                    <a:pt x="104" y="635"/>
                  </a:cubicBezTo>
                  <a:cubicBezTo>
                    <a:pt x="104" y="630"/>
                    <a:pt x="104" y="630"/>
                    <a:pt x="104" y="630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35"/>
                    <a:pt x="110" y="635"/>
                    <a:pt x="110" y="635"/>
                  </a:cubicBezTo>
                  <a:cubicBezTo>
                    <a:pt x="112" y="635"/>
                    <a:pt x="112" y="635"/>
                    <a:pt x="112" y="635"/>
                  </a:cubicBezTo>
                  <a:cubicBezTo>
                    <a:pt x="113" y="631"/>
                    <a:pt x="113" y="631"/>
                    <a:pt x="113" y="631"/>
                  </a:cubicBezTo>
                  <a:cubicBezTo>
                    <a:pt x="118" y="635"/>
                    <a:pt x="118" y="635"/>
                    <a:pt x="118" y="635"/>
                  </a:cubicBezTo>
                  <a:cubicBezTo>
                    <a:pt x="124" y="635"/>
                    <a:pt x="124" y="635"/>
                    <a:pt x="124" y="635"/>
                  </a:cubicBezTo>
                  <a:cubicBezTo>
                    <a:pt x="131" y="638"/>
                    <a:pt x="131" y="638"/>
                    <a:pt x="131" y="638"/>
                  </a:cubicBezTo>
                  <a:cubicBezTo>
                    <a:pt x="137" y="638"/>
                    <a:pt x="137" y="638"/>
                    <a:pt x="137" y="638"/>
                  </a:cubicBezTo>
                  <a:cubicBezTo>
                    <a:pt x="135" y="646"/>
                    <a:pt x="135" y="646"/>
                    <a:pt x="135" y="646"/>
                  </a:cubicBezTo>
                  <a:cubicBezTo>
                    <a:pt x="137" y="648"/>
                    <a:pt x="137" y="648"/>
                    <a:pt x="137" y="648"/>
                  </a:cubicBezTo>
                  <a:cubicBezTo>
                    <a:pt x="144" y="645"/>
                    <a:pt x="144" y="645"/>
                    <a:pt x="144" y="645"/>
                  </a:cubicBezTo>
                  <a:cubicBezTo>
                    <a:pt x="151" y="639"/>
                    <a:pt x="151" y="639"/>
                    <a:pt x="151" y="639"/>
                  </a:cubicBezTo>
                  <a:cubicBezTo>
                    <a:pt x="152" y="640"/>
                    <a:pt x="152" y="640"/>
                    <a:pt x="152" y="640"/>
                  </a:cubicBezTo>
                  <a:cubicBezTo>
                    <a:pt x="149" y="649"/>
                    <a:pt x="149" y="649"/>
                    <a:pt x="149" y="649"/>
                  </a:cubicBezTo>
                  <a:cubicBezTo>
                    <a:pt x="154" y="653"/>
                    <a:pt x="154" y="653"/>
                    <a:pt x="154" y="653"/>
                  </a:cubicBezTo>
                  <a:cubicBezTo>
                    <a:pt x="153" y="657"/>
                    <a:pt x="153" y="657"/>
                    <a:pt x="153" y="657"/>
                  </a:cubicBezTo>
                  <a:cubicBezTo>
                    <a:pt x="157" y="656"/>
                    <a:pt x="157" y="656"/>
                    <a:pt x="157" y="656"/>
                  </a:cubicBezTo>
                  <a:cubicBezTo>
                    <a:pt x="157" y="658"/>
                    <a:pt x="157" y="658"/>
                    <a:pt x="157" y="658"/>
                  </a:cubicBezTo>
                  <a:cubicBezTo>
                    <a:pt x="150" y="664"/>
                    <a:pt x="150" y="664"/>
                    <a:pt x="150" y="664"/>
                  </a:cubicBezTo>
                  <a:cubicBezTo>
                    <a:pt x="151" y="666"/>
                    <a:pt x="151" y="666"/>
                    <a:pt x="151" y="666"/>
                  </a:cubicBezTo>
                  <a:cubicBezTo>
                    <a:pt x="156" y="666"/>
                    <a:pt x="156" y="666"/>
                    <a:pt x="156" y="666"/>
                  </a:cubicBezTo>
                  <a:cubicBezTo>
                    <a:pt x="159" y="662"/>
                    <a:pt x="159" y="662"/>
                    <a:pt x="159" y="662"/>
                  </a:cubicBezTo>
                  <a:cubicBezTo>
                    <a:pt x="159" y="662"/>
                    <a:pt x="161" y="664"/>
                    <a:pt x="161" y="666"/>
                  </a:cubicBezTo>
                  <a:cubicBezTo>
                    <a:pt x="162" y="669"/>
                    <a:pt x="152" y="674"/>
                    <a:pt x="152" y="674"/>
                  </a:cubicBezTo>
                  <a:cubicBezTo>
                    <a:pt x="163" y="671"/>
                    <a:pt x="163" y="671"/>
                    <a:pt x="163" y="671"/>
                  </a:cubicBezTo>
                  <a:cubicBezTo>
                    <a:pt x="171" y="655"/>
                    <a:pt x="171" y="655"/>
                    <a:pt x="171" y="655"/>
                  </a:cubicBezTo>
                  <a:cubicBezTo>
                    <a:pt x="169" y="663"/>
                    <a:pt x="169" y="663"/>
                    <a:pt x="169" y="663"/>
                  </a:cubicBezTo>
                  <a:cubicBezTo>
                    <a:pt x="181" y="660"/>
                    <a:pt x="181" y="660"/>
                    <a:pt x="181" y="660"/>
                  </a:cubicBezTo>
                  <a:cubicBezTo>
                    <a:pt x="189" y="654"/>
                    <a:pt x="189" y="654"/>
                    <a:pt x="189" y="654"/>
                  </a:cubicBezTo>
                  <a:cubicBezTo>
                    <a:pt x="192" y="654"/>
                    <a:pt x="192" y="654"/>
                    <a:pt x="192" y="654"/>
                  </a:cubicBezTo>
                  <a:cubicBezTo>
                    <a:pt x="198" y="649"/>
                    <a:pt x="198" y="649"/>
                    <a:pt x="198" y="649"/>
                  </a:cubicBezTo>
                  <a:cubicBezTo>
                    <a:pt x="201" y="650"/>
                    <a:pt x="201" y="650"/>
                    <a:pt x="201" y="650"/>
                  </a:cubicBezTo>
                  <a:cubicBezTo>
                    <a:pt x="203" y="655"/>
                    <a:pt x="203" y="655"/>
                    <a:pt x="203" y="655"/>
                  </a:cubicBezTo>
                  <a:cubicBezTo>
                    <a:pt x="206" y="653"/>
                    <a:pt x="206" y="653"/>
                    <a:pt x="206" y="653"/>
                  </a:cubicBezTo>
                  <a:cubicBezTo>
                    <a:pt x="206" y="645"/>
                    <a:pt x="206" y="645"/>
                    <a:pt x="206" y="645"/>
                  </a:cubicBezTo>
                  <a:cubicBezTo>
                    <a:pt x="221" y="638"/>
                    <a:pt x="221" y="638"/>
                    <a:pt x="221" y="638"/>
                  </a:cubicBezTo>
                  <a:cubicBezTo>
                    <a:pt x="222" y="635"/>
                    <a:pt x="222" y="635"/>
                    <a:pt x="222" y="635"/>
                  </a:cubicBezTo>
                  <a:cubicBezTo>
                    <a:pt x="235" y="629"/>
                    <a:pt x="235" y="629"/>
                    <a:pt x="235" y="629"/>
                  </a:cubicBezTo>
                  <a:cubicBezTo>
                    <a:pt x="235" y="622"/>
                    <a:pt x="235" y="622"/>
                    <a:pt x="235" y="622"/>
                  </a:cubicBezTo>
                  <a:cubicBezTo>
                    <a:pt x="235" y="622"/>
                    <a:pt x="237" y="628"/>
                    <a:pt x="241" y="628"/>
                  </a:cubicBezTo>
                  <a:cubicBezTo>
                    <a:pt x="244" y="628"/>
                    <a:pt x="248" y="626"/>
                    <a:pt x="248" y="626"/>
                  </a:cubicBezTo>
                  <a:cubicBezTo>
                    <a:pt x="245" y="624"/>
                    <a:pt x="245" y="624"/>
                    <a:pt x="245" y="624"/>
                  </a:cubicBezTo>
                  <a:cubicBezTo>
                    <a:pt x="246" y="620"/>
                    <a:pt x="246" y="620"/>
                    <a:pt x="246" y="620"/>
                  </a:cubicBezTo>
                  <a:cubicBezTo>
                    <a:pt x="251" y="624"/>
                    <a:pt x="251" y="624"/>
                    <a:pt x="251" y="624"/>
                  </a:cubicBezTo>
                  <a:cubicBezTo>
                    <a:pt x="251" y="622"/>
                    <a:pt x="251" y="622"/>
                    <a:pt x="251" y="622"/>
                  </a:cubicBezTo>
                  <a:cubicBezTo>
                    <a:pt x="245" y="613"/>
                    <a:pt x="245" y="613"/>
                    <a:pt x="245" y="613"/>
                  </a:cubicBezTo>
                  <a:cubicBezTo>
                    <a:pt x="245" y="613"/>
                    <a:pt x="254" y="619"/>
                    <a:pt x="260" y="617"/>
                  </a:cubicBezTo>
                  <a:cubicBezTo>
                    <a:pt x="264" y="614"/>
                    <a:pt x="262" y="611"/>
                    <a:pt x="262" y="611"/>
                  </a:cubicBezTo>
                  <a:cubicBezTo>
                    <a:pt x="268" y="610"/>
                    <a:pt x="268" y="610"/>
                    <a:pt x="268" y="610"/>
                  </a:cubicBezTo>
                  <a:cubicBezTo>
                    <a:pt x="273" y="608"/>
                    <a:pt x="273" y="608"/>
                    <a:pt x="273" y="608"/>
                  </a:cubicBezTo>
                  <a:cubicBezTo>
                    <a:pt x="279" y="608"/>
                    <a:pt x="279" y="608"/>
                    <a:pt x="279" y="608"/>
                  </a:cubicBezTo>
                  <a:cubicBezTo>
                    <a:pt x="283" y="602"/>
                    <a:pt x="283" y="602"/>
                    <a:pt x="283" y="602"/>
                  </a:cubicBezTo>
                  <a:cubicBezTo>
                    <a:pt x="293" y="603"/>
                    <a:pt x="293" y="603"/>
                    <a:pt x="293" y="603"/>
                  </a:cubicBezTo>
                  <a:cubicBezTo>
                    <a:pt x="304" y="598"/>
                    <a:pt x="304" y="598"/>
                    <a:pt x="304" y="598"/>
                  </a:cubicBezTo>
                  <a:cubicBezTo>
                    <a:pt x="304" y="597"/>
                    <a:pt x="304" y="597"/>
                    <a:pt x="304" y="597"/>
                  </a:cubicBezTo>
                  <a:cubicBezTo>
                    <a:pt x="312" y="581"/>
                    <a:pt x="312" y="581"/>
                    <a:pt x="312" y="581"/>
                  </a:cubicBezTo>
                  <a:cubicBezTo>
                    <a:pt x="323" y="566"/>
                    <a:pt x="323" y="566"/>
                    <a:pt x="323" y="566"/>
                  </a:cubicBezTo>
                  <a:cubicBezTo>
                    <a:pt x="327" y="563"/>
                    <a:pt x="327" y="563"/>
                    <a:pt x="327" y="563"/>
                  </a:cubicBezTo>
                  <a:cubicBezTo>
                    <a:pt x="328" y="554"/>
                    <a:pt x="328" y="554"/>
                    <a:pt x="328" y="554"/>
                  </a:cubicBezTo>
                  <a:cubicBezTo>
                    <a:pt x="341" y="540"/>
                    <a:pt x="341" y="540"/>
                    <a:pt x="341" y="540"/>
                  </a:cubicBezTo>
                  <a:cubicBezTo>
                    <a:pt x="341" y="540"/>
                    <a:pt x="346" y="527"/>
                    <a:pt x="349" y="521"/>
                  </a:cubicBezTo>
                  <a:cubicBezTo>
                    <a:pt x="352" y="516"/>
                    <a:pt x="360" y="496"/>
                    <a:pt x="363" y="485"/>
                  </a:cubicBezTo>
                  <a:cubicBezTo>
                    <a:pt x="366" y="473"/>
                    <a:pt x="375" y="460"/>
                    <a:pt x="375" y="460"/>
                  </a:cubicBezTo>
                  <a:cubicBezTo>
                    <a:pt x="375" y="460"/>
                    <a:pt x="377" y="456"/>
                    <a:pt x="378" y="452"/>
                  </a:cubicBezTo>
                  <a:cubicBezTo>
                    <a:pt x="380" y="448"/>
                    <a:pt x="382" y="424"/>
                    <a:pt x="382" y="418"/>
                  </a:cubicBezTo>
                  <a:close/>
                  <a:moveTo>
                    <a:pt x="52" y="662"/>
                  </a:moveTo>
                  <a:cubicBezTo>
                    <a:pt x="52" y="658"/>
                    <a:pt x="52" y="658"/>
                    <a:pt x="52" y="658"/>
                  </a:cubicBezTo>
                  <a:cubicBezTo>
                    <a:pt x="54" y="657"/>
                    <a:pt x="54" y="657"/>
                    <a:pt x="54" y="657"/>
                  </a:cubicBezTo>
                  <a:cubicBezTo>
                    <a:pt x="54" y="657"/>
                    <a:pt x="54" y="659"/>
                    <a:pt x="55" y="661"/>
                  </a:cubicBezTo>
                  <a:cubicBezTo>
                    <a:pt x="56" y="662"/>
                    <a:pt x="61" y="660"/>
                    <a:pt x="61" y="660"/>
                  </a:cubicBezTo>
                  <a:cubicBezTo>
                    <a:pt x="60" y="653"/>
                    <a:pt x="60" y="653"/>
                    <a:pt x="60" y="653"/>
                  </a:cubicBezTo>
                  <a:cubicBezTo>
                    <a:pt x="55" y="653"/>
                    <a:pt x="55" y="653"/>
                    <a:pt x="55" y="653"/>
                  </a:cubicBezTo>
                  <a:cubicBezTo>
                    <a:pt x="55" y="650"/>
                    <a:pt x="55" y="650"/>
                    <a:pt x="55" y="650"/>
                  </a:cubicBezTo>
                  <a:cubicBezTo>
                    <a:pt x="51" y="651"/>
                    <a:pt x="51" y="651"/>
                    <a:pt x="51" y="651"/>
                  </a:cubicBezTo>
                  <a:cubicBezTo>
                    <a:pt x="51" y="651"/>
                    <a:pt x="50" y="649"/>
                    <a:pt x="50" y="647"/>
                  </a:cubicBezTo>
                  <a:cubicBezTo>
                    <a:pt x="50" y="646"/>
                    <a:pt x="47" y="644"/>
                    <a:pt x="45" y="648"/>
                  </a:cubicBezTo>
                  <a:cubicBezTo>
                    <a:pt x="45" y="651"/>
                    <a:pt x="45" y="651"/>
                    <a:pt x="45" y="651"/>
                  </a:cubicBezTo>
                  <a:cubicBezTo>
                    <a:pt x="48" y="657"/>
                    <a:pt x="48" y="657"/>
                    <a:pt x="48" y="657"/>
                  </a:cubicBezTo>
                  <a:cubicBezTo>
                    <a:pt x="45" y="659"/>
                    <a:pt x="45" y="659"/>
                    <a:pt x="45" y="659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1" y="658"/>
                    <a:pt x="41" y="658"/>
                    <a:pt x="41" y="658"/>
                  </a:cubicBezTo>
                  <a:cubicBezTo>
                    <a:pt x="46" y="669"/>
                    <a:pt x="46" y="669"/>
                    <a:pt x="46" y="669"/>
                  </a:cubicBezTo>
                  <a:cubicBezTo>
                    <a:pt x="50" y="670"/>
                    <a:pt x="50" y="670"/>
                    <a:pt x="50" y="670"/>
                  </a:cubicBezTo>
                  <a:cubicBezTo>
                    <a:pt x="54" y="666"/>
                    <a:pt x="54" y="666"/>
                    <a:pt x="54" y="666"/>
                  </a:cubicBezTo>
                  <a:cubicBezTo>
                    <a:pt x="54" y="662"/>
                    <a:pt x="54" y="662"/>
                    <a:pt x="54" y="662"/>
                  </a:cubicBezTo>
                  <a:lnTo>
                    <a:pt x="52" y="662"/>
                  </a:lnTo>
                  <a:close/>
                  <a:moveTo>
                    <a:pt x="37" y="666"/>
                  </a:moveTo>
                  <a:cubicBezTo>
                    <a:pt x="41" y="664"/>
                    <a:pt x="41" y="664"/>
                    <a:pt x="41" y="664"/>
                  </a:cubicBezTo>
                  <a:cubicBezTo>
                    <a:pt x="39" y="658"/>
                    <a:pt x="39" y="658"/>
                    <a:pt x="39" y="658"/>
                  </a:cubicBezTo>
                  <a:lnTo>
                    <a:pt x="37" y="666"/>
                  </a:lnTo>
                  <a:close/>
                  <a:moveTo>
                    <a:pt x="55" y="670"/>
                  </a:moveTo>
                  <a:cubicBezTo>
                    <a:pt x="61" y="674"/>
                    <a:pt x="61" y="674"/>
                    <a:pt x="61" y="674"/>
                  </a:cubicBezTo>
                  <a:cubicBezTo>
                    <a:pt x="63" y="671"/>
                    <a:pt x="63" y="671"/>
                    <a:pt x="63" y="671"/>
                  </a:cubicBezTo>
                  <a:cubicBezTo>
                    <a:pt x="56" y="667"/>
                    <a:pt x="56" y="667"/>
                    <a:pt x="56" y="667"/>
                  </a:cubicBezTo>
                  <a:lnTo>
                    <a:pt x="55" y="670"/>
                  </a:lnTo>
                  <a:close/>
                  <a:moveTo>
                    <a:pt x="63" y="663"/>
                  </a:moveTo>
                  <a:cubicBezTo>
                    <a:pt x="61" y="664"/>
                    <a:pt x="61" y="667"/>
                    <a:pt x="64" y="667"/>
                  </a:cubicBezTo>
                  <a:cubicBezTo>
                    <a:pt x="66" y="666"/>
                    <a:pt x="66" y="662"/>
                    <a:pt x="63" y="663"/>
                  </a:cubicBezTo>
                  <a:close/>
                  <a:moveTo>
                    <a:pt x="107" y="657"/>
                  </a:moveTo>
                  <a:cubicBezTo>
                    <a:pt x="104" y="657"/>
                    <a:pt x="100" y="662"/>
                    <a:pt x="106" y="661"/>
                  </a:cubicBezTo>
                  <a:cubicBezTo>
                    <a:pt x="106" y="661"/>
                    <a:pt x="111" y="657"/>
                    <a:pt x="107" y="657"/>
                  </a:cubicBezTo>
                  <a:close/>
                  <a:moveTo>
                    <a:pt x="113" y="654"/>
                  </a:moveTo>
                  <a:cubicBezTo>
                    <a:pt x="111" y="655"/>
                    <a:pt x="112" y="657"/>
                    <a:pt x="112" y="657"/>
                  </a:cubicBezTo>
                  <a:cubicBezTo>
                    <a:pt x="110" y="659"/>
                    <a:pt x="110" y="659"/>
                    <a:pt x="110" y="659"/>
                  </a:cubicBezTo>
                  <a:cubicBezTo>
                    <a:pt x="111" y="660"/>
                    <a:pt x="111" y="660"/>
                    <a:pt x="111" y="660"/>
                  </a:cubicBezTo>
                  <a:cubicBezTo>
                    <a:pt x="117" y="655"/>
                    <a:pt x="117" y="655"/>
                    <a:pt x="117" y="655"/>
                  </a:cubicBezTo>
                  <a:cubicBezTo>
                    <a:pt x="117" y="655"/>
                    <a:pt x="115" y="653"/>
                    <a:pt x="113" y="654"/>
                  </a:cubicBezTo>
                  <a:close/>
                  <a:moveTo>
                    <a:pt x="119" y="654"/>
                  </a:moveTo>
                  <a:cubicBezTo>
                    <a:pt x="120" y="657"/>
                    <a:pt x="120" y="657"/>
                    <a:pt x="120" y="657"/>
                  </a:cubicBezTo>
                  <a:cubicBezTo>
                    <a:pt x="122" y="656"/>
                    <a:pt x="122" y="656"/>
                    <a:pt x="122" y="656"/>
                  </a:cubicBezTo>
                  <a:cubicBezTo>
                    <a:pt x="122" y="654"/>
                    <a:pt x="122" y="654"/>
                    <a:pt x="122" y="654"/>
                  </a:cubicBezTo>
                  <a:lnTo>
                    <a:pt x="119" y="654"/>
                  </a:lnTo>
                  <a:close/>
                  <a:moveTo>
                    <a:pt x="148" y="643"/>
                  </a:moveTo>
                  <a:cubicBezTo>
                    <a:pt x="146" y="647"/>
                    <a:pt x="146" y="647"/>
                    <a:pt x="146" y="647"/>
                  </a:cubicBezTo>
                  <a:cubicBezTo>
                    <a:pt x="142" y="648"/>
                    <a:pt x="142" y="648"/>
                    <a:pt x="142" y="648"/>
                  </a:cubicBezTo>
                  <a:cubicBezTo>
                    <a:pt x="139" y="650"/>
                    <a:pt x="139" y="650"/>
                    <a:pt x="139" y="650"/>
                  </a:cubicBezTo>
                  <a:cubicBezTo>
                    <a:pt x="134" y="651"/>
                    <a:pt x="134" y="651"/>
                    <a:pt x="134" y="651"/>
                  </a:cubicBezTo>
                  <a:cubicBezTo>
                    <a:pt x="133" y="655"/>
                    <a:pt x="133" y="655"/>
                    <a:pt x="133" y="655"/>
                  </a:cubicBezTo>
                  <a:cubicBezTo>
                    <a:pt x="136" y="655"/>
                    <a:pt x="136" y="655"/>
                    <a:pt x="136" y="655"/>
                  </a:cubicBezTo>
                  <a:cubicBezTo>
                    <a:pt x="133" y="659"/>
                    <a:pt x="133" y="659"/>
                    <a:pt x="133" y="659"/>
                  </a:cubicBezTo>
                  <a:cubicBezTo>
                    <a:pt x="133" y="664"/>
                    <a:pt x="133" y="664"/>
                    <a:pt x="133" y="664"/>
                  </a:cubicBezTo>
                  <a:cubicBezTo>
                    <a:pt x="139" y="661"/>
                    <a:pt x="139" y="661"/>
                    <a:pt x="139" y="661"/>
                  </a:cubicBezTo>
                  <a:cubicBezTo>
                    <a:pt x="145" y="661"/>
                    <a:pt x="145" y="661"/>
                    <a:pt x="145" y="661"/>
                  </a:cubicBezTo>
                  <a:cubicBezTo>
                    <a:pt x="149" y="654"/>
                    <a:pt x="149" y="654"/>
                    <a:pt x="149" y="654"/>
                  </a:cubicBezTo>
                  <a:cubicBezTo>
                    <a:pt x="147" y="649"/>
                    <a:pt x="147" y="649"/>
                    <a:pt x="147" y="649"/>
                  </a:cubicBezTo>
                  <a:cubicBezTo>
                    <a:pt x="149" y="644"/>
                    <a:pt x="149" y="644"/>
                    <a:pt x="149" y="644"/>
                  </a:cubicBezTo>
                  <a:lnTo>
                    <a:pt x="148" y="643"/>
                  </a:lnTo>
                  <a:close/>
                  <a:moveTo>
                    <a:pt x="111" y="639"/>
                  </a:moveTo>
                  <a:cubicBezTo>
                    <a:pt x="112" y="640"/>
                    <a:pt x="112" y="640"/>
                    <a:pt x="112" y="640"/>
                  </a:cubicBezTo>
                  <a:cubicBezTo>
                    <a:pt x="110" y="643"/>
                    <a:pt x="110" y="643"/>
                    <a:pt x="110" y="643"/>
                  </a:cubicBezTo>
                  <a:cubicBezTo>
                    <a:pt x="112" y="643"/>
                    <a:pt x="112" y="643"/>
                    <a:pt x="112" y="643"/>
                  </a:cubicBezTo>
                  <a:cubicBezTo>
                    <a:pt x="114" y="642"/>
                    <a:pt x="114" y="642"/>
                    <a:pt x="114" y="642"/>
                  </a:cubicBezTo>
                  <a:cubicBezTo>
                    <a:pt x="117" y="644"/>
                    <a:pt x="117" y="644"/>
                    <a:pt x="117" y="644"/>
                  </a:cubicBezTo>
                  <a:cubicBezTo>
                    <a:pt x="118" y="641"/>
                    <a:pt x="118" y="641"/>
                    <a:pt x="118" y="641"/>
                  </a:cubicBezTo>
                  <a:cubicBezTo>
                    <a:pt x="113" y="638"/>
                    <a:pt x="113" y="638"/>
                    <a:pt x="113" y="638"/>
                  </a:cubicBezTo>
                  <a:lnTo>
                    <a:pt x="111" y="639"/>
                  </a:lnTo>
                  <a:close/>
                  <a:moveTo>
                    <a:pt x="99" y="634"/>
                  </a:moveTo>
                  <a:cubicBezTo>
                    <a:pt x="95" y="631"/>
                    <a:pt x="94" y="630"/>
                    <a:pt x="95" y="632"/>
                  </a:cubicBezTo>
                  <a:cubicBezTo>
                    <a:pt x="97" y="637"/>
                    <a:pt x="97" y="637"/>
                    <a:pt x="97" y="637"/>
                  </a:cubicBezTo>
                  <a:cubicBezTo>
                    <a:pt x="102" y="637"/>
                    <a:pt x="102" y="637"/>
                    <a:pt x="99" y="634"/>
                  </a:cubicBezTo>
                  <a:close/>
                  <a:moveTo>
                    <a:pt x="90" y="628"/>
                  </a:moveTo>
                  <a:cubicBezTo>
                    <a:pt x="93" y="631"/>
                    <a:pt x="93" y="631"/>
                    <a:pt x="93" y="631"/>
                  </a:cubicBezTo>
                  <a:cubicBezTo>
                    <a:pt x="94" y="628"/>
                    <a:pt x="94" y="628"/>
                    <a:pt x="94" y="628"/>
                  </a:cubicBezTo>
                  <a:cubicBezTo>
                    <a:pt x="91" y="627"/>
                    <a:pt x="91" y="627"/>
                    <a:pt x="91" y="627"/>
                  </a:cubicBezTo>
                  <a:lnTo>
                    <a:pt x="90" y="628"/>
                  </a:lnTo>
                  <a:close/>
                  <a:moveTo>
                    <a:pt x="175" y="667"/>
                  </a:moveTo>
                  <a:cubicBezTo>
                    <a:pt x="175" y="664"/>
                    <a:pt x="175" y="664"/>
                    <a:pt x="175" y="664"/>
                  </a:cubicBezTo>
                  <a:cubicBezTo>
                    <a:pt x="170" y="666"/>
                    <a:pt x="170" y="666"/>
                    <a:pt x="170" y="666"/>
                  </a:cubicBezTo>
                  <a:lnTo>
                    <a:pt x="175" y="667"/>
                  </a:lnTo>
                  <a:close/>
                  <a:moveTo>
                    <a:pt x="74" y="466"/>
                  </a:moveTo>
                  <a:cubicBezTo>
                    <a:pt x="72" y="462"/>
                    <a:pt x="72" y="462"/>
                    <a:pt x="72" y="462"/>
                  </a:cubicBezTo>
                  <a:cubicBezTo>
                    <a:pt x="72" y="462"/>
                    <a:pt x="69" y="464"/>
                    <a:pt x="68" y="464"/>
                  </a:cubicBezTo>
                  <a:cubicBezTo>
                    <a:pt x="66" y="464"/>
                    <a:pt x="67" y="461"/>
                    <a:pt x="67" y="461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6" y="468"/>
                    <a:pt x="66" y="468"/>
                    <a:pt x="66" y="468"/>
                  </a:cubicBezTo>
                  <a:cubicBezTo>
                    <a:pt x="71" y="469"/>
                    <a:pt x="74" y="466"/>
                    <a:pt x="74" y="466"/>
                  </a:cubicBezTo>
                  <a:close/>
                  <a:moveTo>
                    <a:pt x="72" y="456"/>
                  </a:moveTo>
                  <a:cubicBezTo>
                    <a:pt x="67" y="457"/>
                    <a:pt x="67" y="457"/>
                    <a:pt x="67" y="457"/>
                  </a:cubicBezTo>
                  <a:cubicBezTo>
                    <a:pt x="70" y="460"/>
                    <a:pt x="70" y="460"/>
                    <a:pt x="70" y="460"/>
                  </a:cubicBezTo>
                  <a:lnTo>
                    <a:pt x="72" y="456"/>
                  </a:lnTo>
                  <a:close/>
                  <a:moveTo>
                    <a:pt x="93" y="452"/>
                  </a:moveTo>
                  <a:cubicBezTo>
                    <a:pt x="90" y="456"/>
                    <a:pt x="90" y="456"/>
                    <a:pt x="90" y="456"/>
                  </a:cubicBezTo>
                  <a:cubicBezTo>
                    <a:pt x="94" y="456"/>
                    <a:pt x="94" y="456"/>
                    <a:pt x="94" y="456"/>
                  </a:cubicBezTo>
                  <a:cubicBezTo>
                    <a:pt x="97" y="454"/>
                    <a:pt x="97" y="454"/>
                    <a:pt x="97" y="454"/>
                  </a:cubicBezTo>
                  <a:lnTo>
                    <a:pt x="93" y="452"/>
                  </a:lnTo>
                  <a:close/>
                  <a:moveTo>
                    <a:pt x="157" y="329"/>
                  </a:moveTo>
                  <a:cubicBezTo>
                    <a:pt x="153" y="331"/>
                    <a:pt x="153" y="331"/>
                    <a:pt x="153" y="331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45" y="331"/>
                    <a:pt x="145" y="331"/>
                    <a:pt x="145" y="331"/>
                  </a:cubicBezTo>
                  <a:cubicBezTo>
                    <a:pt x="145" y="335"/>
                    <a:pt x="145" y="335"/>
                    <a:pt x="145" y="335"/>
                  </a:cubicBezTo>
                  <a:cubicBezTo>
                    <a:pt x="145" y="336"/>
                    <a:pt x="147" y="338"/>
                    <a:pt x="147" y="338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52" y="332"/>
                    <a:pt x="152" y="332"/>
                    <a:pt x="152" y="332"/>
                  </a:cubicBezTo>
                  <a:cubicBezTo>
                    <a:pt x="157" y="331"/>
                    <a:pt x="157" y="331"/>
                    <a:pt x="157" y="331"/>
                  </a:cubicBezTo>
                  <a:lnTo>
                    <a:pt x="157" y="329"/>
                  </a:lnTo>
                  <a:close/>
                  <a:moveTo>
                    <a:pt x="244" y="634"/>
                  </a:moveTo>
                  <a:cubicBezTo>
                    <a:pt x="247" y="630"/>
                    <a:pt x="247" y="630"/>
                    <a:pt x="247" y="630"/>
                  </a:cubicBezTo>
                  <a:cubicBezTo>
                    <a:pt x="243" y="631"/>
                    <a:pt x="243" y="631"/>
                    <a:pt x="243" y="631"/>
                  </a:cubicBezTo>
                  <a:lnTo>
                    <a:pt x="244" y="634"/>
                  </a:lnTo>
                  <a:close/>
                  <a:moveTo>
                    <a:pt x="260" y="618"/>
                  </a:moveTo>
                  <a:cubicBezTo>
                    <a:pt x="265" y="619"/>
                    <a:pt x="265" y="619"/>
                    <a:pt x="265" y="619"/>
                  </a:cubicBezTo>
                  <a:cubicBezTo>
                    <a:pt x="263" y="616"/>
                    <a:pt x="263" y="616"/>
                    <a:pt x="263" y="616"/>
                  </a:cubicBezTo>
                  <a:lnTo>
                    <a:pt x="260" y="618"/>
                  </a:lnTo>
                  <a:close/>
                  <a:moveTo>
                    <a:pt x="265" y="614"/>
                  </a:moveTo>
                  <a:cubicBezTo>
                    <a:pt x="267" y="617"/>
                    <a:pt x="267" y="617"/>
                    <a:pt x="267" y="617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0" y="613"/>
                    <a:pt x="270" y="613"/>
                    <a:pt x="270" y="613"/>
                  </a:cubicBezTo>
                  <a:lnTo>
                    <a:pt x="265" y="6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Bulgarien" descr="© INSCALE GmbH, 05.05.2010&#10;http://www.presentationload.com/">
              <a:extLst>
                <a:ext uri="{FF2B5EF4-FFF2-40B4-BE49-F238E27FC236}">
                  <a16:creationId xmlns:a16="http://schemas.microsoft.com/office/drawing/2014/main" id="{FFD8B23C-3580-D242-BC2F-EAD95064FB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9023" y="5331521"/>
              <a:ext cx="717858" cy="521478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9" name="Griech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E9E8D4A-2346-0D4F-BF18-89022210D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16437" y="5724279"/>
              <a:ext cx="1150222" cy="1079262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56AD95A7-9F61-E443-A7E4-A416134BA3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30303" y="3909008"/>
              <a:ext cx="1807022" cy="1227784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I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9B613DB-BDAB-E74A-9F2D-354F7F8AC6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4193" y="1559056"/>
              <a:ext cx="679902" cy="561084"/>
            </a:xfrm>
            <a:custGeom>
              <a:avLst/>
              <a:gdLst/>
              <a:ahLst/>
              <a:cxnLst>
                <a:cxn ang="0">
                  <a:pos x="273" y="136"/>
                </a:cxn>
                <a:cxn ang="0">
                  <a:pos x="262" y="113"/>
                </a:cxn>
                <a:cxn ang="0">
                  <a:pos x="268" y="98"/>
                </a:cxn>
                <a:cxn ang="0">
                  <a:pos x="252" y="81"/>
                </a:cxn>
                <a:cxn ang="0">
                  <a:pos x="229" y="89"/>
                </a:cxn>
                <a:cxn ang="0">
                  <a:pos x="206" y="89"/>
                </a:cxn>
                <a:cxn ang="0">
                  <a:pos x="189" y="71"/>
                </a:cxn>
                <a:cxn ang="0">
                  <a:pos x="178" y="102"/>
                </a:cxn>
                <a:cxn ang="0">
                  <a:pos x="177" y="75"/>
                </a:cxn>
                <a:cxn ang="0">
                  <a:pos x="170" y="63"/>
                </a:cxn>
                <a:cxn ang="0">
                  <a:pos x="144" y="81"/>
                </a:cxn>
                <a:cxn ang="0">
                  <a:pos x="141" y="52"/>
                </a:cxn>
                <a:cxn ang="0">
                  <a:pos x="133" y="54"/>
                </a:cxn>
                <a:cxn ang="0">
                  <a:pos x="115" y="81"/>
                </a:cxn>
                <a:cxn ang="0">
                  <a:pos x="110" y="75"/>
                </a:cxn>
                <a:cxn ang="0">
                  <a:pos x="95" y="81"/>
                </a:cxn>
                <a:cxn ang="0">
                  <a:pos x="90" y="75"/>
                </a:cxn>
                <a:cxn ang="0">
                  <a:pos x="92" y="54"/>
                </a:cxn>
                <a:cxn ang="0">
                  <a:pos x="109" y="44"/>
                </a:cxn>
                <a:cxn ang="0">
                  <a:pos x="104" y="23"/>
                </a:cxn>
                <a:cxn ang="0">
                  <a:pos x="97" y="10"/>
                </a:cxn>
                <a:cxn ang="0">
                  <a:pos x="81" y="5"/>
                </a:cxn>
                <a:cxn ang="0">
                  <a:pos x="88" y="13"/>
                </a:cxn>
                <a:cxn ang="0">
                  <a:pos x="87" y="29"/>
                </a:cxn>
                <a:cxn ang="0">
                  <a:pos x="79" y="32"/>
                </a:cxn>
                <a:cxn ang="0">
                  <a:pos x="73" y="27"/>
                </a:cxn>
                <a:cxn ang="0">
                  <a:pos x="71" y="13"/>
                </a:cxn>
                <a:cxn ang="0">
                  <a:pos x="53" y="22"/>
                </a:cxn>
                <a:cxn ang="0">
                  <a:pos x="57" y="38"/>
                </a:cxn>
                <a:cxn ang="0">
                  <a:pos x="38" y="23"/>
                </a:cxn>
                <a:cxn ang="0">
                  <a:pos x="30" y="36"/>
                </a:cxn>
                <a:cxn ang="0">
                  <a:pos x="30" y="49"/>
                </a:cxn>
                <a:cxn ang="0">
                  <a:pos x="60" y="50"/>
                </a:cxn>
                <a:cxn ang="0">
                  <a:pos x="72" y="64"/>
                </a:cxn>
                <a:cxn ang="0">
                  <a:pos x="72" y="75"/>
                </a:cxn>
                <a:cxn ang="0">
                  <a:pos x="69" y="87"/>
                </a:cxn>
                <a:cxn ang="0">
                  <a:pos x="45" y="87"/>
                </a:cxn>
                <a:cxn ang="0">
                  <a:pos x="31" y="83"/>
                </a:cxn>
                <a:cxn ang="0">
                  <a:pos x="4" y="84"/>
                </a:cxn>
                <a:cxn ang="0">
                  <a:pos x="34" y="97"/>
                </a:cxn>
                <a:cxn ang="0">
                  <a:pos x="36" y="117"/>
                </a:cxn>
                <a:cxn ang="0">
                  <a:pos x="48" y="121"/>
                </a:cxn>
                <a:cxn ang="0">
                  <a:pos x="36" y="132"/>
                </a:cxn>
                <a:cxn ang="0">
                  <a:pos x="36" y="141"/>
                </a:cxn>
                <a:cxn ang="0">
                  <a:pos x="14" y="149"/>
                </a:cxn>
                <a:cxn ang="0">
                  <a:pos x="0" y="154"/>
                </a:cxn>
                <a:cxn ang="0">
                  <a:pos x="28" y="168"/>
                </a:cxn>
                <a:cxn ang="0">
                  <a:pos x="45" y="177"/>
                </a:cxn>
                <a:cxn ang="0">
                  <a:pos x="55" y="194"/>
                </a:cxn>
                <a:cxn ang="0">
                  <a:pos x="79" y="224"/>
                </a:cxn>
                <a:cxn ang="0">
                  <a:pos x="123" y="221"/>
                </a:cxn>
                <a:cxn ang="0">
                  <a:pos x="155" y="227"/>
                </a:cxn>
                <a:cxn ang="0">
                  <a:pos x="195" y="217"/>
                </a:cxn>
                <a:cxn ang="0">
                  <a:pos x="212" y="218"/>
                </a:cxn>
                <a:cxn ang="0">
                  <a:pos x="240" y="207"/>
                </a:cxn>
                <a:cxn ang="0">
                  <a:pos x="243" y="194"/>
                </a:cxn>
                <a:cxn ang="0">
                  <a:pos x="258" y="190"/>
                </a:cxn>
                <a:cxn ang="0">
                  <a:pos x="263" y="183"/>
                </a:cxn>
                <a:cxn ang="0">
                  <a:pos x="272" y="183"/>
                </a:cxn>
                <a:cxn ang="0">
                  <a:pos x="278" y="173"/>
                </a:cxn>
                <a:cxn ang="0">
                  <a:pos x="284" y="155"/>
                </a:cxn>
                <a:cxn ang="0">
                  <a:pos x="50" y="205"/>
                </a:cxn>
              </a:cxnLst>
              <a:rect l="0" t="0" r="r" b="b"/>
              <a:pathLst>
                <a:path w="285" h="235">
                  <a:moveTo>
                    <a:pt x="284" y="155"/>
                  </a:moveTo>
                  <a:cubicBezTo>
                    <a:pt x="280" y="156"/>
                    <a:pt x="280" y="156"/>
                    <a:pt x="280" y="156"/>
                  </a:cubicBezTo>
                  <a:cubicBezTo>
                    <a:pt x="280" y="153"/>
                    <a:pt x="280" y="153"/>
                    <a:pt x="280" y="153"/>
                  </a:cubicBezTo>
                  <a:cubicBezTo>
                    <a:pt x="279" y="153"/>
                    <a:pt x="279" y="153"/>
                    <a:pt x="279" y="153"/>
                  </a:cubicBezTo>
                  <a:cubicBezTo>
                    <a:pt x="281" y="150"/>
                    <a:pt x="281" y="150"/>
                    <a:pt x="281" y="150"/>
                  </a:cubicBezTo>
                  <a:cubicBezTo>
                    <a:pt x="280" y="149"/>
                    <a:pt x="280" y="149"/>
                    <a:pt x="280" y="149"/>
                  </a:cubicBezTo>
                  <a:cubicBezTo>
                    <a:pt x="280" y="149"/>
                    <a:pt x="275" y="147"/>
                    <a:pt x="272" y="143"/>
                  </a:cubicBezTo>
                  <a:cubicBezTo>
                    <a:pt x="270" y="139"/>
                    <a:pt x="273" y="136"/>
                    <a:pt x="273" y="136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59" y="130"/>
                    <a:pt x="259" y="130"/>
                    <a:pt x="259" y="130"/>
                  </a:cubicBezTo>
                  <a:cubicBezTo>
                    <a:pt x="259" y="130"/>
                    <a:pt x="260" y="128"/>
                    <a:pt x="262" y="128"/>
                  </a:cubicBezTo>
                  <a:cubicBezTo>
                    <a:pt x="264" y="127"/>
                    <a:pt x="265" y="127"/>
                    <a:pt x="269" y="124"/>
                  </a:cubicBezTo>
                  <a:cubicBezTo>
                    <a:pt x="273" y="122"/>
                    <a:pt x="272" y="116"/>
                    <a:pt x="271" y="115"/>
                  </a:cubicBezTo>
                  <a:cubicBezTo>
                    <a:pt x="270" y="113"/>
                    <a:pt x="268" y="115"/>
                    <a:pt x="265" y="115"/>
                  </a:cubicBezTo>
                  <a:cubicBezTo>
                    <a:pt x="264" y="115"/>
                    <a:pt x="262" y="113"/>
                    <a:pt x="262" y="113"/>
                  </a:cubicBezTo>
                  <a:cubicBezTo>
                    <a:pt x="262" y="113"/>
                    <a:pt x="263" y="112"/>
                    <a:pt x="263" y="110"/>
                  </a:cubicBezTo>
                  <a:cubicBezTo>
                    <a:pt x="263" y="108"/>
                    <a:pt x="260" y="107"/>
                    <a:pt x="260" y="107"/>
                  </a:cubicBezTo>
                  <a:cubicBezTo>
                    <a:pt x="260" y="107"/>
                    <a:pt x="269" y="106"/>
                    <a:pt x="270" y="105"/>
                  </a:cubicBezTo>
                  <a:cubicBezTo>
                    <a:pt x="271" y="102"/>
                    <a:pt x="271" y="99"/>
                    <a:pt x="271" y="99"/>
                  </a:cubicBezTo>
                  <a:cubicBezTo>
                    <a:pt x="284" y="97"/>
                    <a:pt x="284" y="97"/>
                    <a:pt x="284" y="97"/>
                  </a:cubicBezTo>
                  <a:cubicBezTo>
                    <a:pt x="284" y="97"/>
                    <a:pt x="280" y="96"/>
                    <a:pt x="278" y="96"/>
                  </a:cubicBezTo>
                  <a:cubicBezTo>
                    <a:pt x="277" y="95"/>
                    <a:pt x="279" y="94"/>
                    <a:pt x="276" y="93"/>
                  </a:cubicBezTo>
                  <a:cubicBezTo>
                    <a:pt x="274" y="92"/>
                    <a:pt x="270" y="97"/>
                    <a:pt x="268" y="98"/>
                  </a:cubicBezTo>
                  <a:cubicBezTo>
                    <a:pt x="264" y="99"/>
                    <a:pt x="265" y="96"/>
                    <a:pt x="262" y="97"/>
                  </a:cubicBezTo>
                  <a:cubicBezTo>
                    <a:pt x="258" y="97"/>
                    <a:pt x="259" y="101"/>
                    <a:pt x="258" y="102"/>
                  </a:cubicBezTo>
                  <a:cubicBezTo>
                    <a:pt x="257" y="102"/>
                    <a:pt x="256" y="99"/>
                    <a:pt x="256" y="97"/>
                  </a:cubicBezTo>
                  <a:cubicBezTo>
                    <a:pt x="255" y="96"/>
                    <a:pt x="253" y="95"/>
                    <a:pt x="253" y="95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92"/>
                    <a:pt x="255" y="90"/>
                    <a:pt x="256" y="86"/>
                  </a:cubicBezTo>
                  <a:cubicBezTo>
                    <a:pt x="258" y="84"/>
                    <a:pt x="252" y="81"/>
                    <a:pt x="252" y="81"/>
                  </a:cubicBezTo>
                  <a:cubicBezTo>
                    <a:pt x="252" y="81"/>
                    <a:pt x="255" y="79"/>
                    <a:pt x="253" y="74"/>
                  </a:cubicBezTo>
                  <a:cubicBezTo>
                    <a:pt x="251" y="69"/>
                    <a:pt x="245" y="74"/>
                    <a:pt x="245" y="74"/>
                  </a:cubicBezTo>
                  <a:cubicBezTo>
                    <a:pt x="245" y="74"/>
                    <a:pt x="242" y="69"/>
                    <a:pt x="240" y="69"/>
                  </a:cubicBezTo>
                  <a:cubicBezTo>
                    <a:pt x="238" y="69"/>
                    <a:pt x="238" y="75"/>
                    <a:pt x="238" y="77"/>
                  </a:cubicBezTo>
                  <a:cubicBezTo>
                    <a:pt x="238" y="79"/>
                    <a:pt x="236" y="80"/>
                    <a:pt x="236" y="80"/>
                  </a:cubicBezTo>
                  <a:cubicBezTo>
                    <a:pt x="236" y="80"/>
                    <a:pt x="236" y="86"/>
                    <a:pt x="235" y="89"/>
                  </a:cubicBezTo>
                  <a:cubicBezTo>
                    <a:pt x="232" y="90"/>
                    <a:pt x="230" y="90"/>
                    <a:pt x="230" y="90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6" y="89"/>
                    <a:pt x="226" y="89"/>
                    <a:pt x="226" y="89"/>
                  </a:cubicBezTo>
                  <a:cubicBezTo>
                    <a:pt x="226" y="89"/>
                    <a:pt x="224" y="90"/>
                    <a:pt x="223" y="91"/>
                  </a:cubicBezTo>
                  <a:cubicBezTo>
                    <a:pt x="222" y="91"/>
                    <a:pt x="219" y="89"/>
                    <a:pt x="219" y="89"/>
                  </a:cubicBezTo>
                  <a:cubicBezTo>
                    <a:pt x="220" y="84"/>
                    <a:pt x="220" y="84"/>
                    <a:pt x="220" y="84"/>
                  </a:cubicBezTo>
                  <a:cubicBezTo>
                    <a:pt x="220" y="84"/>
                    <a:pt x="217" y="81"/>
                    <a:pt x="214" y="82"/>
                  </a:cubicBezTo>
                  <a:cubicBezTo>
                    <a:pt x="210" y="82"/>
                    <a:pt x="210" y="84"/>
                    <a:pt x="210" y="86"/>
                  </a:cubicBezTo>
                  <a:cubicBezTo>
                    <a:pt x="209" y="87"/>
                    <a:pt x="206" y="87"/>
                    <a:pt x="206" y="87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3"/>
                    <a:pt x="202" y="91"/>
                    <a:pt x="199" y="90"/>
                  </a:cubicBezTo>
                  <a:cubicBezTo>
                    <a:pt x="198" y="89"/>
                    <a:pt x="197" y="90"/>
                    <a:pt x="197" y="90"/>
                  </a:cubicBezTo>
                  <a:cubicBezTo>
                    <a:pt x="196" y="80"/>
                    <a:pt x="196" y="80"/>
                    <a:pt x="196" y="80"/>
                  </a:cubicBezTo>
                  <a:cubicBezTo>
                    <a:pt x="195" y="79"/>
                    <a:pt x="195" y="79"/>
                    <a:pt x="195" y="79"/>
                  </a:cubicBezTo>
                  <a:cubicBezTo>
                    <a:pt x="195" y="76"/>
                    <a:pt x="195" y="76"/>
                    <a:pt x="195" y="76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4" y="71"/>
                    <a:pt x="183" y="78"/>
                  </a:cubicBezTo>
                  <a:cubicBezTo>
                    <a:pt x="181" y="84"/>
                    <a:pt x="183" y="85"/>
                    <a:pt x="183" y="8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1" y="87"/>
                    <a:pt x="181" y="87"/>
                    <a:pt x="181" y="87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93"/>
                    <a:pt x="182" y="93"/>
                    <a:pt x="182" y="93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7" y="98"/>
                    <a:pt x="177" y="98"/>
                    <a:pt x="177" y="98"/>
                  </a:cubicBezTo>
                  <a:cubicBezTo>
                    <a:pt x="177" y="98"/>
                    <a:pt x="177" y="96"/>
                    <a:pt x="178" y="95"/>
                  </a:cubicBezTo>
                  <a:cubicBezTo>
                    <a:pt x="179" y="94"/>
                    <a:pt x="179" y="92"/>
                    <a:pt x="179" y="92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83"/>
                    <a:pt x="175" y="81"/>
                    <a:pt x="175" y="80"/>
                  </a:cubicBezTo>
                  <a:cubicBezTo>
                    <a:pt x="175" y="78"/>
                    <a:pt x="177" y="77"/>
                    <a:pt x="177" y="75"/>
                  </a:cubicBezTo>
                  <a:cubicBezTo>
                    <a:pt x="178" y="74"/>
                    <a:pt x="177" y="71"/>
                    <a:pt x="177" y="71"/>
                  </a:cubicBezTo>
                  <a:cubicBezTo>
                    <a:pt x="178" y="69"/>
                    <a:pt x="178" y="69"/>
                    <a:pt x="178" y="69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5" y="67"/>
                    <a:pt x="175" y="67"/>
                    <a:pt x="175" y="67"/>
                  </a:cubicBezTo>
                  <a:cubicBezTo>
                    <a:pt x="176" y="65"/>
                    <a:pt x="176" y="65"/>
                    <a:pt x="176" y="65"/>
                  </a:cubicBezTo>
                  <a:cubicBezTo>
                    <a:pt x="175" y="64"/>
                    <a:pt x="175" y="64"/>
                    <a:pt x="175" y="64"/>
                  </a:cubicBezTo>
                  <a:cubicBezTo>
                    <a:pt x="172" y="66"/>
                    <a:pt x="172" y="66"/>
                    <a:pt x="172" y="66"/>
                  </a:cubicBezTo>
                  <a:cubicBezTo>
                    <a:pt x="172" y="66"/>
                    <a:pt x="173" y="63"/>
                    <a:pt x="170" y="63"/>
                  </a:cubicBezTo>
                  <a:cubicBezTo>
                    <a:pt x="167" y="62"/>
                    <a:pt x="166" y="66"/>
                    <a:pt x="164" y="66"/>
                  </a:cubicBezTo>
                  <a:cubicBezTo>
                    <a:pt x="162" y="67"/>
                    <a:pt x="161" y="65"/>
                    <a:pt x="159" y="64"/>
                  </a:cubicBezTo>
                  <a:cubicBezTo>
                    <a:pt x="156" y="64"/>
                    <a:pt x="155" y="67"/>
                    <a:pt x="155" y="68"/>
                  </a:cubicBezTo>
                  <a:cubicBezTo>
                    <a:pt x="154" y="69"/>
                    <a:pt x="153" y="68"/>
                    <a:pt x="150" y="70"/>
                  </a:cubicBezTo>
                  <a:cubicBezTo>
                    <a:pt x="149" y="73"/>
                    <a:pt x="151" y="76"/>
                    <a:pt x="150" y="79"/>
                  </a:cubicBezTo>
                  <a:cubicBezTo>
                    <a:pt x="149" y="82"/>
                    <a:pt x="145" y="83"/>
                    <a:pt x="145" y="83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3" y="75"/>
                    <a:pt x="143" y="73"/>
                  </a:cubicBezTo>
                  <a:cubicBezTo>
                    <a:pt x="144" y="71"/>
                    <a:pt x="141" y="69"/>
                    <a:pt x="141" y="69"/>
                  </a:cubicBezTo>
                  <a:cubicBezTo>
                    <a:pt x="141" y="69"/>
                    <a:pt x="141" y="66"/>
                    <a:pt x="142" y="64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2" y="59"/>
                    <a:pt x="143" y="57"/>
                    <a:pt x="143" y="54"/>
                  </a:cubicBezTo>
                  <a:cubicBezTo>
                    <a:pt x="143" y="53"/>
                    <a:pt x="141" y="52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8" y="52"/>
                    <a:pt x="138" y="52"/>
                    <a:pt x="138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0" y="63"/>
                    <a:pt x="128" y="66"/>
                  </a:cubicBezTo>
                  <a:cubicBezTo>
                    <a:pt x="126" y="70"/>
                    <a:pt x="126" y="76"/>
                    <a:pt x="126" y="76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4" y="85"/>
                    <a:pt x="112" y="85"/>
                  </a:cubicBezTo>
                  <a:cubicBezTo>
                    <a:pt x="110" y="84"/>
                    <a:pt x="113" y="79"/>
                    <a:pt x="11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4" y="75"/>
                    <a:pt x="102" y="77"/>
                    <a:pt x="102" y="77"/>
                  </a:cubicBezTo>
                  <a:cubicBezTo>
                    <a:pt x="102" y="77"/>
                    <a:pt x="101" y="78"/>
                    <a:pt x="100" y="80"/>
                  </a:cubicBezTo>
                  <a:cubicBezTo>
                    <a:pt x="99" y="82"/>
                    <a:pt x="98" y="89"/>
                    <a:pt x="98" y="89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6"/>
                    <a:pt x="92" y="89"/>
                    <a:pt x="91" y="90"/>
                  </a:cubicBezTo>
                  <a:cubicBezTo>
                    <a:pt x="90" y="91"/>
                    <a:pt x="90" y="95"/>
                    <a:pt x="90" y="95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97"/>
                    <a:pt x="88" y="92"/>
                    <a:pt x="89" y="89"/>
                  </a:cubicBezTo>
                  <a:cubicBezTo>
                    <a:pt x="89" y="85"/>
                    <a:pt x="93" y="82"/>
                    <a:pt x="93" y="82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2" y="64"/>
                    <a:pt x="91" y="62"/>
                  </a:cubicBezTo>
                  <a:cubicBezTo>
                    <a:pt x="90" y="60"/>
                    <a:pt x="91" y="60"/>
                    <a:pt x="92" y="59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9"/>
                    <a:pt x="94" y="60"/>
                  </a:cubicBezTo>
                  <a:cubicBezTo>
                    <a:pt x="94" y="62"/>
                    <a:pt x="97" y="62"/>
                    <a:pt x="98" y="62"/>
                  </a:cubicBezTo>
                  <a:cubicBezTo>
                    <a:pt x="100" y="62"/>
                    <a:pt x="99" y="59"/>
                    <a:pt x="99" y="59"/>
                  </a:cubicBezTo>
                  <a:cubicBezTo>
                    <a:pt x="99" y="59"/>
                    <a:pt x="101" y="60"/>
                    <a:pt x="107" y="54"/>
                  </a:cubicBezTo>
                  <a:cubicBezTo>
                    <a:pt x="112" y="49"/>
                    <a:pt x="101" y="47"/>
                    <a:pt x="102" y="46"/>
                  </a:cubicBezTo>
                  <a:cubicBezTo>
                    <a:pt x="102" y="44"/>
                    <a:pt x="109" y="46"/>
                    <a:pt x="109" y="46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37"/>
                    <a:pt x="105" y="35"/>
                    <a:pt x="106" y="33"/>
                  </a:cubicBezTo>
                  <a:cubicBezTo>
                    <a:pt x="107" y="30"/>
                    <a:pt x="104" y="30"/>
                    <a:pt x="102" y="28"/>
                  </a:cubicBezTo>
                  <a:cubicBezTo>
                    <a:pt x="101" y="26"/>
                    <a:pt x="104" y="23"/>
                    <a:pt x="104" y="23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9" y="17"/>
                    <a:pt x="100" y="16"/>
                  </a:cubicBezTo>
                  <a:cubicBezTo>
                    <a:pt x="102" y="14"/>
                    <a:pt x="98" y="12"/>
                    <a:pt x="98" y="12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3" y="5"/>
                    <a:pt x="81" y="5"/>
                  </a:cubicBezTo>
                  <a:cubicBezTo>
                    <a:pt x="80" y="6"/>
                    <a:pt x="79" y="3"/>
                    <a:pt x="79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7" y="6"/>
                    <a:pt x="80" y="8"/>
                  </a:cubicBezTo>
                  <a:cubicBezTo>
                    <a:pt x="83" y="11"/>
                    <a:pt x="87" y="8"/>
                    <a:pt x="87" y="8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2" y="19"/>
                    <a:pt x="91" y="18"/>
                  </a:cubicBezTo>
                  <a:cubicBezTo>
                    <a:pt x="89" y="17"/>
                    <a:pt x="87" y="17"/>
                    <a:pt x="85" y="15"/>
                  </a:cubicBezTo>
                  <a:cubicBezTo>
                    <a:pt x="84" y="13"/>
                    <a:pt x="81" y="13"/>
                    <a:pt x="79" y="14"/>
                  </a:cubicBezTo>
                  <a:cubicBezTo>
                    <a:pt x="76" y="16"/>
                    <a:pt x="81" y="22"/>
                    <a:pt x="82" y="23"/>
                  </a:cubicBezTo>
                  <a:cubicBezTo>
                    <a:pt x="83" y="24"/>
                    <a:pt x="87" y="29"/>
                    <a:pt x="87" y="29"/>
                  </a:cubicBezTo>
                  <a:cubicBezTo>
                    <a:pt x="87" y="29"/>
                    <a:pt x="84" y="30"/>
                    <a:pt x="83" y="31"/>
                  </a:cubicBezTo>
                  <a:cubicBezTo>
                    <a:pt x="82" y="32"/>
                    <a:pt x="83" y="34"/>
                    <a:pt x="82" y="37"/>
                  </a:cubicBezTo>
                  <a:cubicBezTo>
                    <a:pt x="82" y="41"/>
                    <a:pt x="78" y="43"/>
                    <a:pt x="78" y="43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80" y="38"/>
                    <a:pt x="80" y="34"/>
                  </a:cubicBezTo>
                  <a:cubicBezTo>
                    <a:pt x="80" y="31"/>
                    <a:pt x="75" y="38"/>
                    <a:pt x="75" y="38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69" y="22"/>
                    <a:pt x="68" y="21"/>
                  </a:cubicBezTo>
                  <a:cubicBezTo>
                    <a:pt x="68" y="20"/>
                    <a:pt x="72" y="19"/>
                    <a:pt x="72" y="19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68" y="10"/>
                    <a:pt x="64" y="10"/>
                  </a:cubicBezTo>
                  <a:cubicBezTo>
                    <a:pt x="60" y="11"/>
                    <a:pt x="65" y="14"/>
                    <a:pt x="65" y="14"/>
                  </a:cubicBezTo>
                  <a:cubicBezTo>
                    <a:pt x="65" y="14"/>
                    <a:pt x="63" y="13"/>
                    <a:pt x="61" y="13"/>
                  </a:cubicBezTo>
                  <a:cubicBezTo>
                    <a:pt x="60" y="13"/>
                    <a:pt x="59" y="13"/>
                    <a:pt x="61" y="16"/>
                  </a:cubicBezTo>
                  <a:cubicBezTo>
                    <a:pt x="62" y="20"/>
                    <a:pt x="63" y="21"/>
                    <a:pt x="62" y="21"/>
                  </a:cubicBezTo>
                  <a:cubicBezTo>
                    <a:pt x="61" y="22"/>
                    <a:pt x="60" y="20"/>
                    <a:pt x="59" y="18"/>
                  </a:cubicBezTo>
                  <a:cubicBezTo>
                    <a:pt x="58" y="15"/>
                    <a:pt x="56" y="13"/>
                    <a:pt x="53" y="14"/>
                  </a:cubicBezTo>
                  <a:cubicBezTo>
                    <a:pt x="50" y="16"/>
                    <a:pt x="53" y="21"/>
                    <a:pt x="53" y="22"/>
                  </a:cubicBezTo>
                  <a:cubicBezTo>
                    <a:pt x="55" y="24"/>
                    <a:pt x="52" y="24"/>
                    <a:pt x="52" y="24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0" y="23"/>
                    <a:pt x="47" y="21"/>
                  </a:cubicBezTo>
                  <a:cubicBezTo>
                    <a:pt x="45" y="20"/>
                    <a:pt x="45" y="29"/>
                    <a:pt x="48" y="32"/>
                  </a:cubicBezTo>
                  <a:cubicBezTo>
                    <a:pt x="51" y="36"/>
                    <a:pt x="58" y="36"/>
                    <a:pt x="58" y="36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5" y="41"/>
                    <a:pt x="46" y="37"/>
                  </a:cubicBezTo>
                  <a:cubicBezTo>
                    <a:pt x="46" y="34"/>
                    <a:pt x="38" y="23"/>
                    <a:pt x="38" y="23"/>
                  </a:cubicBezTo>
                  <a:cubicBezTo>
                    <a:pt x="38" y="23"/>
                    <a:pt x="35" y="26"/>
                    <a:pt x="35" y="29"/>
                  </a:cubicBezTo>
                  <a:cubicBezTo>
                    <a:pt x="35" y="32"/>
                    <a:pt x="38" y="37"/>
                    <a:pt x="38" y="3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41"/>
                    <a:pt x="36" y="43"/>
                    <a:pt x="36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3"/>
                    <a:pt x="32" y="39"/>
                    <a:pt x="32" y="38"/>
                  </a:cubicBezTo>
                  <a:cubicBezTo>
                    <a:pt x="32" y="37"/>
                    <a:pt x="30" y="38"/>
                    <a:pt x="30" y="36"/>
                  </a:cubicBezTo>
                  <a:cubicBezTo>
                    <a:pt x="30" y="34"/>
                    <a:pt x="30" y="31"/>
                    <a:pt x="27" y="30"/>
                  </a:cubicBezTo>
                  <a:cubicBezTo>
                    <a:pt x="24" y="29"/>
                    <a:pt x="23" y="33"/>
                    <a:pt x="22" y="34"/>
                  </a:cubicBezTo>
                  <a:cubicBezTo>
                    <a:pt x="20" y="35"/>
                    <a:pt x="18" y="35"/>
                    <a:pt x="17" y="36"/>
                  </a:cubicBezTo>
                  <a:cubicBezTo>
                    <a:pt x="16" y="37"/>
                    <a:pt x="19" y="37"/>
                    <a:pt x="23" y="38"/>
                  </a:cubicBezTo>
                  <a:cubicBezTo>
                    <a:pt x="25" y="38"/>
                    <a:pt x="25" y="41"/>
                    <a:pt x="26" y="42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6" y="48"/>
                    <a:pt x="30" y="49"/>
                  </a:cubicBezTo>
                  <a:cubicBezTo>
                    <a:pt x="33" y="51"/>
                    <a:pt x="36" y="48"/>
                    <a:pt x="41" y="49"/>
                  </a:cubicBezTo>
                  <a:cubicBezTo>
                    <a:pt x="45" y="50"/>
                    <a:pt x="46" y="52"/>
                    <a:pt x="48" y="52"/>
                  </a:cubicBezTo>
                  <a:cubicBezTo>
                    <a:pt x="49" y="52"/>
                    <a:pt x="51" y="48"/>
                    <a:pt x="51" y="48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6" y="66"/>
                    <a:pt x="77" y="68"/>
                  </a:cubicBezTo>
                  <a:cubicBezTo>
                    <a:pt x="78" y="70"/>
                    <a:pt x="77" y="71"/>
                    <a:pt x="77" y="7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64" y="75"/>
                    <a:pt x="58" y="76"/>
                  </a:cubicBezTo>
                  <a:cubicBezTo>
                    <a:pt x="50" y="76"/>
                    <a:pt x="56" y="79"/>
                    <a:pt x="56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8" y="86"/>
                    <a:pt x="60" y="85"/>
                    <a:pt x="60" y="85"/>
                  </a:cubicBezTo>
                  <a:cubicBezTo>
                    <a:pt x="60" y="85"/>
                    <a:pt x="61" y="90"/>
                    <a:pt x="62" y="90"/>
                  </a:cubicBezTo>
                  <a:cubicBezTo>
                    <a:pt x="64" y="90"/>
                    <a:pt x="69" y="87"/>
                    <a:pt x="69" y="87"/>
                  </a:cubicBezTo>
                  <a:cubicBezTo>
                    <a:pt x="69" y="87"/>
                    <a:pt x="72" y="86"/>
                    <a:pt x="73" y="89"/>
                  </a:cubicBezTo>
                  <a:cubicBezTo>
                    <a:pt x="74" y="92"/>
                    <a:pt x="66" y="93"/>
                    <a:pt x="66" y="93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0" y="96"/>
                    <a:pt x="59" y="92"/>
                    <a:pt x="59" y="92"/>
                  </a:cubicBezTo>
                  <a:cubicBezTo>
                    <a:pt x="59" y="92"/>
                    <a:pt x="58" y="91"/>
                    <a:pt x="57" y="92"/>
                  </a:cubicBezTo>
                  <a:cubicBezTo>
                    <a:pt x="55" y="92"/>
                    <a:pt x="55" y="89"/>
                    <a:pt x="51" y="86"/>
                  </a:cubicBezTo>
                  <a:cubicBezTo>
                    <a:pt x="48" y="84"/>
                    <a:pt x="45" y="87"/>
                    <a:pt x="45" y="87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0" y="85"/>
                    <a:pt x="38" y="85"/>
                  </a:cubicBezTo>
                  <a:cubicBezTo>
                    <a:pt x="36" y="85"/>
                    <a:pt x="36" y="84"/>
                    <a:pt x="35" y="82"/>
                  </a:cubicBezTo>
                  <a:cubicBezTo>
                    <a:pt x="34" y="81"/>
                    <a:pt x="33" y="83"/>
                    <a:pt x="31" y="85"/>
                  </a:cubicBezTo>
                  <a:cubicBezTo>
                    <a:pt x="29" y="87"/>
                    <a:pt x="30" y="83"/>
                    <a:pt x="31" y="83"/>
                  </a:cubicBezTo>
                  <a:cubicBezTo>
                    <a:pt x="32" y="82"/>
                    <a:pt x="32" y="80"/>
                    <a:pt x="30" y="80"/>
                  </a:cubicBezTo>
                  <a:cubicBezTo>
                    <a:pt x="28" y="79"/>
                    <a:pt x="28" y="83"/>
                    <a:pt x="26" y="83"/>
                  </a:cubicBezTo>
                  <a:cubicBezTo>
                    <a:pt x="24" y="83"/>
                    <a:pt x="25" y="81"/>
                    <a:pt x="25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16" y="81"/>
                    <a:pt x="14" y="81"/>
                  </a:cubicBezTo>
                  <a:cubicBezTo>
                    <a:pt x="12" y="80"/>
                    <a:pt x="13" y="76"/>
                    <a:pt x="9" y="76"/>
                  </a:cubicBezTo>
                  <a:cubicBezTo>
                    <a:pt x="4" y="76"/>
                    <a:pt x="3" y="81"/>
                    <a:pt x="4" y="84"/>
                  </a:cubicBezTo>
                  <a:cubicBezTo>
                    <a:pt x="4" y="89"/>
                    <a:pt x="8" y="90"/>
                    <a:pt x="10" y="90"/>
                  </a:cubicBezTo>
                  <a:cubicBezTo>
                    <a:pt x="12" y="90"/>
                    <a:pt x="11" y="87"/>
                    <a:pt x="13" y="86"/>
                  </a:cubicBezTo>
                  <a:cubicBezTo>
                    <a:pt x="15" y="86"/>
                    <a:pt x="16" y="89"/>
                    <a:pt x="17" y="90"/>
                  </a:cubicBezTo>
                  <a:cubicBezTo>
                    <a:pt x="18" y="90"/>
                    <a:pt x="19" y="89"/>
                    <a:pt x="19" y="89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3" y="98"/>
                    <a:pt x="33" y="97"/>
                    <a:pt x="34" y="97"/>
                  </a:cubicBezTo>
                  <a:cubicBezTo>
                    <a:pt x="36" y="98"/>
                    <a:pt x="35" y="99"/>
                    <a:pt x="36" y="100"/>
                  </a:cubicBezTo>
                  <a:cubicBezTo>
                    <a:pt x="38" y="101"/>
                    <a:pt x="40" y="99"/>
                    <a:pt x="41" y="100"/>
                  </a:cubicBezTo>
                  <a:cubicBezTo>
                    <a:pt x="43" y="102"/>
                    <a:pt x="41" y="103"/>
                    <a:pt x="41" y="103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36" y="122"/>
                    <a:pt x="36" y="124"/>
                    <a:pt x="39" y="124"/>
                  </a:cubicBezTo>
                  <a:cubicBezTo>
                    <a:pt x="40" y="124"/>
                    <a:pt x="42" y="122"/>
                    <a:pt x="42" y="122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8" y="125"/>
                    <a:pt x="48" y="125"/>
                    <a:pt x="48" y="125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2" y="125"/>
                    <a:pt x="38" y="128"/>
                    <a:pt x="38" y="128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3" y="134"/>
                    <a:pt x="33" y="134"/>
                    <a:pt x="33" y="134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3" y="136"/>
                    <a:pt x="45" y="133"/>
                    <a:pt x="49" y="136"/>
                  </a:cubicBezTo>
                  <a:cubicBezTo>
                    <a:pt x="52" y="137"/>
                    <a:pt x="50" y="140"/>
                    <a:pt x="50" y="140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7" y="137"/>
                    <a:pt x="44" y="138"/>
                    <a:pt x="41" y="138"/>
                  </a:cubicBezTo>
                  <a:cubicBezTo>
                    <a:pt x="38" y="138"/>
                    <a:pt x="36" y="138"/>
                    <a:pt x="36" y="141"/>
                  </a:cubicBezTo>
                  <a:cubicBezTo>
                    <a:pt x="35" y="143"/>
                    <a:pt x="38" y="147"/>
                    <a:pt x="38" y="147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27" y="146"/>
                    <a:pt x="27" y="146"/>
                    <a:pt x="27" y="146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0"/>
                    <a:pt x="22" y="149"/>
                    <a:pt x="19" y="149"/>
                  </a:cubicBezTo>
                  <a:cubicBezTo>
                    <a:pt x="17" y="148"/>
                    <a:pt x="15" y="149"/>
                    <a:pt x="14" y="149"/>
                  </a:cubicBezTo>
                  <a:cubicBezTo>
                    <a:pt x="12" y="149"/>
                    <a:pt x="10" y="147"/>
                    <a:pt x="10" y="147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9" y="140"/>
                    <a:pt x="9" y="140"/>
                    <a:pt x="9" y="140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2" y="159"/>
                    <a:pt x="13" y="160"/>
                  </a:cubicBezTo>
                  <a:cubicBezTo>
                    <a:pt x="14" y="161"/>
                    <a:pt x="19" y="163"/>
                    <a:pt x="19" y="163"/>
                  </a:cubicBezTo>
                  <a:cubicBezTo>
                    <a:pt x="19" y="163"/>
                    <a:pt x="24" y="163"/>
                    <a:pt x="26" y="164"/>
                  </a:cubicBezTo>
                  <a:cubicBezTo>
                    <a:pt x="28" y="165"/>
                    <a:pt x="28" y="168"/>
                    <a:pt x="28" y="168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42" y="165"/>
                    <a:pt x="44" y="166"/>
                  </a:cubicBezTo>
                  <a:cubicBezTo>
                    <a:pt x="46" y="168"/>
                    <a:pt x="41" y="169"/>
                    <a:pt x="41" y="169"/>
                  </a:cubicBezTo>
                  <a:cubicBezTo>
                    <a:pt x="41" y="169"/>
                    <a:pt x="42" y="170"/>
                    <a:pt x="43" y="172"/>
                  </a:cubicBezTo>
                  <a:cubicBezTo>
                    <a:pt x="43" y="174"/>
                    <a:pt x="43" y="175"/>
                    <a:pt x="45" y="177"/>
                  </a:cubicBezTo>
                  <a:cubicBezTo>
                    <a:pt x="47" y="178"/>
                    <a:pt x="47" y="181"/>
                    <a:pt x="47" y="181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1" y="183"/>
                    <a:pt x="50" y="183"/>
                  </a:cubicBezTo>
                  <a:cubicBezTo>
                    <a:pt x="49" y="184"/>
                    <a:pt x="49" y="184"/>
                    <a:pt x="49" y="184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1" y="189"/>
                    <a:pt x="51" y="189"/>
                    <a:pt x="51" y="189"/>
                  </a:cubicBezTo>
                  <a:cubicBezTo>
                    <a:pt x="51" y="194"/>
                    <a:pt x="51" y="194"/>
                    <a:pt x="51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53" y="196"/>
                    <a:pt x="53" y="196"/>
                    <a:pt x="53" y="196"/>
                  </a:cubicBezTo>
                  <a:cubicBezTo>
                    <a:pt x="53" y="196"/>
                    <a:pt x="55" y="202"/>
                    <a:pt x="56" y="204"/>
                  </a:cubicBezTo>
                  <a:cubicBezTo>
                    <a:pt x="58" y="206"/>
                    <a:pt x="60" y="205"/>
                    <a:pt x="61" y="205"/>
                  </a:cubicBezTo>
                  <a:cubicBezTo>
                    <a:pt x="62" y="205"/>
                    <a:pt x="64" y="208"/>
                    <a:pt x="65" y="208"/>
                  </a:cubicBezTo>
                  <a:cubicBezTo>
                    <a:pt x="66" y="209"/>
                    <a:pt x="67" y="208"/>
                    <a:pt x="67" y="208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7" y="211"/>
                    <a:pt x="72" y="216"/>
                    <a:pt x="74" y="218"/>
                  </a:cubicBezTo>
                  <a:cubicBezTo>
                    <a:pt x="76" y="220"/>
                    <a:pt x="79" y="224"/>
                    <a:pt x="79" y="224"/>
                  </a:cubicBezTo>
                  <a:cubicBezTo>
                    <a:pt x="79" y="224"/>
                    <a:pt x="83" y="224"/>
                    <a:pt x="85" y="226"/>
                  </a:cubicBezTo>
                  <a:cubicBezTo>
                    <a:pt x="89" y="229"/>
                    <a:pt x="91" y="229"/>
                    <a:pt x="91" y="229"/>
                  </a:cubicBezTo>
                  <a:cubicBezTo>
                    <a:pt x="91" y="229"/>
                    <a:pt x="99" y="232"/>
                    <a:pt x="106" y="233"/>
                  </a:cubicBezTo>
                  <a:cubicBezTo>
                    <a:pt x="112" y="235"/>
                    <a:pt x="118" y="227"/>
                    <a:pt x="118" y="227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0" y="224"/>
                    <a:pt x="120" y="224"/>
                    <a:pt x="120" y="224"/>
                  </a:cubicBezTo>
                  <a:cubicBezTo>
                    <a:pt x="120" y="224"/>
                    <a:pt x="120" y="221"/>
                    <a:pt x="123" y="221"/>
                  </a:cubicBezTo>
                  <a:cubicBezTo>
                    <a:pt x="127" y="221"/>
                    <a:pt x="126" y="224"/>
                    <a:pt x="126" y="224"/>
                  </a:cubicBezTo>
                  <a:cubicBezTo>
                    <a:pt x="133" y="223"/>
                    <a:pt x="133" y="223"/>
                    <a:pt x="133" y="223"/>
                  </a:cubicBezTo>
                  <a:cubicBezTo>
                    <a:pt x="133" y="225"/>
                    <a:pt x="133" y="225"/>
                    <a:pt x="133" y="225"/>
                  </a:cubicBezTo>
                  <a:cubicBezTo>
                    <a:pt x="142" y="225"/>
                    <a:pt x="142" y="225"/>
                    <a:pt x="142" y="225"/>
                  </a:cubicBezTo>
                  <a:cubicBezTo>
                    <a:pt x="144" y="225"/>
                    <a:pt x="148" y="228"/>
                    <a:pt x="148" y="228"/>
                  </a:cubicBezTo>
                  <a:cubicBezTo>
                    <a:pt x="153" y="224"/>
                    <a:pt x="153" y="224"/>
                    <a:pt x="153" y="224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61" y="226"/>
                    <a:pt x="161" y="226"/>
                    <a:pt x="161" y="22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9"/>
                    <a:pt x="172" y="222"/>
                    <a:pt x="177" y="220"/>
                  </a:cubicBezTo>
                  <a:cubicBezTo>
                    <a:pt x="181" y="219"/>
                    <a:pt x="193" y="218"/>
                    <a:pt x="193" y="218"/>
                  </a:cubicBezTo>
                  <a:cubicBezTo>
                    <a:pt x="192" y="216"/>
                    <a:pt x="192" y="216"/>
                    <a:pt x="192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195" y="217"/>
                    <a:pt x="195" y="217"/>
                    <a:pt x="195" y="217"/>
                  </a:cubicBezTo>
                  <a:cubicBezTo>
                    <a:pt x="200" y="217"/>
                    <a:pt x="200" y="217"/>
                    <a:pt x="200" y="217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7" y="219"/>
                    <a:pt x="207" y="219"/>
                    <a:pt x="207" y="219"/>
                  </a:cubicBezTo>
                  <a:cubicBezTo>
                    <a:pt x="203" y="216"/>
                    <a:pt x="203" y="216"/>
                    <a:pt x="203" y="216"/>
                  </a:cubicBezTo>
                  <a:cubicBezTo>
                    <a:pt x="206" y="211"/>
                    <a:pt x="206" y="211"/>
                    <a:pt x="206" y="211"/>
                  </a:cubicBezTo>
                  <a:cubicBezTo>
                    <a:pt x="206" y="211"/>
                    <a:pt x="207" y="215"/>
                    <a:pt x="209" y="216"/>
                  </a:cubicBezTo>
                  <a:cubicBezTo>
                    <a:pt x="210" y="217"/>
                    <a:pt x="208" y="218"/>
                    <a:pt x="208" y="218"/>
                  </a:cubicBezTo>
                  <a:cubicBezTo>
                    <a:pt x="208" y="218"/>
                    <a:pt x="210" y="217"/>
                    <a:pt x="212" y="218"/>
                  </a:cubicBezTo>
                  <a:cubicBezTo>
                    <a:pt x="213" y="219"/>
                    <a:pt x="212" y="222"/>
                    <a:pt x="212" y="222"/>
                  </a:cubicBezTo>
                  <a:cubicBezTo>
                    <a:pt x="214" y="222"/>
                    <a:pt x="214" y="222"/>
                    <a:pt x="214" y="222"/>
                  </a:cubicBezTo>
                  <a:cubicBezTo>
                    <a:pt x="216" y="221"/>
                    <a:pt x="216" y="219"/>
                    <a:pt x="216" y="219"/>
                  </a:cubicBezTo>
                  <a:cubicBezTo>
                    <a:pt x="216" y="219"/>
                    <a:pt x="221" y="218"/>
                    <a:pt x="223" y="217"/>
                  </a:cubicBezTo>
                  <a:cubicBezTo>
                    <a:pt x="225" y="216"/>
                    <a:pt x="226" y="212"/>
                    <a:pt x="228" y="213"/>
                  </a:cubicBezTo>
                  <a:cubicBezTo>
                    <a:pt x="229" y="213"/>
                    <a:pt x="227" y="216"/>
                    <a:pt x="227" y="216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40" y="207"/>
                    <a:pt x="240" y="207"/>
                    <a:pt x="240" y="207"/>
                  </a:cubicBezTo>
                  <a:cubicBezTo>
                    <a:pt x="236" y="208"/>
                    <a:pt x="236" y="208"/>
                    <a:pt x="236" y="208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3" y="206"/>
                    <a:pt x="243" y="206"/>
                    <a:pt x="243" y="206"/>
                  </a:cubicBezTo>
                  <a:cubicBezTo>
                    <a:pt x="245" y="204"/>
                    <a:pt x="245" y="204"/>
                    <a:pt x="245" y="204"/>
                  </a:cubicBezTo>
                  <a:cubicBezTo>
                    <a:pt x="243" y="201"/>
                    <a:pt x="243" y="201"/>
                    <a:pt x="243" y="201"/>
                  </a:cubicBezTo>
                  <a:cubicBezTo>
                    <a:pt x="243" y="201"/>
                    <a:pt x="242" y="193"/>
                    <a:pt x="243" y="194"/>
                  </a:cubicBezTo>
                  <a:cubicBezTo>
                    <a:pt x="244" y="194"/>
                    <a:pt x="244" y="199"/>
                    <a:pt x="245" y="201"/>
                  </a:cubicBezTo>
                  <a:cubicBezTo>
                    <a:pt x="245" y="204"/>
                    <a:pt x="254" y="202"/>
                    <a:pt x="254" y="202"/>
                  </a:cubicBezTo>
                  <a:cubicBezTo>
                    <a:pt x="254" y="200"/>
                    <a:pt x="254" y="200"/>
                    <a:pt x="254" y="200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258" y="195"/>
                    <a:pt x="258" y="195"/>
                    <a:pt x="258" y="195"/>
                  </a:cubicBezTo>
                  <a:cubicBezTo>
                    <a:pt x="262" y="197"/>
                    <a:pt x="262" y="197"/>
                    <a:pt x="262" y="197"/>
                  </a:cubicBezTo>
                  <a:cubicBezTo>
                    <a:pt x="264" y="195"/>
                    <a:pt x="264" y="195"/>
                    <a:pt x="264" y="195"/>
                  </a:cubicBezTo>
                  <a:cubicBezTo>
                    <a:pt x="258" y="190"/>
                    <a:pt x="258" y="190"/>
                    <a:pt x="258" y="190"/>
                  </a:cubicBezTo>
                  <a:cubicBezTo>
                    <a:pt x="259" y="189"/>
                    <a:pt x="261" y="191"/>
                    <a:pt x="262" y="192"/>
                  </a:cubicBezTo>
                  <a:cubicBezTo>
                    <a:pt x="263" y="193"/>
                    <a:pt x="268" y="193"/>
                    <a:pt x="268" y="193"/>
                  </a:cubicBezTo>
                  <a:cubicBezTo>
                    <a:pt x="268" y="191"/>
                    <a:pt x="268" y="191"/>
                    <a:pt x="268" y="191"/>
                  </a:cubicBezTo>
                  <a:cubicBezTo>
                    <a:pt x="268" y="191"/>
                    <a:pt x="265" y="191"/>
                    <a:pt x="264" y="190"/>
                  </a:cubicBezTo>
                  <a:cubicBezTo>
                    <a:pt x="263" y="190"/>
                    <a:pt x="264" y="189"/>
                    <a:pt x="263" y="187"/>
                  </a:cubicBezTo>
                  <a:cubicBezTo>
                    <a:pt x="263" y="186"/>
                    <a:pt x="257" y="181"/>
                    <a:pt x="257" y="181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63" y="183"/>
                    <a:pt x="263" y="183"/>
                    <a:pt x="263" y="183"/>
                  </a:cubicBezTo>
                  <a:cubicBezTo>
                    <a:pt x="263" y="183"/>
                    <a:pt x="265" y="189"/>
                    <a:pt x="269" y="190"/>
                  </a:cubicBezTo>
                  <a:cubicBezTo>
                    <a:pt x="273" y="191"/>
                    <a:pt x="273" y="187"/>
                    <a:pt x="273" y="187"/>
                  </a:cubicBezTo>
                  <a:cubicBezTo>
                    <a:pt x="276" y="187"/>
                    <a:pt x="276" y="187"/>
                    <a:pt x="276" y="187"/>
                  </a:cubicBezTo>
                  <a:cubicBezTo>
                    <a:pt x="276" y="184"/>
                    <a:pt x="276" y="184"/>
                    <a:pt x="276" y="184"/>
                  </a:cubicBezTo>
                  <a:cubicBezTo>
                    <a:pt x="278" y="181"/>
                    <a:pt x="278" y="181"/>
                    <a:pt x="278" y="181"/>
                  </a:cubicBezTo>
                  <a:cubicBezTo>
                    <a:pt x="277" y="180"/>
                    <a:pt x="277" y="180"/>
                    <a:pt x="277" y="180"/>
                  </a:cubicBezTo>
                  <a:cubicBezTo>
                    <a:pt x="273" y="184"/>
                    <a:pt x="273" y="184"/>
                    <a:pt x="273" y="184"/>
                  </a:cubicBezTo>
                  <a:cubicBezTo>
                    <a:pt x="272" y="183"/>
                    <a:pt x="272" y="183"/>
                    <a:pt x="272" y="183"/>
                  </a:cubicBezTo>
                  <a:cubicBezTo>
                    <a:pt x="273" y="181"/>
                    <a:pt x="273" y="181"/>
                    <a:pt x="273" y="181"/>
                  </a:cubicBezTo>
                  <a:cubicBezTo>
                    <a:pt x="272" y="180"/>
                    <a:pt x="272" y="180"/>
                    <a:pt x="272" y="180"/>
                  </a:cubicBezTo>
                  <a:cubicBezTo>
                    <a:pt x="276" y="178"/>
                    <a:pt x="276" y="178"/>
                    <a:pt x="276" y="178"/>
                  </a:cubicBezTo>
                  <a:cubicBezTo>
                    <a:pt x="276" y="177"/>
                    <a:pt x="276" y="177"/>
                    <a:pt x="276" y="177"/>
                  </a:cubicBezTo>
                  <a:cubicBezTo>
                    <a:pt x="271" y="177"/>
                    <a:pt x="271" y="177"/>
                    <a:pt x="271" y="177"/>
                  </a:cubicBezTo>
                  <a:cubicBezTo>
                    <a:pt x="269" y="174"/>
                    <a:pt x="269" y="174"/>
                    <a:pt x="269" y="174"/>
                  </a:cubicBezTo>
                  <a:cubicBezTo>
                    <a:pt x="274" y="175"/>
                    <a:pt x="274" y="175"/>
                    <a:pt x="274" y="175"/>
                  </a:cubicBezTo>
                  <a:cubicBezTo>
                    <a:pt x="274" y="175"/>
                    <a:pt x="278" y="176"/>
                    <a:pt x="278" y="173"/>
                  </a:cubicBezTo>
                  <a:cubicBezTo>
                    <a:pt x="279" y="170"/>
                    <a:pt x="269" y="170"/>
                    <a:pt x="269" y="170"/>
                  </a:cubicBezTo>
                  <a:cubicBezTo>
                    <a:pt x="268" y="169"/>
                    <a:pt x="268" y="169"/>
                    <a:pt x="268" y="169"/>
                  </a:cubicBezTo>
                  <a:cubicBezTo>
                    <a:pt x="274" y="169"/>
                    <a:pt x="274" y="169"/>
                    <a:pt x="274" y="169"/>
                  </a:cubicBezTo>
                  <a:cubicBezTo>
                    <a:pt x="276" y="169"/>
                    <a:pt x="275" y="165"/>
                    <a:pt x="275" y="165"/>
                  </a:cubicBezTo>
                  <a:cubicBezTo>
                    <a:pt x="275" y="165"/>
                    <a:pt x="277" y="166"/>
                    <a:pt x="279" y="166"/>
                  </a:cubicBezTo>
                  <a:cubicBezTo>
                    <a:pt x="281" y="166"/>
                    <a:pt x="281" y="162"/>
                    <a:pt x="281" y="162"/>
                  </a:cubicBezTo>
                  <a:cubicBezTo>
                    <a:pt x="284" y="160"/>
                    <a:pt x="284" y="160"/>
                    <a:pt x="284" y="160"/>
                  </a:cubicBezTo>
                  <a:cubicBezTo>
                    <a:pt x="285" y="160"/>
                    <a:pt x="284" y="155"/>
                    <a:pt x="284" y="155"/>
                  </a:cubicBezTo>
                  <a:close/>
                  <a:moveTo>
                    <a:pt x="61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1" y="51"/>
                  </a:lnTo>
                  <a:close/>
                  <a:moveTo>
                    <a:pt x="48" y="210"/>
                  </a:moveTo>
                  <a:cubicBezTo>
                    <a:pt x="52" y="208"/>
                    <a:pt x="52" y="208"/>
                    <a:pt x="52" y="208"/>
                  </a:cubicBezTo>
                  <a:cubicBezTo>
                    <a:pt x="50" y="205"/>
                    <a:pt x="50" y="205"/>
                    <a:pt x="50" y="205"/>
                  </a:cubicBezTo>
                  <a:lnTo>
                    <a:pt x="48" y="210"/>
                  </a:lnTo>
                  <a:close/>
                  <a:moveTo>
                    <a:pt x="122" y="222"/>
                  </a:moveTo>
                  <a:cubicBezTo>
                    <a:pt x="122" y="222"/>
                    <a:pt x="121" y="225"/>
                    <a:pt x="124" y="224"/>
                  </a:cubicBezTo>
                  <a:cubicBezTo>
                    <a:pt x="126" y="224"/>
                    <a:pt x="125" y="221"/>
                    <a:pt x="122" y="2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Färöer" descr="© INSCALE GmbH, 05.05.2010&#10;http://www.presentationload.com/">
              <a:extLst>
                <a:ext uri="{FF2B5EF4-FFF2-40B4-BE49-F238E27FC236}">
                  <a16:creationId xmlns:a16="http://schemas.microsoft.com/office/drawing/2014/main" id="{C77D21BE-99F6-E342-B64C-CD873B8C1C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13677" y="2531052"/>
              <a:ext cx="123768" cy="146871"/>
            </a:xfrm>
            <a:custGeom>
              <a:avLst/>
              <a:gdLst/>
              <a:ahLst/>
              <a:cxnLst>
                <a:cxn ang="0">
                  <a:pos x="7" y="13"/>
                </a:cxn>
                <a:cxn ang="0">
                  <a:pos x="0" y="11"/>
                </a:cxn>
                <a:cxn ang="0">
                  <a:pos x="32" y="30"/>
                </a:cxn>
                <a:cxn ang="0">
                  <a:pos x="29" y="30"/>
                </a:cxn>
                <a:cxn ang="0">
                  <a:pos x="21" y="22"/>
                </a:cxn>
                <a:cxn ang="0">
                  <a:pos x="21" y="26"/>
                </a:cxn>
                <a:cxn ang="0">
                  <a:pos x="19" y="40"/>
                </a:cxn>
                <a:cxn ang="0">
                  <a:pos x="21" y="37"/>
                </a:cxn>
                <a:cxn ang="0">
                  <a:pos x="20" y="30"/>
                </a:cxn>
                <a:cxn ang="0">
                  <a:pos x="23" y="34"/>
                </a:cxn>
                <a:cxn ang="0">
                  <a:pos x="28" y="36"/>
                </a:cxn>
                <a:cxn ang="0">
                  <a:pos x="20" y="30"/>
                </a:cxn>
                <a:cxn ang="0">
                  <a:pos x="19" y="16"/>
                </a:cxn>
                <a:cxn ang="0">
                  <a:pos x="14" y="13"/>
                </a:cxn>
                <a:cxn ang="0">
                  <a:pos x="10" y="11"/>
                </a:cxn>
                <a:cxn ang="0">
                  <a:pos x="11" y="17"/>
                </a:cxn>
                <a:cxn ang="0">
                  <a:pos x="27" y="21"/>
                </a:cxn>
                <a:cxn ang="0">
                  <a:pos x="23" y="11"/>
                </a:cxn>
                <a:cxn ang="0">
                  <a:pos x="19" y="6"/>
                </a:cxn>
                <a:cxn ang="0">
                  <a:pos x="22" y="16"/>
                </a:cxn>
                <a:cxn ang="0">
                  <a:pos x="27" y="30"/>
                </a:cxn>
                <a:cxn ang="0">
                  <a:pos x="27" y="21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4" y="14"/>
                </a:cxn>
                <a:cxn ang="0">
                  <a:pos x="32" y="9"/>
                </a:cxn>
                <a:cxn ang="0">
                  <a:pos x="28" y="6"/>
                </a:cxn>
                <a:cxn ang="0">
                  <a:pos x="29" y="2"/>
                </a:cxn>
                <a:cxn ang="0">
                  <a:pos x="24" y="10"/>
                </a:cxn>
                <a:cxn ang="0">
                  <a:pos x="31" y="14"/>
                </a:cxn>
                <a:cxn ang="0">
                  <a:pos x="30" y="20"/>
                </a:cxn>
                <a:cxn ang="0">
                  <a:pos x="35" y="18"/>
                </a:cxn>
                <a:cxn ang="0">
                  <a:pos x="31" y="14"/>
                </a:cxn>
                <a:cxn ang="0">
                  <a:pos x="38" y="10"/>
                </a:cxn>
                <a:cxn ang="0">
                  <a:pos x="37" y="14"/>
                </a:cxn>
                <a:cxn ang="0">
                  <a:pos x="42" y="13"/>
                </a:cxn>
                <a:cxn ang="0">
                  <a:pos x="38" y="5"/>
                </a:cxn>
                <a:cxn ang="0">
                  <a:pos x="44" y="9"/>
                </a:cxn>
                <a:cxn ang="0">
                  <a:pos x="42" y="1"/>
                </a:cxn>
                <a:cxn ang="0">
                  <a:pos x="38" y="1"/>
                </a:cxn>
                <a:cxn ang="0">
                  <a:pos x="36" y="8"/>
                </a:cxn>
                <a:cxn ang="0">
                  <a:pos x="38" y="1"/>
                </a:cxn>
                <a:cxn ang="0">
                  <a:pos x="32" y="2"/>
                </a:cxn>
                <a:cxn ang="0">
                  <a:pos x="34" y="2"/>
                </a:cxn>
                <a:cxn ang="0">
                  <a:pos x="45" y="14"/>
                </a:cxn>
                <a:cxn ang="0">
                  <a:pos x="47" y="11"/>
                </a:cxn>
                <a:cxn ang="0">
                  <a:pos x="48" y="9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16" y="49"/>
                </a:cxn>
                <a:cxn ang="0">
                  <a:pos x="14" y="45"/>
                </a:cxn>
                <a:cxn ang="0">
                  <a:pos x="13" y="55"/>
                </a:cxn>
                <a:cxn ang="0">
                  <a:pos x="18" y="62"/>
                </a:cxn>
                <a:cxn ang="0">
                  <a:pos x="17" y="57"/>
                </a:cxn>
                <a:cxn ang="0">
                  <a:pos x="19" y="53"/>
                </a:cxn>
              </a:cxnLst>
              <a:rect l="0" t="0" r="r" b="b"/>
              <a:pathLst>
                <a:path w="51" h="62">
                  <a:moveTo>
                    <a:pt x="0" y="11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1"/>
                  </a:lnTo>
                  <a:close/>
                  <a:moveTo>
                    <a:pt x="29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30"/>
                  </a:lnTo>
                  <a:close/>
                  <a:moveTo>
                    <a:pt x="22" y="27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2" y="27"/>
                  </a:lnTo>
                  <a:close/>
                  <a:moveTo>
                    <a:pt x="19" y="40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7"/>
                    <a:pt x="21" y="37"/>
                    <a:pt x="21" y="37"/>
                  </a:cubicBezTo>
                  <a:lnTo>
                    <a:pt x="19" y="40"/>
                  </a:lnTo>
                  <a:close/>
                  <a:moveTo>
                    <a:pt x="20" y="30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7" y="34"/>
                    <a:pt x="24" y="32"/>
                  </a:cubicBezTo>
                  <a:cubicBezTo>
                    <a:pt x="23" y="31"/>
                    <a:pt x="20" y="30"/>
                    <a:pt x="20" y="30"/>
                  </a:cubicBezTo>
                  <a:close/>
                  <a:moveTo>
                    <a:pt x="15" y="20"/>
                  </a:moveTo>
                  <a:cubicBezTo>
                    <a:pt x="18" y="19"/>
                    <a:pt x="19" y="16"/>
                    <a:pt x="19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2" y="13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2" y="20"/>
                    <a:pt x="15" y="20"/>
                  </a:cubicBezTo>
                  <a:close/>
                  <a:moveTo>
                    <a:pt x="27" y="21"/>
                  </a:moveTo>
                  <a:cubicBezTo>
                    <a:pt x="27" y="21"/>
                    <a:pt x="28" y="19"/>
                    <a:pt x="27" y="18"/>
                  </a:cubicBezTo>
                  <a:cubicBezTo>
                    <a:pt x="26" y="17"/>
                    <a:pt x="23" y="11"/>
                    <a:pt x="23" y="11"/>
                  </a:cubicBezTo>
                  <a:cubicBezTo>
                    <a:pt x="23" y="11"/>
                    <a:pt x="23" y="3"/>
                    <a:pt x="21" y="3"/>
                  </a:cubicBezTo>
                  <a:cubicBezTo>
                    <a:pt x="20" y="3"/>
                    <a:pt x="19" y="6"/>
                    <a:pt x="19" y="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4"/>
                    <a:pt x="22" y="13"/>
                    <a:pt x="22" y="16"/>
                  </a:cubicBezTo>
                  <a:cubicBezTo>
                    <a:pt x="22" y="19"/>
                    <a:pt x="23" y="25"/>
                    <a:pt x="24" y="26"/>
                  </a:cubicBezTo>
                  <a:cubicBezTo>
                    <a:pt x="26" y="26"/>
                    <a:pt x="27" y="30"/>
                    <a:pt x="27" y="30"/>
                  </a:cubicBezTo>
                  <a:cubicBezTo>
                    <a:pt x="27" y="30"/>
                    <a:pt x="29" y="26"/>
                    <a:pt x="29" y="24"/>
                  </a:cubicBezTo>
                  <a:cubicBezTo>
                    <a:pt x="28" y="22"/>
                    <a:pt x="27" y="21"/>
                    <a:pt x="27" y="21"/>
                  </a:cubicBezTo>
                  <a:close/>
                  <a:moveTo>
                    <a:pt x="28" y="13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28" y="13"/>
                  </a:lnTo>
                  <a:close/>
                  <a:moveTo>
                    <a:pt x="31" y="14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1" y="14"/>
                  </a:lnTo>
                  <a:close/>
                  <a:moveTo>
                    <a:pt x="38" y="5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9" y="5"/>
                    <a:pt x="39" y="5"/>
                    <a:pt x="39" y="5"/>
                  </a:cubicBezTo>
                  <a:lnTo>
                    <a:pt x="38" y="5"/>
                  </a:lnTo>
                  <a:close/>
                  <a:moveTo>
                    <a:pt x="43" y="8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1"/>
                    <a:pt x="42" y="1"/>
                    <a:pt x="42" y="1"/>
                  </a:cubicBezTo>
                  <a:lnTo>
                    <a:pt x="43" y="8"/>
                  </a:lnTo>
                  <a:close/>
                  <a:moveTo>
                    <a:pt x="38" y="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8" y="1"/>
                  </a:lnTo>
                  <a:close/>
                  <a:moveTo>
                    <a:pt x="34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4" y="9"/>
                    <a:pt x="34" y="9"/>
                    <a:pt x="34" y="9"/>
                  </a:cubicBezTo>
                  <a:lnTo>
                    <a:pt x="34" y="2"/>
                  </a:lnTo>
                  <a:close/>
                  <a:moveTo>
                    <a:pt x="45" y="11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45" y="11"/>
                  </a:lnTo>
                  <a:close/>
                  <a:moveTo>
                    <a:pt x="48" y="5"/>
                  </a:moveTo>
                  <a:cubicBezTo>
                    <a:pt x="45" y="6"/>
                    <a:pt x="48" y="7"/>
                    <a:pt x="48" y="7"/>
                  </a:cubicBezTo>
                  <a:cubicBezTo>
                    <a:pt x="50" y="7"/>
                    <a:pt x="51" y="4"/>
                    <a:pt x="48" y="5"/>
                  </a:cubicBezTo>
                  <a:close/>
                  <a:moveTo>
                    <a:pt x="20" y="51"/>
                  </a:moveTo>
                  <a:cubicBezTo>
                    <a:pt x="18" y="50"/>
                    <a:pt x="16" y="50"/>
                    <a:pt x="16" y="49"/>
                  </a:cubicBezTo>
                  <a:cubicBezTo>
                    <a:pt x="16" y="48"/>
                    <a:pt x="17" y="47"/>
                    <a:pt x="17" y="46"/>
                  </a:cubicBezTo>
                  <a:cubicBezTo>
                    <a:pt x="17" y="45"/>
                    <a:pt x="15" y="42"/>
                    <a:pt x="14" y="45"/>
                  </a:cubicBezTo>
                  <a:cubicBezTo>
                    <a:pt x="13" y="47"/>
                    <a:pt x="14" y="53"/>
                    <a:pt x="14" y="53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1" y="53"/>
                    <a:pt x="20" y="5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" name="Georgien" descr="© INSCALE GmbH, 05.05.2010&#10;http://www.presentationload.com/">
              <a:extLst>
                <a:ext uri="{FF2B5EF4-FFF2-40B4-BE49-F238E27FC236}">
                  <a16:creationId xmlns:a16="http://schemas.microsoft.com/office/drawing/2014/main" id="{956358CE-417E-9643-A5AF-F3643670F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1069" y="4836447"/>
              <a:ext cx="872980" cy="364705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" name="Armenien" descr="© INSCALE GmbH, 05.05.2010&#10;http://www.presentationload.com/">
              <a:extLst>
                <a:ext uri="{FF2B5EF4-FFF2-40B4-BE49-F238E27FC236}">
                  <a16:creationId xmlns:a16="http://schemas.microsoft.com/office/drawing/2014/main" id="{57C09820-4D4F-3E41-AF2B-78E21DF7BB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44295" y="5046029"/>
              <a:ext cx="506627" cy="282191"/>
            </a:xfrm>
            <a:custGeom>
              <a:avLst/>
              <a:gdLst/>
              <a:ahLst/>
              <a:cxnLst>
                <a:cxn ang="0">
                  <a:pos x="103" y="103"/>
                </a:cxn>
                <a:cxn ang="0">
                  <a:pos x="0" y="47"/>
                </a:cxn>
                <a:cxn ang="0">
                  <a:pos x="207" y="104"/>
                </a:cxn>
                <a:cxn ang="0">
                  <a:pos x="196" y="91"/>
                </a:cxn>
                <a:cxn ang="0">
                  <a:pos x="198" y="83"/>
                </a:cxn>
                <a:cxn ang="0">
                  <a:pos x="190" y="74"/>
                </a:cxn>
                <a:cxn ang="0">
                  <a:pos x="174" y="74"/>
                </a:cxn>
                <a:cxn ang="0">
                  <a:pos x="149" y="70"/>
                </a:cxn>
                <a:cxn ang="0">
                  <a:pos x="133" y="66"/>
                </a:cxn>
                <a:cxn ang="0">
                  <a:pos x="142" y="41"/>
                </a:cxn>
                <a:cxn ang="0">
                  <a:pos x="104" y="35"/>
                </a:cxn>
                <a:cxn ang="0">
                  <a:pos x="109" y="13"/>
                </a:cxn>
                <a:cxn ang="0">
                  <a:pos x="96" y="9"/>
                </a:cxn>
                <a:cxn ang="0">
                  <a:pos x="88" y="13"/>
                </a:cxn>
                <a:cxn ang="0">
                  <a:pos x="82" y="11"/>
                </a:cxn>
                <a:cxn ang="0">
                  <a:pos x="81" y="5"/>
                </a:cxn>
                <a:cxn ang="0">
                  <a:pos x="66" y="5"/>
                </a:cxn>
                <a:cxn ang="0">
                  <a:pos x="57" y="8"/>
                </a:cxn>
                <a:cxn ang="0">
                  <a:pos x="43" y="24"/>
                </a:cxn>
                <a:cxn ang="0">
                  <a:pos x="28" y="29"/>
                </a:cxn>
                <a:cxn ang="0">
                  <a:pos x="16" y="40"/>
                </a:cxn>
                <a:cxn ang="0">
                  <a:pos x="1" y="49"/>
                </a:cxn>
                <a:cxn ang="0">
                  <a:pos x="22" y="60"/>
                </a:cxn>
                <a:cxn ang="0">
                  <a:pos x="59" y="103"/>
                </a:cxn>
                <a:cxn ang="0">
                  <a:pos x="103" y="103"/>
                </a:cxn>
                <a:cxn ang="0">
                  <a:pos x="125" y="101"/>
                </a:cxn>
                <a:cxn ang="0">
                  <a:pos x="130" y="97"/>
                </a:cxn>
                <a:cxn ang="0">
                  <a:pos x="144" y="97"/>
                </a:cxn>
                <a:cxn ang="0">
                  <a:pos x="161" y="99"/>
                </a:cxn>
                <a:cxn ang="0">
                  <a:pos x="177" y="105"/>
                </a:cxn>
                <a:cxn ang="0">
                  <a:pos x="201" y="112"/>
                </a:cxn>
                <a:cxn ang="0">
                  <a:pos x="212" y="106"/>
                </a:cxn>
              </a:cxnLst>
              <a:rect l="0" t="0" r="r" b="b"/>
              <a:pathLst>
                <a:path w="212" h="119">
                  <a:moveTo>
                    <a:pt x="103" y="103"/>
                  </a:moveTo>
                  <a:cubicBezTo>
                    <a:pt x="103" y="103"/>
                    <a:pt x="103" y="103"/>
                    <a:pt x="103" y="103"/>
                  </a:cubicBezTo>
                  <a:moveTo>
                    <a:pt x="1" y="49"/>
                  </a:moveTo>
                  <a:cubicBezTo>
                    <a:pt x="1" y="48"/>
                    <a:pt x="1" y="48"/>
                    <a:pt x="0" y="47"/>
                  </a:cubicBezTo>
                  <a:cubicBezTo>
                    <a:pt x="1" y="48"/>
                    <a:pt x="1" y="48"/>
                    <a:pt x="1" y="49"/>
                  </a:cubicBezTo>
                  <a:close/>
                  <a:moveTo>
                    <a:pt x="207" y="104"/>
                  </a:moveTo>
                  <a:cubicBezTo>
                    <a:pt x="207" y="104"/>
                    <a:pt x="206" y="99"/>
                    <a:pt x="205" y="96"/>
                  </a:cubicBezTo>
                  <a:cubicBezTo>
                    <a:pt x="205" y="92"/>
                    <a:pt x="196" y="94"/>
                    <a:pt x="196" y="91"/>
                  </a:cubicBezTo>
                  <a:cubicBezTo>
                    <a:pt x="196" y="88"/>
                    <a:pt x="200" y="90"/>
                    <a:pt x="203" y="88"/>
                  </a:cubicBezTo>
                  <a:cubicBezTo>
                    <a:pt x="207" y="86"/>
                    <a:pt x="203" y="85"/>
                    <a:pt x="198" y="83"/>
                  </a:cubicBezTo>
                  <a:cubicBezTo>
                    <a:pt x="193" y="82"/>
                    <a:pt x="189" y="83"/>
                    <a:pt x="186" y="81"/>
                  </a:cubicBezTo>
                  <a:cubicBezTo>
                    <a:pt x="185" y="77"/>
                    <a:pt x="188" y="75"/>
                    <a:pt x="190" y="74"/>
                  </a:cubicBezTo>
                  <a:cubicBezTo>
                    <a:pt x="192" y="73"/>
                    <a:pt x="191" y="69"/>
                    <a:pt x="183" y="69"/>
                  </a:cubicBezTo>
                  <a:cubicBezTo>
                    <a:pt x="176" y="69"/>
                    <a:pt x="176" y="73"/>
                    <a:pt x="174" y="74"/>
                  </a:cubicBezTo>
                  <a:cubicBezTo>
                    <a:pt x="170" y="75"/>
                    <a:pt x="163" y="70"/>
                    <a:pt x="160" y="68"/>
                  </a:cubicBezTo>
                  <a:cubicBezTo>
                    <a:pt x="157" y="67"/>
                    <a:pt x="151" y="70"/>
                    <a:pt x="149" y="70"/>
                  </a:cubicBezTo>
                  <a:cubicBezTo>
                    <a:pt x="147" y="70"/>
                    <a:pt x="148" y="67"/>
                    <a:pt x="146" y="66"/>
                  </a:cubicBezTo>
                  <a:cubicBezTo>
                    <a:pt x="144" y="65"/>
                    <a:pt x="136" y="68"/>
                    <a:pt x="133" y="66"/>
                  </a:cubicBezTo>
                  <a:cubicBezTo>
                    <a:pt x="130" y="64"/>
                    <a:pt x="144" y="59"/>
                    <a:pt x="146" y="56"/>
                  </a:cubicBezTo>
                  <a:cubicBezTo>
                    <a:pt x="148" y="53"/>
                    <a:pt x="146" y="43"/>
                    <a:pt x="142" y="41"/>
                  </a:cubicBezTo>
                  <a:cubicBezTo>
                    <a:pt x="139" y="38"/>
                    <a:pt x="131" y="43"/>
                    <a:pt x="123" y="41"/>
                  </a:cubicBezTo>
                  <a:cubicBezTo>
                    <a:pt x="114" y="39"/>
                    <a:pt x="104" y="35"/>
                    <a:pt x="104" y="35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4" y="23"/>
                    <a:pt x="111" y="20"/>
                    <a:pt x="109" y="13"/>
                  </a:cubicBezTo>
                  <a:cubicBezTo>
                    <a:pt x="107" y="8"/>
                    <a:pt x="96" y="13"/>
                    <a:pt x="96" y="1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12"/>
                    <a:pt x="88" y="13"/>
                  </a:cubicBezTo>
                  <a:cubicBezTo>
                    <a:pt x="84" y="13"/>
                    <a:pt x="87" y="19"/>
                    <a:pt x="84" y="19"/>
                  </a:cubicBezTo>
                  <a:cubicBezTo>
                    <a:pt x="81" y="19"/>
                    <a:pt x="84" y="12"/>
                    <a:pt x="82" y="11"/>
                  </a:cubicBezTo>
                  <a:cubicBezTo>
                    <a:pt x="80" y="10"/>
                    <a:pt x="77" y="17"/>
                    <a:pt x="74" y="17"/>
                  </a:cubicBezTo>
                  <a:cubicBezTo>
                    <a:pt x="70" y="16"/>
                    <a:pt x="82" y="10"/>
                    <a:pt x="81" y="5"/>
                  </a:cubicBezTo>
                  <a:cubicBezTo>
                    <a:pt x="80" y="0"/>
                    <a:pt x="74" y="5"/>
                    <a:pt x="71" y="6"/>
                  </a:cubicBezTo>
                  <a:cubicBezTo>
                    <a:pt x="70" y="6"/>
                    <a:pt x="68" y="5"/>
                    <a:pt x="66" y="5"/>
                  </a:cubicBezTo>
                  <a:cubicBezTo>
                    <a:pt x="66" y="6"/>
                    <a:pt x="66" y="6"/>
                    <a:pt x="65" y="7"/>
                  </a:cubicBezTo>
                  <a:cubicBezTo>
                    <a:pt x="62" y="10"/>
                    <a:pt x="57" y="8"/>
                    <a:pt x="57" y="8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48" y="22"/>
                    <a:pt x="43" y="24"/>
                  </a:cubicBezTo>
                  <a:cubicBezTo>
                    <a:pt x="36" y="27"/>
                    <a:pt x="31" y="22"/>
                    <a:pt x="31" y="22"/>
                  </a:cubicBezTo>
                  <a:cubicBezTo>
                    <a:pt x="31" y="22"/>
                    <a:pt x="30" y="27"/>
                    <a:pt x="28" y="29"/>
                  </a:cubicBezTo>
                  <a:cubicBezTo>
                    <a:pt x="26" y="31"/>
                    <a:pt x="17" y="36"/>
                    <a:pt x="17" y="36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0" y="43"/>
                    <a:pt x="6" y="43"/>
                  </a:cubicBezTo>
                  <a:cubicBezTo>
                    <a:pt x="5" y="43"/>
                    <a:pt x="3" y="45"/>
                    <a:pt x="1" y="49"/>
                  </a:cubicBezTo>
                  <a:cubicBezTo>
                    <a:pt x="1" y="50"/>
                    <a:pt x="1" y="52"/>
                    <a:pt x="4" y="52"/>
                  </a:cubicBezTo>
                  <a:cubicBezTo>
                    <a:pt x="10" y="52"/>
                    <a:pt x="19" y="51"/>
                    <a:pt x="22" y="60"/>
                  </a:cubicBezTo>
                  <a:cubicBezTo>
                    <a:pt x="25" y="71"/>
                    <a:pt x="22" y="84"/>
                    <a:pt x="32" y="94"/>
                  </a:cubicBezTo>
                  <a:cubicBezTo>
                    <a:pt x="43" y="103"/>
                    <a:pt x="51" y="108"/>
                    <a:pt x="59" y="103"/>
                  </a:cubicBezTo>
                  <a:cubicBezTo>
                    <a:pt x="67" y="97"/>
                    <a:pt x="71" y="90"/>
                    <a:pt x="83" y="94"/>
                  </a:cubicBezTo>
                  <a:cubicBezTo>
                    <a:pt x="95" y="96"/>
                    <a:pt x="103" y="103"/>
                    <a:pt x="103" y="103"/>
                  </a:cubicBezTo>
                  <a:cubicBezTo>
                    <a:pt x="103" y="103"/>
                    <a:pt x="110" y="91"/>
                    <a:pt x="115" y="90"/>
                  </a:cubicBezTo>
                  <a:cubicBezTo>
                    <a:pt x="121" y="89"/>
                    <a:pt x="125" y="101"/>
                    <a:pt x="125" y="101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4" y="97"/>
                    <a:pt x="150" y="86"/>
                    <a:pt x="155" y="86"/>
                  </a:cubicBezTo>
                  <a:cubicBezTo>
                    <a:pt x="160" y="86"/>
                    <a:pt x="161" y="99"/>
                    <a:pt x="161" y="99"/>
                  </a:cubicBezTo>
                  <a:cubicBezTo>
                    <a:pt x="161" y="99"/>
                    <a:pt x="169" y="97"/>
                    <a:pt x="173" y="97"/>
                  </a:cubicBezTo>
                  <a:cubicBezTo>
                    <a:pt x="177" y="98"/>
                    <a:pt x="177" y="105"/>
                    <a:pt x="177" y="105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01" y="112"/>
                    <a:pt x="201" y="112"/>
                    <a:pt x="201" y="112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12" y="106"/>
                    <a:pt x="212" y="106"/>
                    <a:pt x="212" y="106"/>
                  </a:cubicBezTo>
                  <a:lnTo>
                    <a:pt x="207" y="1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" name="Türkei" descr="© INSCALE GmbH, 05.05.2010&#10;http://www.presentationload.com/">
              <a:extLst>
                <a:ext uri="{FF2B5EF4-FFF2-40B4-BE49-F238E27FC236}">
                  <a16:creationId xmlns:a16="http://schemas.microsoft.com/office/drawing/2014/main" id="{B45B3F96-2873-B042-BF63-AC5FC2A442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39245" y="5128541"/>
              <a:ext cx="2440715" cy="1366405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" name="Li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051CAE99-3A6A-294A-8FCF-1890FAB22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4370" y="6452040"/>
              <a:ext cx="151823" cy="306945"/>
            </a:xfrm>
            <a:custGeom>
              <a:avLst/>
              <a:gdLst/>
              <a:ahLst/>
              <a:cxnLst>
                <a:cxn ang="0">
                  <a:pos x="26" y="106"/>
                </a:cxn>
                <a:cxn ang="0">
                  <a:pos x="37" y="87"/>
                </a:cxn>
                <a:cxn ang="0">
                  <a:pos x="36" y="83"/>
                </a:cxn>
                <a:cxn ang="0">
                  <a:pos x="43" y="75"/>
                </a:cxn>
                <a:cxn ang="0">
                  <a:pos x="29" y="74"/>
                </a:cxn>
                <a:cxn ang="0">
                  <a:pos x="31" y="67"/>
                </a:cxn>
                <a:cxn ang="0">
                  <a:pos x="35" y="64"/>
                </a:cxn>
                <a:cxn ang="0">
                  <a:pos x="54" y="56"/>
                </a:cxn>
                <a:cxn ang="0">
                  <a:pos x="48" y="51"/>
                </a:cxn>
                <a:cxn ang="0">
                  <a:pos x="46" y="47"/>
                </a:cxn>
                <a:cxn ang="0">
                  <a:pos x="58" y="45"/>
                </a:cxn>
                <a:cxn ang="0">
                  <a:pos x="48" y="42"/>
                </a:cxn>
                <a:cxn ang="0">
                  <a:pos x="61" y="27"/>
                </a:cxn>
                <a:cxn ang="0">
                  <a:pos x="48" y="17"/>
                </a:cxn>
                <a:cxn ang="0">
                  <a:pos x="48" y="11"/>
                </a:cxn>
                <a:cxn ang="0">
                  <a:pos x="35" y="10"/>
                </a:cxn>
                <a:cxn ang="0">
                  <a:pos x="38" y="0"/>
                </a:cxn>
                <a:cxn ang="0">
                  <a:pos x="29" y="1"/>
                </a:cxn>
                <a:cxn ang="0">
                  <a:pos x="28" y="6"/>
                </a:cxn>
                <a:cxn ang="0">
                  <a:pos x="20" y="7"/>
                </a:cxn>
                <a:cxn ang="0">
                  <a:pos x="14" y="12"/>
                </a:cxn>
                <a:cxn ang="0">
                  <a:pos x="15" y="20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1" y="38"/>
                </a:cxn>
                <a:cxn ang="0">
                  <a:pos x="2" y="49"/>
                </a:cxn>
                <a:cxn ang="0">
                  <a:pos x="10" y="56"/>
                </a:cxn>
                <a:cxn ang="0">
                  <a:pos x="6" y="63"/>
                </a:cxn>
                <a:cxn ang="0">
                  <a:pos x="3" y="77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3" y="109"/>
                </a:cxn>
                <a:cxn ang="0">
                  <a:pos x="0" y="112"/>
                </a:cxn>
                <a:cxn ang="0">
                  <a:pos x="0" y="115"/>
                </a:cxn>
                <a:cxn ang="0">
                  <a:pos x="3" y="115"/>
                </a:cxn>
                <a:cxn ang="0">
                  <a:pos x="2" y="126"/>
                </a:cxn>
                <a:cxn ang="0">
                  <a:pos x="8" y="125"/>
                </a:cxn>
                <a:cxn ang="0">
                  <a:pos x="12" y="121"/>
                </a:cxn>
                <a:cxn ang="0">
                  <a:pos x="19" y="122"/>
                </a:cxn>
                <a:cxn ang="0">
                  <a:pos x="19" y="112"/>
                </a:cxn>
                <a:cxn ang="0">
                  <a:pos x="19" y="106"/>
                </a:cxn>
                <a:cxn ang="0">
                  <a:pos x="26" y="106"/>
                </a:cxn>
              </a:cxnLst>
              <a:rect l="0" t="0" r="r" b="b"/>
              <a:pathLst>
                <a:path w="63" h="129">
                  <a:moveTo>
                    <a:pt x="26" y="106"/>
                  </a:moveTo>
                  <a:cubicBezTo>
                    <a:pt x="37" y="87"/>
                    <a:pt x="37" y="87"/>
                    <a:pt x="37" y="87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3"/>
                    <a:pt x="43" y="79"/>
                    <a:pt x="43" y="75"/>
                  </a:cubicBezTo>
                  <a:cubicBezTo>
                    <a:pt x="44" y="72"/>
                    <a:pt x="29" y="74"/>
                    <a:pt x="29" y="74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5" y="66"/>
                    <a:pt x="35" y="64"/>
                  </a:cubicBezTo>
                  <a:cubicBezTo>
                    <a:pt x="35" y="61"/>
                    <a:pt x="54" y="56"/>
                    <a:pt x="54" y="56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58" y="32"/>
                    <a:pt x="61" y="27"/>
                  </a:cubicBezTo>
                  <a:cubicBezTo>
                    <a:pt x="63" y="22"/>
                    <a:pt x="48" y="17"/>
                    <a:pt x="48" y="1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9" y="24"/>
                    <a:pt x="6" y="28"/>
                  </a:cubicBezTo>
                  <a:cubicBezTo>
                    <a:pt x="4" y="31"/>
                    <a:pt x="6" y="33"/>
                    <a:pt x="5" y="36"/>
                  </a:cubicBezTo>
                  <a:cubicBezTo>
                    <a:pt x="3" y="38"/>
                    <a:pt x="1" y="38"/>
                    <a:pt x="1" y="3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0" y="52"/>
                    <a:pt x="10" y="56"/>
                  </a:cubicBezTo>
                  <a:cubicBezTo>
                    <a:pt x="10" y="60"/>
                    <a:pt x="6" y="63"/>
                    <a:pt x="6" y="63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5"/>
                    <a:pt x="3" y="115"/>
                    <a:pt x="3" y="115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2" y="126"/>
                    <a:pt x="5" y="126"/>
                    <a:pt x="8" y="125"/>
                  </a:cubicBezTo>
                  <a:cubicBezTo>
                    <a:pt x="10" y="123"/>
                    <a:pt x="12" y="121"/>
                    <a:pt x="12" y="121"/>
                  </a:cubicBezTo>
                  <a:cubicBezTo>
                    <a:pt x="12" y="121"/>
                    <a:pt x="15" y="129"/>
                    <a:pt x="19" y="122"/>
                  </a:cubicBezTo>
                  <a:cubicBezTo>
                    <a:pt x="25" y="115"/>
                    <a:pt x="19" y="112"/>
                    <a:pt x="19" y="112"/>
                  </a:cubicBezTo>
                  <a:cubicBezTo>
                    <a:pt x="19" y="106"/>
                    <a:pt x="19" y="106"/>
                    <a:pt x="19" y="106"/>
                  </a:cubicBezTo>
                  <a:lnTo>
                    <a:pt x="26" y="10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" name="Syrien" descr="© INSCALE GmbH, 05.05.2010&#10;http://www.presentationload.com/">
              <a:extLst>
                <a:ext uri="{FF2B5EF4-FFF2-40B4-BE49-F238E27FC236}">
                  <a16:creationId xmlns:a16="http://schemas.microsoft.com/office/drawing/2014/main" id="{00529286-D76C-1F42-B6E2-D487CC64237A}"/>
                </a:ext>
              </a:extLst>
            </p:cNvPr>
            <p:cNvSpPr>
              <a:spLocks/>
            </p:cNvSpPr>
            <p:nvPr/>
          </p:nvSpPr>
          <p:spPr bwMode="gray">
            <a:xfrm>
              <a:off x="7879910" y="5773786"/>
              <a:ext cx="736010" cy="1028105"/>
            </a:xfrm>
            <a:custGeom>
              <a:avLst/>
              <a:gdLst/>
              <a:ahLst/>
              <a:cxnLst>
                <a:cxn ang="0">
                  <a:pos x="294" y="149"/>
                </a:cxn>
                <a:cxn ang="0">
                  <a:pos x="274" y="96"/>
                </a:cxn>
                <a:cxn ang="0">
                  <a:pos x="287" y="50"/>
                </a:cxn>
                <a:cxn ang="0">
                  <a:pos x="302" y="18"/>
                </a:cxn>
                <a:cxn ang="0">
                  <a:pos x="297" y="1"/>
                </a:cxn>
                <a:cxn ang="0">
                  <a:pos x="262" y="26"/>
                </a:cxn>
                <a:cxn ang="0">
                  <a:pos x="178" y="89"/>
                </a:cxn>
                <a:cxn ang="0">
                  <a:pos x="129" y="111"/>
                </a:cxn>
                <a:cxn ang="0">
                  <a:pos x="81" y="127"/>
                </a:cxn>
                <a:cxn ang="0">
                  <a:pos x="72" y="136"/>
                </a:cxn>
                <a:cxn ang="0">
                  <a:pos x="42" y="142"/>
                </a:cxn>
                <a:cxn ang="0">
                  <a:pos x="22" y="168"/>
                </a:cxn>
                <a:cxn ang="0">
                  <a:pos x="21" y="188"/>
                </a:cxn>
                <a:cxn ang="0">
                  <a:pos x="20" y="218"/>
                </a:cxn>
                <a:cxn ang="0">
                  <a:pos x="0" y="224"/>
                </a:cxn>
                <a:cxn ang="0">
                  <a:pos x="4" y="236"/>
                </a:cxn>
                <a:cxn ang="0">
                  <a:pos x="3" y="243"/>
                </a:cxn>
                <a:cxn ang="0">
                  <a:pos x="16" y="254"/>
                </a:cxn>
                <a:cxn ang="0">
                  <a:pos x="22" y="280"/>
                </a:cxn>
                <a:cxn ang="0">
                  <a:pos x="34" y="297"/>
                </a:cxn>
                <a:cxn ang="0">
                  <a:pos x="51" y="290"/>
                </a:cxn>
                <a:cxn ang="0">
                  <a:pos x="61" y="284"/>
                </a:cxn>
                <a:cxn ang="0">
                  <a:pos x="71" y="295"/>
                </a:cxn>
                <a:cxn ang="0">
                  <a:pos x="84" y="311"/>
                </a:cxn>
                <a:cxn ang="0">
                  <a:pos x="81" y="329"/>
                </a:cxn>
                <a:cxn ang="0">
                  <a:pos x="71" y="335"/>
                </a:cxn>
                <a:cxn ang="0">
                  <a:pos x="58" y="348"/>
                </a:cxn>
                <a:cxn ang="0">
                  <a:pos x="52" y="358"/>
                </a:cxn>
                <a:cxn ang="0">
                  <a:pos x="59" y="367"/>
                </a:cxn>
                <a:cxn ang="0">
                  <a:pos x="49" y="390"/>
                </a:cxn>
                <a:cxn ang="0">
                  <a:pos x="54" y="409"/>
                </a:cxn>
                <a:cxn ang="0">
                  <a:pos x="77" y="419"/>
                </a:cxn>
                <a:cxn ang="0">
                  <a:pos x="93" y="429"/>
                </a:cxn>
                <a:cxn ang="0">
                  <a:pos x="108" y="430"/>
                </a:cxn>
                <a:cxn ang="0">
                  <a:pos x="304" y="206"/>
                </a:cxn>
                <a:cxn ang="0">
                  <a:pos x="305" y="189"/>
                </a:cxn>
                <a:cxn ang="0">
                  <a:pos x="307" y="175"/>
                </a:cxn>
              </a:cxnLst>
              <a:rect l="0" t="0" r="r" b="b"/>
              <a:pathLst>
                <a:path w="308" h="430">
                  <a:moveTo>
                    <a:pt x="307" y="175"/>
                  </a:moveTo>
                  <a:cubicBezTo>
                    <a:pt x="307" y="175"/>
                    <a:pt x="297" y="164"/>
                    <a:pt x="294" y="149"/>
                  </a:cubicBezTo>
                  <a:cubicBezTo>
                    <a:pt x="290" y="133"/>
                    <a:pt x="295" y="121"/>
                    <a:pt x="289" y="113"/>
                  </a:cubicBezTo>
                  <a:cubicBezTo>
                    <a:pt x="285" y="105"/>
                    <a:pt x="278" y="106"/>
                    <a:pt x="274" y="96"/>
                  </a:cubicBezTo>
                  <a:cubicBezTo>
                    <a:pt x="270" y="88"/>
                    <a:pt x="264" y="74"/>
                    <a:pt x="268" y="66"/>
                  </a:cubicBezTo>
                  <a:cubicBezTo>
                    <a:pt x="273" y="60"/>
                    <a:pt x="282" y="62"/>
                    <a:pt x="287" y="50"/>
                  </a:cubicBezTo>
                  <a:cubicBezTo>
                    <a:pt x="294" y="39"/>
                    <a:pt x="296" y="26"/>
                    <a:pt x="296" y="26"/>
                  </a:cubicBezTo>
                  <a:cubicBezTo>
                    <a:pt x="296" y="26"/>
                    <a:pt x="302" y="21"/>
                    <a:pt x="302" y="18"/>
                  </a:cubicBezTo>
                  <a:cubicBezTo>
                    <a:pt x="302" y="14"/>
                    <a:pt x="301" y="5"/>
                    <a:pt x="301" y="5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2" y="17"/>
                    <a:pt x="262" y="26"/>
                  </a:cubicBezTo>
                  <a:cubicBezTo>
                    <a:pt x="242" y="34"/>
                    <a:pt x="222" y="42"/>
                    <a:pt x="222" y="42"/>
                  </a:cubicBezTo>
                  <a:cubicBezTo>
                    <a:pt x="222" y="42"/>
                    <a:pt x="193" y="77"/>
                    <a:pt x="178" y="89"/>
                  </a:cubicBezTo>
                  <a:cubicBezTo>
                    <a:pt x="163" y="100"/>
                    <a:pt x="148" y="102"/>
                    <a:pt x="148" y="102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11" y="101"/>
                    <a:pt x="104" y="106"/>
                  </a:cubicBezTo>
                  <a:cubicBezTo>
                    <a:pt x="95" y="109"/>
                    <a:pt x="81" y="127"/>
                    <a:pt x="81" y="127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2" y="142"/>
                    <a:pt x="42" y="142"/>
                    <a:pt x="42" y="142"/>
                  </a:cubicBezTo>
                  <a:cubicBezTo>
                    <a:pt x="42" y="142"/>
                    <a:pt x="23" y="139"/>
                    <a:pt x="23" y="145"/>
                  </a:cubicBezTo>
                  <a:cubicBezTo>
                    <a:pt x="22" y="152"/>
                    <a:pt x="22" y="168"/>
                    <a:pt x="22" y="168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" y="225"/>
                    <a:pt x="6" y="225"/>
                    <a:pt x="6" y="225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3" y="243"/>
                    <a:pt x="3" y="243"/>
                    <a:pt x="3" y="243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248"/>
                    <a:pt x="12" y="250"/>
                    <a:pt x="16" y="254"/>
                  </a:cubicBezTo>
                  <a:cubicBezTo>
                    <a:pt x="18" y="258"/>
                    <a:pt x="22" y="259"/>
                    <a:pt x="22" y="264"/>
                  </a:cubicBezTo>
                  <a:cubicBezTo>
                    <a:pt x="22" y="280"/>
                    <a:pt x="22" y="280"/>
                    <a:pt x="22" y="280"/>
                  </a:cubicBezTo>
                  <a:cubicBezTo>
                    <a:pt x="28" y="283"/>
                    <a:pt x="28" y="283"/>
                    <a:pt x="28" y="283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1" y="290"/>
                    <a:pt x="51" y="290"/>
                    <a:pt x="51" y="290"/>
                  </a:cubicBezTo>
                  <a:cubicBezTo>
                    <a:pt x="52" y="285"/>
                    <a:pt x="52" y="285"/>
                    <a:pt x="52" y="285"/>
                  </a:cubicBezTo>
                  <a:cubicBezTo>
                    <a:pt x="61" y="284"/>
                    <a:pt x="61" y="284"/>
                    <a:pt x="61" y="284"/>
                  </a:cubicBezTo>
                  <a:cubicBezTo>
                    <a:pt x="58" y="294"/>
                    <a:pt x="58" y="294"/>
                    <a:pt x="58" y="294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86" y="306"/>
                    <a:pt x="84" y="311"/>
                  </a:cubicBezTo>
                  <a:cubicBezTo>
                    <a:pt x="81" y="316"/>
                    <a:pt x="71" y="326"/>
                    <a:pt x="71" y="326"/>
                  </a:cubicBezTo>
                  <a:cubicBezTo>
                    <a:pt x="81" y="329"/>
                    <a:pt x="81" y="329"/>
                    <a:pt x="81" y="329"/>
                  </a:cubicBezTo>
                  <a:cubicBezTo>
                    <a:pt x="69" y="331"/>
                    <a:pt x="69" y="331"/>
                    <a:pt x="69" y="331"/>
                  </a:cubicBezTo>
                  <a:cubicBezTo>
                    <a:pt x="71" y="335"/>
                    <a:pt x="71" y="335"/>
                    <a:pt x="71" y="335"/>
                  </a:cubicBezTo>
                  <a:cubicBezTo>
                    <a:pt x="77" y="340"/>
                    <a:pt x="77" y="340"/>
                    <a:pt x="77" y="340"/>
                  </a:cubicBezTo>
                  <a:cubicBezTo>
                    <a:pt x="77" y="340"/>
                    <a:pt x="58" y="345"/>
                    <a:pt x="58" y="348"/>
                  </a:cubicBezTo>
                  <a:cubicBezTo>
                    <a:pt x="58" y="350"/>
                    <a:pt x="54" y="351"/>
                    <a:pt x="54" y="351"/>
                  </a:cubicBezTo>
                  <a:cubicBezTo>
                    <a:pt x="52" y="358"/>
                    <a:pt x="52" y="358"/>
                    <a:pt x="52" y="358"/>
                  </a:cubicBezTo>
                  <a:cubicBezTo>
                    <a:pt x="52" y="358"/>
                    <a:pt x="67" y="356"/>
                    <a:pt x="66" y="359"/>
                  </a:cubicBezTo>
                  <a:cubicBezTo>
                    <a:pt x="66" y="363"/>
                    <a:pt x="59" y="367"/>
                    <a:pt x="59" y="367"/>
                  </a:cubicBezTo>
                  <a:cubicBezTo>
                    <a:pt x="60" y="371"/>
                    <a:pt x="60" y="371"/>
                    <a:pt x="60" y="371"/>
                  </a:cubicBezTo>
                  <a:cubicBezTo>
                    <a:pt x="49" y="390"/>
                    <a:pt x="49" y="390"/>
                    <a:pt x="49" y="390"/>
                  </a:cubicBezTo>
                  <a:cubicBezTo>
                    <a:pt x="54" y="392"/>
                    <a:pt x="54" y="392"/>
                    <a:pt x="54" y="392"/>
                  </a:cubicBezTo>
                  <a:cubicBezTo>
                    <a:pt x="54" y="409"/>
                    <a:pt x="54" y="409"/>
                    <a:pt x="54" y="409"/>
                  </a:cubicBezTo>
                  <a:cubicBezTo>
                    <a:pt x="64" y="427"/>
                    <a:pt x="64" y="427"/>
                    <a:pt x="64" y="427"/>
                  </a:cubicBezTo>
                  <a:cubicBezTo>
                    <a:pt x="64" y="427"/>
                    <a:pt x="69" y="419"/>
                    <a:pt x="77" y="419"/>
                  </a:cubicBezTo>
                  <a:cubicBezTo>
                    <a:pt x="85" y="420"/>
                    <a:pt x="89" y="429"/>
                    <a:pt x="89" y="429"/>
                  </a:cubicBezTo>
                  <a:cubicBezTo>
                    <a:pt x="93" y="429"/>
                    <a:pt x="93" y="429"/>
                    <a:pt x="93" y="429"/>
                  </a:cubicBezTo>
                  <a:cubicBezTo>
                    <a:pt x="93" y="429"/>
                    <a:pt x="94" y="425"/>
                    <a:pt x="101" y="425"/>
                  </a:cubicBezTo>
                  <a:cubicBezTo>
                    <a:pt x="107" y="426"/>
                    <a:pt x="108" y="430"/>
                    <a:pt x="108" y="430"/>
                  </a:cubicBezTo>
                  <a:cubicBezTo>
                    <a:pt x="135" y="429"/>
                    <a:pt x="135" y="429"/>
                    <a:pt x="135" y="429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6" y="205"/>
                    <a:pt x="306" y="205"/>
                    <a:pt x="306" y="205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7" y="17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8" name="Kasac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11672C6-B181-004B-91A4-67E75729AB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168705" y="2215855"/>
              <a:ext cx="975295" cy="2222884"/>
            </a:xfrm>
            <a:custGeom>
              <a:avLst/>
              <a:gdLst/>
              <a:ahLst/>
              <a:cxnLst>
                <a:cxn ang="0">
                  <a:pos x="291" y="856"/>
                </a:cxn>
                <a:cxn ang="0">
                  <a:pos x="395" y="19"/>
                </a:cxn>
                <a:cxn ang="0">
                  <a:pos x="377" y="43"/>
                </a:cxn>
                <a:cxn ang="0">
                  <a:pos x="362" y="71"/>
                </a:cxn>
                <a:cxn ang="0">
                  <a:pos x="341" y="94"/>
                </a:cxn>
                <a:cxn ang="0">
                  <a:pos x="322" y="113"/>
                </a:cxn>
                <a:cxn ang="0">
                  <a:pos x="342" y="125"/>
                </a:cxn>
                <a:cxn ang="0">
                  <a:pos x="358" y="139"/>
                </a:cxn>
                <a:cxn ang="0">
                  <a:pos x="393" y="125"/>
                </a:cxn>
                <a:cxn ang="0">
                  <a:pos x="372" y="151"/>
                </a:cxn>
                <a:cxn ang="0">
                  <a:pos x="378" y="186"/>
                </a:cxn>
                <a:cxn ang="0">
                  <a:pos x="385" y="211"/>
                </a:cxn>
                <a:cxn ang="0">
                  <a:pos x="398" y="240"/>
                </a:cxn>
                <a:cxn ang="0">
                  <a:pos x="379" y="327"/>
                </a:cxn>
                <a:cxn ang="0">
                  <a:pos x="336" y="337"/>
                </a:cxn>
                <a:cxn ang="0">
                  <a:pos x="318" y="353"/>
                </a:cxn>
                <a:cxn ang="0">
                  <a:pos x="297" y="382"/>
                </a:cxn>
                <a:cxn ang="0">
                  <a:pos x="258" y="417"/>
                </a:cxn>
                <a:cxn ang="0">
                  <a:pos x="234" y="423"/>
                </a:cxn>
                <a:cxn ang="0">
                  <a:pos x="239" y="433"/>
                </a:cxn>
                <a:cxn ang="0">
                  <a:pos x="194" y="426"/>
                </a:cxn>
                <a:cxn ang="0">
                  <a:pos x="151" y="437"/>
                </a:cxn>
                <a:cxn ang="0">
                  <a:pos x="116" y="441"/>
                </a:cxn>
                <a:cxn ang="0">
                  <a:pos x="102" y="454"/>
                </a:cxn>
                <a:cxn ang="0">
                  <a:pos x="77" y="471"/>
                </a:cxn>
                <a:cxn ang="0">
                  <a:pos x="65" y="507"/>
                </a:cxn>
                <a:cxn ang="0">
                  <a:pos x="59" y="537"/>
                </a:cxn>
                <a:cxn ang="0">
                  <a:pos x="35" y="572"/>
                </a:cxn>
                <a:cxn ang="0">
                  <a:pos x="67" y="596"/>
                </a:cxn>
                <a:cxn ang="0">
                  <a:pos x="1" y="614"/>
                </a:cxn>
                <a:cxn ang="0">
                  <a:pos x="25" y="685"/>
                </a:cxn>
                <a:cxn ang="0">
                  <a:pos x="60" y="742"/>
                </a:cxn>
                <a:cxn ang="0">
                  <a:pos x="82" y="754"/>
                </a:cxn>
                <a:cxn ang="0">
                  <a:pos x="139" y="754"/>
                </a:cxn>
                <a:cxn ang="0">
                  <a:pos x="166" y="801"/>
                </a:cxn>
                <a:cxn ang="0">
                  <a:pos x="202" y="791"/>
                </a:cxn>
                <a:cxn ang="0">
                  <a:pos x="195" y="782"/>
                </a:cxn>
                <a:cxn ang="0">
                  <a:pos x="209" y="778"/>
                </a:cxn>
                <a:cxn ang="0">
                  <a:pos x="224" y="756"/>
                </a:cxn>
                <a:cxn ang="0">
                  <a:pos x="235" y="733"/>
                </a:cxn>
                <a:cxn ang="0">
                  <a:pos x="266" y="705"/>
                </a:cxn>
                <a:cxn ang="0">
                  <a:pos x="281" y="707"/>
                </a:cxn>
                <a:cxn ang="0">
                  <a:pos x="296" y="707"/>
                </a:cxn>
                <a:cxn ang="0">
                  <a:pos x="309" y="688"/>
                </a:cxn>
                <a:cxn ang="0">
                  <a:pos x="332" y="678"/>
                </a:cxn>
                <a:cxn ang="0">
                  <a:pos x="338" y="696"/>
                </a:cxn>
                <a:cxn ang="0">
                  <a:pos x="352" y="706"/>
                </a:cxn>
                <a:cxn ang="0">
                  <a:pos x="359" y="718"/>
                </a:cxn>
                <a:cxn ang="0">
                  <a:pos x="391" y="756"/>
                </a:cxn>
                <a:cxn ang="0">
                  <a:pos x="331" y="789"/>
                </a:cxn>
                <a:cxn ang="0">
                  <a:pos x="326" y="823"/>
                </a:cxn>
                <a:cxn ang="0">
                  <a:pos x="314" y="838"/>
                </a:cxn>
                <a:cxn ang="0">
                  <a:pos x="328" y="842"/>
                </a:cxn>
                <a:cxn ang="0">
                  <a:pos x="345" y="850"/>
                </a:cxn>
                <a:cxn ang="0">
                  <a:pos x="301" y="879"/>
                </a:cxn>
                <a:cxn ang="0">
                  <a:pos x="385" y="913"/>
                </a:cxn>
                <a:cxn ang="0">
                  <a:pos x="402" y="925"/>
                </a:cxn>
                <a:cxn ang="0">
                  <a:pos x="379" y="327"/>
                </a:cxn>
              </a:cxnLst>
              <a:rect l="0" t="0" r="r" b="b"/>
              <a:pathLst>
                <a:path w="408" h="931">
                  <a:moveTo>
                    <a:pt x="290" y="844"/>
                  </a:moveTo>
                  <a:cubicBezTo>
                    <a:pt x="285" y="844"/>
                    <a:pt x="285" y="844"/>
                    <a:pt x="285" y="844"/>
                  </a:cubicBezTo>
                  <a:cubicBezTo>
                    <a:pt x="287" y="851"/>
                    <a:pt x="287" y="851"/>
                    <a:pt x="287" y="851"/>
                  </a:cubicBezTo>
                  <a:cubicBezTo>
                    <a:pt x="291" y="856"/>
                    <a:pt x="291" y="856"/>
                    <a:pt x="291" y="856"/>
                  </a:cubicBezTo>
                  <a:cubicBezTo>
                    <a:pt x="293" y="855"/>
                    <a:pt x="293" y="855"/>
                    <a:pt x="293" y="855"/>
                  </a:cubicBezTo>
                  <a:cubicBezTo>
                    <a:pt x="291" y="851"/>
                    <a:pt x="291" y="851"/>
                    <a:pt x="291" y="851"/>
                  </a:cubicBezTo>
                  <a:lnTo>
                    <a:pt x="290" y="844"/>
                  </a:lnTo>
                  <a:close/>
                  <a:moveTo>
                    <a:pt x="395" y="19"/>
                  </a:moveTo>
                  <a:cubicBezTo>
                    <a:pt x="395" y="19"/>
                    <a:pt x="400" y="22"/>
                    <a:pt x="398" y="25"/>
                  </a:cubicBezTo>
                  <a:cubicBezTo>
                    <a:pt x="397" y="28"/>
                    <a:pt x="391" y="28"/>
                    <a:pt x="391" y="28"/>
                  </a:cubicBezTo>
                  <a:cubicBezTo>
                    <a:pt x="385" y="40"/>
                    <a:pt x="385" y="40"/>
                    <a:pt x="385" y="40"/>
                  </a:cubicBezTo>
                  <a:cubicBezTo>
                    <a:pt x="377" y="43"/>
                    <a:pt x="377" y="43"/>
                    <a:pt x="377" y="43"/>
                  </a:cubicBezTo>
                  <a:cubicBezTo>
                    <a:pt x="381" y="50"/>
                    <a:pt x="381" y="50"/>
                    <a:pt x="381" y="50"/>
                  </a:cubicBezTo>
                  <a:cubicBezTo>
                    <a:pt x="366" y="63"/>
                    <a:pt x="366" y="63"/>
                    <a:pt x="366" y="63"/>
                  </a:cubicBezTo>
                  <a:cubicBezTo>
                    <a:pt x="366" y="63"/>
                    <a:pt x="376" y="75"/>
                    <a:pt x="371" y="77"/>
                  </a:cubicBezTo>
                  <a:cubicBezTo>
                    <a:pt x="365" y="80"/>
                    <a:pt x="362" y="71"/>
                    <a:pt x="362" y="7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2" y="90"/>
                    <a:pt x="352" y="90"/>
                    <a:pt x="352" y="90"/>
                  </a:cubicBezTo>
                  <a:cubicBezTo>
                    <a:pt x="343" y="88"/>
                    <a:pt x="343" y="88"/>
                    <a:pt x="343" y="88"/>
                  </a:cubicBezTo>
                  <a:cubicBezTo>
                    <a:pt x="341" y="94"/>
                    <a:pt x="341" y="94"/>
                    <a:pt x="341" y="94"/>
                  </a:cubicBezTo>
                  <a:cubicBezTo>
                    <a:pt x="328" y="94"/>
                    <a:pt x="328" y="94"/>
                    <a:pt x="328" y="94"/>
                  </a:cubicBezTo>
                  <a:cubicBezTo>
                    <a:pt x="327" y="102"/>
                    <a:pt x="327" y="102"/>
                    <a:pt x="327" y="102"/>
                  </a:cubicBezTo>
                  <a:cubicBezTo>
                    <a:pt x="331" y="104"/>
                    <a:pt x="331" y="104"/>
                    <a:pt x="331" y="104"/>
                  </a:cubicBezTo>
                  <a:cubicBezTo>
                    <a:pt x="322" y="113"/>
                    <a:pt x="322" y="113"/>
                    <a:pt x="322" y="113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6" y="123"/>
                    <a:pt x="336" y="123"/>
                    <a:pt x="336" y="123"/>
                  </a:cubicBezTo>
                  <a:cubicBezTo>
                    <a:pt x="333" y="129"/>
                    <a:pt x="333" y="129"/>
                    <a:pt x="333" y="129"/>
                  </a:cubicBezTo>
                  <a:cubicBezTo>
                    <a:pt x="342" y="125"/>
                    <a:pt x="342" y="125"/>
                    <a:pt x="342" y="125"/>
                  </a:cubicBezTo>
                  <a:cubicBezTo>
                    <a:pt x="348" y="126"/>
                    <a:pt x="348" y="126"/>
                    <a:pt x="348" y="126"/>
                  </a:cubicBezTo>
                  <a:cubicBezTo>
                    <a:pt x="348" y="126"/>
                    <a:pt x="354" y="114"/>
                    <a:pt x="359" y="118"/>
                  </a:cubicBezTo>
                  <a:cubicBezTo>
                    <a:pt x="364" y="121"/>
                    <a:pt x="354" y="126"/>
                    <a:pt x="354" y="126"/>
                  </a:cubicBezTo>
                  <a:cubicBezTo>
                    <a:pt x="358" y="139"/>
                    <a:pt x="358" y="139"/>
                    <a:pt x="358" y="139"/>
                  </a:cubicBezTo>
                  <a:cubicBezTo>
                    <a:pt x="374" y="134"/>
                    <a:pt x="374" y="134"/>
                    <a:pt x="374" y="134"/>
                  </a:cubicBezTo>
                  <a:cubicBezTo>
                    <a:pt x="373" y="130"/>
                    <a:pt x="373" y="130"/>
                    <a:pt x="373" y="130"/>
                  </a:cubicBezTo>
                  <a:cubicBezTo>
                    <a:pt x="373" y="130"/>
                    <a:pt x="379" y="130"/>
                    <a:pt x="382" y="129"/>
                  </a:cubicBezTo>
                  <a:cubicBezTo>
                    <a:pt x="387" y="127"/>
                    <a:pt x="389" y="121"/>
                    <a:pt x="393" y="125"/>
                  </a:cubicBezTo>
                  <a:cubicBezTo>
                    <a:pt x="398" y="129"/>
                    <a:pt x="400" y="132"/>
                    <a:pt x="396" y="134"/>
                  </a:cubicBezTo>
                  <a:cubicBezTo>
                    <a:pt x="392" y="136"/>
                    <a:pt x="386" y="145"/>
                    <a:pt x="386" y="145"/>
                  </a:cubicBezTo>
                  <a:cubicBezTo>
                    <a:pt x="377" y="146"/>
                    <a:pt x="377" y="146"/>
                    <a:pt x="377" y="146"/>
                  </a:cubicBezTo>
                  <a:cubicBezTo>
                    <a:pt x="372" y="151"/>
                    <a:pt x="372" y="151"/>
                    <a:pt x="372" y="151"/>
                  </a:cubicBezTo>
                  <a:cubicBezTo>
                    <a:pt x="361" y="159"/>
                    <a:pt x="361" y="159"/>
                    <a:pt x="361" y="159"/>
                  </a:cubicBezTo>
                  <a:cubicBezTo>
                    <a:pt x="361" y="159"/>
                    <a:pt x="367" y="161"/>
                    <a:pt x="367" y="162"/>
                  </a:cubicBezTo>
                  <a:cubicBezTo>
                    <a:pt x="367" y="164"/>
                    <a:pt x="364" y="181"/>
                    <a:pt x="364" y="181"/>
                  </a:cubicBezTo>
                  <a:cubicBezTo>
                    <a:pt x="378" y="186"/>
                    <a:pt x="378" y="186"/>
                    <a:pt x="378" y="186"/>
                  </a:cubicBezTo>
                  <a:cubicBezTo>
                    <a:pt x="383" y="184"/>
                    <a:pt x="383" y="184"/>
                    <a:pt x="383" y="184"/>
                  </a:cubicBezTo>
                  <a:cubicBezTo>
                    <a:pt x="393" y="187"/>
                    <a:pt x="393" y="187"/>
                    <a:pt x="393" y="187"/>
                  </a:cubicBezTo>
                  <a:cubicBezTo>
                    <a:pt x="391" y="209"/>
                    <a:pt x="391" y="209"/>
                    <a:pt x="391" y="209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77" y="234"/>
                    <a:pt x="377" y="234"/>
                    <a:pt x="377" y="234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80" y="239"/>
                    <a:pt x="396" y="229"/>
                    <a:pt x="398" y="232"/>
                  </a:cubicBezTo>
                  <a:cubicBezTo>
                    <a:pt x="402" y="236"/>
                    <a:pt x="398" y="240"/>
                    <a:pt x="398" y="240"/>
                  </a:cubicBezTo>
                  <a:cubicBezTo>
                    <a:pt x="408" y="239"/>
                    <a:pt x="408" y="239"/>
                    <a:pt x="408" y="23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395" y="19"/>
                  </a:lnTo>
                  <a:close/>
                  <a:moveTo>
                    <a:pt x="379" y="327"/>
                  </a:moveTo>
                  <a:cubicBezTo>
                    <a:pt x="370" y="322"/>
                    <a:pt x="370" y="316"/>
                    <a:pt x="364" y="316"/>
                  </a:cubicBezTo>
                  <a:cubicBezTo>
                    <a:pt x="359" y="318"/>
                    <a:pt x="354" y="319"/>
                    <a:pt x="354" y="319"/>
                  </a:cubicBezTo>
                  <a:cubicBezTo>
                    <a:pt x="354" y="319"/>
                    <a:pt x="358" y="326"/>
                    <a:pt x="355" y="328"/>
                  </a:cubicBezTo>
                  <a:cubicBezTo>
                    <a:pt x="353" y="330"/>
                    <a:pt x="336" y="337"/>
                    <a:pt x="336" y="337"/>
                  </a:cubicBezTo>
                  <a:cubicBezTo>
                    <a:pt x="345" y="346"/>
                    <a:pt x="345" y="346"/>
                    <a:pt x="345" y="346"/>
                  </a:cubicBezTo>
                  <a:cubicBezTo>
                    <a:pt x="345" y="346"/>
                    <a:pt x="338" y="346"/>
                    <a:pt x="337" y="347"/>
                  </a:cubicBezTo>
                  <a:cubicBezTo>
                    <a:pt x="336" y="350"/>
                    <a:pt x="340" y="354"/>
                    <a:pt x="337" y="356"/>
                  </a:cubicBezTo>
                  <a:cubicBezTo>
                    <a:pt x="332" y="358"/>
                    <a:pt x="318" y="353"/>
                    <a:pt x="318" y="353"/>
                  </a:cubicBezTo>
                  <a:cubicBezTo>
                    <a:pt x="306" y="362"/>
                    <a:pt x="306" y="362"/>
                    <a:pt x="306" y="362"/>
                  </a:cubicBezTo>
                  <a:cubicBezTo>
                    <a:pt x="306" y="362"/>
                    <a:pt x="311" y="370"/>
                    <a:pt x="307" y="371"/>
                  </a:cubicBezTo>
                  <a:cubicBezTo>
                    <a:pt x="303" y="371"/>
                    <a:pt x="296" y="367"/>
                    <a:pt x="296" y="367"/>
                  </a:cubicBezTo>
                  <a:cubicBezTo>
                    <a:pt x="297" y="382"/>
                    <a:pt x="297" y="382"/>
                    <a:pt x="297" y="382"/>
                  </a:cubicBezTo>
                  <a:cubicBezTo>
                    <a:pt x="292" y="384"/>
                    <a:pt x="292" y="384"/>
                    <a:pt x="292" y="384"/>
                  </a:cubicBezTo>
                  <a:cubicBezTo>
                    <a:pt x="292" y="384"/>
                    <a:pt x="298" y="390"/>
                    <a:pt x="296" y="397"/>
                  </a:cubicBezTo>
                  <a:cubicBezTo>
                    <a:pt x="294" y="402"/>
                    <a:pt x="290" y="414"/>
                    <a:pt x="290" y="414"/>
                  </a:cubicBezTo>
                  <a:cubicBezTo>
                    <a:pt x="258" y="417"/>
                    <a:pt x="258" y="417"/>
                    <a:pt x="258" y="417"/>
                  </a:cubicBezTo>
                  <a:cubicBezTo>
                    <a:pt x="258" y="417"/>
                    <a:pt x="258" y="414"/>
                    <a:pt x="255" y="413"/>
                  </a:cubicBezTo>
                  <a:cubicBezTo>
                    <a:pt x="251" y="413"/>
                    <a:pt x="248" y="415"/>
                    <a:pt x="248" y="415"/>
                  </a:cubicBezTo>
                  <a:cubicBezTo>
                    <a:pt x="248" y="415"/>
                    <a:pt x="236" y="410"/>
                    <a:pt x="234" y="415"/>
                  </a:cubicBezTo>
                  <a:cubicBezTo>
                    <a:pt x="232" y="419"/>
                    <a:pt x="232" y="422"/>
                    <a:pt x="234" y="423"/>
                  </a:cubicBezTo>
                  <a:cubicBezTo>
                    <a:pt x="238" y="423"/>
                    <a:pt x="243" y="422"/>
                    <a:pt x="245" y="428"/>
                  </a:cubicBezTo>
                  <a:cubicBezTo>
                    <a:pt x="247" y="432"/>
                    <a:pt x="255" y="432"/>
                    <a:pt x="254" y="436"/>
                  </a:cubicBezTo>
                  <a:cubicBezTo>
                    <a:pt x="252" y="440"/>
                    <a:pt x="251" y="448"/>
                    <a:pt x="246" y="445"/>
                  </a:cubicBezTo>
                  <a:cubicBezTo>
                    <a:pt x="242" y="442"/>
                    <a:pt x="239" y="436"/>
                    <a:pt x="239" y="433"/>
                  </a:cubicBezTo>
                  <a:cubicBezTo>
                    <a:pt x="239" y="429"/>
                    <a:pt x="238" y="428"/>
                    <a:pt x="232" y="428"/>
                  </a:cubicBezTo>
                  <a:cubicBezTo>
                    <a:pt x="227" y="428"/>
                    <a:pt x="221" y="429"/>
                    <a:pt x="215" y="424"/>
                  </a:cubicBezTo>
                  <a:cubicBezTo>
                    <a:pt x="210" y="420"/>
                    <a:pt x="205" y="419"/>
                    <a:pt x="202" y="422"/>
                  </a:cubicBezTo>
                  <a:cubicBezTo>
                    <a:pt x="199" y="426"/>
                    <a:pt x="198" y="428"/>
                    <a:pt x="194" y="426"/>
                  </a:cubicBezTo>
                  <a:cubicBezTo>
                    <a:pt x="189" y="425"/>
                    <a:pt x="191" y="417"/>
                    <a:pt x="182" y="418"/>
                  </a:cubicBezTo>
                  <a:cubicBezTo>
                    <a:pt x="174" y="419"/>
                    <a:pt x="161" y="431"/>
                    <a:pt x="161" y="431"/>
                  </a:cubicBezTo>
                  <a:cubicBezTo>
                    <a:pt x="153" y="431"/>
                    <a:pt x="153" y="431"/>
                    <a:pt x="153" y="431"/>
                  </a:cubicBezTo>
                  <a:cubicBezTo>
                    <a:pt x="153" y="431"/>
                    <a:pt x="157" y="437"/>
                    <a:pt x="151" y="437"/>
                  </a:cubicBezTo>
                  <a:cubicBezTo>
                    <a:pt x="145" y="438"/>
                    <a:pt x="129" y="428"/>
                    <a:pt x="129" y="428"/>
                  </a:cubicBezTo>
                  <a:cubicBezTo>
                    <a:pt x="125" y="430"/>
                    <a:pt x="125" y="430"/>
                    <a:pt x="125" y="430"/>
                  </a:cubicBezTo>
                  <a:cubicBezTo>
                    <a:pt x="127" y="437"/>
                    <a:pt x="127" y="437"/>
                    <a:pt x="127" y="437"/>
                  </a:cubicBezTo>
                  <a:cubicBezTo>
                    <a:pt x="127" y="437"/>
                    <a:pt x="118" y="437"/>
                    <a:pt x="116" y="441"/>
                  </a:cubicBezTo>
                  <a:cubicBezTo>
                    <a:pt x="114" y="446"/>
                    <a:pt x="123" y="452"/>
                    <a:pt x="119" y="454"/>
                  </a:cubicBezTo>
                  <a:cubicBezTo>
                    <a:pt x="116" y="456"/>
                    <a:pt x="111" y="455"/>
                    <a:pt x="111" y="455"/>
                  </a:cubicBezTo>
                  <a:cubicBezTo>
                    <a:pt x="111" y="455"/>
                    <a:pt x="110" y="468"/>
                    <a:pt x="104" y="466"/>
                  </a:cubicBezTo>
                  <a:cubicBezTo>
                    <a:pt x="99" y="465"/>
                    <a:pt x="105" y="455"/>
                    <a:pt x="102" y="454"/>
                  </a:cubicBezTo>
                  <a:cubicBezTo>
                    <a:pt x="99" y="453"/>
                    <a:pt x="88" y="460"/>
                    <a:pt x="88" y="460"/>
                  </a:cubicBezTo>
                  <a:cubicBezTo>
                    <a:pt x="77" y="460"/>
                    <a:pt x="77" y="460"/>
                    <a:pt x="77" y="460"/>
                  </a:cubicBezTo>
                  <a:cubicBezTo>
                    <a:pt x="84" y="466"/>
                    <a:pt x="84" y="466"/>
                    <a:pt x="84" y="466"/>
                  </a:cubicBezTo>
                  <a:cubicBezTo>
                    <a:pt x="84" y="466"/>
                    <a:pt x="79" y="469"/>
                    <a:pt x="77" y="471"/>
                  </a:cubicBezTo>
                  <a:cubicBezTo>
                    <a:pt x="75" y="473"/>
                    <a:pt x="80" y="480"/>
                    <a:pt x="80" y="482"/>
                  </a:cubicBezTo>
                  <a:cubicBezTo>
                    <a:pt x="80" y="485"/>
                    <a:pt x="70" y="487"/>
                    <a:pt x="71" y="489"/>
                  </a:cubicBezTo>
                  <a:cubicBezTo>
                    <a:pt x="72" y="493"/>
                    <a:pt x="79" y="492"/>
                    <a:pt x="78" y="496"/>
                  </a:cubicBezTo>
                  <a:cubicBezTo>
                    <a:pt x="78" y="499"/>
                    <a:pt x="65" y="507"/>
                    <a:pt x="65" y="507"/>
                  </a:cubicBezTo>
                  <a:cubicBezTo>
                    <a:pt x="59" y="518"/>
                    <a:pt x="59" y="518"/>
                    <a:pt x="59" y="518"/>
                  </a:cubicBezTo>
                  <a:cubicBezTo>
                    <a:pt x="49" y="524"/>
                    <a:pt x="49" y="524"/>
                    <a:pt x="49" y="524"/>
                  </a:cubicBezTo>
                  <a:cubicBezTo>
                    <a:pt x="51" y="534"/>
                    <a:pt x="51" y="534"/>
                    <a:pt x="51" y="534"/>
                  </a:cubicBezTo>
                  <a:cubicBezTo>
                    <a:pt x="51" y="534"/>
                    <a:pt x="61" y="533"/>
                    <a:pt x="59" y="537"/>
                  </a:cubicBezTo>
                  <a:cubicBezTo>
                    <a:pt x="58" y="543"/>
                    <a:pt x="51" y="548"/>
                    <a:pt x="51" y="548"/>
                  </a:cubicBezTo>
                  <a:cubicBezTo>
                    <a:pt x="51" y="548"/>
                    <a:pt x="53" y="564"/>
                    <a:pt x="47" y="565"/>
                  </a:cubicBezTo>
                  <a:cubicBezTo>
                    <a:pt x="41" y="566"/>
                    <a:pt x="36" y="568"/>
                    <a:pt x="36" y="568"/>
                  </a:cubicBezTo>
                  <a:cubicBezTo>
                    <a:pt x="35" y="572"/>
                    <a:pt x="35" y="572"/>
                    <a:pt x="35" y="572"/>
                  </a:cubicBezTo>
                  <a:cubicBezTo>
                    <a:pt x="39" y="572"/>
                    <a:pt x="39" y="572"/>
                    <a:pt x="39" y="572"/>
                  </a:cubicBezTo>
                  <a:cubicBezTo>
                    <a:pt x="39" y="572"/>
                    <a:pt x="49" y="584"/>
                    <a:pt x="53" y="588"/>
                  </a:cubicBezTo>
                  <a:cubicBezTo>
                    <a:pt x="58" y="590"/>
                    <a:pt x="61" y="595"/>
                    <a:pt x="61" y="595"/>
                  </a:cubicBezTo>
                  <a:cubicBezTo>
                    <a:pt x="61" y="595"/>
                    <a:pt x="68" y="587"/>
                    <a:pt x="67" y="596"/>
                  </a:cubicBezTo>
                  <a:cubicBezTo>
                    <a:pt x="66" y="606"/>
                    <a:pt x="60" y="620"/>
                    <a:pt x="54" y="620"/>
                  </a:cubicBezTo>
                  <a:cubicBezTo>
                    <a:pt x="48" y="620"/>
                    <a:pt x="41" y="621"/>
                    <a:pt x="37" y="614"/>
                  </a:cubicBezTo>
                  <a:cubicBezTo>
                    <a:pt x="34" y="609"/>
                    <a:pt x="22" y="600"/>
                    <a:pt x="14" y="600"/>
                  </a:cubicBezTo>
                  <a:cubicBezTo>
                    <a:pt x="4" y="600"/>
                    <a:pt x="0" y="607"/>
                    <a:pt x="1" y="614"/>
                  </a:cubicBezTo>
                  <a:cubicBezTo>
                    <a:pt x="1" y="622"/>
                    <a:pt x="10" y="623"/>
                    <a:pt x="9" y="628"/>
                  </a:cubicBezTo>
                  <a:cubicBezTo>
                    <a:pt x="0" y="643"/>
                    <a:pt x="0" y="643"/>
                    <a:pt x="0" y="643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22" y="676"/>
                    <a:pt x="25" y="685"/>
                  </a:cubicBezTo>
                  <a:cubicBezTo>
                    <a:pt x="28" y="693"/>
                    <a:pt x="22" y="703"/>
                    <a:pt x="22" y="703"/>
                  </a:cubicBezTo>
                  <a:cubicBezTo>
                    <a:pt x="28" y="742"/>
                    <a:pt x="28" y="742"/>
                    <a:pt x="28" y="742"/>
                  </a:cubicBezTo>
                  <a:cubicBezTo>
                    <a:pt x="57" y="736"/>
                    <a:pt x="57" y="736"/>
                    <a:pt x="57" y="736"/>
                  </a:cubicBezTo>
                  <a:cubicBezTo>
                    <a:pt x="57" y="736"/>
                    <a:pt x="57" y="740"/>
                    <a:pt x="60" y="742"/>
                  </a:cubicBezTo>
                  <a:cubicBezTo>
                    <a:pt x="62" y="745"/>
                    <a:pt x="67" y="747"/>
                    <a:pt x="65" y="750"/>
                  </a:cubicBezTo>
                  <a:cubicBezTo>
                    <a:pt x="64" y="752"/>
                    <a:pt x="63" y="759"/>
                    <a:pt x="68" y="760"/>
                  </a:cubicBezTo>
                  <a:cubicBezTo>
                    <a:pt x="74" y="762"/>
                    <a:pt x="86" y="762"/>
                    <a:pt x="86" y="762"/>
                  </a:cubicBezTo>
                  <a:cubicBezTo>
                    <a:pt x="82" y="754"/>
                    <a:pt x="82" y="754"/>
                    <a:pt x="82" y="754"/>
                  </a:cubicBezTo>
                  <a:cubicBezTo>
                    <a:pt x="82" y="754"/>
                    <a:pt x="87" y="755"/>
                    <a:pt x="94" y="753"/>
                  </a:cubicBezTo>
                  <a:cubicBezTo>
                    <a:pt x="101" y="751"/>
                    <a:pt x="98" y="739"/>
                    <a:pt x="108" y="742"/>
                  </a:cubicBezTo>
                  <a:cubicBezTo>
                    <a:pt x="117" y="745"/>
                    <a:pt x="118" y="756"/>
                    <a:pt x="125" y="756"/>
                  </a:cubicBezTo>
                  <a:cubicBezTo>
                    <a:pt x="132" y="756"/>
                    <a:pt x="133" y="752"/>
                    <a:pt x="139" y="754"/>
                  </a:cubicBezTo>
                  <a:cubicBezTo>
                    <a:pt x="144" y="757"/>
                    <a:pt x="149" y="768"/>
                    <a:pt x="157" y="770"/>
                  </a:cubicBezTo>
                  <a:cubicBezTo>
                    <a:pt x="164" y="772"/>
                    <a:pt x="183" y="779"/>
                    <a:pt x="178" y="784"/>
                  </a:cubicBezTo>
                  <a:cubicBezTo>
                    <a:pt x="174" y="788"/>
                    <a:pt x="164" y="782"/>
                    <a:pt x="160" y="787"/>
                  </a:cubicBezTo>
                  <a:cubicBezTo>
                    <a:pt x="156" y="794"/>
                    <a:pt x="157" y="800"/>
                    <a:pt x="166" y="801"/>
                  </a:cubicBezTo>
                  <a:cubicBezTo>
                    <a:pt x="177" y="802"/>
                    <a:pt x="200" y="798"/>
                    <a:pt x="200" y="798"/>
                  </a:cubicBezTo>
                  <a:cubicBezTo>
                    <a:pt x="199" y="794"/>
                    <a:pt x="199" y="794"/>
                    <a:pt x="199" y="794"/>
                  </a:cubicBezTo>
                  <a:cubicBezTo>
                    <a:pt x="196" y="793"/>
                    <a:pt x="196" y="793"/>
                    <a:pt x="196" y="793"/>
                  </a:cubicBezTo>
                  <a:cubicBezTo>
                    <a:pt x="202" y="791"/>
                    <a:pt x="202" y="791"/>
                    <a:pt x="202" y="791"/>
                  </a:cubicBezTo>
                  <a:cubicBezTo>
                    <a:pt x="202" y="788"/>
                    <a:pt x="202" y="788"/>
                    <a:pt x="202" y="788"/>
                  </a:cubicBezTo>
                  <a:cubicBezTo>
                    <a:pt x="198" y="789"/>
                    <a:pt x="198" y="789"/>
                    <a:pt x="198" y="789"/>
                  </a:cubicBezTo>
                  <a:cubicBezTo>
                    <a:pt x="198" y="785"/>
                    <a:pt x="198" y="785"/>
                    <a:pt x="198" y="785"/>
                  </a:cubicBezTo>
                  <a:cubicBezTo>
                    <a:pt x="195" y="782"/>
                    <a:pt x="195" y="782"/>
                    <a:pt x="195" y="782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5" y="779"/>
                    <a:pt x="205" y="779"/>
                    <a:pt x="205" y="779"/>
                  </a:cubicBezTo>
                  <a:cubicBezTo>
                    <a:pt x="209" y="784"/>
                    <a:pt x="209" y="784"/>
                    <a:pt x="209" y="784"/>
                  </a:cubicBezTo>
                  <a:cubicBezTo>
                    <a:pt x="209" y="778"/>
                    <a:pt x="209" y="778"/>
                    <a:pt x="209" y="778"/>
                  </a:cubicBezTo>
                  <a:cubicBezTo>
                    <a:pt x="209" y="778"/>
                    <a:pt x="212" y="780"/>
                    <a:pt x="215" y="775"/>
                  </a:cubicBezTo>
                  <a:cubicBezTo>
                    <a:pt x="219" y="770"/>
                    <a:pt x="218" y="765"/>
                    <a:pt x="218" y="765"/>
                  </a:cubicBezTo>
                  <a:cubicBezTo>
                    <a:pt x="218" y="765"/>
                    <a:pt x="222" y="768"/>
                    <a:pt x="223" y="765"/>
                  </a:cubicBezTo>
                  <a:cubicBezTo>
                    <a:pt x="225" y="763"/>
                    <a:pt x="224" y="756"/>
                    <a:pt x="224" y="756"/>
                  </a:cubicBezTo>
                  <a:cubicBezTo>
                    <a:pt x="228" y="754"/>
                    <a:pt x="228" y="754"/>
                    <a:pt x="228" y="754"/>
                  </a:cubicBezTo>
                  <a:cubicBezTo>
                    <a:pt x="228" y="740"/>
                    <a:pt x="228" y="740"/>
                    <a:pt x="228" y="740"/>
                  </a:cubicBezTo>
                  <a:cubicBezTo>
                    <a:pt x="236" y="740"/>
                    <a:pt x="236" y="740"/>
                    <a:pt x="236" y="740"/>
                  </a:cubicBezTo>
                  <a:cubicBezTo>
                    <a:pt x="235" y="733"/>
                    <a:pt x="235" y="733"/>
                    <a:pt x="235" y="733"/>
                  </a:cubicBezTo>
                  <a:cubicBezTo>
                    <a:pt x="243" y="732"/>
                    <a:pt x="243" y="732"/>
                    <a:pt x="243" y="732"/>
                  </a:cubicBezTo>
                  <a:cubicBezTo>
                    <a:pt x="243" y="732"/>
                    <a:pt x="239" y="722"/>
                    <a:pt x="247" y="714"/>
                  </a:cubicBezTo>
                  <a:cubicBezTo>
                    <a:pt x="256" y="705"/>
                    <a:pt x="262" y="707"/>
                    <a:pt x="262" y="707"/>
                  </a:cubicBezTo>
                  <a:cubicBezTo>
                    <a:pt x="266" y="705"/>
                    <a:pt x="266" y="705"/>
                    <a:pt x="266" y="705"/>
                  </a:cubicBezTo>
                  <a:cubicBezTo>
                    <a:pt x="268" y="707"/>
                    <a:pt x="268" y="707"/>
                    <a:pt x="268" y="707"/>
                  </a:cubicBezTo>
                  <a:cubicBezTo>
                    <a:pt x="270" y="703"/>
                    <a:pt x="270" y="703"/>
                    <a:pt x="270" y="703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81" y="707"/>
                    <a:pt x="281" y="707"/>
                    <a:pt x="281" y="707"/>
                  </a:cubicBezTo>
                  <a:cubicBezTo>
                    <a:pt x="283" y="702"/>
                    <a:pt x="283" y="702"/>
                    <a:pt x="283" y="702"/>
                  </a:cubicBezTo>
                  <a:cubicBezTo>
                    <a:pt x="285" y="708"/>
                    <a:pt x="285" y="708"/>
                    <a:pt x="285" y="708"/>
                  </a:cubicBezTo>
                  <a:cubicBezTo>
                    <a:pt x="290" y="703"/>
                    <a:pt x="290" y="703"/>
                    <a:pt x="290" y="703"/>
                  </a:cubicBezTo>
                  <a:cubicBezTo>
                    <a:pt x="290" y="703"/>
                    <a:pt x="293" y="708"/>
                    <a:pt x="296" y="707"/>
                  </a:cubicBezTo>
                  <a:cubicBezTo>
                    <a:pt x="299" y="706"/>
                    <a:pt x="298" y="699"/>
                    <a:pt x="298" y="699"/>
                  </a:cubicBezTo>
                  <a:cubicBezTo>
                    <a:pt x="304" y="696"/>
                    <a:pt x="304" y="696"/>
                    <a:pt x="304" y="696"/>
                  </a:cubicBezTo>
                  <a:cubicBezTo>
                    <a:pt x="304" y="696"/>
                    <a:pt x="301" y="687"/>
                    <a:pt x="304" y="685"/>
                  </a:cubicBezTo>
                  <a:cubicBezTo>
                    <a:pt x="307" y="683"/>
                    <a:pt x="309" y="688"/>
                    <a:pt x="309" y="688"/>
                  </a:cubicBezTo>
                  <a:cubicBezTo>
                    <a:pt x="318" y="683"/>
                    <a:pt x="318" y="683"/>
                    <a:pt x="318" y="683"/>
                  </a:cubicBezTo>
                  <a:cubicBezTo>
                    <a:pt x="318" y="683"/>
                    <a:pt x="318" y="677"/>
                    <a:pt x="322" y="677"/>
                  </a:cubicBezTo>
                  <a:cubicBezTo>
                    <a:pt x="326" y="677"/>
                    <a:pt x="326" y="679"/>
                    <a:pt x="326" y="679"/>
                  </a:cubicBezTo>
                  <a:cubicBezTo>
                    <a:pt x="332" y="678"/>
                    <a:pt x="332" y="678"/>
                    <a:pt x="332" y="678"/>
                  </a:cubicBezTo>
                  <a:cubicBezTo>
                    <a:pt x="332" y="678"/>
                    <a:pt x="333" y="684"/>
                    <a:pt x="337" y="685"/>
                  </a:cubicBezTo>
                  <a:cubicBezTo>
                    <a:pt x="340" y="685"/>
                    <a:pt x="345" y="682"/>
                    <a:pt x="345" y="685"/>
                  </a:cubicBezTo>
                  <a:cubicBezTo>
                    <a:pt x="345" y="689"/>
                    <a:pt x="337" y="691"/>
                    <a:pt x="337" y="691"/>
                  </a:cubicBezTo>
                  <a:cubicBezTo>
                    <a:pt x="338" y="696"/>
                    <a:pt x="338" y="696"/>
                    <a:pt x="338" y="696"/>
                  </a:cubicBezTo>
                  <a:cubicBezTo>
                    <a:pt x="341" y="694"/>
                    <a:pt x="341" y="694"/>
                    <a:pt x="341" y="694"/>
                  </a:cubicBezTo>
                  <a:cubicBezTo>
                    <a:pt x="342" y="701"/>
                    <a:pt x="342" y="701"/>
                    <a:pt x="342" y="701"/>
                  </a:cubicBezTo>
                  <a:cubicBezTo>
                    <a:pt x="352" y="703"/>
                    <a:pt x="352" y="703"/>
                    <a:pt x="352" y="703"/>
                  </a:cubicBezTo>
                  <a:cubicBezTo>
                    <a:pt x="352" y="706"/>
                    <a:pt x="352" y="706"/>
                    <a:pt x="352" y="706"/>
                  </a:cubicBezTo>
                  <a:cubicBezTo>
                    <a:pt x="346" y="706"/>
                    <a:pt x="346" y="706"/>
                    <a:pt x="346" y="706"/>
                  </a:cubicBezTo>
                  <a:cubicBezTo>
                    <a:pt x="348" y="713"/>
                    <a:pt x="348" y="713"/>
                    <a:pt x="348" y="713"/>
                  </a:cubicBezTo>
                  <a:cubicBezTo>
                    <a:pt x="357" y="709"/>
                    <a:pt x="357" y="709"/>
                    <a:pt x="357" y="709"/>
                  </a:cubicBezTo>
                  <a:cubicBezTo>
                    <a:pt x="357" y="709"/>
                    <a:pt x="357" y="716"/>
                    <a:pt x="359" y="718"/>
                  </a:cubicBezTo>
                  <a:cubicBezTo>
                    <a:pt x="361" y="720"/>
                    <a:pt x="364" y="725"/>
                    <a:pt x="363" y="732"/>
                  </a:cubicBezTo>
                  <a:cubicBezTo>
                    <a:pt x="363" y="738"/>
                    <a:pt x="361" y="741"/>
                    <a:pt x="361" y="748"/>
                  </a:cubicBezTo>
                  <a:cubicBezTo>
                    <a:pt x="361" y="753"/>
                    <a:pt x="367" y="760"/>
                    <a:pt x="367" y="760"/>
                  </a:cubicBezTo>
                  <a:cubicBezTo>
                    <a:pt x="391" y="756"/>
                    <a:pt x="391" y="756"/>
                    <a:pt x="391" y="756"/>
                  </a:cubicBezTo>
                  <a:cubicBezTo>
                    <a:pt x="391" y="756"/>
                    <a:pt x="388" y="767"/>
                    <a:pt x="381" y="768"/>
                  </a:cubicBezTo>
                  <a:cubicBezTo>
                    <a:pt x="374" y="770"/>
                    <a:pt x="366" y="769"/>
                    <a:pt x="362" y="772"/>
                  </a:cubicBezTo>
                  <a:cubicBezTo>
                    <a:pt x="358" y="776"/>
                    <a:pt x="350" y="784"/>
                    <a:pt x="346" y="786"/>
                  </a:cubicBezTo>
                  <a:cubicBezTo>
                    <a:pt x="342" y="788"/>
                    <a:pt x="331" y="789"/>
                    <a:pt x="331" y="789"/>
                  </a:cubicBezTo>
                  <a:cubicBezTo>
                    <a:pt x="330" y="799"/>
                    <a:pt x="330" y="799"/>
                    <a:pt x="330" y="799"/>
                  </a:cubicBezTo>
                  <a:cubicBezTo>
                    <a:pt x="323" y="801"/>
                    <a:pt x="323" y="801"/>
                    <a:pt x="323" y="801"/>
                  </a:cubicBezTo>
                  <a:cubicBezTo>
                    <a:pt x="323" y="801"/>
                    <a:pt x="321" y="810"/>
                    <a:pt x="321" y="814"/>
                  </a:cubicBezTo>
                  <a:cubicBezTo>
                    <a:pt x="321" y="818"/>
                    <a:pt x="326" y="823"/>
                    <a:pt x="326" y="823"/>
                  </a:cubicBezTo>
                  <a:cubicBezTo>
                    <a:pt x="326" y="823"/>
                    <a:pt x="323" y="823"/>
                    <a:pt x="321" y="825"/>
                  </a:cubicBezTo>
                  <a:cubicBezTo>
                    <a:pt x="318" y="827"/>
                    <a:pt x="317" y="831"/>
                    <a:pt x="317" y="831"/>
                  </a:cubicBezTo>
                  <a:cubicBezTo>
                    <a:pt x="313" y="834"/>
                    <a:pt x="313" y="834"/>
                    <a:pt x="313" y="834"/>
                  </a:cubicBezTo>
                  <a:cubicBezTo>
                    <a:pt x="314" y="838"/>
                    <a:pt x="314" y="838"/>
                    <a:pt x="314" y="838"/>
                  </a:cubicBezTo>
                  <a:cubicBezTo>
                    <a:pt x="322" y="836"/>
                    <a:pt x="322" y="836"/>
                    <a:pt x="322" y="836"/>
                  </a:cubicBezTo>
                  <a:cubicBezTo>
                    <a:pt x="321" y="842"/>
                    <a:pt x="321" y="842"/>
                    <a:pt x="321" y="842"/>
                  </a:cubicBezTo>
                  <a:cubicBezTo>
                    <a:pt x="327" y="840"/>
                    <a:pt x="327" y="840"/>
                    <a:pt x="327" y="840"/>
                  </a:cubicBezTo>
                  <a:cubicBezTo>
                    <a:pt x="328" y="842"/>
                    <a:pt x="328" y="842"/>
                    <a:pt x="328" y="842"/>
                  </a:cubicBezTo>
                  <a:cubicBezTo>
                    <a:pt x="337" y="842"/>
                    <a:pt x="337" y="842"/>
                    <a:pt x="337" y="842"/>
                  </a:cubicBezTo>
                  <a:cubicBezTo>
                    <a:pt x="337" y="842"/>
                    <a:pt x="339" y="846"/>
                    <a:pt x="342" y="846"/>
                  </a:cubicBezTo>
                  <a:cubicBezTo>
                    <a:pt x="346" y="845"/>
                    <a:pt x="349" y="840"/>
                    <a:pt x="352" y="843"/>
                  </a:cubicBezTo>
                  <a:cubicBezTo>
                    <a:pt x="355" y="847"/>
                    <a:pt x="345" y="850"/>
                    <a:pt x="345" y="850"/>
                  </a:cubicBezTo>
                  <a:cubicBezTo>
                    <a:pt x="345" y="850"/>
                    <a:pt x="344" y="860"/>
                    <a:pt x="340" y="859"/>
                  </a:cubicBezTo>
                  <a:cubicBezTo>
                    <a:pt x="336" y="858"/>
                    <a:pt x="323" y="857"/>
                    <a:pt x="323" y="857"/>
                  </a:cubicBezTo>
                  <a:cubicBezTo>
                    <a:pt x="323" y="857"/>
                    <a:pt x="316" y="863"/>
                    <a:pt x="312" y="864"/>
                  </a:cubicBezTo>
                  <a:cubicBezTo>
                    <a:pt x="309" y="865"/>
                    <a:pt x="297" y="866"/>
                    <a:pt x="301" y="879"/>
                  </a:cubicBezTo>
                  <a:cubicBezTo>
                    <a:pt x="306" y="891"/>
                    <a:pt x="314" y="889"/>
                    <a:pt x="321" y="886"/>
                  </a:cubicBezTo>
                  <a:cubicBezTo>
                    <a:pt x="328" y="883"/>
                    <a:pt x="336" y="879"/>
                    <a:pt x="341" y="886"/>
                  </a:cubicBezTo>
                  <a:cubicBezTo>
                    <a:pt x="346" y="891"/>
                    <a:pt x="363" y="907"/>
                    <a:pt x="367" y="906"/>
                  </a:cubicBezTo>
                  <a:cubicBezTo>
                    <a:pt x="373" y="906"/>
                    <a:pt x="378" y="904"/>
                    <a:pt x="385" y="913"/>
                  </a:cubicBezTo>
                  <a:cubicBezTo>
                    <a:pt x="391" y="922"/>
                    <a:pt x="390" y="931"/>
                    <a:pt x="390" y="931"/>
                  </a:cubicBezTo>
                  <a:cubicBezTo>
                    <a:pt x="393" y="931"/>
                    <a:pt x="393" y="931"/>
                    <a:pt x="393" y="931"/>
                  </a:cubicBezTo>
                  <a:cubicBezTo>
                    <a:pt x="397" y="925"/>
                    <a:pt x="397" y="925"/>
                    <a:pt x="397" y="925"/>
                  </a:cubicBezTo>
                  <a:cubicBezTo>
                    <a:pt x="402" y="925"/>
                    <a:pt x="402" y="925"/>
                    <a:pt x="402" y="925"/>
                  </a:cubicBezTo>
                  <a:cubicBezTo>
                    <a:pt x="402" y="925"/>
                    <a:pt x="402" y="921"/>
                    <a:pt x="406" y="920"/>
                  </a:cubicBezTo>
                  <a:cubicBezTo>
                    <a:pt x="408" y="920"/>
                    <a:pt x="408" y="920"/>
                    <a:pt x="408" y="920"/>
                  </a:cubicBezTo>
                  <a:cubicBezTo>
                    <a:pt x="408" y="320"/>
                    <a:pt x="408" y="320"/>
                    <a:pt x="408" y="320"/>
                  </a:cubicBezTo>
                  <a:cubicBezTo>
                    <a:pt x="399" y="324"/>
                    <a:pt x="387" y="331"/>
                    <a:pt x="379" y="32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9" name="Aserbaidschan" descr="© INSCALE GmbH, 05.05.2010&#10;http://www.presentationload.com/">
              <a:extLst>
                <a:ext uri="{FF2B5EF4-FFF2-40B4-BE49-F238E27FC236}">
                  <a16:creationId xmlns:a16="http://schemas.microsoft.com/office/drawing/2014/main" id="{5529BB09-426F-5E45-9E22-E62931A758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01070" y="4768787"/>
              <a:ext cx="542930" cy="584187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0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BFDF641-D34A-5444-AC30-FB96ABFD25A0}"/>
                </a:ext>
              </a:extLst>
            </p:cNvPr>
            <p:cNvSpPr>
              <a:spLocks/>
            </p:cNvSpPr>
            <p:nvPr/>
          </p:nvSpPr>
          <p:spPr bwMode="gray">
            <a:xfrm>
              <a:off x="8635723" y="5098836"/>
              <a:ext cx="508277" cy="696405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Irak" descr="© INSCALE GmbH, 05.05.2010&#10;http://www.presentationload.com/">
              <a:extLst>
                <a:ext uri="{FF2B5EF4-FFF2-40B4-BE49-F238E27FC236}">
                  <a16:creationId xmlns:a16="http://schemas.microsoft.com/office/drawing/2014/main" id="{9C4718FA-0804-CE45-8B48-D61ECC20E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98088" y="5654970"/>
              <a:ext cx="745912" cy="1082562"/>
            </a:xfrm>
            <a:custGeom>
              <a:avLst/>
              <a:gdLst/>
              <a:ahLst/>
              <a:cxnLst>
                <a:cxn ang="0">
                  <a:pos x="312" y="46"/>
                </a:cxn>
                <a:cxn ang="0">
                  <a:pos x="312" y="47"/>
                </a:cxn>
                <a:cxn ang="0">
                  <a:pos x="306" y="42"/>
                </a:cxn>
                <a:cxn ang="0">
                  <a:pos x="292" y="55"/>
                </a:cxn>
                <a:cxn ang="0">
                  <a:pos x="276" y="50"/>
                </a:cxn>
                <a:cxn ang="0">
                  <a:pos x="264" y="60"/>
                </a:cxn>
                <a:cxn ang="0">
                  <a:pos x="264" y="49"/>
                </a:cxn>
                <a:cxn ang="0">
                  <a:pos x="253" y="44"/>
                </a:cxn>
                <a:cxn ang="0">
                  <a:pos x="245" y="31"/>
                </a:cxn>
                <a:cxn ang="0">
                  <a:pos x="234" y="35"/>
                </a:cxn>
                <a:cxn ang="0">
                  <a:pos x="227" y="20"/>
                </a:cxn>
                <a:cxn ang="0">
                  <a:pos x="213" y="21"/>
                </a:cxn>
                <a:cxn ang="0">
                  <a:pos x="211" y="18"/>
                </a:cxn>
                <a:cxn ang="0">
                  <a:pos x="214" y="8"/>
                </a:cxn>
                <a:cxn ang="0">
                  <a:pos x="203" y="7"/>
                </a:cxn>
                <a:cxn ang="0">
                  <a:pos x="200" y="2"/>
                </a:cxn>
                <a:cxn ang="0">
                  <a:pos x="191" y="3"/>
                </a:cxn>
                <a:cxn ang="0">
                  <a:pos x="182" y="22"/>
                </a:cxn>
                <a:cxn ang="0">
                  <a:pos x="175" y="20"/>
                </a:cxn>
                <a:cxn ang="0">
                  <a:pos x="168" y="5"/>
                </a:cxn>
                <a:cxn ang="0">
                  <a:pos x="155" y="18"/>
                </a:cxn>
                <a:cxn ang="0">
                  <a:pos x="126" y="22"/>
                </a:cxn>
                <a:cxn ang="0">
                  <a:pos x="126" y="26"/>
                </a:cxn>
                <a:cxn ang="0">
                  <a:pos x="113" y="26"/>
                </a:cxn>
                <a:cxn ang="0">
                  <a:pos x="110" y="33"/>
                </a:cxn>
                <a:cxn ang="0">
                  <a:pos x="90" y="33"/>
                </a:cxn>
                <a:cxn ang="0">
                  <a:pos x="96" y="50"/>
                </a:cxn>
                <a:cxn ang="0">
                  <a:pos x="84" y="56"/>
                </a:cxn>
                <a:cxn ang="0">
                  <a:pos x="85" y="69"/>
                </a:cxn>
                <a:cxn ang="0">
                  <a:pos x="79" y="77"/>
                </a:cxn>
                <a:cxn ang="0">
                  <a:pos x="70" y="101"/>
                </a:cxn>
                <a:cxn ang="0">
                  <a:pos x="51" y="117"/>
                </a:cxn>
                <a:cxn ang="0">
                  <a:pos x="57" y="147"/>
                </a:cxn>
                <a:cxn ang="0">
                  <a:pos x="72" y="164"/>
                </a:cxn>
                <a:cxn ang="0">
                  <a:pos x="77" y="200"/>
                </a:cxn>
                <a:cxn ang="0">
                  <a:pos x="90" y="226"/>
                </a:cxn>
                <a:cxn ang="0">
                  <a:pos x="91" y="239"/>
                </a:cxn>
                <a:cxn ang="0">
                  <a:pos x="88" y="240"/>
                </a:cxn>
                <a:cxn ang="0">
                  <a:pos x="89" y="256"/>
                </a:cxn>
                <a:cxn ang="0">
                  <a:pos x="87" y="257"/>
                </a:cxn>
                <a:cxn ang="0">
                  <a:pos x="0" y="371"/>
                </a:cxn>
                <a:cxn ang="0">
                  <a:pos x="57" y="432"/>
                </a:cxn>
                <a:cxn ang="0">
                  <a:pos x="101" y="425"/>
                </a:cxn>
                <a:cxn ang="0">
                  <a:pos x="203" y="436"/>
                </a:cxn>
                <a:cxn ang="0">
                  <a:pos x="298" y="438"/>
                </a:cxn>
                <a:cxn ang="0">
                  <a:pos x="312" y="455"/>
                </a:cxn>
                <a:cxn ang="0">
                  <a:pos x="312" y="46"/>
                </a:cxn>
              </a:cxnLst>
              <a:rect l="0" t="0" r="r" b="b"/>
              <a:pathLst>
                <a:path w="312" h="455">
                  <a:moveTo>
                    <a:pt x="312" y="46"/>
                  </a:moveTo>
                  <a:cubicBezTo>
                    <a:pt x="312" y="47"/>
                    <a:pt x="312" y="47"/>
                    <a:pt x="312" y="47"/>
                  </a:cubicBezTo>
                  <a:cubicBezTo>
                    <a:pt x="306" y="42"/>
                    <a:pt x="306" y="42"/>
                    <a:pt x="306" y="42"/>
                  </a:cubicBezTo>
                  <a:cubicBezTo>
                    <a:pt x="306" y="42"/>
                    <a:pt x="297" y="52"/>
                    <a:pt x="292" y="55"/>
                  </a:cubicBezTo>
                  <a:cubicBezTo>
                    <a:pt x="286" y="57"/>
                    <a:pt x="281" y="51"/>
                    <a:pt x="276" y="50"/>
                  </a:cubicBezTo>
                  <a:cubicBezTo>
                    <a:pt x="271" y="49"/>
                    <a:pt x="264" y="60"/>
                    <a:pt x="264" y="6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4" y="49"/>
                    <a:pt x="258" y="48"/>
                    <a:pt x="253" y="44"/>
                  </a:cubicBezTo>
                  <a:cubicBezTo>
                    <a:pt x="250" y="39"/>
                    <a:pt x="245" y="31"/>
                    <a:pt x="245" y="31"/>
                  </a:cubicBezTo>
                  <a:cubicBezTo>
                    <a:pt x="245" y="31"/>
                    <a:pt x="242" y="36"/>
                    <a:pt x="234" y="35"/>
                  </a:cubicBezTo>
                  <a:cubicBezTo>
                    <a:pt x="227" y="34"/>
                    <a:pt x="230" y="22"/>
                    <a:pt x="227" y="20"/>
                  </a:cubicBezTo>
                  <a:cubicBezTo>
                    <a:pt x="222" y="18"/>
                    <a:pt x="213" y="21"/>
                    <a:pt x="213" y="21"/>
                  </a:cubicBezTo>
                  <a:cubicBezTo>
                    <a:pt x="211" y="18"/>
                    <a:pt x="211" y="18"/>
                    <a:pt x="211" y="18"/>
                  </a:cubicBezTo>
                  <a:cubicBezTo>
                    <a:pt x="211" y="18"/>
                    <a:pt x="214" y="14"/>
                    <a:pt x="214" y="8"/>
                  </a:cubicBezTo>
                  <a:cubicBezTo>
                    <a:pt x="213" y="4"/>
                    <a:pt x="203" y="7"/>
                    <a:pt x="203" y="7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2"/>
                    <a:pt x="193" y="0"/>
                    <a:pt x="191" y="3"/>
                  </a:cubicBezTo>
                  <a:cubicBezTo>
                    <a:pt x="188" y="7"/>
                    <a:pt x="182" y="22"/>
                    <a:pt x="182" y="22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75" y="20"/>
                    <a:pt x="180" y="5"/>
                    <a:pt x="168" y="5"/>
                  </a:cubicBezTo>
                  <a:cubicBezTo>
                    <a:pt x="156" y="5"/>
                    <a:pt x="155" y="18"/>
                    <a:pt x="155" y="18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5" y="65"/>
                    <a:pt x="85" y="69"/>
                  </a:cubicBezTo>
                  <a:cubicBezTo>
                    <a:pt x="85" y="72"/>
                    <a:pt x="79" y="77"/>
                    <a:pt x="79" y="77"/>
                  </a:cubicBezTo>
                  <a:cubicBezTo>
                    <a:pt x="79" y="77"/>
                    <a:pt x="77" y="90"/>
                    <a:pt x="70" y="101"/>
                  </a:cubicBezTo>
                  <a:cubicBezTo>
                    <a:pt x="65" y="113"/>
                    <a:pt x="56" y="111"/>
                    <a:pt x="51" y="117"/>
                  </a:cubicBezTo>
                  <a:cubicBezTo>
                    <a:pt x="47" y="125"/>
                    <a:pt x="53" y="139"/>
                    <a:pt x="57" y="147"/>
                  </a:cubicBezTo>
                  <a:cubicBezTo>
                    <a:pt x="61" y="157"/>
                    <a:pt x="68" y="156"/>
                    <a:pt x="72" y="164"/>
                  </a:cubicBezTo>
                  <a:cubicBezTo>
                    <a:pt x="78" y="172"/>
                    <a:pt x="73" y="184"/>
                    <a:pt x="77" y="200"/>
                  </a:cubicBezTo>
                  <a:cubicBezTo>
                    <a:pt x="80" y="215"/>
                    <a:pt x="90" y="226"/>
                    <a:pt x="90" y="226"/>
                  </a:cubicBezTo>
                  <a:cubicBezTo>
                    <a:pt x="91" y="239"/>
                    <a:pt x="91" y="239"/>
                    <a:pt x="91" y="239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57" y="432"/>
                    <a:pt x="57" y="432"/>
                    <a:pt x="57" y="432"/>
                  </a:cubicBezTo>
                  <a:cubicBezTo>
                    <a:pt x="57" y="432"/>
                    <a:pt x="87" y="425"/>
                    <a:pt x="101" y="425"/>
                  </a:cubicBezTo>
                  <a:cubicBezTo>
                    <a:pt x="114" y="425"/>
                    <a:pt x="176" y="436"/>
                    <a:pt x="203" y="436"/>
                  </a:cubicBezTo>
                  <a:cubicBezTo>
                    <a:pt x="230" y="438"/>
                    <a:pt x="298" y="438"/>
                    <a:pt x="298" y="438"/>
                  </a:cubicBezTo>
                  <a:cubicBezTo>
                    <a:pt x="312" y="455"/>
                    <a:pt x="312" y="455"/>
                    <a:pt x="312" y="455"/>
                  </a:cubicBezTo>
                  <a:lnTo>
                    <a:pt x="312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2" name="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34E1E18-0A34-5041-93BF-BF8328D2C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85402" y="889056"/>
              <a:ext cx="3658598" cy="4107465"/>
            </a:xfrm>
            <a:custGeom>
              <a:avLst/>
              <a:gdLst/>
              <a:ahLst/>
              <a:cxnLst>
                <a:cxn ang="0">
                  <a:pos x="24" y="1219"/>
                </a:cxn>
                <a:cxn ang="0">
                  <a:pos x="8" y="1240"/>
                </a:cxn>
                <a:cxn ang="0">
                  <a:pos x="229" y="230"/>
                </a:cxn>
                <a:cxn ang="0">
                  <a:pos x="352" y="472"/>
                </a:cxn>
                <a:cxn ang="0">
                  <a:pos x="677" y="24"/>
                </a:cxn>
                <a:cxn ang="0">
                  <a:pos x="626" y="78"/>
                </a:cxn>
                <a:cxn ang="0">
                  <a:pos x="603" y="203"/>
                </a:cxn>
                <a:cxn ang="0">
                  <a:pos x="448" y="151"/>
                </a:cxn>
                <a:cxn ang="0">
                  <a:pos x="531" y="298"/>
                </a:cxn>
                <a:cxn ang="0">
                  <a:pos x="472" y="442"/>
                </a:cxn>
                <a:cxn ang="0">
                  <a:pos x="434" y="468"/>
                </a:cxn>
                <a:cxn ang="0">
                  <a:pos x="423" y="504"/>
                </a:cxn>
                <a:cxn ang="0">
                  <a:pos x="396" y="529"/>
                </a:cxn>
                <a:cxn ang="0">
                  <a:pos x="342" y="498"/>
                </a:cxn>
                <a:cxn ang="0">
                  <a:pos x="275" y="414"/>
                </a:cxn>
                <a:cxn ang="0">
                  <a:pos x="257" y="401"/>
                </a:cxn>
                <a:cxn ang="0">
                  <a:pos x="215" y="380"/>
                </a:cxn>
                <a:cxn ang="0">
                  <a:pos x="297" y="390"/>
                </a:cxn>
                <a:cxn ang="0">
                  <a:pos x="444" y="343"/>
                </a:cxn>
                <a:cxn ang="0">
                  <a:pos x="386" y="262"/>
                </a:cxn>
                <a:cxn ang="0">
                  <a:pos x="269" y="230"/>
                </a:cxn>
                <a:cxn ang="0">
                  <a:pos x="212" y="247"/>
                </a:cxn>
                <a:cxn ang="0">
                  <a:pos x="186" y="232"/>
                </a:cxn>
                <a:cxn ang="0">
                  <a:pos x="188" y="225"/>
                </a:cxn>
                <a:cxn ang="0">
                  <a:pos x="143" y="237"/>
                </a:cxn>
                <a:cxn ang="0">
                  <a:pos x="160" y="363"/>
                </a:cxn>
                <a:cxn ang="0">
                  <a:pos x="216" y="541"/>
                </a:cxn>
                <a:cxn ang="0">
                  <a:pos x="237" y="775"/>
                </a:cxn>
                <a:cxn ang="0">
                  <a:pos x="246" y="825"/>
                </a:cxn>
                <a:cxn ang="0">
                  <a:pos x="239" y="876"/>
                </a:cxn>
                <a:cxn ang="0">
                  <a:pos x="242" y="1006"/>
                </a:cxn>
                <a:cxn ang="0">
                  <a:pos x="289" y="1074"/>
                </a:cxn>
                <a:cxn ang="0">
                  <a:pos x="413" y="1136"/>
                </a:cxn>
                <a:cxn ang="0">
                  <a:pos x="490" y="1247"/>
                </a:cxn>
                <a:cxn ang="0">
                  <a:pos x="560" y="1265"/>
                </a:cxn>
                <a:cxn ang="0">
                  <a:pos x="648" y="1333"/>
                </a:cxn>
                <a:cxn ang="0">
                  <a:pos x="764" y="1354"/>
                </a:cxn>
                <a:cxn ang="0">
                  <a:pos x="862" y="1350"/>
                </a:cxn>
                <a:cxn ang="0">
                  <a:pos x="900" y="1455"/>
                </a:cxn>
                <a:cxn ang="0">
                  <a:pos x="871" y="1537"/>
                </a:cxn>
                <a:cxn ang="0">
                  <a:pos x="862" y="1623"/>
                </a:cxn>
                <a:cxn ang="0">
                  <a:pos x="903" y="1684"/>
                </a:cxn>
                <a:cxn ang="0">
                  <a:pos x="1047" y="1703"/>
                </a:cxn>
                <a:cxn ang="0">
                  <a:pos x="1233" y="1674"/>
                </a:cxn>
                <a:cxn ang="0">
                  <a:pos x="1408" y="1689"/>
                </a:cxn>
                <a:cxn ang="0">
                  <a:pos x="1341" y="1543"/>
                </a:cxn>
                <a:cxn ang="0">
                  <a:pos x="1283" y="1465"/>
                </a:cxn>
                <a:cxn ang="0">
                  <a:pos x="1320" y="1398"/>
                </a:cxn>
                <a:cxn ang="0">
                  <a:pos x="1281" y="1326"/>
                </a:cxn>
                <a:cxn ang="0">
                  <a:pos x="1133" y="1184"/>
                </a:cxn>
                <a:cxn ang="0">
                  <a:pos x="1183" y="1074"/>
                </a:cxn>
                <a:cxn ang="0">
                  <a:pos x="1253" y="984"/>
                </a:cxn>
                <a:cxn ang="0">
                  <a:pos x="1379" y="969"/>
                </a:cxn>
                <a:cxn ang="0">
                  <a:pos x="1488" y="872"/>
                </a:cxn>
                <a:cxn ang="0">
                  <a:pos x="1496" y="707"/>
                </a:cxn>
                <a:cxn ang="0">
                  <a:pos x="1446" y="669"/>
                </a:cxn>
                <a:cxn ang="0">
                  <a:pos x="1519" y="575"/>
                </a:cxn>
                <a:cxn ang="0">
                  <a:pos x="266" y="764"/>
                </a:cxn>
                <a:cxn ang="0">
                  <a:pos x="356" y="755"/>
                </a:cxn>
                <a:cxn ang="0">
                  <a:pos x="381" y="658"/>
                </a:cxn>
                <a:cxn ang="0">
                  <a:pos x="422" y="650"/>
                </a:cxn>
                <a:cxn ang="0">
                  <a:pos x="464" y="712"/>
                </a:cxn>
              </a:cxnLst>
              <a:rect l="0" t="0" r="r" b="b"/>
              <a:pathLst>
                <a:path w="1532" h="1721">
                  <a:moveTo>
                    <a:pt x="113" y="1210"/>
                  </a:moveTo>
                  <a:cubicBezTo>
                    <a:pt x="110" y="1208"/>
                    <a:pt x="101" y="1201"/>
                    <a:pt x="101" y="1201"/>
                  </a:cubicBezTo>
                  <a:cubicBezTo>
                    <a:pt x="90" y="1201"/>
                    <a:pt x="90" y="1201"/>
                    <a:pt x="90" y="1201"/>
                  </a:cubicBezTo>
                  <a:cubicBezTo>
                    <a:pt x="80" y="1205"/>
                    <a:pt x="80" y="1205"/>
                    <a:pt x="80" y="1205"/>
                  </a:cubicBezTo>
                  <a:cubicBezTo>
                    <a:pt x="79" y="1201"/>
                    <a:pt x="79" y="1201"/>
                    <a:pt x="79" y="1201"/>
                  </a:cubicBezTo>
                  <a:cubicBezTo>
                    <a:pt x="79" y="1201"/>
                    <a:pt x="73" y="1203"/>
                    <a:pt x="69" y="1200"/>
                  </a:cubicBezTo>
                  <a:cubicBezTo>
                    <a:pt x="64" y="1198"/>
                    <a:pt x="62" y="1197"/>
                    <a:pt x="62" y="1197"/>
                  </a:cubicBezTo>
                  <a:cubicBezTo>
                    <a:pt x="56" y="1198"/>
                    <a:pt x="56" y="1198"/>
                    <a:pt x="56" y="1198"/>
                  </a:cubicBezTo>
                  <a:cubicBezTo>
                    <a:pt x="51" y="1194"/>
                    <a:pt x="51" y="1194"/>
                    <a:pt x="51" y="1194"/>
                  </a:cubicBezTo>
                  <a:cubicBezTo>
                    <a:pt x="49" y="1199"/>
                    <a:pt x="49" y="1199"/>
                    <a:pt x="49" y="1199"/>
                  </a:cubicBezTo>
                  <a:cubicBezTo>
                    <a:pt x="46" y="1199"/>
                    <a:pt x="46" y="1199"/>
                    <a:pt x="46" y="1199"/>
                  </a:cubicBezTo>
                  <a:cubicBezTo>
                    <a:pt x="51" y="1215"/>
                    <a:pt x="51" y="1215"/>
                    <a:pt x="51" y="1215"/>
                  </a:cubicBezTo>
                  <a:cubicBezTo>
                    <a:pt x="44" y="1219"/>
                    <a:pt x="44" y="1219"/>
                    <a:pt x="44" y="1219"/>
                  </a:cubicBezTo>
                  <a:cubicBezTo>
                    <a:pt x="37" y="1219"/>
                    <a:pt x="37" y="1219"/>
                    <a:pt x="37" y="1219"/>
                  </a:cubicBezTo>
                  <a:cubicBezTo>
                    <a:pt x="37" y="1219"/>
                    <a:pt x="33" y="1218"/>
                    <a:pt x="32" y="1218"/>
                  </a:cubicBezTo>
                  <a:cubicBezTo>
                    <a:pt x="31" y="1218"/>
                    <a:pt x="24" y="1219"/>
                    <a:pt x="24" y="1219"/>
                  </a:cubicBezTo>
                  <a:cubicBezTo>
                    <a:pt x="36" y="1202"/>
                    <a:pt x="36" y="1202"/>
                    <a:pt x="36" y="1202"/>
                  </a:cubicBezTo>
                  <a:cubicBezTo>
                    <a:pt x="36" y="1198"/>
                    <a:pt x="36" y="1198"/>
                    <a:pt x="36" y="1198"/>
                  </a:cubicBezTo>
                  <a:cubicBezTo>
                    <a:pt x="41" y="1193"/>
                    <a:pt x="41" y="1193"/>
                    <a:pt x="41" y="1193"/>
                  </a:cubicBezTo>
                  <a:cubicBezTo>
                    <a:pt x="39" y="1191"/>
                    <a:pt x="39" y="1191"/>
                    <a:pt x="39" y="1191"/>
                  </a:cubicBezTo>
                  <a:cubicBezTo>
                    <a:pt x="37" y="1192"/>
                    <a:pt x="37" y="1192"/>
                    <a:pt x="37" y="1192"/>
                  </a:cubicBezTo>
                  <a:cubicBezTo>
                    <a:pt x="32" y="1202"/>
                    <a:pt x="32" y="1202"/>
                    <a:pt x="32" y="1202"/>
                  </a:cubicBezTo>
                  <a:cubicBezTo>
                    <a:pt x="23" y="1215"/>
                    <a:pt x="23" y="1215"/>
                    <a:pt x="23" y="1215"/>
                  </a:cubicBezTo>
                  <a:cubicBezTo>
                    <a:pt x="20" y="1218"/>
                    <a:pt x="20" y="1218"/>
                    <a:pt x="20" y="1218"/>
                  </a:cubicBezTo>
                  <a:cubicBezTo>
                    <a:pt x="2" y="1221"/>
                    <a:pt x="2" y="1221"/>
                    <a:pt x="2" y="1221"/>
                  </a:cubicBezTo>
                  <a:cubicBezTo>
                    <a:pt x="0" y="1226"/>
                    <a:pt x="0" y="1226"/>
                    <a:pt x="0" y="1226"/>
                  </a:cubicBezTo>
                  <a:cubicBezTo>
                    <a:pt x="3" y="1230"/>
                    <a:pt x="3" y="1230"/>
                    <a:pt x="3" y="1230"/>
                  </a:cubicBezTo>
                  <a:cubicBezTo>
                    <a:pt x="0" y="1241"/>
                    <a:pt x="0" y="1241"/>
                    <a:pt x="0" y="1241"/>
                  </a:cubicBezTo>
                  <a:cubicBezTo>
                    <a:pt x="3" y="1242"/>
                    <a:pt x="3" y="1242"/>
                    <a:pt x="3" y="1242"/>
                  </a:cubicBezTo>
                  <a:cubicBezTo>
                    <a:pt x="4" y="1239"/>
                    <a:pt x="4" y="1239"/>
                    <a:pt x="4" y="1239"/>
                  </a:cubicBezTo>
                  <a:cubicBezTo>
                    <a:pt x="6" y="1237"/>
                    <a:pt x="6" y="1237"/>
                    <a:pt x="6" y="1237"/>
                  </a:cubicBezTo>
                  <a:cubicBezTo>
                    <a:pt x="8" y="1240"/>
                    <a:pt x="8" y="1240"/>
                    <a:pt x="8" y="1240"/>
                  </a:cubicBezTo>
                  <a:cubicBezTo>
                    <a:pt x="13" y="1235"/>
                    <a:pt x="13" y="1235"/>
                    <a:pt x="13" y="1235"/>
                  </a:cubicBezTo>
                  <a:cubicBezTo>
                    <a:pt x="21" y="1237"/>
                    <a:pt x="21" y="1237"/>
                    <a:pt x="21" y="1237"/>
                  </a:cubicBezTo>
                  <a:cubicBezTo>
                    <a:pt x="16" y="1239"/>
                    <a:pt x="16" y="1239"/>
                    <a:pt x="16" y="1239"/>
                  </a:cubicBezTo>
                  <a:cubicBezTo>
                    <a:pt x="16" y="1241"/>
                    <a:pt x="16" y="1241"/>
                    <a:pt x="16" y="1241"/>
                  </a:cubicBezTo>
                  <a:cubicBezTo>
                    <a:pt x="8" y="1246"/>
                    <a:pt x="8" y="1246"/>
                    <a:pt x="8" y="1246"/>
                  </a:cubicBezTo>
                  <a:cubicBezTo>
                    <a:pt x="6" y="1245"/>
                    <a:pt x="6" y="1245"/>
                    <a:pt x="6" y="1245"/>
                  </a:cubicBezTo>
                  <a:cubicBezTo>
                    <a:pt x="3" y="1253"/>
                    <a:pt x="3" y="1253"/>
                    <a:pt x="3" y="1253"/>
                  </a:cubicBezTo>
                  <a:cubicBezTo>
                    <a:pt x="11" y="1253"/>
                    <a:pt x="45" y="1255"/>
                    <a:pt x="58" y="1254"/>
                  </a:cubicBezTo>
                  <a:cubicBezTo>
                    <a:pt x="74" y="1254"/>
                    <a:pt x="113" y="1244"/>
                    <a:pt x="113" y="1244"/>
                  </a:cubicBezTo>
                  <a:cubicBezTo>
                    <a:pt x="113" y="1244"/>
                    <a:pt x="106" y="1237"/>
                    <a:pt x="107" y="1229"/>
                  </a:cubicBezTo>
                  <a:cubicBezTo>
                    <a:pt x="107" y="1223"/>
                    <a:pt x="109" y="1218"/>
                    <a:pt x="109" y="1218"/>
                  </a:cubicBezTo>
                  <a:cubicBezTo>
                    <a:pt x="109" y="1218"/>
                    <a:pt x="117" y="1213"/>
                    <a:pt x="113" y="1210"/>
                  </a:cubicBezTo>
                  <a:close/>
                  <a:moveTo>
                    <a:pt x="229" y="228"/>
                  </a:moveTo>
                  <a:cubicBezTo>
                    <a:pt x="222" y="228"/>
                    <a:pt x="222" y="228"/>
                    <a:pt x="222" y="228"/>
                  </a:cubicBezTo>
                  <a:cubicBezTo>
                    <a:pt x="219" y="232"/>
                    <a:pt x="219" y="232"/>
                    <a:pt x="219" y="232"/>
                  </a:cubicBezTo>
                  <a:cubicBezTo>
                    <a:pt x="229" y="230"/>
                    <a:pt x="229" y="230"/>
                    <a:pt x="229" y="230"/>
                  </a:cubicBezTo>
                  <a:lnTo>
                    <a:pt x="229" y="228"/>
                  </a:lnTo>
                  <a:close/>
                  <a:moveTo>
                    <a:pt x="246" y="829"/>
                  </a:moveTo>
                  <a:cubicBezTo>
                    <a:pt x="238" y="825"/>
                    <a:pt x="238" y="825"/>
                    <a:pt x="238" y="825"/>
                  </a:cubicBezTo>
                  <a:cubicBezTo>
                    <a:pt x="239" y="830"/>
                    <a:pt x="239" y="830"/>
                    <a:pt x="239" y="830"/>
                  </a:cubicBezTo>
                  <a:cubicBezTo>
                    <a:pt x="244" y="832"/>
                    <a:pt x="244" y="832"/>
                    <a:pt x="244" y="832"/>
                  </a:cubicBezTo>
                  <a:lnTo>
                    <a:pt x="246" y="829"/>
                  </a:lnTo>
                  <a:close/>
                  <a:moveTo>
                    <a:pt x="363" y="466"/>
                  </a:moveTo>
                  <a:cubicBezTo>
                    <a:pt x="365" y="470"/>
                    <a:pt x="365" y="470"/>
                    <a:pt x="365" y="470"/>
                  </a:cubicBezTo>
                  <a:cubicBezTo>
                    <a:pt x="372" y="462"/>
                    <a:pt x="372" y="462"/>
                    <a:pt x="372" y="462"/>
                  </a:cubicBezTo>
                  <a:lnTo>
                    <a:pt x="363" y="466"/>
                  </a:lnTo>
                  <a:close/>
                  <a:moveTo>
                    <a:pt x="352" y="472"/>
                  </a:moveTo>
                  <a:cubicBezTo>
                    <a:pt x="351" y="476"/>
                    <a:pt x="351" y="476"/>
                    <a:pt x="351" y="476"/>
                  </a:cubicBezTo>
                  <a:cubicBezTo>
                    <a:pt x="356" y="478"/>
                    <a:pt x="356" y="478"/>
                    <a:pt x="356" y="478"/>
                  </a:cubicBezTo>
                  <a:cubicBezTo>
                    <a:pt x="363" y="473"/>
                    <a:pt x="363" y="473"/>
                    <a:pt x="363" y="473"/>
                  </a:cubicBezTo>
                  <a:cubicBezTo>
                    <a:pt x="357" y="468"/>
                    <a:pt x="357" y="468"/>
                    <a:pt x="357" y="468"/>
                  </a:cubicBezTo>
                  <a:lnTo>
                    <a:pt x="352" y="472"/>
                  </a:lnTo>
                  <a:close/>
                  <a:moveTo>
                    <a:pt x="365" y="482"/>
                  </a:moveTo>
                  <a:cubicBezTo>
                    <a:pt x="369" y="478"/>
                    <a:pt x="367" y="475"/>
                    <a:pt x="360" y="480"/>
                  </a:cubicBezTo>
                  <a:cubicBezTo>
                    <a:pt x="360" y="480"/>
                    <a:pt x="362" y="485"/>
                    <a:pt x="365" y="482"/>
                  </a:cubicBezTo>
                  <a:close/>
                  <a:moveTo>
                    <a:pt x="1532" y="0"/>
                  </a:moveTo>
                  <a:cubicBezTo>
                    <a:pt x="716" y="0"/>
                    <a:pt x="716" y="0"/>
                    <a:pt x="716" y="0"/>
                  </a:cubicBezTo>
                  <a:cubicBezTo>
                    <a:pt x="712" y="19"/>
                    <a:pt x="712" y="19"/>
                    <a:pt x="712" y="19"/>
                  </a:cubicBezTo>
                  <a:cubicBezTo>
                    <a:pt x="712" y="19"/>
                    <a:pt x="721" y="31"/>
                    <a:pt x="720" y="35"/>
                  </a:cubicBezTo>
                  <a:cubicBezTo>
                    <a:pt x="719" y="39"/>
                    <a:pt x="708" y="33"/>
                    <a:pt x="708" y="33"/>
                  </a:cubicBezTo>
                  <a:cubicBezTo>
                    <a:pt x="699" y="34"/>
                    <a:pt x="699" y="34"/>
                    <a:pt x="699" y="34"/>
                  </a:cubicBezTo>
                  <a:cubicBezTo>
                    <a:pt x="699" y="34"/>
                    <a:pt x="698" y="39"/>
                    <a:pt x="698" y="42"/>
                  </a:cubicBezTo>
                  <a:cubicBezTo>
                    <a:pt x="698" y="46"/>
                    <a:pt x="694" y="46"/>
                    <a:pt x="690" y="46"/>
                  </a:cubicBezTo>
                  <a:cubicBezTo>
                    <a:pt x="684" y="47"/>
                    <a:pt x="681" y="55"/>
                    <a:pt x="681" y="55"/>
                  </a:cubicBezTo>
                  <a:cubicBezTo>
                    <a:pt x="681" y="55"/>
                    <a:pt x="678" y="50"/>
                    <a:pt x="679" y="46"/>
                  </a:cubicBezTo>
                  <a:cubicBezTo>
                    <a:pt x="681" y="41"/>
                    <a:pt x="693" y="39"/>
                    <a:pt x="693" y="39"/>
                  </a:cubicBezTo>
                  <a:cubicBezTo>
                    <a:pt x="693" y="39"/>
                    <a:pt x="691" y="30"/>
                    <a:pt x="686" y="29"/>
                  </a:cubicBezTo>
                  <a:cubicBezTo>
                    <a:pt x="683" y="28"/>
                    <a:pt x="677" y="24"/>
                    <a:pt x="677" y="24"/>
                  </a:cubicBezTo>
                  <a:cubicBezTo>
                    <a:pt x="677" y="16"/>
                    <a:pt x="677" y="16"/>
                    <a:pt x="677" y="16"/>
                  </a:cubicBezTo>
                  <a:cubicBezTo>
                    <a:pt x="675" y="15"/>
                    <a:pt x="675" y="15"/>
                    <a:pt x="675" y="15"/>
                  </a:cubicBezTo>
                  <a:cubicBezTo>
                    <a:pt x="675" y="15"/>
                    <a:pt x="676" y="9"/>
                    <a:pt x="672" y="9"/>
                  </a:cubicBezTo>
                  <a:cubicBezTo>
                    <a:pt x="669" y="9"/>
                    <a:pt x="667" y="14"/>
                    <a:pt x="667" y="14"/>
                  </a:cubicBezTo>
                  <a:cubicBezTo>
                    <a:pt x="667" y="14"/>
                    <a:pt x="665" y="10"/>
                    <a:pt x="663" y="10"/>
                  </a:cubicBezTo>
                  <a:cubicBezTo>
                    <a:pt x="661" y="10"/>
                    <a:pt x="654" y="18"/>
                    <a:pt x="652" y="27"/>
                  </a:cubicBezTo>
                  <a:cubicBezTo>
                    <a:pt x="650" y="34"/>
                    <a:pt x="651" y="41"/>
                    <a:pt x="651" y="41"/>
                  </a:cubicBezTo>
                  <a:cubicBezTo>
                    <a:pt x="651" y="41"/>
                    <a:pt x="655" y="43"/>
                    <a:pt x="660" y="47"/>
                  </a:cubicBezTo>
                  <a:cubicBezTo>
                    <a:pt x="664" y="50"/>
                    <a:pt x="664" y="57"/>
                    <a:pt x="660" y="62"/>
                  </a:cubicBezTo>
                  <a:cubicBezTo>
                    <a:pt x="657" y="67"/>
                    <a:pt x="651" y="53"/>
                    <a:pt x="651" y="53"/>
                  </a:cubicBezTo>
                  <a:cubicBezTo>
                    <a:pt x="647" y="53"/>
                    <a:pt x="647" y="53"/>
                    <a:pt x="647" y="53"/>
                  </a:cubicBezTo>
                  <a:cubicBezTo>
                    <a:pt x="649" y="45"/>
                    <a:pt x="649" y="45"/>
                    <a:pt x="649" y="45"/>
                  </a:cubicBezTo>
                  <a:cubicBezTo>
                    <a:pt x="649" y="45"/>
                    <a:pt x="644" y="51"/>
                    <a:pt x="643" y="55"/>
                  </a:cubicBezTo>
                  <a:cubicBezTo>
                    <a:pt x="642" y="58"/>
                    <a:pt x="637" y="62"/>
                    <a:pt x="632" y="63"/>
                  </a:cubicBezTo>
                  <a:cubicBezTo>
                    <a:pt x="627" y="63"/>
                    <a:pt x="625" y="71"/>
                    <a:pt x="625" y="71"/>
                  </a:cubicBezTo>
                  <a:cubicBezTo>
                    <a:pt x="626" y="78"/>
                    <a:pt x="626" y="78"/>
                    <a:pt x="626" y="78"/>
                  </a:cubicBezTo>
                  <a:cubicBezTo>
                    <a:pt x="626" y="78"/>
                    <a:pt x="627" y="72"/>
                    <a:pt x="630" y="70"/>
                  </a:cubicBezTo>
                  <a:cubicBezTo>
                    <a:pt x="633" y="67"/>
                    <a:pt x="635" y="65"/>
                    <a:pt x="637" y="66"/>
                  </a:cubicBezTo>
                  <a:cubicBezTo>
                    <a:pt x="641" y="66"/>
                    <a:pt x="637" y="71"/>
                    <a:pt x="634" y="74"/>
                  </a:cubicBezTo>
                  <a:cubicBezTo>
                    <a:pt x="630" y="77"/>
                    <a:pt x="623" y="81"/>
                    <a:pt x="620" y="89"/>
                  </a:cubicBezTo>
                  <a:cubicBezTo>
                    <a:pt x="618" y="96"/>
                    <a:pt x="619" y="112"/>
                    <a:pt x="619" y="112"/>
                  </a:cubicBezTo>
                  <a:cubicBezTo>
                    <a:pt x="615" y="113"/>
                    <a:pt x="615" y="113"/>
                    <a:pt x="615" y="113"/>
                  </a:cubicBezTo>
                  <a:cubicBezTo>
                    <a:pt x="602" y="133"/>
                    <a:pt x="602" y="133"/>
                    <a:pt x="602" y="133"/>
                  </a:cubicBezTo>
                  <a:cubicBezTo>
                    <a:pt x="593" y="135"/>
                    <a:pt x="593" y="135"/>
                    <a:pt x="593" y="135"/>
                  </a:cubicBezTo>
                  <a:cubicBezTo>
                    <a:pt x="602" y="143"/>
                    <a:pt x="602" y="143"/>
                    <a:pt x="602" y="143"/>
                  </a:cubicBezTo>
                  <a:cubicBezTo>
                    <a:pt x="609" y="142"/>
                    <a:pt x="609" y="142"/>
                    <a:pt x="609" y="142"/>
                  </a:cubicBezTo>
                  <a:cubicBezTo>
                    <a:pt x="612" y="146"/>
                    <a:pt x="612" y="146"/>
                    <a:pt x="612" y="146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47"/>
                    <a:pt x="587" y="155"/>
                    <a:pt x="586" y="161"/>
                  </a:cubicBezTo>
                  <a:cubicBezTo>
                    <a:pt x="584" y="168"/>
                    <a:pt x="596" y="184"/>
                    <a:pt x="596" y="184"/>
                  </a:cubicBezTo>
                  <a:cubicBezTo>
                    <a:pt x="594" y="187"/>
                    <a:pt x="594" y="187"/>
                    <a:pt x="594" y="187"/>
                  </a:cubicBezTo>
                  <a:cubicBezTo>
                    <a:pt x="594" y="187"/>
                    <a:pt x="604" y="198"/>
                    <a:pt x="603" y="203"/>
                  </a:cubicBezTo>
                  <a:cubicBezTo>
                    <a:pt x="602" y="209"/>
                    <a:pt x="596" y="208"/>
                    <a:pt x="596" y="208"/>
                  </a:cubicBezTo>
                  <a:cubicBezTo>
                    <a:pt x="596" y="208"/>
                    <a:pt x="593" y="215"/>
                    <a:pt x="590" y="218"/>
                  </a:cubicBezTo>
                  <a:cubicBezTo>
                    <a:pt x="588" y="221"/>
                    <a:pt x="576" y="224"/>
                    <a:pt x="576" y="224"/>
                  </a:cubicBezTo>
                  <a:cubicBezTo>
                    <a:pt x="576" y="224"/>
                    <a:pt x="571" y="232"/>
                    <a:pt x="566" y="232"/>
                  </a:cubicBezTo>
                  <a:cubicBezTo>
                    <a:pt x="561" y="233"/>
                    <a:pt x="547" y="216"/>
                    <a:pt x="547" y="216"/>
                  </a:cubicBezTo>
                  <a:cubicBezTo>
                    <a:pt x="526" y="214"/>
                    <a:pt x="526" y="214"/>
                    <a:pt x="526" y="214"/>
                  </a:cubicBezTo>
                  <a:cubicBezTo>
                    <a:pt x="528" y="192"/>
                    <a:pt x="528" y="192"/>
                    <a:pt x="528" y="192"/>
                  </a:cubicBezTo>
                  <a:cubicBezTo>
                    <a:pt x="521" y="186"/>
                    <a:pt x="521" y="186"/>
                    <a:pt x="521" y="186"/>
                  </a:cubicBezTo>
                  <a:cubicBezTo>
                    <a:pt x="535" y="174"/>
                    <a:pt x="535" y="174"/>
                    <a:pt x="535" y="174"/>
                  </a:cubicBezTo>
                  <a:cubicBezTo>
                    <a:pt x="551" y="162"/>
                    <a:pt x="551" y="162"/>
                    <a:pt x="551" y="162"/>
                  </a:cubicBezTo>
                  <a:cubicBezTo>
                    <a:pt x="551" y="162"/>
                    <a:pt x="543" y="150"/>
                    <a:pt x="538" y="146"/>
                  </a:cubicBezTo>
                  <a:cubicBezTo>
                    <a:pt x="534" y="144"/>
                    <a:pt x="517" y="140"/>
                    <a:pt x="517" y="140"/>
                  </a:cubicBezTo>
                  <a:cubicBezTo>
                    <a:pt x="511" y="133"/>
                    <a:pt x="511" y="133"/>
                    <a:pt x="511" y="133"/>
                  </a:cubicBezTo>
                  <a:cubicBezTo>
                    <a:pt x="511" y="133"/>
                    <a:pt x="499" y="136"/>
                    <a:pt x="490" y="138"/>
                  </a:cubicBezTo>
                  <a:cubicBezTo>
                    <a:pt x="481" y="141"/>
                    <a:pt x="473" y="150"/>
                    <a:pt x="473" y="150"/>
                  </a:cubicBezTo>
                  <a:cubicBezTo>
                    <a:pt x="448" y="151"/>
                    <a:pt x="448" y="151"/>
                    <a:pt x="448" y="151"/>
                  </a:cubicBezTo>
                  <a:cubicBezTo>
                    <a:pt x="448" y="151"/>
                    <a:pt x="452" y="154"/>
                    <a:pt x="457" y="156"/>
                  </a:cubicBezTo>
                  <a:cubicBezTo>
                    <a:pt x="463" y="157"/>
                    <a:pt x="471" y="158"/>
                    <a:pt x="471" y="158"/>
                  </a:cubicBezTo>
                  <a:cubicBezTo>
                    <a:pt x="482" y="168"/>
                    <a:pt x="482" y="168"/>
                    <a:pt x="482" y="168"/>
                  </a:cubicBezTo>
                  <a:cubicBezTo>
                    <a:pt x="482" y="172"/>
                    <a:pt x="482" y="172"/>
                    <a:pt x="482" y="172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91" y="188"/>
                    <a:pt x="491" y="188"/>
                    <a:pt x="491" y="188"/>
                  </a:cubicBezTo>
                  <a:cubicBezTo>
                    <a:pt x="490" y="192"/>
                    <a:pt x="490" y="192"/>
                    <a:pt x="490" y="192"/>
                  </a:cubicBezTo>
                  <a:cubicBezTo>
                    <a:pt x="497" y="204"/>
                    <a:pt x="497" y="204"/>
                    <a:pt x="497" y="204"/>
                  </a:cubicBezTo>
                  <a:cubicBezTo>
                    <a:pt x="497" y="204"/>
                    <a:pt x="498" y="235"/>
                    <a:pt x="503" y="240"/>
                  </a:cubicBezTo>
                  <a:cubicBezTo>
                    <a:pt x="508" y="246"/>
                    <a:pt x="522" y="240"/>
                    <a:pt x="522" y="240"/>
                  </a:cubicBezTo>
                  <a:cubicBezTo>
                    <a:pt x="531" y="249"/>
                    <a:pt x="531" y="249"/>
                    <a:pt x="531" y="249"/>
                  </a:cubicBezTo>
                  <a:cubicBezTo>
                    <a:pt x="529" y="252"/>
                    <a:pt x="529" y="252"/>
                    <a:pt x="529" y="252"/>
                  </a:cubicBezTo>
                  <a:cubicBezTo>
                    <a:pt x="537" y="262"/>
                    <a:pt x="537" y="262"/>
                    <a:pt x="537" y="262"/>
                  </a:cubicBezTo>
                  <a:cubicBezTo>
                    <a:pt x="538" y="292"/>
                    <a:pt x="538" y="292"/>
                    <a:pt x="538" y="292"/>
                  </a:cubicBezTo>
                  <a:cubicBezTo>
                    <a:pt x="538" y="292"/>
                    <a:pt x="549" y="305"/>
                    <a:pt x="547" y="308"/>
                  </a:cubicBezTo>
                  <a:cubicBezTo>
                    <a:pt x="546" y="311"/>
                    <a:pt x="533" y="297"/>
                    <a:pt x="531" y="298"/>
                  </a:cubicBezTo>
                  <a:cubicBezTo>
                    <a:pt x="528" y="298"/>
                    <a:pt x="523" y="311"/>
                    <a:pt x="523" y="311"/>
                  </a:cubicBezTo>
                  <a:cubicBezTo>
                    <a:pt x="526" y="299"/>
                    <a:pt x="526" y="299"/>
                    <a:pt x="526" y="299"/>
                  </a:cubicBezTo>
                  <a:cubicBezTo>
                    <a:pt x="526" y="299"/>
                    <a:pt x="522" y="296"/>
                    <a:pt x="514" y="296"/>
                  </a:cubicBezTo>
                  <a:cubicBezTo>
                    <a:pt x="504" y="295"/>
                    <a:pt x="499" y="303"/>
                    <a:pt x="499" y="303"/>
                  </a:cubicBezTo>
                  <a:cubicBezTo>
                    <a:pt x="499" y="303"/>
                    <a:pt x="494" y="299"/>
                    <a:pt x="488" y="298"/>
                  </a:cubicBezTo>
                  <a:cubicBezTo>
                    <a:pt x="483" y="298"/>
                    <a:pt x="478" y="308"/>
                    <a:pt x="478" y="308"/>
                  </a:cubicBezTo>
                  <a:cubicBezTo>
                    <a:pt x="478" y="308"/>
                    <a:pt x="480" y="325"/>
                    <a:pt x="474" y="334"/>
                  </a:cubicBezTo>
                  <a:cubicBezTo>
                    <a:pt x="468" y="343"/>
                    <a:pt x="459" y="343"/>
                    <a:pt x="459" y="343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59" y="356"/>
                    <a:pt x="457" y="363"/>
                  </a:cubicBezTo>
                  <a:cubicBezTo>
                    <a:pt x="455" y="371"/>
                    <a:pt x="446" y="381"/>
                    <a:pt x="447" y="383"/>
                  </a:cubicBezTo>
                  <a:cubicBezTo>
                    <a:pt x="447" y="387"/>
                    <a:pt x="451" y="383"/>
                    <a:pt x="451" y="383"/>
                  </a:cubicBezTo>
                  <a:cubicBezTo>
                    <a:pt x="451" y="383"/>
                    <a:pt x="452" y="386"/>
                    <a:pt x="452" y="394"/>
                  </a:cubicBezTo>
                  <a:cubicBezTo>
                    <a:pt x="452" y="403"/>
                    <a:pt x="475" y="409"/>
                    <a:pt x="484" y="418"/>
                  </a:cubicBezTo>
                  <a:cubicBezTo>
                    <a:pt x="493" y="426"/>
                    <a:pt x="488" y="426"/>
                    <a:pt x="479" y="427"/>
                  </a:cubicBezTo>
                  <a:cubicBezTo>
                    <a:pt x="470" y="428"/>
                    <a:pt x="472" y="442"/>
                    <a:pt x="472" y="442"/>
                  </a:cubicBezTo>
                  <a:cubicBezTo>
                    <a:pt x="472" y="442"/>
                    <a:pt x="475" y="454"/>
                    <a:pt x="475" y="458"/>
                  </a:cubicBezTo>
                  <a:cubicBezTo>
                    <a:pt x="475" y="462"/>
                    <a:pt x="459" y="462"/>
                    <a:pt x="459" y="462"/>
                  </a:cubicBezTo>
                  <a:cubicBezTo>
                    <a:pt x="451" y="462"/>
                    <a:pt x="451" y="462"/>
                    <a:pt x="451" y="462"/>
                  </a:cubicBezTo>
                  <a:cubicBezTo>
                    <a:pt x="445" y="462"/>
                    <a:pt x="446" y="464"/>
                    <a:pt x="446" y="464"/>
                  </a:cubicBezTo>
                  <a:cubicBezTo>
                    <a:pt x="446" y="464"/>
                    <a:pt x="440" y="462"/>
                    <a:pt x="440" y="464"/>
                  </a:cubicBezTo>
                  <a:cubicBezTo>
                    <a:pt x="439" y="465"/>
                    <a:pt x="442" y="467"/>
                    <a:pt x="442" y="467"/>
                  </a:cubicBezTo>
                  <a:cubicBezTo>
                    <a:pt x="442" y="467"/>
                    <a:pt x="439" y="469"/>
                    <a:pt x="437" y="470"/>
                  </a:cubicBezTo>
                  <a:cubicBezTo>
                    <a:pt x="435" y="471"/>
                    <a:pt x="436" y="475"/>
                    <a:pt x="436" y="475"/>
                  </a:cubicBezTo>
                  <a:cubicBezTo>
                    <a:pt x="436" y="475"/>
                    <a:pt x="437" y="481"/>
                    <a:pt x="435" y="480"/>
                  </a:cubicBezTo>
                  <a:cubicBezTo>
                    <a:pt x="433" y="480"/>
                    <a:pt x="434" y="475"/>
                    <a:pt x="434" y="475"/>
                  </a:cubicBezTo>
                  <a:cubicBezTo>
                    <a:pt x="434" y="475"/>
                    <a:pt x="431" y="472"/>
                    <a:pt x="429" y="471"/>
                  </a:cubicBezTo>
                  <a:cubicBezTo>
                    <a:pt x="428" y="469"/>
                    <a:pt x="432" y="468"/>
                    <a:pt x="432" y="468"/>
                  </a:cubicBezTo>
                  <a:cubicBezTo>
                    <a:pt x="429" y="468"/>
                    <a:pt x="429" y="468"/>
                    <a:pt x="429" y="468"/>
                  </a:cubicBezTo>
                  <a:cubicBezTo>
                    <a:pt x="429" y="467"/>
                    <a:pt x="429" y="467"/>
                    <a:pt x="429" y="467"/>
                  </a:cubicBezTo>
                  <a:cubicBezTo>
                    <a:pt x="429" y="467"/>
                    <a:pt x="430" y="466"/>
                    <a:pt x="432" y="466"/>
                  </a:cubicBezTo>
                  <a:cubicBezTo>
                    <a:pt x="433" y="466"/>
                    <a:pt x="434" y="468"/>
                    <a:pt x="434" y="468"/>
                  </a:cubicBezTo>
                  <a:cubicBezTo>
                    <a:pt x="436" y="467"/>
                    <a:pt x="436" y="467"/>
                    <a:pt x="436" y="467"/>
                  </a:cubicBezTo>
                  <a:cubicBezTo>
                    <a:pt x="435" y="465"/>
                    <a:pt x="435" y="465"/>
                    <a:pt x="435" y="465"/>
                  </a:cubicBezTo>
                  <a:cubicBezTo>
                    <a:pt x="438" y="465"/>
                    <a:pt x="438" y="465"/>
                    <a:pt x="438" y="465"/>
                  </a:cubicBezTo>
                  <a:cubicBezTo>
                    <a:pt x="437" y="461"/>
                    <a:pt x="437" y="461"/>
                    <a:pt x="437" y="461"/>
                  </a:cubicBezTo>
                  <a:cubicBezTo>
                    <a:pt x="437" y="461"/>
                    <a:pt x="425" y="464"/>
                    <a:pt x="422" y="464"/>
                  </a:cubicBezTo>
                  <a:cubicBezTo>
                    <a:pt x="418" y="462"/>
                    <a:pt x="416" y="458"/>
                    <a:pt x="416" y="458"/>
                  </a:cubicBezTo>
                  <a:cubicBezTo>
                    <a:pt x="416" y="458"/>
                    <a:pt x="393" y="456"/>
                    <a:pt x="390" y="458"/>
                  </a:cubicBezTo>
                  <a:cubicBezTo>
                    <a:pt x="387" y="460"/>
                    <a:pt x="393" y="465"/>
                    <a:pt x="393" y="469"/>
                  </a:cubicBezTo>
                  <a:cubicBezTo>
                    <a:pt x="395" y="472"/>
                    <a:pt x="389" y="474"/>
                    <a:pt x="389" y="474"/>
                  </a:cubicBezTo>
                  <a:cubicBezTo>
                    <a:pt x="389" y="476"/>
                    <a:pt x="389" y="476"/>
                    <a:pt x="389" y="476"/>
                  </a:cubicBezTo>
                  <a:cubicBezTo>
                    <a:pt x="389" y="476"/>
                    <a:pt x="386" y="475"/>
                    <a:pt x="385" y="477"/>
                  </a:cubicBezTo>
                  <a:cubicBezTo>
                    <a:pt x="384" y="480"/>
                    <a:pt x="389" y="483"/>
                    <a:pt x="389" y="483"/>
                  </a:cubicBezTo>
                  <a:cubicBezTo>
                    <a:pt x="392" y="487"/>
                    <a:pt x="392" y="487"/>
                    <a:pt x="392" y="487"/>
                  </a:cubicBezTo>
                  <a:cubicBezTo>
                    <a:pt x="392" y="487"/>
                    <a:pt x="395" y="486"/>
                    <a:pt x="397" y="487"/>
                  </a:cubicBezTo>
                  <a:cubicBezTo>
                    <a:pt x="399" y="487"/>
                    <a:pt x="403" y="491"/>
                    <a:pt x="408" y="494"/>
                  </a:cubicBezTo>
                  <a:cubicBezTo>
                    <a:pt x="413" y="499"/>
                    <a:pt x="423" y="504"/>
                    <a:pt x="423" y="504"/>
                  </a:cubicBezTo>
                  <a:cubicBezTo>
                    <a:pt x="425" y="498"/>
                    <a:pt x="425" y="498"/>
                    <a:pt x="425" y="498"/>
                  </a:cubicBezTo>
                  <a:cubicBezTo>
                    <a:pt x="430" y="498"/>
                    <a:pt x="430" y="498"/>
                    <a:pt x="430" y="498"/>
                  </a:cubicBezTo>
                  <a:cubicBezTo>
                    <a:pt x="430" y="498"/>
                    <a:pt x="428" y="496"/>
                    <a:pt x="429" y="494"/>
                  </a:cubicBezTo>
                  <a:cubicBezTo>
                    <a:pt x="429" y="492"/>
                    <a:pt x="433" y="491"/>
                    <a:pt x="433" y="491"/>
                  </a:cubicBezTo>
                  <a:cubicBezTo>
                    <a:pt x="433" y="496"/>
                    <a:pt x="433" y="496"/>
                    <a:pt x="433" y="496"/>
                  </a:cubicBezTo>
                  <a:cubicBezTo>
                    <a:pt x="439" y="496"/>
                    <a:pt x="439" y="496"/>
                    <a:pt x="439" y="496"/>
                  </a:cubicBezTo>
                  <a:cubicBezTo>
                    <a:pt x="442" y="496"/>
                    <a:pt x="441" y="499"/>
                    <a:pt x="441" y="499"/>
                  </a:cubicBezTo>
                  <a:cubicBezTo>
                    <a:pt x="441" y="505"/>
                    <a:pt x="441" y="505"/>
                    <a:pt x="441" y="505"/>
                  </a:cubicBezTo>
                  <a:cubicBezTo>
                    <a:pt x="441" y="505"/>
                    <a:pt x="449" y="508"/>
                    <a:pt x="451" y="516"/>
                  </a:cubicBezTo>
                  <a:cubicBezTo>
                    <a:pt x="454" y="523"/>
                    <a:pt x="444" y="525"/>
                    <a:pt x="444" y="525"/>
                  </a:cubicBezTo>
                  <a:cubicBezTo>
                    <a:pt x="444" y="525"/>
                    <a:pt x="444" y="531"/>
                    <a:pt x="439" y="534"/>
                  </a:cubicBezTo>
                  <a:cubicBezTo>
                    <a:pt x="435" y="537"/>
                    <a:pt x="433" y="532"/>
                    <a:pt x="429" y="531"/>
                  </a:cubicBezTo>
                  <a:cubicBezTo>
                    <a:pt x="425" y="531"/>
                    <a:pt x="422" y="534"/>
                    <a:pt x="420" y="534"/>
                  </a:cubicBezTo>
                  <a:cubicBezTo>
                    <a:pt x="419" y="534"/>
                    <a:pt x="416" y="534"/>
                    <a:pt x="413" y="533"/>
                  </a:cubicBezTo>
                  <a:cubicBezTo>
                    <a:pt x="409" y="533"/>
                    <a:pt x="412" y="535"/>
                    <a:pt x="404" y="534"/>
                  </a:cubicBezTo>
                  <a:cubicBezTo>
                    <a:pt x="396" y="534"/>
                    <a:pt x="396" y="529"/>
                    <a:pt x="396" y="529"/>
                  </a:cubicBezTo>
                  <a:cubicBezTo>
                    <a:pt x="397" y="524"/>
                    <a:pt x="397" y="524"/>
                    <a:pt x="397" y="524"/>
                  </a:cubicBezTo>
                  <a:cubicBezTo>
                    <a:pt x="388" y="523"/>
                    <a:pt x="388" y="523"/>
                    <a:pt x="388" y="523"/>
                  </a:cubicBezTo>
                  <a:cubicBezTo>
                    <a:pt x="388" y="523"/>
                    <a:pt x="386" y="525"/>
                    <a:pt x="384" y="523"/>
                  </a:cubicBezTo>
                  <a:cubicBezTo>
                    <a:pt x="382" y="522"/>
                    <a:pt x="382" y="520"/>
                    <a:pt x="379" y="518"/>
                  </a:cubicBezTo>
                  <a:cubicBezTo>
                    <a:pt x="374" y="515"/>
                    <a:pt x="370" y="518"/>
                    <a:pt x="370" y="518"/>
                  </a:cubicBezTo>
                  <a:cubicBezTo>
                    <a:pt x="370" y="518"/>
                    <a:pt x="371" y="521"/>
                    <a:pt x="370" y="523"/>
                  </a:cubicBezTo>
                  <a:cubicBezTo>
                    <a:pt x="368" y="525"/>
                    <a:pt x="365" y="525"/>
                    <a:pt x="365" y="525"/>
                  </a:cubicBezTo>
                  <a:cubicBezTo>
                    <a:pt x="364" y="523"/>
                    <a:pt x="364" y="523"/>
                    <a:pt x="364" y="523"/>
                  </a:cubicBezTo>
                  <a:cubicBezTo>
                    <a:pt x="360" y="523"/>
                    <a:pt x="360" y="523"/>
                    <a:pt x="360" y="523"/>
                  </a:cubicBezTo>
                  <a:cubicBezTo>
                    <a:pt x="360" y="525"/>
                    <a:pt x="360" y="525"/>
                    <a:pt x="360" y="525"/>
                  </a:cubicBezTo>
                  <a:cubicBezTo>
                    <a:pt x="355" y="519"/>
                    <a:pt x="355" y="519"/>
                    <a:pt x="355" y="519"/>
                  </a:cubicBezTo>
                  <a:cubicBezTo>
                    <a:pt x="354" y="522"/>
                    <a:pt x="354" y="522"/>
                    <a:pt x="354" y="522"/>
                  </a:cubicBezTo>
                  <a:cubicBezTo>
                    <a:pt x="344" y="516"/>
                    <a:pt x="344" y="516"/>
                    <a:pt x="344" y="516"/>
                  </a:cubicBezTo>
                  <a:cubicBezTo>
                    <a:pt x="344" y="516"/>
                    <a:pt x="347" y="512"/>
                    <a:pt x="346" y="509"/>
                  </a:cubicBezTo>
                  <a:cubicBezTo>
                    <a:pt x="344" y="506"/>
                    <a:pt x="340" y="502"/>
                    <a:pt x="340" y="502"/>
                  </a:cubicBezTo>
                  <a:cubicBezTo>
                    <a:pt x="342" y="498"/>
                    <a:pt x="342" y="498"/>
                    <a:pt x="342" y="498"/>
                  </a:cubicBezTo>
                  <a:cubicBezTo>
                    <a:pt x="339" y="492"/>
                    <a:pt x="339" y="492"/>
                    <a:pt x="339" y="492"/>
                  </a:cubicBezTo>
                  <a:cubicBezTo>
                    <a:pt x="333" y="490"/>
                    <a:pt x="333" y="490"/>
                    <a:pt x="333" y="490"/>
                  </a:cubicBezTo>
                  <a:cubicBezTo>
                    <a:pt x="333" y="490"/>
                    <a:pt x="336" y="487"/>
                    <a:pt x="334" y="483"/>
                  </a:cubicBezTo>
                  <a:cubicBezTo>
                    <a:pt x="331" y="478"/>
                    <a:pt x="314" y="469"/>
                    <a:pt x="314" y="469"/>
                  </a:cubicBezTo>
                  <a:cubicBezTo>
                    <a:pt x="314" y="469"/>
                    <a:pt x="321" y="460"/>
                    <a:pt x="321" y="456"/>
                  </a:cubicBezTo>
                  <a:cubicBezTo>
                    <a:pt x="322" y="451"/>
                    <a:pt x="313" y="439"/>
                    <a:pt x="313" y="439"/>
                  </a:cubicBezTo>
                  <a:cubicBezTo>
                    <a:pt x="313" y="439"/>
                    <a:pt x="315" y="438"/>
                    <a:pt x="315" y="437"/>
                  </a:cubicBezTo>
                  <a:cubicBezTo>
                    <a:pt x="316" y="436"/>
                    <a:pt x="317" y="433"/>
                    <a:pt x="317" y="433"/>
                  </a:cubicBezTo>
                  <a:cubicBezTo>
                    <a:pt x="317" y="433"/>
                    <a:pt x="314" y="434"/>
                    <a:pt x="313" y="434"/>
                  </a:cubicBezTo>
                  <a:cubicBezTo>
                    <a:pt x="310" y="433"/>
                    <a:pt x="311" y="427"/>
                    <a:pt x="311" y="427"/>
                  </a:cubicBezTo>
                  <a:cubicBezTo>
                    <a:pt x="311" y="427"/>
                    <a:pt x="293" y="420"/>
                    <a:pt x="290" y="419"/>
                  </a:cubicBezTo>
                  <a:cubicBezTo>
                    <a:pt x="286" y="418"/>
                    <a:pt x="285" y="421"/>
                    <a:pt x="285" y="421"/>
                  </a:cubicBezTo>
                  <a:cubicBezTo>
                    <a:pt x="285" y="421"/>
                    <a:pt x="274" y="419"/>
                    <a:pt x="271" y="419"/>
                  </a:cubicBezTo>
                  <a:cubicBezTo>
                    <a:pt x="268" y="419"/>
                    <a:pt x="264" y="423"/>
                    <a:pt x="264" y="423"/>
                  </a:cubicBezTo>
                  <a:cubicBezTo>
                    <a:pt x="264" y="420"/>
                    <a:pt x="264" y="420"/>
                    <a:pt x="264" y="420"/>
                  </a:cubicBezTo>
                  <a:cubicBezTo>
                    <a:pt x="275" y="414"/>
                    <a:pt x="275" y="414"/>
                    <a:pt x="275" y="414"/>
                  </a:cubicBezTo>
                  <a:cubicBezTo>
                    <a:pt x="270" y="413"/>
                    <a:pt x="270" y="413"/>
                    <a:pt x="270" y="413"/>
                  </a:cubicBezTo>
                  <a:cubicBezTo>
                    <a:pt x="274" y="411"/>
                    <a:pt x="274" y="411"/>
                    <a:pt x="274" y="411"/>
                  </a:cubicBezTo>
                  <a:cubicBezTo>
                    <a:pt x="274" y="409"/>
                    <a:pt x="274" y="409"/>
                    <a:pt x="274" y="409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72" y="406"/>
                    <a:pt x="272" y="406"/>
                    <a:pt x="272" y="406"/>
                  </a:cubicBezTo>
                  <a:cubicBezTo>
                    <a:pt x="270" y="406"/>
                    <a:pt x="270" y="406"/>
                    <a:pt x="270" y="406"/>
                  </a:cubicBezTo>
                  <a:cubicBezTo>
                    <a:pt x="269" y="410"/>
                    <a:pt x="269" y="410"/>
                    <a:pt x="269" y="410"/>
                  </a:cubicBezTo>
                  <a:cubicBezTo>
                    <a:pt x="262" y="411"/>
                    <a:pt x="262" y="411"/>
                    <a:pt x="262" y="411"/>
                  </a:cubicBezTo>
                  <a:cubicBezTo>
                    <a:pt x="259" y="407"/>
                    <a:pt x="259" y="407"/>
                    <a:pt x="259" y="407"/>
                  </a:cubicBezTo>
                  <a:cubicBezTo>
                    <a:pt x="258" y="410"/>
                    <a:pt x="258" y="410"/>
                    <a:pt x="258" y="410"/>
                  </a:cubicBezTo>
                  <a:cubicBezTo>
                    <a:pt x="254" y="409"/>
                    <a:pt x="254" y="409"/>
                    <a:pt x="254" y="409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56" y="406"/>
                    <a:pt x="249" y="406"/>
                    <a:pt x="249" y="405"/>
                  </a:cubicBezTo>
                  <a:cubicBezTo>
                    <a:pt x="249" y="404"/>
                    <a:pt x="254" y="405"/>
                    <a:pt x="254" y="40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1" y="402"/>
                    <a:pt x="261" y="402"/>
                    <a:pt x="261" y="402"/>
                  </a:cubicBezTo>
                  <a:cubicBezTo>
                    <a:pt x="261" y="399"/>
                    <a:pt x="261" y="399"/>
                    <a:pt x="261" y="399"/>
                  </a:cubicBezTo>
                  <a:cubicBezTo>
                    <a:pt x="251" y="399"/>
                    <a:pt x="251" y="399"/>
                    <a:pt x="251" y="399"/>
                  </a:cubicBezTo>
                  <a:cubicBezTo>
                    <a:pt x="248" y="401"/>
                    <a:pt x="244" y="398"/>
                    <a:pt x="244" y="398"/>
                  </a:cubicBezTo>
                  <a:cubicBezTo>
                    <a:pt x="244" y="397"/>
                    <a:pt x="244" y="397"/>
                    <a:pt x="244" y="397"/>
                  </a:cubicBezTo>
                  <a:cubicBezTo>
                    <a:pt x="244" y="396"/>
                    <a:pt x="244" y="396"/>
                    <a:pt x="244" y="396"/>
                  </a:cubicBezTo>
                  <a:cubicBezTo>
                    <a:pt x="246" y="398"/>
                    <a:pt x="246" y="398"/>
                    <a:pt x="246" y="398"/>
                  </a:cubicBezTo>
                  <a:cubicBezTo>
                    <a:pt x="250" y="396"/>
                    <a:pt x="250" y="396"/>
                    <a:pt x="250" y="396"/>
                  </a:cubicBezTo>
                  <a:cubicBezTo>
                    <a:pt x="241" y="394"/>
                    <a:pt x="241" y="394"/>
                    <a:pt x="241" y="394"/>
                  </a:cubicBezTo>
                  <a:cubicBezTo>
                    <a:pt x="234" y="393"/>
                    <a:pt x="234" y="393"/>
                    <a:pt x="234" y="393"/>
                  </a:cubicBezTo>
                  <a:cubicBezTo>
                    <a:pt x="234" y="393"/>
                    <a:pt x="236" y="386"/>
                    <a:pt x="235" y="383"/>
                  </a:cubicBezTo>
                  <a:cubicBezTo>
                    <a:pt x="235" y="382"/>
                    <a:pt x="226" y="382"/>
                    <a:pt x="226" y="382"/>
                  </a:cubicBezTo>
                  <a:cubicBezTo>
                    <a:pt x="226" y="380"/>
                    <a:pt x="226" y="380"/>
                    <a:pt x="226" y="380"/>
                  </a:cubicBezTo>
                  <a:cubicBezTo>
                    <a:pt x="223" y="379"/>
                    <a:pt x="223" y="379"/>
                    <a:pt x="223" y="379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15" y="380"/>
                    <a:pt x="215" y="380"/>
                    <a:pt x="215" y="380"/>
                  </a:cubicBezTo>
                  <a:cubicBezTo>
                    <a:pt x="221" y="378"/>
                    <a:pt x="221" y="378"/>
                    <a:pt x="221" y="378"/>
                  </a:cubicBezTo>
                  <a:cubicBezTo>
                    <a:pt x="221" y="378"/>
                    <a:pt x="221" y="376"/>
                    <a:pt x="227" y="376"/>
                  </a:cubicBezTo>
                  <a:cubicBezTo>
                    <a:pt x="233" y="375"/>
                    <a:pt x="240" y="377"/>
                    <a:pt x="240" y="377"/>
                  </a:cubicBezTo>
                  <a:cubicBezTo>
                    <a:pt x="239" y="381"/>
                    <a:pt x="239" y="381"/>
                    <a:pt x="239" y="381"/>
                  </a:cubicBezTo>
                  <a:cubicBezTo>
                    <a:pt x="239" y="381"/>
                    <a:pt x="244" y="384"/>
                    <a:pt x="251" y="388"/>
                  </a:cubicBezTo>
                  <a:cubicBezTo>
                    <a:pt x="256" y="391"/>
                    <a:pt x="265" y="393"/>
                    <a:pt x="265" y="393"/>
                  </a:cubicBezTo>
                  <a:cubicBezTo>
                    <a:pt x="262" y="387"/>
                    <a:pt x="262" y="387"/>
                    <a:pt x="262" y="387"/>
                  </a:cubicBezTo>
                  <a:cubicBezTo>
                    <a:pt x="264" y="386"/>
                    <a:pt x="264" y="386"/>
                    <a:pt x="264" y="386"/>
                  </a:cubicBezTo>
                  <a:cubicBezTo>
                    <a:pt x="264" y="386"/>
                    <a:pt x="270" y="391"/>
                    <a:pt x="273" y="392"/>
                  </a:cubicBezTo>
                  <a:cubicBezTo>
                    <a:pt x="276" y="393"/>
                    <a:pt x="279" y="390"/>
                    <a:pt x="279" y="390"/>
                  </a:cubicBezTo>
                  <a:cubicBezTo>
                    <a:pt x="281" y="384"/>
                    <a:pt x="281" y="384"/>
                    <a:pt x="281" y="384"/>
                  </a:cubicBezTo>
                  <a:cubicBezTo>
                    <a:pt x="281" y="390"/>
                    <a:pt x="281" y="390"/>
                    <a:pt x="281" y="390"/>
                  </a:cubicBezTo>
                  <a:cubicBezTo>
                    <a:pt x="288" y="390"/>
                    <a:pt x="288" y="390"/>
                    <a:pt x="288" y="390"/>
                  </a:cubicBezTo>
                  <a:cubicBezTo>
                    <a:pt x="288" y="390"/>
                    <a:pt x="288" y="391"/>
                    <a:pt x="289" y="393"/>
                  </a:cubicBezTo>
                  <a:cubicBezTo>
                    <a:pt x="291" y="395"/>
                    <a:pt x="292" y="395"/>
                    <a:pt x="292" y="395"/>
                  </a:cubicBezTo>
                  <a:cubicBezTo>
                    <a:pt x="297" y="390"/>
                    <a:pt x="297" y="390"/>
                    <a:pt x="297" y="39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304" y="391"/>
                    <a:pt x="311" y="394"/>
                    <a:pt x="311" y="394"/>
                  </a:cubicBezTo>
                  <a:cubicBezTo>
                    <a:pt x="314" y="393"/>
                    <a:pt x="314" y="393"/>
                    <a:pt x="314" y="393"/>
                  </a:cubicBezTo>
                  <a:cubicBezTo>
                    <a:pt x="316" y="395"/>
                    <a:pt x="316" y="395"/>
                    <a:pt x="316" y="395"/>
                  </a:cubicBezTo>
                  <a:cubicBezTo>
                    <a:pt x="335" y="395"/>
                    <a:pt x="335" y="395"/>
                    <a:pt x="335" y="395"/>
                  </a:cubicBezTo>
                  <a:cubicBezTo>
                    <a:pt x="349" y="395"/>
                    <a:pt x="355" y="390"/>
                    <a:pt x="364" y="390"/>
                  </a:cubicBezTo>
                  <a:cubicBezTo>
                    <a:pt x="371" y="390"/>
                    <a:pt x="383" y="395"/>
                    <a:pt x="383" y="395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91" y="393"/>
                    <a:pt x="400" y="392"/>
                  </a:cubicBezTo>
                  <a:cubicBezTo>
                    <a:pt x="408" y="391"/>
                    <a:pt x="413" y="381"/>
                    <a:pt x="413" y="381"/>
                  </a:cubicBezTo>
                  <a:cubicBezTo>
                    <a:pt x="417" y="381"/>
                    <a:pt x="417" y="381"/>
                    <a:pt x="417" y="381"/>
                  </a:cubicBezTo>
                  <a:cubicBezTo>
                    <a:pt x="419" y="381"/>
                    <a:pt x="420" y="377"/>
                    <a:pt x="420" y="377"/>
                  </a:cubicBezTo>
                  <a:cubicBezTo>
                    <a:pt x="420" y="377"/>
                    <a:pt x="428" y="371"/>
                    <a:pt x="430" y="368"/>
                  </a:cubicBezTo>
                  <a:cubicBezTo>
                    <a:pt x="432" y="366"/>
                    <a:pt x="439" y="351"/>
                    <a:pt x="439" y="351"/>
                  </a:cubicBezTo>
                  <a:cubicBezTo>
                    <a:pt x="439" y="351"/>
                    <a:pt x="441" y="351"/>
                    <a:pt x="444" y="349"/>
                  </a:cubicBezTo>
                  <a:cubicBezTo>
                    <a:pt x="445" y="346"/>
                    <a:pt x="444" y="343"/>
                    <a:pt x="444" y="343"/>
                  </a:cubicBezTo>
                  <a:cubicBezTo>
                    <a:pt x="444" y="343"/>
                    <a:pt x="444" y="340"/>
                    <a:pt x="446" y="334"/>
                  </a:cubicBezTo>
                  <a:cubicBezTo>
                    <a:pt x="447" y="329"/>
                    <a:pt x="448" y="304"/>
                    <a:pt x="448" y="304"/>
                  </a:cubicBezTo>
                  <a:cubicBezTo>
                    <a:pt x="444" y="300"/>
                    <a:pt x="444" y="300"/>
                    <a:pt x="444" y="300"/>
                  </a:cubicBezTo>
                  <a:cubicBezTo>
                    <a:pt x="439" y="294"/>
                    <a:pt x="439" y="294"/>
                    <a:pt x="439" y="294"/>
                  </a:cubicBezTo>
                  <a:cubicBezTo>
                    <a:pt x="439" y="294"/>
                    <a:pt x="435" y="295"/>
                    <a:pt x="433" y="294"/>
                  </a:cubicBezTo>
                  <a:cubicBezTo>
                    <a:pt x="430" y="293"/>
                    <a:pt x="428" y="283"/>
                    <a:pt x="428" y="283"/>
                  </a:cubicBezTo>
                  <a:cubicBezTo>
                    <a:pt x="424" y="283"/>
                    <a:pt x="424" y="283"/>
                    <a:pt x="424" y="283"/>
                  </a:cubicBezTo>
                  <a:cubicBezTo>
                    <a:pt x="422" y="278"/>
                    <a:pt x="422" y="278"/>
                    <a:pt x="422" y="278"/>
                  </a:cubicBezTo>
                  <a:cubicBezTo>
                    <a:pt x="423" y="275"/>
                    <a:pt x="423" y="275"/>
                    <a:pt x="423" y="275"/>
                  </a:cubicBezTo>
                  <a:cubicBezTo>
                    <a:pt x="415" y="268"/>
                    <a:pt x="415" y="268"/>
                    <a:pt x="415" y="268"/>
                  </a:cubicBezTo>
                  <a:cubicBezTo>
                    <a:pt x="413" y="270"/>
                    <a:pt x="413" y="270"/>
                    <a:pt x="413" y="270"/>
                  </a:cubicBezTo>
                  <a:cubicBezTo>
                    <a:pt x="407" y="268"/>
                    <a:pt x="407" y="268"/>
                    <a:pt x="407" y="268"/>
                  </a:cubicBezTo>
                  <a:cubicBezTo>
                    <a:pt x="407" y="268"/>
                    <a:pt x="407" y="272"/>
                    <a:pt x="405" y="272"/>
                  </a:cubicBezTo>
                  <a:cubicBezTo>
                    <a:pt x="403" y="272"/>
                    <a:pt x="400" y="269"/>
                    <a:pt x="400" y="269"/>
                  </a:cubicBezTo>
                  <a:cubicBezTo>
                    <a:pt x="399" y="265"/>
                    <a:pt x="399" y="265"/>
                    <a:pt x="399" y="265"/>
                  </a:cubicBezTo>
                  <a:cubicBezTo>
                    <a:pt x="386" y="262"/>
                    <a:pt x="386" y="262"/>
                    <a:pt x="386" y="262"/>
                  </a:cubicBezTo>
                  <a:cubicBezTo>
                    <a:pt x="380" y="256"/>
                    <a:pt x="380" y="256"/>
                    <a:pt x="380" y="256"/>
                  </a:cubicBezTo>
                  <a:cubicBezTo>
                    <a:pt x="379" y="257"/>
                    <a:pt x="379" y="257"/>
                    <a:pt x="379" y="257"/>
                  </a:cubicBezTo>
                  <a:cubicBezTo>
                    <a:pt x="379" y="257"/>
                    <a:pt x="384" y="261"/>
                    <a:pt x="381" y="263"/>
                  </a:cubicBezTo>
                  <a:cubicBezTo>
                    <a:pt x="377" y="264"/>
                    <a:pt x="364" y="257"/>
                    <a:pt x="364" y="257"/>
                  </a:cubicBezTo>
                  <a:cubicBezTo>
                    <a:pt x="363" y="260"/>
                    <a:pt x="363" y="260"/>
                    <a:pt x="363" y="260"/>
                  </a:cubicBezTo>
                  <a:cubicBezTo>
                    <a:pt x="356" y="256"/>
                    <a:pt x="356" y="256"/>
                    <a:pt x="356" y="256"/>
                  </a:cubicBezTo>
                  <a:cubicBezTo>
                    <a:pt x="356" y="256"/>
                    <a:pt x="357" y="254"/>
                    <a:pt x="355" y="254"/>
                  </a:cubicBezTo>
                  <a:cubicBezTo>
                    <a:pt x="353" y="254"/>
                    <a:pt x="347" y="253"/>
                    <a:pt x="347" y="253"/>
                  </a:cubicBezTo>
                  <a:cubicBezTo>
                    <a:pt x="348" y="255"/>
                    <a:pt x="348" y="255"/>
                    <a:pt x="348" y="255"/>
                  </a:cubicBezTo>
                  <a:cubicBezTo>
                    <a:pt x="348" y="255"/>
                    <a:pt x="353" y="257"/>
                    <a:pt x="352" y="259"/>
                  </a:cubicBezTo>
                  <a:cubicBezTo>
                    <a:pt x="352" y="261"/>
                    <a:pt x="344" y="257"/>
                    <a:pt x="344" y="257"/>
                  </a:cubicBezTo>
                  <a:cubicBezTo>
                    <a:pt x="344" y="257"/>
                    <a:pt x="331" y="250"/>
                    <a:pt x="325" y="247"/>
                  </a:cubicBezTo>
                  <a:cubicBezTo>
                    <a:pt x="321" y="244"/>
                    <a:pt x="310" y="241"/>
                    <a:pt x="306" y="240"/>
                  </a:cubicBezTo>
                  <a:cubicBezTo>
                    <a:pt x="302" y="239"/>
                    <a:pt x="295" y="235"/>
                    <a:pt x="289" y="233"/>
                  </a:cubicBezTo>
                  <a:cubicBezTo>
                    <a:pt x="282" y="230"/>
                    <a:pt x="270" y="230"/>
                    <a:pt x="270" y="230"/>
                  </a:cubicBezTo>
                  <a:cubicBezTo>
                    <a:pt x="269" y="230"/>
                    <a:pt x="269" y="230"/>
                    <a:pt x="269" y="230"/>
                  </a:cubicBezTo>
                  <a:cubicBezTo>
                    <a:pt x="269" y="230"/>
                    <a:pt x="266" y="228"/>
                    <a:pt x="265" y="226"/>
                  </a:cubicBezTo>
                  <a:cubicBezTo>
                    <a:pt x="264" y="226"/>
                    <a:pt x="262" y="229"/>
                    <a:pt x="262" y="229"/>
                  </a:cubicBezTo>
                  <a:cubicBezTo>
                    <a:pt x="256" y="229"/>
                    <a:pt x="256" y="229"/>
                    <a:pt x="256" y="229"/>
                  </a:cubicBezTo>
                  <a:cubicBezTo>
                    <a:pt x="256" y="228"/>
                    <a:pt x="256" y="228"/>
                    <a:pt x="256" y="228"/>
                  </a:cubicBezTo>
                  <a:cubicBezTo>
                    <a:pt x="248" y="230"/>
                    <a:pt x="248" y="230"/>
                    <a:pt x="248" y="230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8" y="233"/>
                    <a:pt x="246" y="233"/>
                  </a:cubicBezTo>
                  <a:cubicBezTo>
                    <a:pt x="244" y="233"/>
                    <a:pt x="244" y="235"/>
                    <a:pt x="244" y="235"/>
                  </a:cubicBezTo>
                  <a:cubicBezTo>
                    <a:pt x="244" y="235"/>
                    <a:pt x="242" y="234"/>
                    <a:pt x="240" y="233"/>
                  </a:cubicBezTo>
                  <a:cubicBezTo>
                    <a:pt x="238" y="233"/>
                    <a:pt x="231" y="234"/>
                    <a:pt x="231" y="234"/>
                  </a:cubicBezTo>
                  <a:cubicBezTo>
                    <a:pt x="229" y="232"/>
                    <a:pt x="229" y="232"/>
                    <a:pt x="229" y="232"/>
                  </a:cubicBezTo>
                  <a:cubicBezTo>
                    <a:pt x="217" y="234"/>
                    <a:pt x="217" y="234"/>
                    <a:pt x="217" y="234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7" y="236"/>
                    <a:pt x="211" y="234"/>
                    <a:pt x="210" y="236"/>
                  </a:cubicBezTo>
                  <a:cubicBezTo>
                    <a:pt x="209" y="239"/>
                    <a:pt x="212" y="247"/>
                    <a:pt x="212" y="247"/>
                  </a:cubicBezTo>
                  <a:cubicBezTo>
                    <a:pt x="212" y="247"/>
                    <a:pt x="211" y="250"/>
                    <a:pt x="209" y="251"/>
                  </a:cubicBezTo>
                  <a:cubicBezTo>
                    <a:pt x="208" y="253"/>
                    <a:pt x="205" y="255"/>
                    <a:pt x="203" y="254"/>
                  </a:cubicBezTo>
                  <a:cubicBezTo>
                    <a:pt x="202" y="253"/>
                    <a:pt x="207" y="249"/>
                    <a:pt x="208" y="247"/>
                  </a:cubicBezTo>
                  <a:cubicBezTo>
                    <a:pt x="210" y="246"/>
                    <a:pt x="210" y="244"/>
                    <a:pt x="210" y="244"/>
                  </a:cubicBezTo>
                  <a:cubicBezTo>
                    <a:pt x="206" y="241"/>
                    <a:pt x="206" y="241"/>
                    <a:pt x="206" y="241"/>
                  </a:cubicBezTo>
                  <a:cubicBezTo>
                    <a:pt x="207" y="239"/>
                    <a:pt x="207" y="239"/>
                    <a:pt x="207" y="239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241"/>
                    <a:pt x="208" y="234"/>
                    <a:pt x="205" y="231"/>
                  </a:cubicBezTo>
                  <a:cubicBezTo>
                    <a:pt x="201" y="228"/>
                    <a:pt x="194" y="236"/>
                    <a:pt x="194" y="236"/>
                  </a:cubicBezTo>
                  <a:cubicBezTo>
                    <a:pt x="193" y="240"/>
                    <a:pt x="193" y="240"/>
                    <a:pt x="193" y="240"/>
                  </a:cubicBezTo>
                  <a:cubicBezTo>
                    <a:pt x="190" y="240"/>
                    <a:pt x="190" y="240"/>
                    <a:pt x="190" y="240"/>
                  </a:cubicBezTo>
                  <a:cubicBezTo>
                    <a:pt x="193" y="236"/>
                    <a:pt x="193" y="236"/>
                    <a:pt x="193" y="236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1" y="234"/>
                    <a:pt x="191" y="234"/>
                    <a:pt x="191" y="234"/>
                  </a:cubicBezTo>
                  <a:cubicBezTo>
                    <a:pt x="190" y="232"/>
                    <a:pt x="190" y="232"/>
                    <a:pt x="190" y="232"/>
                  </a:cubicBezTo>
                  <a:cubicBezTo>
                    <a:pt x="186" y="232"/>
                    <a:pt x="186" y="232"/>
                    <a:pt x="186" y="232"/>
                  </a:cubicBezTo>
                  <a:cubicBezTo>
                    <a:pt x="186" y="234"/>
                    <a:pt x="186" y="234"/>
                    <a:pt x="186" y="234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6"/>
                    <a:pt x="182" y="236"/>
                    <a:pt x="182" y="236"/>
                  </a:cubicBezTo>
                  <a:cubicBezTo>
                    <a:pt x="177" y="237"/>
                    <a:pt x="177" y="237"/>
                    <a:pt x="177" y="237"/>
                  </a:cubicBezTo>
                  <a:cubicBezTo>
                    <a:pt x="180" y="231"/>
                    <a:pt x="180" y="231"/>
                    <a:pt x="180" y="231"/>
                  </a:cubicBezTo>
                  <a:cubicBezTo>
                    <a:pt x="178" y="231"/>
                    <a:pt x="178" y="231"/>
                    <a:pt x="178" y="231"/>
                  </a:cubicBezTo>
                  <a:cubicBezTo>
                    <a:pt x="178" y="231"/>
                    <a:pt x="178" y="229"/>
                    <a:pt x="175" y="229"/>
                  </a:cubicBezTo>
                  <a:cubicBezTo>
                    <a:pt x="172" y="229"/>
                    <a:pt x="169" y="232"/>
                    <a:pt x="169" y="232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6" y="226"/>
                    <a:pt x="166" y="226"/>
                    <a:pt x="166" y="226"/>
                  </a:cubicBezTo>
                  <a:cubicBezTo>
                    <a:pt x="168" y="223"/>
                    <a:pt x="168" y="223"/>
                    <a:pt x="168" y="223"/>
                  </a:cubicBezTo>
                  <a:cubicBezTo>
                    <a:pt x="167" y="222"/>
                    <a:pt x="167" y="222"/>
                    <a:pt x="167" y="222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71" y="222"/>
                    <a:pt x="169" y="223"/>
                    <a:pt x="171" y="225"/>
                  </a:cubicBezTo>
                  <a:cubicBezTo>
                    <a:pt x="174" y="228"/>
                    <a:pt x="188" y="225"/>
                    <a:pt x="188" y="225"/>
                  </a:cubicBezTo>
                  <a:cubicBezTo>
                    <a:pt x="188" y="225"/>
                    <a:pt x="190" y="223"/>
                    <a:pt x="190" y="221"/>
                  </a:cubicBezTo>
                  <a:cubicBezTo>
                    <a:pt x="190" y="213"/>
                    <a:pt x="190" y="213"/>
                    <a:pt x="190" y="213"/>
                  </a:cubicBezTo>
                  <a:cubicBezTo>
                    <a:pt x="190" y="213"/>
                    <a:pt x="177" y="215"/>
                    <a:pt x="175" y="213"/>
                  </a:cubicBezTo>
                  <a:cubicBezTo>
                    <a:pt x="173" y="212"/>
                    <a:pt x="161" y="207"/>
                    <a:pt x="159" y="208"/>
                  </a:cubicBezTo>
                  <a:cubicBezTo>
                    <a:pt x="158" y="210"/>
                    <a:pt x="161" y="213"/>
                    <a:pt x="161" y="213"/>
                  </a:cubicBezTo>
                  <a:cubicBezTo>
                    <a:pt x="161" y="215"/>
                    <a:pt x="161" y="215"/>
                    <a:pt x="161" y="215"/>
                  </a:cubicBezTo>
                  <a:cubicBezTo>
                    <a:pt x="161" y="215"/>
                    <a:pt x="167" y="217"/>
                    <a:pt x="166" y="219"/>
                  </a:cubicBezTo>
                  <a:cubicBezTo>
                    <a:pt x="164" y="220"/>
                    <a:pt x="160" y="216"/>
                    <a:pt x="157" y="217"/>
                  </a:cubicBezTo>
                  <a:cubicBezTo>
                    <a:pt x="155" y="219"/>
                    <a:pt x="158" y="224"/>
                    <a:pt x="158" y="224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60" y="225"/>
                    <a:pt x="158" y="226"/>
                    <a:pt x="155" y="228"/>
                  </a:cubicBezTo>
                  <a:cubicBezTo>
                    <a:pt x="153" y="228"/>
                    <a:pt x="153" y="231"/>
                    <a:pt x="153" y="231"/>
                  </a:cubicBezTo>
                  <a:cubicBezTo>
                    <a:pt x="153" y="231"/>
                    <a:pt x="151" y="225"/>
                    <a:pt x="145" y="224"/>
                  </a:cubicBezTo>
                  <a:cubicBezTo>
                    <a:pt x="144" y="224"/>
                    <a:pt x="142" y="224"/>
                    <a:pt x="141" y="225"/>
                  </a:cubicBezTo>
                  <a:cubicBezTo>
                    <a:pt x="141" y="228"/>
                    <a:pt x="141" y="228"/>
                    <a:pt x="141" y="228"/>
                  </a:cubicBezTo>
                  <a:cubicBezTo>
                    <a:pt x="141" y="228"/>
                    <a:pt x="146" y="231"/>
                    <a:pt x="143" y="237"/>
                  </a:cubicBezTo>
                  <a:cubicBezTo>
                    <a:pt x="141" y="244"/>
                    <a:pt x="134" y="236"/>
                    <a:pt x="131" y="236"/>
                  </a:cubicBezTo>
                  <a:cubicBezTo>
                    <a:pt x="129" y="235"/>
                    <a:pt x="125" y="235"/>
                    <a:pt x="125" y="235"/>
                  </a:cubicBezTo>
                  <a:cubicBezTo>
                    <a:pt x="125" y="235"/>
                    <a:pt x="130" y="242"/>
                    <a:pt x="130" y="247"/>
                  </a:cubicBezTo>
                  <a:cubicBezTo>
                    <a:pt x="130" y="251"/>
                    <a:pt x="124" y="249"/>
                    <a:pt x="122" y="250"/>
                  </a:cubicBezTo>
                  <a:cubicBezTo>
                    <a:pt x="121" y="250"/>
                    <a:pt x="122" y="255"/>
                    <a:pt x="119" y="257"/>
                  </a:cubicBezTo>
                  <a:cubicBezTo>
                    <a:pt x="117" y="259"/>
                    <a:pt x="113" y="259"/>
                    <a:pt x="112" y="262"/>
                  </a:cubicBezTo>
                  <a:cubicBezTo>
                    <a:pt x="111" y="265"/>
                    <a:pt x="114" y="264"/>
                    <a:pt x="114" y="264"/>
                  </a:cubicBezTo>
                  <a:cubicBezTo>
                    <a:pt x="114" y="264"/>
                    <a:pt x="115" y="278"/>
                    <a:pt x="112" y="280"/>
                  </a:cubicBezTo>
                  <a:cubicBezTo>
                    <a:pt x="110" y="282"/>
                    <a:pt x="106" y="278"/>
                    <a:pt x="106" y="278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108" y="291"/>
                    <a:pt x="108" y="291"/>
                    <a:pt x="108" y="291"/>
                  </a:cubicBezTo>
                  <a:cubicBezTo>
                    <a:pt x="105" y="311"/>
                    <a:pt x="105" y="311"/>
                    <a:pt x="105" y="311"/>
                  </a:cubicBezTo>
                  <a:cubicBezTo>
                    <a:pt x="114" y="334"/>
                    <a:pt x="114" y="334"/>
                    <a:pt x="114" y="334"/>
                  </a:cubicBezTo>
                  <a:cubicBezTo>
                    <a:pt x="135" y="338"/>
                    <a:pt x="135" y="338"/>
                    <a:pt x="135" y="338"/>
                  </a:cubicBezTo>
                  <a:cubicBezTo>
                    <a:pt x="147" y="354"/>
                    <a:pt x="147" y="354"/>
                    <a:pt x="147" y="354"/>
                  </a:cubicBezTo>
                  <a:cubicBezTo>
                    <a:pt x="147" y="354"/>
                    <a:pt x="159" y="354"/>
                    <a:pt x="160" y="363"/>
                  </a:cubicBezTo>
                  <a:cubicBezTo>
                    <a:pt x="161" y="373"/>
                    <a:pt x="146" y="408"/>
                    <a:pt x="146" y="408"/>
                  </a:cubicBezTo>
                  <a:cubicBezTo>
                    <a:pt x="146" y="408"/>
                    <a:pt x="157" y="425"/>
                    <a:pt x="163" y="429"/>
                  </a:cubicBezTo>
                  <a:cubicBezTo>
                    <a:pt x="171" y="435"/>
                    <a:pt x="170" y="444"/>
                    <a:pt x="173" y="446"/>
                  </a:cubicBezTo>
                  <a:cubicBezTo>
                    <a:pt x="173" y="446"/>
                    <a:pt x="186" y="453"/>
                    <a:pt x="190" y="461"/>
                  </a:cubicBezTo>
                  <a:cubicBezTo>
                    <a:pt x="195" y="470"/>
                    <a:pt x="197" y="480"/>
                    <a:pt x="197" y="480"/>
                  </a:cubicBezTo>
                  <a:cubicBezTo>
                    <a:pt x="186" y="486"/>
                    <a:pt x="186" y="486"/>
                    <a:pt x="186" y="486"/>
                  </a:cubicBezTo>
                  <a:cubicBezTo>
                    <a:pt x="193" y="488"/>
                    <a:pt x="193" y="488"/>
                    <a:pt x="193" y="488"/>
                  </a:cubicBezTo>
                  <a:cubicBezTo>
                    <a:pt x="189" y="493"/>
                    <a:pt x="189" y="493"/>
                    <a:pt x="189" y="493"/>
                  </a:cubicBezTo>
                  <a:cubicBezTo>
                    <a:pt x="192" y="502"/>
                    <a:pt x="192" y="502"/>
                    <a:pt x="192" y="502"/>
                  </a:cubicBezTo>
                  <a:cubicBezTo>
                    <a:pt x="189" y="514"/>
                    <a:pt x="189" y="514"/>
                    <a:pt x="189" y="514"/>
                  </a:cubicBezTo>
                  <a:cubicBezTo>
                    <a:pt x="200" y="512"/>
                    <a:pt x="200" y="512"/>
                    <a:pt x="200" y="512"/>
                  </a:cubicBezTo>
                  <a:cubicBezTo>
                    <a:pt x="201" y="517"/>
                    <a:pt x="201" y="517"/>
                    <a:pt x="201" y="517"/>
                  </a:cubicBezTo>
                  <a:cubicBezTo>
                    <a:pt x="194" y="522"/>
                    <a:pt x="194" y="522"/>
                    <a:pt x="194" y="522"/>
                  </a:cubicBezTo>
                  <a:cubicBezTo>
                    <a:pt x="201" y="538"/>
                    <a:pt x="201" y="538"/>
                    <a:pt x="201" y="538"/>
                  </a:cubicBezTo>
                  <a:cubicBezTo>
                    <a:pt x="211" y="533"/>
                    <a:pt x="211" y="533"/>
                    <a:pt x="211" y="533"/>
                  </a:cubicBezTo>
                  <a:cubicBezTo>
                    <a:pt x="216" y="541"/>
                    <a:pt x="216" y="541"/>
                    <a:pt x="216" y="541"/>
                  </a:cubicBezTo>
                  <a:cubicBezTo>
                    <a:pt x="216" y="541"/>
                    <a:pt x="210" y="547"/>
                    <a:pt x="217" y="556"/>
                  </a:cubicBezTo>
                  <a:cubicBezTo>
                    <a:pt x="222" y="565"/>
                    <a:pt x="232" y="559"/>
                    <a:pt x="236" y="567"/>
                  </a:cubicBezTo>
                  <a:cubicBezTo>
                    <a:pt x="240" y="576"/>
                    <a:pt x="235" y="591"/>
                    <a:pt x="235" y="591"/>
                  </a:cubicBezTo>
                  <a:cubicBezTo>
                    <a:pt x="236" y="595"/>
                    <a:pt x="236" y="595"/>
                    <a:pt x="236" y="595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48" y="615"/>
                    <a:pt x="248" y="615"/>
                    <a:pt x="248" y="615"/>
                  </a:cubicBezTo>
                  <a:cubicBezTo>
                    <a:pt x="259" y="617"/>
                    <a:pt x="259" y="617"/>
                    <a:pt x="259" y="617"/>
                  </a:cubicBezTo>
                  <a:cubicBezTo>
                    <a:pt x="275" y="625"/>
                    <a:pt x="275" y="625"/>
                    <a:pt x="275" y="625"/>
                  </a:cubicBezTo>
                  <a:cubicBezTo>
                    <a:pt x="278" y="633"/>
                    <a:pt x="278" y="633"/>
                    <a:pt x="278" y="633"/>
                  </a:cubicBezTo>
                  <a:cubicBezTo>
                    <a:pt x="278" y="633"/>
                    <a:pt x="290" y="633"/>
                    <a:pt x="291" y="639"/>
                  </a:cubicBezTo>
                  <a:cubicBezTo>
                    <a:pt x="291" y="645"/>
                    <a:pt x="289" y="669"/>
                    <a:pt x="287" y="673"/>
                  </a:cubicBezTo>
                  <a:cubicBezTo>
                    <a:pt x="284" y="681"/>
                    <a:pt x="284" y="681"/>
                    <a:pt x="284" y="681"/>
                  </a:cubicBezTo>
                  <a:cubicBezTo>
                    <a:pt x="284" y="681"/>
                    <a:pt x="275" y="694"/>
                    <a:pt x="272" y="706"/>
                  </a:cubicBezTo>
                  <a:cubicBezTo>
                    <a:pt x="269" y="717"/>
                    <a:pt x="261" y="737"/>
                    <a:pt x="258" y="742"/>
                  </a:cubicBezTo>
                  <a:cubicBezTo>
                    <a:pt x="255" y="748"/>
                    <a:pt x="250" y="761"/>
                    <a:pt x="250" y="761"/>
                  </a:cubicBezTo>
                  <a:cubicBezTo>
                    <a:pt x="237" y="775"/>
                    <a:pt x="237" y="775"/>
                    <a:pt x="237" y="775"/>
                  </a:cubicBezTo>
                  <a:cubicBezTo>
                    <a:pt x="236" y="784"/>
                    <a:pt x="236" y="784"/>
                    <a:pt x="236" y="784"/>
                  </a:cubicBezTo>
                  <a:cubicBezTo>
                    <a:pt x="232" y="787"/>
                    <a:pt x="232" y="787"/>
                    <a:pt x="232" y="787"/>
                  </a:cubicBezTo>
                  <a:cubicBezTo>
                    <a:pt x="221" y="802"/>
                    <a:pt x="221" y="802"/>
                    <a:pt x="221" y="802"/>
                  </a:cubicBezTo>
                  <a:cubicBezTo>
                    <a:pt x="213" y="818"/>
                    <a:pt x="213" y="818"/>
                    <a:pt x="213" y="818"/>
                  </a:cubicBezTo>
                  <a:cubicBezTo>
                    <a:pt x="213" y="819"/>
                    <a:pt x="213" y="819"/>
                    <a:pt x="213" y="819"/>
                  </a:cubicBezTo>
                  <a:cubicBezTo>
                    <a:pt x="216" y="820"/>
                    <a:pt x="216" y="820"/>
                    <a:pt x="216" y="820"/>
                  </a:cubicBezTo>
                  <a:cubicBezTo>
                    <a:pt x="225" y="818"/>
                    <a:pt x="225" y="818"/>
                    <a:pt x="225" y="818"/>
                  </a:cubicBezTo>
                  <a:cubicBezTo>
                    <a:pt x="231" y="809"/>
                    <a:pt x="231" y="809"/>
                    <a:pt x="231" y="809"/>
                  </a:cubicBezTo>
                  <a:cubicBezTo>
                    <a:pt x="235" y="805"/>
                    <a:pt x="235" y="805"/>
                    <a:pt x="235" y="805"/>
                  </a:cubicBezTo>
                  <a:cubicBezTo>
                    <a:pt x="235" y="805"/>
                    <a:pt x="236" y="800"/>
                    <a:pt x="238" y="801"/>
                  </a:cubicBezTo>
                  <a:cubicBezTo>
                    <a:pt x="241" y="802"/>
                    <a:pt x="239" y="805"/>
                    <a:pt x="239" y="805"/>
                  </a:cubicBezTo>
                  <a:cubicBezTo>
                    <a:pt x="242" y="819"/>
                    <a:pt x="242" y="819"/>
                    <a:pt x="242" y="819"/>
                  </a:cubicBezTo>
                  <a:cubicBezTo>
                    <a:pt x="235" y="814"/>
                    <a:pt x="235" y="814"/>
                    <a:pt x="235" y="814"/>
                  </a:cubicBezTo>
                  <a:cubicBezTo>
                    <a:pt x="234" y="815"/>
                    <a:pt x="234" y="815"/>
                    <a:pt x="234" y="815"/>
                  </a:cubicBezTo>
                  <a:cubicBezTo>
                    <a:pt x="241" y="823"/>
                    <a:pt x="241" y="823"/>
                    <a:pt x="241" y="823"/>
                  </a:cubicBezTo>
                  <a:cubicBezTo>
                    <a:pt x="246" y="825"/>
                    <a:pt x="246" y="825"/>
                    <a:pt x="246" y="825"/>
                  </a:cubicBezTo>
                  <a:cubicBezTo>
                    <a:pt x="256" y="833"/>
                    <a:pt x="256" y="833"/>
                    <a:pt x="256" y="833"/>
                  </a:cubicBezTo>
                  <a:cubicBezTo>
                    <a:pt x="256" y="833"/>
                    <a:pt x="260" y="835"/>
                    <a:pt x="269" y="832"/>
                  </a:cubicBezTo>
                  <a:cubicBezTo>
                    <a:pt x="276" y="828"/>
                    <a:pt x="281" y="823"/>
                    <a:pt x="286" y="827"/>
                  </a:cubicBezTo>
                  <a:cubicBezTo>
                    <a:pt x="291" y="831"/>
                    <a:pt x="292" y="835"/>
                    <a:pt x="292" y="835"/>
                  </a:cubicBezTo>
                  <a:cubicBezTo>
                    <a:pt x="301" y="836"/>
                    <a:pt x="301" y="836"/>
                    <a:pt x="301" y="836"/>
                  </a:cubicBezTo>
                  <a:cubicBezTo>
                    <a:pt x="299" y="844"/>
                    <a:pt x="299" y="844"/>
                    <a:pt x="299" y="844"/>
                  </a:cubicBezTo>
                  <a:cubicBezTo>
                    <a:pt x="267" y="841"/>
                    <a:pt x="267" y="841"/>
                    <a:pt x="267" y="841"/>
                  </a:cubicBezTo>
                  <a:cubicBezTo>
                    <a:pt x="261" y="847"/>
                    <a:pt x="261" y="847"/>
                    <a:pt x="261" y="847"/>
                  </a:cubicBezTo>
                  <a:cubicBezTo>
                    <a:pt x="261" y="847"/>
                    <a:pt x="270" y="853"/>
                    <a:pt x="262" y="856"/>
                  </a:cubicBezTo>
                  <a:cubicBezTo>
                    <a:pt x="255" y="860"/>
                    <a:pt x="249" y="856"/>
                    <a:pt x="249" y="856"/>
                  </a:cubicBezTo>
                  <a:cubicBezTo>
                    <a:pt x="243" y="860"/>
                    <a:pt x="243" y="860"/>
                    <a:pt x="243" y="860"/>
                  </a:cubicBezTo>
                  <a:cubicBezTo>
                    <a:pt x="243" y="860"/>
                    <a:pt x="251" y="866"/>
                    <a:pt x="245" y="868"/>
                  </a:cubicBezTo>
                  <a:cubicBezTo>
                    <a:pt x="240" y="869"/>
                    <a:pt x="236" y="862"/>
                    <a:pt x="236" y="862"/>
                  </a:cubicBezTo>
                  <a:cubicBezTo>
                    <a:pt x="234" y="865"/>
                    <a:pt x="234" y="865"/>
                    <a:pt x="234" y="865"/>
                  </a:cubicBezTo>
                  <a:cubicBezTo>
                    <a:pt x="234" y="870"/>
                    <a:pt x="234" y="870"/>
                    <a:pt x="234" y="870"/>
                  </a:cubicBezTo>
                  <a:cubicBezTo>
                    <a:pt x="239" y="876"/>
                    <a:pt x="239" y="876"/>
                    <a:pt x="239" y="876"/>
                  </a:cubicBezTo>
                  <a:cubicBezTo>
                    <a:pt x="238" y="883"/>
                    <a:pt x="238" y="883"/>
                    <a:pt x="238" y="883"/>
                  </a:cubicBezTo>
                  <a:cubicBezTo>
                    <a:pt x="244" y="888"/>
                    <a:pt x="244" y="888"/>
                    <a:pt x="244" y="888"/>
                  </a:cubicBezTo>
                  <a:cubicBezTo>
                    <a:pt x="244" y="888"/>
                    <a:pt x="238" y="892"/>
                    <a:pt x="238" y="894"/>
                  </a:cubicBezTo>
                  <a:cubicBezTo>
                    <a:pt x="238" y="895"/>
                    <a:pt x="240" y="897"/>
                    <a:pt x="240" y="897"/>
                  </a:cubicBezTo>
                  <a:cubicBezTo>
                    <a:pt x="237" y="913"/>
                    <a:pt x="237" y="913"/>
                    <a:pt x="237" y="913"/>
                  </a:cubicBezTo>
                  <a:cubicBezTo>
                    <a:pt x="237" y="913"/>
                    <a:pt x="233" y="923"/>
                    <a:pt x="232" y="925"/>
                  </a:cubicBezTo>
                  <a:cubicBezTo>
                    <a:pt x="229" y="927"/>
                    <a:pt x="226" y="930"/>
                    <a:pt x="226" y="930"/>
                  </a:cubicBezTo>
                  <a:cubicBezTo>
                    <a:pt x="226" y="930"/>
                    <a:pt x="232" y="942"/>
                    <a:pt x="235" y="948"/>
                  </a:cubicBezTo>
                  <a:cubicBezTo>
                    <a:pt x="238" y="955"/>
                    <a:pt x="239" y="965"/>
                    <a:pt x="239" y="965"/>
                  </a:cubicBezTo>
                  <a:cubicBezTo>
                    <a:pt x="239" y="965"/>
                    <a:pt x="244" y="969"/>
                    <a:pt x="244" y="972"/>
                  </a:cubicBezTo>
                  <a:cubicBezTo>
                    <a:pt x="245" y="976"/>
                    <a:pt x="245" y="979"/>
                    <a:pt x="245" y="979"/>
                  </a:cubicBezTo>
                  <a:cubicBezTo>
                    <a:pt x="245" y="979"/>
                    <a:pt x="255" y="985"/>
                    <a:pt x="255" y="987"/>
                  </a:cubicBezTo>
                  <a:cubicBezTo>
                    <a:pt x="254" y="989"/>
                    <a:pt x="245" y="991"/>
                    <a:pt x="245" y="991"/>
                  </a:cubicBezTo>
                  <a:cubicBezTo>
                    <a:pt x="245" y="991"/>
                    <a:pt x="248" y="995"/>
                    <a:pt x="248" y="997"/>
                  </a:cubicBezTo>
                  <a:cubicBezTo>
                    <a:pt x="246" y="1000"/>
                    <a:pt x="243" y="1000"/>
                    <a:pt x="243" y="1000"/>
                  </a:cubicBezTo>
                  <a:cubicBezTo>
                    <a:pt x="242" y="1006"/>
                    <a:pt x="242" y="1006"/>
                    <a:pt x="242" y="1006"/>
                  </a:cubicBezTo>
                  <a:cubicBezTo>
                    <a:pt x="243" y="1010"/>
                    <a:pt x="243" y="1010"/>
                    <a:pt x="243" y="1010"/>
                  </a:cubicBezTo>
                  <a:cubicBezTo>
                    <a:pt x="246" y="1009"/>
                    <a:pt x="250" y="1009"/>
                    <a:pt x="250" y="1009"/>
                  </a:cubicBezTo>
                  <a:cubicBezTo>
                    <a:pt x="252" y="1016"/>
                    <a:pt x="252" y="1016"/>
                    <a:pt x="252" y="1016"/>
                  </a:cubicBezTo>
                  <a:cubicBezTo>
                    <a:pt x="252" y="1016"/>
                    <a:pt x="259" y="1017"/>
                    <a:pt x="261" y="1018"/>
                  </a:cubicBezTo>
                  <a:cubicBezTo>
                    <a:pt x="264" y="1019"/>
                    <a:pt x="267" y="1022"/>
                    <a:pt x="267" y="1022"/>
                  </a:cubicBezTo>
                  <a:cubicBezTo>
                    <a:pt x="267" y="1033"/>
                    <a:pt x="267" y="1033"/>
                    <a:pt x="267" y="1033"/>
                  </a:cubicBezTo>
                  <a:cubicBezTo>
                    <a:pt x="264" y="1037"/>
                    <a:pt x="264" y="1037"/>
                    <a:pt x="264" y="1037"/>
                  </a:cubicBezTo>
                  <a:cubicBezTo>
                    <a:pt x="266" y="1041"/>
                    <a:pt x="266" y="1041"/>
                    <a:pt x="266" y="1041"/>
                  </a:cubicBezTo>
                  <a:cubicBezTo>
                    <a:pt x="264" y="1052"/>
                    <a:pt x="264" y="1052"/>
                    <a:pt x="264" y="1052"/>
                  </a:cubicBezTo>
                  <a:cubicBezTo>
                    <a:pt x="264" y="1052"/>
                    <a:pt x="269" y="1049"/>
                    <a:pt x="272" y="1049"/>
                  </a:cubicBezTo>
                  <a:cubicBezTo>
                    <a:pt x="274" y="1049"/>
                    <a:pt x="276" y="1052"/>
                    <a:pt x="276" y="1052"/>
                  </a:cubicBezTo>
                  <a:cubicBezTo>
                    <a:pt x="274" y="1057"/>
                    <a:pt x="274" y="1057"/>
                    <a:pt x="274" y="1057"/>
                  </a:cubicBezTo>
                  <a:cubicBezTo>
                    <a:pt x="282" y="1059"/>
                    <a:pt x="282" y="1059"/>
                    <a:pt x="282" y="1059"/>
                  </a:cubicBezTo>
                  <a:cubicBezTo>
                    <a:pt x="283" y="1064"/>
                    <a:pt x="283" y="1064"/>
                    <a:pt x="283" y="1064"/>
                  </a:cubicBezTo>
                  <a:cubicBezTo>
                    <a:pt x="286" y="1065"/>
                    <a:pt x="286" y="1065"/>
                    <a:pt x="286" y="1065"/>
                  </a:cubicBezTo>
                  <a:cubicBezTo>
                    <a:pt x="289" y="1074"/>
                    <a:pt x="289" y="1074"/>
                    <a:pt x="289" y="1074"/>
                  </a:cubicBezTo>
                  <a:cubicBezTo>
                    <a:pt x="291" y="1080"/>
                    <a:pt x="291" y="1080"/>
                    <a:pt x="291" y="1080"/>
                  </a:cubicBezTo>
                  <a:cubicBezTo>
                    <a:pt x="293" y="1081"/>
                    <a:pt x="293" y="1081"/>
                    <a:pt x="293" y="1081"/>
                  </a:cubicBezTo>
                  <a:cubicBezTo>
                    <a:pt x="293" y="1081"/>
                    <a:pt x="294" y="1088"/>
                    <a:pt x="292" y="1092"/>
                  </a:cubicBezTo>
                  <a:cubicBezTo>
                    <a:pt x="291" y="1092"/>
                    <a:pt x="291" y="1092"/>
                    <a:pt x="291" y="1093"/>
                  </a:cubicBezTo>
                  <a:cubicBezTo>
                    <a:pt x="293" y="1093"/>
                    <a:pt x="295" y="1095"/>
                    <a:pt x="298" y="1095"/>
                  </a:cubicBezTo>
                  <a:cubicBezTo>
                    <a:pt x="301" y="1095"/>
                    <a:pt x="307" y="1090"/>
                    <a:pt x="313" y="1091"/>
                  </a:cubicBezTo>
                  <a:cubicBezTo>
                    <a:pt x="318" y="1092"/>
                    <a:pt x="310" y="1100"/>
                    <a:pt x="317" y="1101"/>
                  </a:cubicBezTo>
                  <a:cubicBezTo>
                    <a:pt x="322" y="1102"/>
                    <a:pt x="321" y="1096"/>
                    <a:pt x="323" y="1095"/>
                  </a:cubicBezTo>
                  <a:cubicBezTo>
                    <a:pt x="324" y="1092"/>
                    <a:pt x="338" y="1090"/>
                    <a:pt x="343" y="1095"/>
                  </a:cubicBezTo>
                  <a:cubicBezTo>
                    <a:pt x="349" y="1099"/>
                    <a:pt x="337" y="1108"/>
                    <a:pt x="348" y="1110"/>
                  </a:cubicBezTo>
                  <a:cubicBezTo>
                    <a:pt x="357" y="1110"/>
                    <a:pt x="351" y="1102"/>
                    <a:pt x="351" y="1102"/>
                  </a:cubicBezTo>
                  <a:cubicBezTo>
                    <a:pt x="351" y="1102"/>
                    <a:pt x="357" y="1100"/>
                    <a:pt x="365" y="1097"/>
                  </a:cubicBezTo>
                  <a:cubicBezTo>
                    <a:pt x="371" y="1093"/>
                    <a:pt x="379" y="1093"/>
                    <a:pt x="384" y="1098"/>
                  </a:cubicBezTo>
                  <a:cubicBezTo>
                    <a:pt x="390" y="1101"/>
                    <a:pt x="396" y="1098"/>
                    <a:pt x="402" y="1104"/>
                  </a:cubicBezTo>
                  <a:cubicBezTo>
                    <a:pt x="409" y="1111"/>
                    <a:pt x="401" y="1120"/>
                    <a:pt x="401" y="1120"/>
                  </a:cubicBezTo>
                  <a:cubicBezTo>
                    <a:pt x="413" y="1136"/>
                    <a:pt x="413" y="1136"/>
                    <a:pt x="413" y="1136"/>
                  </a:cubicBezTo>
                  <a:cubicBezTo>
                    <a:pt x="411" y="1154"/>
                    <a:pt x="411" y="1154"/>
                    <a:pt x="411" y="1154"/>
                  </a:cubicBezTo>
                  <a:cubicBezTo>
                    <a:pt x="411" y="1154"/>
                    <a:pt x="422" y="1156"/>
                    <a:pt x="429" y="1160"/>
                  </a:cubicBezTo>
                  <a:cubicBezTo>
                    <a:pt x="435" y="1163"/>
                    <a:pt x="426" y="1170"/>
                    <a:pt x="426" y="1170"/>
                  </a:cubicBezTo>
                  <a:cubicBezTo>
                    <a:pt x="434" y="1172"/>
                    <a:pt x="434" y="1172"/>
                    <a:pt x="434" y="1172"/>
                  </a:cubicBezTo>
                  <a:cubicBezTo>
                    <a:pt x="434" y="1172"/>
                    <a:pt x="435" y="1177"/>
                    <a:pt x="437" y="1181"/>
                  </a:cubicBezTo>
                  <a:cubicBezTo>
                    <a:pt x="438" y="1185"/>
                    <a:pt x="456" y="1186"/>
                    <a:pt x="456" y="1186"/>
                  </a:cubicBezTo>
                  <a:cubicBezTo>
                    <a:pt x="456" y="1186"/>
                    <a:pt x="462" y="1187"/>
                    <a:pt x="465" y="1191"/>
                  </a:cubicBezTo>
                  <a:cubicBezTo>
                    <a:pt x="468" y="1194"/>
                    <a:pt x="466" y="1207"/>
                    <a:pt x="466" y="1207"/>
                  </a:cubicBezTo>
                  <a:cubicBezTo>
                    <a:pt x="479" y="1203"/>
                    <a:pt x="479" y="1203"/>
                    <a:pt x="479" y="1203"/>
                  </a:cubicBezTo>
                  <a:cubicBezTo>
                    <a:pt x="495" y="1205"/>
                    <a:pt x="495" y="1205"/>
                    <a:pt x="495" y="1205"/>
                  </a:cubicBezTo>
                  <a:cubicBezTo>
                    <a:pt x="490" y="1212"/>
                    <a:pt x="490" y="1212"/>
                    <a:pt x="490" y="1212"/>
                  </a:cubicBezTo>
                  <a:cubicBezTo>
                    <a:pt x="510" y="1221"/>
                    <a:pt x="510" y="1221"/>
                    <a:pt x="510" y="1221"/>
                  </a:cubicBezTo>
                  <a:cubicBezTo>
                    <a:pt x="511" y="1226"/>
                    <a:pt x="511" y="1226"/>
                    <a:pt x="511" y="1226"/>
                  </a:cubicBezTo>
                  <a:cubicBezTo>
                    <a:pt x="500" y="1230"/>
                    <a:pt x="500" y="1230"/>
                    <a:pt x="500" y="1230"/>
                  </a:cubicBezTo>
                  <a:cubicBezTo>
                    <a:pt x="502" y="1235"/>
                    <a:pt x="502" y="1235"/>
                    <a:pt x="502" y="1235"/>
                  </a:cubicBezTo>
                  <a:cubicBezTo>
                    <a:pt x="502" y="1235"/>
                    <a:pt x="499" y="1243"/>
                    <a:pt x="490" y="1247"/>
                  </a:cubicBezTo>
                  <a:cubicBezTo>
                    <a:pt x="481" y="1253"/>
                    <a:pt x="472" y="1245"/>
                    <a:pt x="472" y="1245"/>
                  </a:cubicBezTo>
                  <a:cubicBezTo>
                    <a:pt x="461" y="1248"/>
                    <a:pt x="461" y="1248"/>
                    <a:pt x="461" y="1248"/>
                  </a:cubicBezTo>
                  <a:cubicBezTo>
                    <a:pt x="462" y="1256"/>
                    <a:pt x="462" y="1256"/>
                    <a:pt x="462" y="1256"/>
                  </a:cubicBezTo>
                  <a:cubicBezTo>
                    <a:pt x="459" y="1263"/>
                    <a:pt x="459" y="1263"/>
                    <a:pt x="459" y="1263"/>
                  </a:cubicBezTo>
                  <a:cubicBezTo>
                    <a:pt x="459" y="1263"/>
                    <a:pt x="467" y="1265"/>
                    <a:pt x="472" y="1270"/>
                  </a:cubicBezTo>
                  <a:cubicBezTo>
                    <a:pt x="479" y="1275"/>
                    <a:pt x="477" y="1281"/>
                    <a:pt x="477" y="1281"/>
                  </a:cubicBezTo>
                  <a:cubicBezTo>
                    <a:pt x="477" y="1281"/>
                    <a:pt x="479" y="1282"/>
                    <a:pt x="481" y="1286"/>
                  </a:cubicBezTo>
                  <a:cubicBezTo>
                    <a:pt x="484" y="1290"/>
                    <a:pt x="485" y="1302"/>
                    <a:pt x="485" y="1302"/>
                  </a:cubicBezTo>
                  <a:cubicBezTo>
                    <a:pt x="489" y="1305"/>
                    <a:pt x="489" y="1305"/>
                    <a:pt x="489" y="1305"/>
                  </a:cubicBezTo>
                  <a:cubicBezTo>
                    <a:pt x="493" y="1305"/>
                    <a:pt x="500" y="1306"/>
                    <a:pt x="503" y="1303"/>
                  </a:cubicBezTo>
                  <a:cubicBezTo>
                    <a:pt x="508" y="1300"/>
                    <a:pt x="507" y="1285"/>
                    <a:pt x="507" y="1285"/>
                  </a:cubicBezTo>
                  <a:cubicBezTo>
                    <a:pt x="526" y="1285"/>
                    <a:pt x="526" y="1285"/>
                    <a:pt x="526" y="1285"/>
                  </a:cubicBezTo>
                  <a:cubicBezTo>
                    <a:pt x="529" y="1285"/>
                    <a:pt x="529" y="1285"/>
                    <a:pt x="529" y="1285"/>
                  </a:cubicBezTo>
                  <a:cubicBezTo>
                    <a:pt x="533" y="1284"/>
                    <a:pt x="539" y="1272"/>
                    <a:pt x="539" y="1272"/>
                  </a:cubicBezTo>
                  <a:cubicBezTo>
                    <a:pt x="552" y="1272"/>
                    <a:pt x="552" y="1272"/>
                    <a:pt x="552" y="1272"/>
                  </a:cubicBezTo>
                  <a:cubicBezTo>
                    <a:pt x="552" y="1272"/>
                    <a:pt x="552" y="1266"/>
                    <a:pt x="560" y="1265"/>
                  </a:cubicBezTo>
                  <a:cubicBezTo>
                    <a:pt x="568" y="1265"/>
                    <a:pt x="567" y="1271"/>
                    <a:pt x="567" y="1271"/>
                  </a:cubicBezTo>
                  <a:cubicBezTo>
                    <a:pt x="576" y="1272"/>
                    <a:pt x="576" y="1272"/>
                    <a:pt x="576" y="1272"/>
                  </a:cubicBezTo>
                  <a:cubicBezTo>
                    <a:pt x="576" y="1272"/>
                    <a:pt x="576" y="1279"/>
                    <a:pt x="580" y="1285"/>
                  </a:cubicBezTo>
                  <a:cubicBezTo>
                    <a:pt x="584" y="1290"/>
                    <a:pt x="596" y="1291"/>
                    <a:pt x="599" y="1295"/>
                  </a:cubicBezTo>
                  <a:cubicBezTo>
                    <a:pt x="602" y="1301"/>
                    <a:pt x="584" y="1305"/>
                    <a:pt x="584" y="1305"/>
                  </a:cubicBezTo>
                  <a:cubicBezTo>
                    <a:pt x="584" y="1305"/>
                    <a:pt x="587" y="1306"/>
                    <a:pt x="592" y="1310"/>
                  </a:cubicBezTo>
                  <a:cubicBezTo>
                    <a:pt x="597" y="1313"/>
                    <a:pt x="595" y="1321"/>
                    <a:pt x="595" y="1321"/>
                  </a:cubicBezTo>
                  <a:cubicBezTo>
                    <a:pt x="600" y="1321"/>
                    <a:pt x="600" y="1321"/>
                    <a:pt x="600" y="1321"/>
                  </a:cubicBezTo>
                  <a:cubicBezTo>
                    <a:pt x="599" y="1328"/>
                    <a:pt x="599" y="1328"/>
                    <a:pt x="599" y="1328"/>
                  </a:cubicBezTo>
                  <a:cubicBezTo>
                    <a:pt x="613" y="1325"/>
                    <a:pt x="613" y="1325"/>
                    <a:pt x="613" y="1325"/>
                  </a:cubicBezTo>
                  <a:cubicBezTo>
                    <a:pt x="619" y="1329"/>
                    <a:pt x="619" y="1329"/>
                    <a:pt x="619" y="1329"/>
                  </a:cubicBezTo>
                  <a:cubicBezTo>
                    <a:pt x="619" y="1329"/>
                    <a:pt x="629" y="1319"/>
                    <a:pt x="634" y="1319"/>
                  </a:cubicBezTo>
                  <a:cubicBezTo>
                    <a:pt x="639" y="1319"/>
                    <a:pt x="639" y="1328"/>
                    <a:pt x="639" y="1328"/>
                  </a:cubicBezTo>
                  <a:cubicBezTo>
                    <a:pt x="645" y="1324"/>
                    <a:pt x="645" y="1324"/>
                    <a:pt x="645" y="1324"/>
                  </a:cubicBezTo>
                  <a:cubicBezTo>
                    <a:pt x="645" y="1324"/>
                    <a:pt x="649" y="1325"/>
                    <a:pt x="650" y="1325"/>
                  </a:cubicBezTo>
                  <a:cubicBezTo>
                    <a:pt x="651" y="1325"/>
                    <a:pt x="648" y="1333"/>
                    <a:pt x="648" y="1333"/>
                  </a:cubicBezTo>
                  <a:cubicBezTo>
                    <a:pt x="661" y="1349"/>
                    <a:pt x="661" y="1349"/>
                    <a:pt x="661" y="1349"/>
                  </a:cubicBezTo>
                  <a:cubicBezTo>
                    <a:pt x="659" y="1354"/>
                    <a:pt x="659" y="1354"/>
                    <a:pt x="659" y="1354"/>
                  </a:cubicBezTo>
                  <a:cubicBezTo>
                    <a:pt x="659" y="1354"/>
                    <a:pt x="675" y="1366"/>
                    <a:pt x="680" y="1361"/>
                  </a:cubicBezTo>
                  <a:cubicBezTo>
                    <a:pt x="686" y="1357"/>
                    <a:pt x="687" y="1355"/>
                    <a:pt x="693" y="1354"/>
                  </a:cubicBezTo>
                  <a:cubicBezTo>
                    <a:pt x="698" y="1353"/>
                    <a:pt x="698" y="1360"/>
                    <a:pt x="701" y="1360"/>
                  </a:cubicBezTo>
                  <a:cubicBezTo>
                    <a:pt x="704" y="1360"/>
                    <a:pt x="704" y="1356"/>
                    <a:pt x="704" y="1356"/>
                  </a:cubicBezTo>
                  <a:cubicBezTo>
                    <a:pt x="711" y="1356"/>
                    <a:pt x="711" y="1356"/>
                    <a:pt x="711" y="1356"/>
                  </a:cubicBezTo>
                  <a:cubicBezTo>
                    <a:pt x="712" y="1361"/>
                    <a:pt x="712" y="1361"/>
                    <a:pt x="712" y="1361"/>
                  </a:cubicBezTo>
                  <a:cubicBezTo>
                    <a:pt x="717" y="1363"/>
                    <a:pt x="717" y="1363"/>
                    <a:pt x="717" y="1363"/>
                  </a:cubicBezTo>
                  <a:cubicBezTo>
                    <a:pt x="717" y="1363"/>
                    <a:pt x="720" y="1356"/>
                    <a:pt x="721" y="1352"/>
                  </a:cubicBezTo>
                  <a:cubicBezTo>
                    <a:pt x="723" y="1349"/>
                    <a:pt x="734" y="1345"/>
                    <a:pt x="734" y="1345"/>
                  </a:cubicBezTo>
                  <a:cubicBezTo>
                    <a:pt x="744" y="1334"/>
                    <a:pt x="744" y="1334"/>
                    <a:pt x="744" y="1334"/>
                  </a:cubicBezTo>
                  <a:cubicBezTo>
                    <a:pt x="748" y="1339"/>
                    <a:pt x="748" y="1339"/>
                    <a:pt x="748" y="1339"/>
                  </a:cubicBezTo>
                  <a:cubicBezTo>
                    <a:pt x="753" y="1340"/>
                    <a:pt x="753" y="1340"/>
                    <a:pt x="753" y="1340"/>
                  </a:cubicBezTo>
                  <a:cubicBezTo>
                    <a:pt x="754" y="1344"/>
                    <a:pt x="754" y="1344"/>
                    <a:pt x="754" y="1344"/>
                  </a:cubicBezTo>
                  <a:cubicBezTo>
                    <a:pt x="764" y="1354"/>
                    <a:pt x="764" y="1354"/>
                    <a:pt x="764" y="1354"/>
                  </a:cubicBezTo>
                  <a:cubicBezTo>
                    <a:pt x="774" y="1354"/>
                    <a:pt x="774" y="1354"/>
                    <a:pt x="774" y="1354"/>
                  </a:cubicBezTo>
                  <a:cubicBezTo>
                    <a:pt x="779" y="1357"/>
                    <a:pt x="779" y="1357"/>
                    <a:pt x="779" y="1357"/>
                  </a:cubicBezTo>
                  <a:cubicBezTo>
                    <a:pt x="782" y="1354"/>
                    <a:pt x="782" y="1354"/>
                    <a:pt x="782" y="1354"/>
                  </a:cubicBezTo>
                  <a:cubicBezTo>
                    <a:pt x="782" y="1344"/>
                    <a:pt x="782" y="1344"/>
                    <a:pt x="782" y="1344"/>
                  </a:cubicBezTo>
                  <a:cubicBezTo>
                    <a:pt x="797" y="1349"/>
                    <a:pt x="797" y="1349"/>
                    <a:pt x="797" y="1349"/>
                  </a:cubicBezTo>
                  <a:cubicBezTo>
                    <a:pt x="801" y="1343"/>
                    <a:pt x="801" y="1343"/>
                    <a:pt x="801" y="1343"/>
                  </a:cubicBezTo>
                  <a:cubicBezTo>
                    <a:pt x="811" y="1349"/>
                    <a:pt x="811" y="1349"/>
                    <a:pt x="811" y="1349"/>
                  </a:cubicBezTo>
                  <a:cubicBezTo>
                    <a:pt x="819" y="1349"/>
                    <a:pt x="819" y="1349"/>
                    <a:pt x="819" y="1349"/>
                  </a:cubicBezTo>
                  <a:cubicBezTo>
                    <a:pt x="821" y="1341"/>
                    <a:pt x="821" y="1341"/>
                    <a:pt x="821" y="1341"/>
                  </a:cubicBezTo>
                  <a:cubicBezTo>
                    <a:pt x="826" y="1340"/>
                    <a:pt x="826" y="1340"/>
                    <a:pt x="826" y="1340"/>
                  </a:cubicBezTo>
                  <a:cubicBezTo>
                    <a:pt x="826" y="1340"/>
                    <a:pt x="829" y="1344"/>
                    <a:pt x="830" y="1347"/>
                  </a:cubicBezTo>
                  <a:cubicBezTo>
                    <a:pt x="831" y="1349"/>
                    <a:pt x="836" y="1348"/>
                    <a:pt x="836" y="1348"/>
                  </a:cubicBezTo>
                  <a:cubicBezTo>
                    <a:pt x="838" y="1344"/>
                    <a:pt x="838" y="1344"/>
                    <a:pt x="838" y="1344"/>
                  </a:cubicBezTo>
                  <a:cubicBezTo>
                    <a:pt x="845" y="1344"/>
                    <a:pt x="845" y="1344"/>
                    <a:pt x="845" y="1344"/>
                  </a:cubicBezTo>
                  <a:cubicBezTo>
                    <a:pt x="845" y="1344"/>
                    <a:pt x="847" y="1348"/>
                    <a:pt x="851" y="1350"/>
                  </a:cubicBezTo>
                  <a:cubicBezTo>
                    <a:pt x="856" y="1352"/>
                    <a:pt x="862" y="1350"/>
                    <a:pt x="862" y="1350"/>
                  </a:cubicBezTo>
                  <a:cubicBezTo>
                    <a:pt x="864" y="1343"/>
                    <a:pt x="864" y="1343"/>
                    <a:pt x="864" y="1343"/>
                  </a:cubicBezTo>
                  <a:cubicBezTo>
                    <a:pt x="870" y="1343"/>
                    <a:pt x="870" y="1343"/>
                    <a:pt x="870" y="1343"/>
                  </a:cubicBezTo>
                  <a:cubicBezTo>
                    <a:pt x="870" y="1354"/>
                    <a:pt x="870" y="1354"/>
                    <a:pt x="870" y="1354"/>
                  </a:cubicBezTo>
                  <a:cubicBezTo>
                    <a:pt x="870" y="1354"/>
                    <a:pt x="876" y="1357"/>
                    <a:pt x="879" y="1366"/>
                  </a:cubicBezTo>
                  <a:cubicBezTo>
                    <a:pt x="881" y="1374"/>
                    <a:pt x="868" y="1384"/>
                    <a:pt x="868" y="1384"/>
                  </a:cubicBezTo>
                  <a:cubicBezTo>
                    <a:pt x="868" y="1390"/>
                    <a:pt x="868" y="1390"/>
                    <a:pt x="868" y="1390"/>
                  </a:cubicBezTo>
                  <a:cubicBezTo>
                    <a:pt x="885" y="1389"/>
                    <a:pt x="885" y="1389"/>
                    <a:pt x="885" y="1389"/>
                  </a:cubicBezTo>
                  <a:cubicBezTo>
                    <a:pt x="885" y="1394"/>
                    <a:pt x="885" y="1394"/>
                    <a:pt x="885" y="1394"/>
                  </a:cubicBezTo>
                  <a:cubicBezTo>
                    <a:pt x="876" y="1397"/>
                    <a:pt x="876" y="1397"/>
                    <a:pt x="876" y="1397"/>
                  </a:cubicBezTo>
                  <a:cubicBezTo>
                    <a:pt x="876" y="1412"/>
                    <a:pt x="876" y="1412"/>
                    <a:pt x="876" y="1412"/>
                  </a:cubicBezTo>
                  <a:cubicBezTo>
                    <a:pt x="876" y="1412"/>
                    <a:pt x="882" y="1411"/>
                    <a:pt x="889" y="1415"/>
                  </a:cubicBezTo>
                  <a:cubicBezTo>
                    <a:pt x="896" y="1419"/>
                    <a:pt x="892" y="1427"/>
                    <a:pt x="892" y="1427"/>
                  </a:cubicBezTo>
                  <a:cubicBezTo>
                    <a:pt x="897" y="1428"/>
                    <a:pt x="897" y="1428"/>
                    <a:pt x="897" y="1428"/>
                  </a:cubicBezTo>
                  <a:cubicBezTo>
                    <a:pt x="898" y="1442"/>
                    <a:pt x="898" y="1442"/>
                    <a:pt x="898" y="1442"/>
                  </a:cubicBezTo>
                  <a:cubicBezTo>
                    <a:pt x="895" y="1445"/>
                    <a:pt x="895" y="1445"/>
                    <a:pt x="895" y="1445"/>
                  </a:cubicBezTo>
                  <a:cubicBezTo>
                    <a:pt x="895" y="1445"/>
                    <a:pt x="900" y="1449"/>
                    <a:pt x="900" y="1455"/>
                  </a:cubicBezTo>
                  <a:cubicBezTo>
                    <a:pt x="901" y="1462"/>
                    <a:pt x="874" y="1465"/>
                    <a:pt x="866" y="1467"/>
                  </a:cubicBezTo>
                  <a:cubicBezTo>
                    <a:pt x="859" y="1470"/>
                    <a:pt x="860" y="1475"/>
                    <a:pt x="861" y="1479"/>
                  </a:cubicBezTo>
                  <a:cubicBezTo>
                    <a:pt x="861" y="1482"/>
                    <a:pt x="856" y="1485"/>
                    <a:pt x="849" y="1489"/>
                  </a:cubicBezTo>
                  <a:cubicBezTo>
                    <a:pt x="843" y="1492"/>
                    <a:pt x="843" y="1505"/>
                    <a:pt x="847" y="1511"/>
                  </a:cubicBezTo>
                  <a:cubicBezTo>
                    <a:pt x="850" y="1516"/>
                    <a:pt x="852" y="1521"/>
                    <a:pt x="852" y="1524"/>
                  </a:cubicBezTo>
                  <a:cubicBezTo>
                    <a:pt x="870" y="1520"/>
                    <a:pt x="870" y="1520"/>
                    <a:pt x="870" y="1520"/>
                  </a:cubicBezTo>
                  <a:cubicBezTo>
                    <a:pt x="870" y="1511"/>
                    <a:pt x="870" y="1511"/>
                    <a:pt x="870" y="1511"/>
                  </a:cubicBezTo>
                  <a:cubicBezTo>
                    <a:pt x="881" y="1511"/>
                    <a:pt x="881" y="1511"/>
                    <a:pt x="881" y="1511"/>
                  </a:cubicBezTo>
                  <a:cubicBezTo>
                    <a:pt x="880" y="1506"/>
                    <a:pt x="880" y="1506"/>
                    <a:pt x="880" y="1506"/>
                  </a:cubicBezTo>
                  <a:cubicBezTo>
                    <a:pt x="884" y="1500"/>
                    <a:pt x="884" y="1500"/>
                    <a:pt x="884" y="1500"/>
                  </a:cubicBezTo>
                  <a:cubicBezTo>
                    <a:pt x="894" y="1500"/>
                    <a:pt x="894" y="1500"/>
                    <a:pt x="894" y="1500"/>
                  </a:cubicBezTo>
                  <a:cubicBezTo>
                    <a:pt x="893" y="1506"/>
                    <a:pt x="893" y="1506"/>
                    <a:pt x="893" y="1506"/>
                  </a:cubicBezTo>
                  <a:cubicBezTo>
                    <a:pt x="900" y="1515"/>
                    <a:pt x="900" y="1515"/>
                    <a:pt x="900" y="1515"/>
                  </a:cubicBezTo>
                  <a:cubicBezTo>
                    <a:pt x="891" y="1514"/>
                    <a:pt x="891" y="1514"/>
                    <a:pt x="891" y="1514"/>
                  </a:cubicBezTo>
                  <a:cubicBezTo>
                    <a:pt x="891" y="1514"/>
                    <a:pt x="887" y="1521"/>
                    <a:pt x="883" y="1530"/>
                  </a:cubicBezTo>
                  <a:cubicBezTo>
                    <a:pt x="880" y="1540"/>
                    <a:pt x="871" y="1537"/>
                    <a:pt x="871" y="1537"/>
                  </a:cubicBezTo>
                  <a:cubicBezTo>
                    <a:pt x="870" y="1544"/>
                    <a:pt x="870" y="1544"/>
                    <a:pt x="870" y="1544"/>
                  </a:cubicBezTo>
                  <a:cubicBezTo>
                    <a:pt x="878" y="1543"/>
                    <a:pt x="878" y="1543"/>
                    <a:pt x="878" y="1543"/>
                  </a:cubicBezTo>
                  <a:cubicBezTo>
                    <a:pt x="876" y="1549"/>
                    <a:pt x="876" y="1549"/>
                    <a:pt x="876" y="1549"/>
                  </a:cubicBezTo>
                  <a:cubicBezTo>
                    <a:pt x="866" y="1549"/>
                    <a:pt x="866" y="1549"/>
                    <a:pt x="866" y="1549"/>
                  </a:cubicBezTo>
                  <a:cubicBezTo>
                    <a:pt x="858" y="1558"/>
                    <a:pt x="858" y="1558"/>
                    <a:pt x="858" y="1558"/>
                  </a:cubicBezTo>
                  <a:cubicBezTo>
                    <a:pt x="843" y="1558"/>
                    <a:pt x="843" y="1558"/>
                    <a:pt x="843" y="1558"/>
                  </a:cubicBezTo>
                  <a:cubicBezTo>
                    <a:pt x="855" y="1575"/>
                    <a:pt x="855" y="1575"/>
                    <a:pt x="855" y="1575"/>
                  </a:cubicBezTo>
                  <a:cubicBezTo>
                    <a:pt x="855" y="1575"/>
                    <a:pt x="862" y="1571"/>
                    <a:pt x="867" y="1571"/>
                  </a:cubicBezTo>
                  <a:cubicBezTo>
                    <a:pt x="874" y="1571"/>
                    <a:pt x="876" y="1580"/>
                    <a:pt x="876" y="1580"/>
                  </a:cubicBezTo>
                  <a:cubicBezTo>
                    <a:pt x="876" y="1580"/>
                    <a:pt x="893" y="1578"/>
                    <a:pt x="894" y="1586"/>
                  </a:cubicBezTo>
                  <a:cubicBezTo>
                    <a:pt x="895" y="1592"/>
                    <a:pt x="880" y="1585"/>
                    <a:pt x="880" y="1585"/>
                  </a:cubicBezTo>
                  <a:cubicBezTo>
                    <a:pt x="877" y="1599"/>
                    <a:pt x="877" y="1599"/>
                    <a:pt x="877" y="1599"/>
                  </a:cubicBezTo>
                  <a:cubicBezTo>
                    <a:pt x="873" y="1591"/>
                    <a:pt x="873" y="1591"/>
                    <a:pt x="873" y="1591"/>
                  </a:cubicBezTo>
                  <a:cubicBezTo>
                    <a:pt x="867" y="1594"/>
                    <a:pt x="867" y="1594"/>
                    <a:pt x="867" y="1594"/>
                  </a:cubicBezTo>
                  <a:cubicBezTo>
                    <a:pt x="867" y="1594"/>
                    <a:pt x="871" y="1610"/>
                    <a:pt x="871" y="1615"/>
                  </a:cubicBezTo>
                  <a:cubicBezTo>
                    <a:pt x="871" y="1619"/>
                    <a:pt x="865" y="1619"/>
                    <a:pt x="862" y="1623"/>
                  </a:cubicBezTo>
                  <a:cubicBezTo>
                    <a:pt x="859" y="1626"/>
                    <a:pt x="868" y="1634"/>
                    <a:pt x="866" y="1639"/>
                  </a:cubicBezTo>
                  <a:cubicBezTo>
                    <a:pt x="864" y="1646"/>
                    <a:pt x="859" y="1657"/>
                    <a:pt x="852" y="1658"/>
                  </a:cubicBezTo>
                  <a:cubicBezTo>
                    <a:pt x="846" y="1658"/>
                    <a:pt x="844" y="1650"/>
                    <a:pt x="844" y="1650"/>
                  </a:cubicBezTo>
                  <a:cubicBezTo>
                    <a:pt x="830" y="1651"/>
                    <a:pt x="830" y="1651"/>
                    <a:pt x="830" y="1651"/>
                  </a:cubicBezTo>
                  <a:cubicBezTo>
                    <a:pt x="831" y="1656"/>
                    <a:pt x="831" y="1656"/>
                    <a:pt x="831" y="1656"/>
                  </a:cubicBezTo>
                  <a:cubicBezTo>
                    <a:pt x="831" y="1656"/>
                    <a:pt x="841" y="1657"/>
                    <a:pt x="842" y="1659"/>
                  </a:cubicBezTo>
                  <a:cubicBezTo>
                    <a:pt x="842" y="1662"/>
                    <a:pt x="830" y="1669"/>
                    <a:pt x="830" y="1669"/>
                  </a:cubicBezTo>
                  <a:cubicBezTo>
                    <a:pt x="833" y="1674"/>
                    <a:pt x="833" y="1674"/>
                    <a:pt x="833" y="1674"/>
                  </a:cubicBezTo>
                  <a:cubicBezTo>
                    <a:pt x="847" y="1669"/>
                    <a:pt x="847" y="1669"/>
                    <a:pt x="847" y="1669"/>
                  </a:cubicBezTo>
                  <a:cubicBezTo>
                    <a:pt x="847" y="1669"/>
                    <a:pt x="841" y="1664"/>
                    <a:pt x="851" y="1663"/>
                  </a:cubicBezTo>
                  <a:cubicBezTo>
                    <a:pt x="862" y="1663"/>
                    <a:pt x="852" y="1670"/>
                    <a:pt x="852" y="1670"/>
                  </a:cubicBezTo>
                  <a:cubicBezTo>
                    <a:pt x="865" y="1673"/>
                    <a:pt x="865" y="1673"/>
                    <a:pt x="865" y="1673"/>
                  </a:cubicBezTo>
                  <a:cubicBezTo>
                    <a:pt x="873" y="1686"/>
                    <a:pt x="873" y="1686"/>
                    <a:pt x="873" y="1686"/>
                  </a:cubicBezTo>
                  <a:cubicBezTo>
                    <a:pt x="894" y="1684"/>
                    <a:pt x="894" y="1684"/>
                    <a:pt x="894" y="1684"/>
                  </a:cubicBezTo>
                  <a:cubicBezTo>
                    <a:pt x="895" y="1678"/>
                    <a:pt x="895" y="1678"/>
                    <a:pt x="895" y="1678"/>
                  </a:cubicBezTo>
                  <a:cubicBezTo>
                    <a:pt x="903" y="1684"/>
                    <a:pt x="903" y="1684"/>
                    <a:pt x="903" y="1684"/>
                  </a:cubicBezTo>
                  <a:cubicBezTo>
                    <a:pt x="908" y="1684"/>
                    <a:pt x="908" y="1684"/>
                    <a:pt x="908" y="1684"/>
                  </a:cubicBezTo>
                  <a:cubicBezTo>
                    <a:pt x="911" y="1689"/>
                    <a:pt x="911" y="1689"/>
                    <a:pt x="911" y="1689"/>
                  </a:cubicBezTo>
                  <a:cubicBezTo>
                    <a:pt x="917" y="1688"/>
                    <a:pt x="917" y="1688"/>
                    <a:pt x="917" y="1688"/>
                  </a:cubicBezTo>
                  <a:cubicBezTo>
                    <a:pt x="926" y="1691"/>
                    <a:pt x="926" y="1691"/>
                    <a:pt x="926" y="1691"/>
                  </a:cubicBezTo>
                  <a:cubicBezTo>
                    <a:pt x="929" y="1688"/>
                    <a:pt x="929" y="1688"/>
                    <a:pt x="929" y="1688"/>
                  </a:cubicBezTo>
                  <a:cubicBezTo>
                    <a:pt x="943" y="1687"/>
                    <a:pt x="943" y="1687"/>
                    <a:pt x="943" y="1687"/>
                  </a:cubicBezTo>
                  <a:cubicBezTo>
                    <a:pt x="949" y="1694"/>
                    <a:pt x="949" y="1694"/>
                    <a:pt x="949" y="1694"/>
                  </a:cubicBezTo>
                  <a:cubicBezTo>
                    <a:pt x="949" y="1694"/>
                    <a:pt x="970" y="1696"/>
                    <a:pt x="976" y="1699"/>
                  </a:cubicBezTo>
                  <a:cubicBezTo>
                    <a:pt x="982" y="1702"/>
                    <a:pt x="998" y="1713"/>
                    <a:pt x="998" y="1713"/>
                  </a:cubicBezTo>
                  <a:cubicBezTo>
                    <a:pt x="1003" y="1712"/>
                    <a:pt x="1003" y="1712"/>
                    <a:pt x="1003" y="1712"/>
                  </a:cubicBezTo>
                  <a:cubicBezTo>
                    <a:pt x="1007" y="1716"/>
                    <a:pt x="1007" y="1716"/>
                    <a:pt x="1007" y="1716"/>
                  </a:cubicBezTo>
                  <a:cubicBezTo>
                    <a:pt x="1016" y="1717"/>
                    <a:pt x="1016" y="1717"/>
                    <a:pt x="1016" y="1717"/>
                  </a:cubicBezTo>
                  <a:cubicBezTo>
                    <a:pt x="1019" y="1721"/>
                    <a:pt x="1019" y="1721"/>
                    <a:pt x="1019" y="1721"/>
                  </a:cubicBezTo>
                  <a:cubicBezTo>
                    <a:pt x="1024" y="1720"/>
                    <a:pt x="1024" y="1720"/>
                    <a:pt x="1024" y="1720"/>
                  </a:cubicBezTo>
                  <a:cubicBezTo>
                    <a:pt x="1024" y="1720"/>
                    <a:pt x="1024" y="1710"/>
                    <a:pt x="1028" y="1705"/>
                  </a:cubicBezTo>
                  <a:cubicBezTo>
                    <a:pt x="1031" y="1701"/>
                    <a:pt x="1047" y="1703"/>
                    <a:pt x="1047" y="1703"/>
                  </a:cubicBezTo>
                  <a:cubicBezTo>
                    <a:pt x="1050" y="1698"/>
                    <a:pt x="1050" y="1698"/>
                    <a:pt x="1050" y="1698"/>
                  </a:cubicBezTo>
                  <a:cubicBezTo>
                    <a:pt x="1072" y="1701"/>
                    <a:pt x="1072" y="1701"/>
                    <a:pt x="1072" y="1701"/>
                  </a:cubicBezTo>
                  <a:cubicBezTo>
                    <a:pt x="1073" y="1700"/>
                    <a:pt x="1073" y="1700"/>
                    <a:pt x="1073" y="1700"/>
                  </a:cubicBezTo>
                  <a:cubicBezTo>
                    <a:pt x="1080" y="1700"/>
                    <a:pt x="1080" y="1700"/>
                    <a:pt x="1080" y="1700"/>
                  </a:cubicBezTo>
                  <a:cubicBezTo>
                    <a:pt x="1085" y="1696"/>
                    <a:pt x="1085" y="1696"/>
                    <a:pt x="1085" y="1696"/>
                  </a:cubicBezTo>
                  <a:cubicBezTo>
                    <a:pt x="1085" y="1696"/>
                    <a:pt x="1095" y="1702"/>
                    <a:pt x="1107" y="1699"/>
                  </a:cubicBezTo>
                  <a:cubicBezTo>
                    <a:pt x="1120" y="1697"/>
                    <a:pt x="1137" y="1683"/>
                    <a:pt x="1137" y="1683"/>
                  </a:cubicBezTo>
                  <a:cubicBezTo>
                    <a:pt x="1143" y="1684"/>
                    <a:pt x="1143" y="1684"/>
                    <a:pt x="1143" y="1684"/>
                  </a:cubicBezTo>
                  <a:cubicBezTo>
                    <a:pt x="1143" y="1684"/>
                    <a:pt x="1146" y="1679"/>
                    <a:pt x="1154" y="1679"/>
                  </a:cubicBezTo>
                  <a:cubicBezTo>
                    <a:pt x="1161" y="1678"/>
                    <a:pt x="1162" y="1683"/>
                    <a:pt x="1169" y="1685"/>
                  </a:cubicBezTo>
                  <a:cubicBezTo>
                    <a:pt x="1175" y="1688"/>
                    <a:pt x="1192" y="1683"/>
                    <a:pt x="1192" y="1683"/>
                  </a:cubicBezTo>
                  <a:cubicBezTo>
                    <a:pt x="1210" y="1683"/>
                    <a:pt x="1210" y="1683"/>
                    <a:pt x="1210" y="1683"/>
                  </a:cubicBezTo>
                  <a:cubicBezTo>
                    <a:pt x="1208" y="1689"/>
                    <a:pt x="1208" y="1689"/>
                    <a:pt x="1208" y="1689"/>
                  </a:cubicBezTo>
                  <a:cubicBezTo>
                    <a:pt x="1208" y="1689"/>
                    <a:pt x="1215" y="1691"/>
                    <a:pt x="1221" y="1690"/>
                  </a:cubicBezTo>
                  <a:cubicBezTo>
                    <a:pt x="1227" y="1690"/>
                    <a:pt x="1233" y="1681"/>
                    <a:pt x="1233" y="1681"/>
                  </a:cubicBezTo>
                  <a:cubicBezTo>
                    <a:pt x="1233" y="1674"/>
                    <a:pt x="1233" y="1674"/>
                    <a:pt x="1233" y="1674"/>
                  </a:cubicBezTo>
                  <a:cubicBezTo>
                    <a:pt x="1233" y="1674"/>
                    <a:pt x="1239" y="1669"/>
                    <a:pt x="1243" y="1666"/>
                  </a:cubicBezTo>
                  <a:cubicBezTo>
                    <a:pt x="1248" y="1664"/>
                    <a:pt x="1259" y="1669"/>
                    <a:pt x="1259" y="1669"/>
                  </a:cubicBezTo>
                  <a:cubicBezTo>
                    <a:pt x="1259" y="1659"/>
                    <a:pt x="1259" y="1659"/>
                    <a:pt x="1259" y="1659"/>
                  </a:cubicBezTo>
                  <a:cubicBezTo>
                    <a:pt x="1266" y="1660"/>
                    <a:pt x="1266" y="1660"/>
                    <a:pt x="1266" y="1660"/>
                  </a:cubicBezTo>
                  <a:cubicBezTo>
                    <a:pt x="1274" y="1656"/>
                    <a:pt x="1274" y="1656"/>
                    <a:pt x="1274" y="1656"/>
                  </a:cubicBezTo>
                  <a:cubicBezTo>
                    <a:pt x="1285" y="1663"/>
                    <a:pt x="1285" y="1663"/>
                    <a:pt x="1285" y="1663"/>
                  </a:cubicBezTo>
                  <a:cubicBezTo>
                    <a:pt x="1291" y="1657"/>
                    <a:pt x="1291" y="1657"/>
                    <a:pt x="1291" y="1657"/>
                  </a:cubicBezTo>
                  <a:cubicBezTo>
                    <a:pt x="1302" y="1654"/>
                    <a:pt x="1302" y="1654"/>
                    <a:pt x="1302" y="1654"/>
                  </a:cubicBezTo>
                  <a:cubicBezTo>
                    <a:pt x="1302" y="1654"/>
                    <a:pt x="1305" y="1671"/>
                    <a:pt x="1309" y="1675"/>
                  </a:cubicBezTo>
                  <a:cubicBezTo>
                    <a:pt x="1315" y="1679"/>
                    <a:pt x="1337" y="1674"/>
                    <a:pt x="1347" y="1674"/>
                  </a:cubicBezTo>
                  <a:cubicBezTo>
                    <a:pt x="1357" y="1673"/>
                    <a:pt x="1359" y="1675"/>
                    <a:pt x="1359" y="1675"/>
                  </a:cubicBezTo>
                  <a:cubicBezTo>
                    <a:pt x="1367" y="1671"/>
                    <a:pt x="1367" y="1671"/>
                    <a:pt x="1367" y="1671"/>
                  </a:cubicBezTo>
                  <a:cubicBezTo>
                    <a:pt x="1367" y="1671"/>
                    <a:pt x="1371" y="1672"/>
                    <a:pt x="1378" y="1672"/>
                  </a:cubicBezTo>
                  <a:cubicBezTo>
                    <a:pt x="1383" y="1672"/>
                    <a:pt x="1388" y="1681"/>
                    <a:pt x="1388" y="1681"/>
                  </a:cubicBezTo>
                  <a:cubicBezTo>
                    <a:pt x="1390" y="1678"/>
                    <a:pt x="1390" y="1678"/>
                    <a:pt x="1390" y="1678"/>
                  </a:cubicBezTo>
                  <a:cubicBezTo>
                    <a:pt x="1390" y="1678"/>
                    <a:pt x="1407" y="1689"/>
                    <a:pt x="1408" y="1689"/>
                  </a:cubicBezTo>
                  <a:cubicBezTo>
                    <a:pt x="1411" y="1689"/>
                    <a:pt x="1417" y="1687"/>
                    <a:pt x="1429" y="1686"/>
                  </a:cubicBezTo>
                  <a:cubicBezTo>
                    <a:pt x="1440" y="1685"/>
                    <a:pt x="1435" y="1674"/>
                    <a:pt x="1435" y="1674"/>
                  </a:cubicBezTo>
                  <a:cubicBezTo>
                    <a:pt x="1438" y="1668"/>
                    <a:pt x="1438" y="1668"/>
                    <a:pt x="1438" y="1668"/>
                  </a:cubicBezTo>
                  <a:cubicBezTo>
                    <a:pt x="1437" y="1657"/>
                    <a:pt x="1437" y="1657"/>
                    <a:pt x="1437" y="1657"/>
                  </a:cubicBezTo>
                  <a:cubicBezTo>
                    <a:pt x="1446" y="1644"/>
                    <a:pt x="1446" y="1644"/>
                    <a:pt x="1446" y="1644"/>
                  </a:cubicBezTo>
                  <a:cubicBezTo>
                    <a:pt x="1445" y="1626"/>
                    <a:pt x="1445" y="1626"/>
                    <a:pt x="1445" y="1626"/>
                  </a:cubicBezTo>
                  <a:cubicBezTo>
                    <a:pt x="1434" y="1626"/>
                    <a:pt x="1434" y="1626"/>
                    <a:pt x="1434" y="1626"/>
                  </a:cubicBezTo>
                  <a:cubicBezTo>
                    <a:pt x="1417" y="1613"/>
                    <a:pt x="1417" y="1613"/>
                    <a:pt x="1417" y="1613"/>
                  </a:cubicBezTo>
                  <a:cubicBezTo>
                    <a:pt x="1417" y="1613"/>
                    <a:pt x="1406" y="1612"/>
                    <a:pt x="1404" y="1611"/>
                  </a:cubicBezTo>
                  <a:cubicBezTo>
                    <a:pt x="1402" y="1611"/>
                    <a:pt x="1391" y="1604"/>
                    <a:pt x="1391" y="1604"/>
                  </a:cubicBezTo>
                  <a:cubicBezTo>
                    <a:pt x="1391" y="1604"/>
                    <a:pt x="1387" y="1604"/>
                    <a:pt x="1382" y="1602"/>
                  </a:cubicBezTo>
                  <a:cubicBezTo>
                    <a:pt x="1378" y="1601"/>
                    <a:pt x="1380" y="1599"/>
                    <a:pt x="1376" y="1592"/>
                  </a:cubicBezTo>
                  <a:cubicBezTo>
                    <a:pt x="1372" y="1586"/>
                    <a:pt x="1365" y="1590"/>
                    <a:pt x="1358" y="1584"/>
                  </a:cubicBezTo>
                  <a:cubicBezTo>
                    <a:pt x="1352" y="1578"/>
                    <a:pt x="1356" y="1565"/>
                    <a:pt x="1356" y="1565"/>
                  </a:cubicBezTo>
                  <a:cubicBezTo>
                    <a:pt x="1350" y="1565"/>
                    <a:pt x="1350" y="1565"/>
                    <a:pt x="1350" y="1565"/>
                  </a:cubicBezTo>
                  <a:cubicBezTo>
                    <a:pt x="1341" y="1543"/>
                    <a:pt x="1341" y="1543"/>
                    <a:pt x="1341" y="1543"/>
                  </a:cubicBezTo>
                  <a:cubicBezTo>
                    <a:pt x="1341" y="1530"/>
                    <a:pt x="1341" y="1530"/>
                    <a:pt x="1341" y="1530"/>
                  </a:cubicBezTo>
                  <a:cubicBezTo>
                    <a:pt x="1343" y="1527"/>
                    <a:pt x="1343" y="1527"/>
                    <a:pt x="1343" y="1527"/>
                  </a:cubicBezTo>
                  <a:cubicBezTo>
                    <a:pt x="1343" y="1527"/>
                    <a:pt x="1342" y="1525"/>
                    <a:pt x="1339" y="1525"/>
                  </a:cubicBezTo>
                  <a:cubicBezTo>
                    <a:pt x="1335" y="1526"/>
                    <a:pt x="1338" y="1538"/>
                    <a:pt x="1338" y="1538"/>
                  </a:cubicBezTo>
                  <a:cubicBezTo>
                    <a:pt x="1342" y="1559"/>
                    <a:pt x="1342" y="1559"/>
                    <a:pt x="1342" y="1559"/>
                  </a:cubicBezTo>
                  <a:cubicBezTo>
                    <a:pt x="1339" y="1558"/>
                    <a:pt x="1339" y="1558"/>
                    <a:pt x="1339" y="1558"/>
                  </a:cubicBezTo>
                  <a:cubicBezTo>
                    <a:pt x="1337" y="1540"/>
                    <a:pt x="1337" y="1540"/>
                    <a:pt x="1337" y="1540"/>
                  </a:cubicBezTo>
                  <a:cubicBezTo>
                    <a:pt x="1333" y="1539"/>
                    <a:pt x="1333" y="1539"/>
                    <a:pt x="1333" y="1539"/>
                  </a:cubicBezTo>
                  <a:cubicBezTo>
                    <a:pt x="1313" y="1523"/>
                    <a:pt x="1313" y="1523"/>
                    <a:pt x="1313" y="1523"/>
                  </a:cubicBezTo>
                  <a:cubicBezTo>
                    <a:pt x="1313" y="1523"/>
                    <a:pt x="1310" y="1526"/>
                    <a:pt x="1308" y="1526"/>
                  </a:cubicBezTo>
                  <a:cubicBezTo>
                    <a:pt x="1306" y="1526"/>
                    <a:pt x="1304" y="1521"/>
                    <a:pt x="1301" y="1518"/>
                  </a:cubicBezTo>
                  <a:cubicBezTo>
                    <a:pt x="1297" y="1516"/>
                    <a:pt x="1286" y="1522"/>
                    <a:pt x="1286" y="1522"/>
                  </a:cubicBezTo>
                  <a:cubicBezTo>
                    <a:pt x="1286" y="1522"/>
                    <a:pt x="1277" y="1512"/>
                    <a:pt x="1275" y="1508"/>
                  </a:cubicBezTo>
                  <a:cubicBezTo>
                    <a:pt x="1273" y="1502"/>
                    <a:pt x="1281" y="1496"/>
                    <a:pt x="1285" y="1490"/>
                  </a:cubicBezTo>
                  <a:cubicBezTo>
                    <a:pt x="1290" y="1483"/>
                    <a:pt x="1287" y="1468"/>
                    <a:pt x="1287" y="1468"/>
                  </a:cubicBezTo>
                  <a:cubicBezTo>
                    <a:pt x="1283" y="1465"/>
                    <a:pt x="1283" y="1465"/>
                    <a:pt x="1283" y="1465"/>
                  </a:cubicBezTo>
                  <a:cubicBezTo>
                    <a:pt x="1287" y="1460"/>
                    <a:pt x="1287" y="1460"/>
                    <a:pt x="1287" y="1460"/>
                  </a:cubicBezTo>
                  <a:cubicBezTo>
                    <a:pt x="1284" y="1459"/>
                    <a:pt x="1284" y="1459"/>
                    <a:pt x="1284" y="1459"/>
                  </a:cubicBezTo>
                  <a:cubicBezTo>
                    <a:pt x="1283" y="1443"/>
                    <a:pt x="1283" y="1443"/>
                    <a:pt x="1283" y="1443"/>
                  </a:cubicBezTo>
                  <a:cubicBezTo>
                    <a:pt x="1286" y="1436"/>
                    <a:pt x="1286" y="1436"/>
                    <a:pt x="1286" y="1436"/>
                  </a:cubicBezTo>
                  <a:cubicBezTo>
                    <a:pt x="1286" y="1436"/>
                    <a:pt x="1280" y="1431"/>
                    <a:pt x="1281" y="1428"/>
                  </a:cubicBezTo>
                  <a:cubicBezTo>
                    <a:pt x="1282" y="1424"/>
                    <a:pt x="1291" y="1430"/>
                    <a:pt x="1296" y="1431"/>
                  </a:cubicBezTo>
                  <a:cubicBezTo>
                    <a:pt x="1300" y="1431"/>
                    <a:pt x="1299" y="1428"/>
                    <a:pt x="1299" y="1428"/>
                  </a:cubicBezTo>
                  <a:cubicBezTo>
                    <a:pt x="1299" y="1428"/>
                    <a:pt x="1291" y="1422"/>
                    <a:pt x="1293" y="1419"/>
                  </a:cubicBezTo>
                  <a:cubicBezTo>
                    <a:pt x="1296" y="1416"/>
                    <a:pt x="1306" y="1410"/>
                    <a:pt x="1306" y="1410"/>
                  </a:cubicBezTo>
                  <a:cubicBezTo>
                    <a:pt x="1313" y="1412"/>
                    <a:pt x="1313" y="1412"/>
                    <a:pt x="1313" y="1412"/>
                  </a:cubicBezTo>
                  <a:cubicBezTo>
                    <a:pt x="1317" y="1411"/>
                    <a:pt x="1317" y="1411"/>
                    <a:pt x="1317" y="1411"/>
                  </a:cubicBezTo>
                  <a:cubicBezTo>
                    <a:pt x="1305" y="1402"/>
                    <a:pt x="1305" y="1402"/>
                    <a:pt x="1305" y="1402"/>
                  </a:cubicBezTo>
                  <a:cubicBezTo>
                    <a:pt x="1308" y="1397"/>
                    <a:pt x="1308" y="1397"/>
                    <a:pt x="1308" y="1397"/>
                  </a:cubicBezTo>
                  <a:cubicBezTo>
                    <a:pt x="1322" y="1404"/>
                    <a:pt x="1322" y="1404"/>
                    <a:pt x="1322" y="1404"/>
                  </a:cubicBezTo>
                  <a:cubicBezTo>
                    <a:pt x="1327" y="1402"/>
                    <a:pt x="1327" y="1402"/>
                    <a:pt x="1327" y="1402"/>
                  </a:cubicBezTo>
                  <a:cubicBezTo>
                    <a:pt x="1320" y="1398"/>
                    <a:pt x="1320" y="1398"/>
                    <a:pt x="1320" y="1398"/>
                  </a:cubicBezTo>
                  <a:cubicBezTo>
                    <a:pt x="1323" y="1391"/>
                    <a:pt x="1323" y="1391"/>
                    <a:pt x="1323" y="1391"/>
                  </a:cubicBezTo>
                  <a:cubicBezTo>
                    <a:pt x="1313" y="1386"/>
                    <a:pt x="1313" y="1386"/>
                    <a:pt x="1313" y="1386"/>
                  </a:cubicBezTo>
                  <a:cubicBezTo>
                    <a:pt x="1314" y="1381"/>
                    <a:pt x="1314" y="1381"/>
                    <a:pt x="1314" y="1381"/>
                  </a:cubicBezTo>
                  <a:cubicBezTo>
                    <a:pt x="1322" y="1383"/>
                    <a:pt x="1322" y="1383"/>
                    <a:pt x="1322" y="1383"/>
                  </a:cubicBezTo>
                  <a:cubicBezTo>
                    <a:pt x="1325" y="1383"/>
                    <a:pt x="1325" y="1383"/>
                    <a:pt x="1325" y="1383"/>
                  </a:cubicBezTo>
                  <a:cubicBezTo>
                    <a:pt x="1318" y="1378"/>
                    <a:pt x="1318" y="1378"/>
                    <a:pt x="1318" y="1378"/>
                  </a:cubicBezTo>
                  <a:cubicBezTo>
                    <a:pt x="1323" y="1375"/>
                    <a:pt x="1323" y="1375"/>
                    <a:pt x="1323" y="1375"/>
                  </a:cubicBezTo>
                  <a:cubicBezTo>
                    <a:pt x="1331" y="1379"/>
                    <a:pt x="1331" y="1379"/>
                    <a:pt x="1331" y="1379"/>
                  </a:cubicBezTo>
                  <a:cubicBezTo>
                    <a:pt x="1331" y="1379"/>
                    <a:pt x="1331" y="1372"/>
                    <a:pt x="1329" y="1369"/>
                  </a:cubicBezTo>
                  <a:cubicBezTo>
                    <a:pt x="1326" y="1366"/>
                    <a:pt x="1319" y="1367"/>
                    <a:pt x="1320" y="1363"/>
                  </a:cubicBezTo>
                  <a:cubicBezTo>
                    <a:pt x="1321" y="1357"/>
                    <a:pt x="1332" y="1358"/>
                    <a:pt x="1332" y="1358"/>
                  </a:cubicBezTo>
                  <a:cubicBezTo>
                    <a:pt x="1324" y="1354"/>
                    <a:pt x="1324" y="1354"/>
                    <a:pt x="1324" y="1354"/>
                  </a:cubicBezTo>
                  <a:cubicBezTo>
                    <a:pt x="1324" y="1354"/>
                    <a:pt x="1301" y="1358"/>
                    <a:pt x="1290" y="1357"/>
                  </a:cubicBezTo>
                  <a:cubicBezTo>
                    <a:pt x="1281" y="1356"/>
                    <a:pt x="1280" y="1350"/>
                    <a:pt x="1284" y="1343"/>
                  </a:cubicBezTo>
                  <a:cubicBezTo>
                    <a:pt x="1288" y="1338"/>
                    <a:pt x="1298" y="1344"/>
                    <a:pt x="1302" y="1340"/>
                  </a:cubicBezTo>
                  <a:cubicBezTo>
                    <a:pt x="1307" y="1335"/>
                    <a:pt x="1288" y="1328"/>
                    <a:pt x="1281" y="1326"/>
                  </a:cubicBezTo>
                  <a:cubicBezTo>
                    <a:pt x="1273" y="1324"/>
                    <a:pt x="1268" y="1313"/>
                    <a:pt x="1263" y="1310"/>
                  </a:cubicBezTo>
                  <a:cubicBezTo>
                    <a:pt x="1257" y="1308"/>
                    <a:pt x="1256" y="1312"/>
                    <a:pt x="1249" y="1312"/>
                  </a:cubicBezTo>
                  <a:cubicBezTo>
                    <a:pt x="1242" y="1312"/>
                    <a:pt x="1241" y="1301"/>
                    <a:pt x="1232" y="1298"/>
                  </a:cubicBezTo>
                  <a:cubicBezTo>
                    <a:pt x="1222" y="1295"/>
                    <a:pt x="1225" y="1307"/>
                    <a:pt x="1218" y="1309"/>
                  </a:cubicBezTo>
                  <a:cubicBezTo>
                    <a:pt x="1211" y="1311"/>
                    <a:pt x="1206" y="1310"/>
                    <a:pt x="1206" y="1310"/>
                  </a:cubicBezTo>
                  <a:cubicBezTo>
                    <a:pt x="1210" y="1318"/>
                    <a:pt x="1210" y="1318"/>
                    <a:pt x="1210" y="1318"/>
                  </a:cubicBezTo>
                  <a:cubicBezTo>
                    <a:pt x="1210" y="1318"/>
                    <a:pt x="1198" y="1318"/>
                    <a:pt x="1192" y="1316"/>
                  </a:cubicBezTo>
                  <a:cubicBezTo>
                    <a:pt x="1187" y="1315"/>
                    <a:pt x="1188" y="1308"/>
                    <a:pt x="1189" y="1306"/>
                  </a:cubicBezTo>
                  <a:cubicBezTo>
                    <a:pt x="1191" y="1303"/>
                    <a:pt x="1186" y="1301"/>
                    <a:pt x="1184" y="1298"/>
                  </a:cubicBezTo>
                  <a:cubicBezTo>
                    <a:pt x="1181" y="1296"/>
                    <a:pt x="1181" y="1292"/>
                    <a:pt x="1181" y="1292"/>
                  </a:cubicBezTo>
                  <a:cubicBezTo>
                    <a:pt x="1152" y="1298"/>
                    <a:pt x="1152" y="1298"/>
                    <a:pt x="1152" y="1298"/>
                  </a:cubicBezTo>
                  <a:cubicBezTo>
                    <a:pt x="1146" y="1259"/>
                    <a:pt x="1146" y="1259"/>
                    <a:pt x="1146" y="1259"/>
                  </a:cubicBezTo>
                  <a:cubicBezTo>
                    <a:pt x="1146" y="1259"/>
                    <a:pt x="1152" y="1249"/>
                    <a:pt x="1149" y="1241"/>
                  </a:cubicBezTo>
                  <a:cubicBezTo>
                    <a:pt x="1146" y="1232"/>
                    <a:pt x="1136" y="1234"/>
                    <a:pt x="1136" y="1234"/>
                  </a:cubicBezTo>
                  <a:cubicBezTo>
                    <a:pt x="1124" y="1199"/>
                    <a:pt x="1124" y="1199"/>
                    <a:pt x="1124" y="1199"/>
                  </a:cubicBezTo>
                  <a:cubicBezTo>
                    <a:pt x="1133" y="1184"/>
                    <a:pt x="1133" y="1184"/>
                    <a:pt x="1133" y="1184"/>
                  </a:cubicBezTo>
                  <a:cubicBezTo>
                    <a:pt x="1134" y="1179"/>
                    <a:pt x="1125" y="1178"/>
                    <a:pt x="1125" y="1170"/>
                  </a:cubicBezTo>
                  <a:cubicBezTo>
                    <a:pt x="1124" y="1163"/>
                    <a:pt x="1128" y="1156"/>
                    <a:pt x="1138" y="1156"/>
                  </a:cubicBezTo>
                  <a:cubicBezTo>
                    <a:pt x="1146" y="1156"/>
                    <a:pt x="1158" y="1165"/>
                    <a:pt x="1161" y="1170"/>
                  </a:cubicBezTo>
                  <a:cubicBezTo>
                    <a:pt x="1165" y="1177"/>
                    <a:pt x="1172" y="1176"/>
                    <a:pt x="1178" y="1176"/>
                  </a:cubicBezTo>
                  <a:cubicBezTo>
                    <a:pt x="1184" y="1176"/>
                    <a:pt x="1190" y="1162"/>
                    <a:pt x="1191" y="1152"/>
                  </a:cubicBezTo>
                  <a:cubicBezTo>
                    <a:pt x="1192" y="1143"/>
                    <a:pt x="1185" y="1151"/>
                    <a:pt x="1185" y="1151"/>
                  </a:cubicBezTo>
                  <a:cubicBezTo>
                    <a:pt x="1185" y="1151"/>
                    <a:pt x="1182" y="1146"/>
                    <a:pt x="1177" y="1144"/>
                  </a:cubicBezTo>
                  <a:cubicBezTo>
                    <a:pt x="1173" y="1140"/>
                    <a:pt x="1163" y="1128"/>
                    <a:pt x="1163" y="1128"/>
                  </a:cubicBezTo>
                  <a:cubicBezTo>
                    <a:pt x="1159" y="1128"/>
                    <a:pt x="1159" y="1128"/>
                    <a:pt x="1159" y="1128"/>
                  </a:cubicBezTo>
                  <a:cubicBezTo>
                    <a:pt x="1160" y="1124"/>
                    <a:pt x="1160" y="1124"/>
                    <a:pt x="1160" y="1124"/>
                  </a:cubicBezTo>
                  <a:cubicBezTo>
                    <a:pt x="1160" y="1124"/>
                    <a:pt x="1165" y="1122"/>
                    <a:pt x="1171" y="1121"/>
                  </a:cubicBezTo>
                  <a:cubicBezTo>
                    <a:pt x="1177" y="1120"/>
                    <a:pt x="1175" y="1104"/>
                    <a:pt x="1175" y="1104"/>
                  </a:cubicBezTo>
                  <a:cubicBezTo>
                    <a:pt x="1175" y="1104"/>
                    <a:pt x="1182" y="1099"/>
                    <a:pt x="1183" y="1093"/>
                  </a:cubicBezTo>
                  <a:cubicBezTo>
                    <a:pt x="1185" y="1089"/>
                    <a:pt x="1175" y="1090"/>
                    <a:pt x="1175" y="1090"/>
                  </a:cubicBezTo>
                  <a:cubicBezTo>
                    <a:pt x="1173" y="1080"/>
                    <a:pt x="1173" y="1080"/>
                    <a:pt x="1173" y="1080"/>
                  </a:cubicBezTo>
                  <a:cubicBezTo>
                    <a:pt x="1183" y="1074"/>
                    <a:pt x="1183" y="1074"/>
                    <a:pt x="1183" y="1074"/>
                  </a:cubicBezTo>
                  <a:cubicBezTo>
                    <a:pt x="1189" y="1063"/>
                    <a:pt x="1189" y="1063"/>
                    <a:pt x="1189" y="1063"/>
                  </a:cubicBezTo>
                  <a:cubicBezTo>
                    <a:pt x="1189" y="1063"/>
                    <a:pt x="1202" y="1055"/>
                    <a:pt x="1202" y="1052"/>
                  </a:cubicBezTo>
                  <a:cubicBezTo>
                    <a:pt x="1203" y="1048"/>
                    <a:pt x="1196" y="1049"/>
                    <a:pt x="1195" y="1045"/>
                  </a:cubicBezTo>
                  <a:cubicBezTo>
                    <a:pt x="1194" y="1043"/>
                    <a:pt x="1204" y="1041"/>
                    <a:pt x="1204" y="1038"/>
                  </a:cubicBezTo>
                  <a:cubicBezTo>
                    <a:pt x="1204" y="1036"/>
                    <a:pt x="1199" y="1029"/>
                    <a:pt x="1201" y="1027"/>
                  </a:cubicBezTo>
                  <a:cubicBezTo>
                    <a:pt x="1203" y="1025"/>
                    <a:pt x="1208" y="1022"/>
                    <a:pt x="1208" y="1022"/>
                  </a:cubicBezTo>
                  <a:cubicBezTo>
                    <a:pt x="1201" y="1016"/>
                    <a:pt x="1201" y="1016"/>
                    <a:pt x="1201" y="1016"/>
                  </a:cubicBezTo>
                  <a:cubicBezTo>
                    <a:pt x="1212" y="1016"/>
                    <a:pt x="1212" y="1016"/>
                    <a:pt x="1212" y="1016"/>
                  </a:cubicBezTo>
                  <a:cubicBezTo>
                    <a:pt x="1212" y="1016"/>
                    <a:pt x="1223" y="1009"/>
                    <a:pt x="1226" y="1010"/>
                  </a:cubicBezTo>
                  <a:cubicBezTo>
                    <a:pt x="1229" y="1011"/>
                    <a:pt x="1223" y="1021"/>
                    <a:pt x="1228" y="1022"/>
                  </a:cubicBezTo>
                  <a:cubicBezTo>
                    <a:pt x="1234" y="1024"/>
                    <a:pt x="1235" y="1011"/>
                    <a:pt x="1235" y="1011"/>
                  </a:cubicBezTo>
                  <a:cubicBezTo>
                    <a:pt x="1235" y="1011"/>
                    <a:pt x="1240" y="1012"/>
                    <a:pt x="1243" y="1010"/>
                  </a:cubicBezTo>
                  <a:cubicBezTo>
                    <a:pt x="1247" y="1008"/>
                    <a:pt x="1238" y="1002"/>
                    <a:pt x="1240" y="997"/>
                  </a:cubicBezTo>
                  <a:cubicBezTo>
                    <a:pt x="1242" y="993"/>
                    <a:pt x="1251" y="993"/>
                    <a:pt x="1251" y="993"/>
                  </a:cubicBezTo>
                  <a:cubicBezTo>
                    <a:pt x="1249" y="986"/>
                    <a:pt x="1249" y="986"/>
                    <a:pt x="1249" y="986"/>
                  </a:cubicBezTo>
                  <a:cubicBezTo>
                    <a:pt x="1253" y="984"/>
                    <a:pt x="1253" y="984"/>
                    <a:pt x="1253" y="984"/>
                  </a:cubicBezTo>
                  <a:cubicBezTo>
                    <a:pt x="1253" y="984"/>
                    <a:pt x="1269" y="994"/>
                    <a:pt x="1275" y="993"/>
                  </a:cubicBezTo>
                  <a:cubicBezTo>
                    <a:pt x="1281" y="993"/>
                    <a:pt x="1277" y="987"/>
                    <a:pt x="1277" y="987"/>
                  </a:cubicBezTo>
                  <a:cubicBezTo>
                    <a:pt x="1285" y="987"/>
                    <a:pt x="1285" y="987"/>
                    <a:pt x="1285" y="987"/>
                  </a:cubicBezTo>
                  <a:cubicBezTo>
                    <a:pt x="1285" y="987"/>
                    <a:pt x="1298" y="975"/>
                    <a:pt x="1306" y="974"/>
                  </a:cubicBezTo>
                  <a:cubicBezTo>
                    <a:pt x="1315" y="973"/>
                    <a:pt x="1313" y="981"/>
                    <a:pt x="1318" y="982"/>
                  </a:cubicBezTo>
                  <a:cubicBezTo>
                    <a:pt x="1322" y="984"/>
                    <a:pt x="1323" y="982"/>
                    <a:pt x="1326" y="978"/>
                  </a:cubicBezTo>
                  <a:cubicBezTo>
                    <a:pt x="1329" y="975"/>
                    <a:pt x="1334" y="976"/>
                    <a:pt x="1339" y="980"/>
                  </a:cubicBezTo>
                  <a:cubicBezTo>
                    <a:pt x="1345" y="985"/>
                    <a:pt x="1351" y="984"/>
                    <a:pt x="1356" y="984"/>
                  </a:cubicBezTo>
                  <a:cubicBezTo>
                    <a:pt x="1362" y="984"/>
                    <a:pt x="1363" y="985"/>
                    <a:pt x="1363" y="989"/>
                  </a:cubicBezTo>
                  <a:cubicBezTo>
                    <a:pt x="1363" y="992"/>
                    <a:pt x="1366" y="998"/>
                    <a:pt x="1370" y="1001"/>
                  </a:cubicBezTo>
                  <a:cubicBezTo>
                    <a:pt x="1375" y="1004"/>
                    <a:pt x="1376" y="996"/>
                    <a:pt x="1378" y="992"/>
                  </a:cubicBezTo>
                  <a:cubicBezTo>
                    <a:pt x="1379" y="988"/>
                    <a:pt x="1371" y="988"/>
                    <a:pt x="1369" y="984"/>
                  </a:cubicBezTo>
                  <a:cubicBezTo>
                    <a:pt x="1367" y="978"/>
                    <a:pt x="1362" y="979"/>
                    <a:pt x="1358" y="979"/>
                  </a:cubicBezTo>
                  <a:cubicBezTo>
                    <a:pt x="1356" y="978"/>
                    <a:pt x="1356" y="975"/>
                    <a:pt x="1358" y="971"/>
                  </a:cubicBezTo>
                  <a:cubicBezTo>
                    <a:pt x="1360" y="966"/>
                    <a:pt x="1372" y="971"/>
                    <a:pt x="1372" y="971"/>
                  </a:cubicBezTo>
                  <a:cubicBezTo>
                    <a:pt x="1372" y="971"/>
                    <a:pt x="1375" y="969"/>
                    <a:pt x="1379" y="969"/>
                  </a:cubicBezTo>
                  <a:cubicBezTo>
                    <a:pt x="1382" y="970"/>
                    <a:pt x="1382" y="973"/>
                    <a:pt x="1382" y="973"/>
                  </a:cubicBezTo>
                  <a:cubicBezTo>
                    <a:pt x="1414" y="970"/>
                    <a:pt x="1414" y="970"/>
                    <a:pt x="1414" y="970"/>
                  </a:cubicBezTo>
                  <a:cubicBezTo>
                    <a:pt x="1414" y="970"/>
                    <a:pt x="1418" y="958"/>
                    <a:pt x="1420" y="953"/>
                  </a:cubicBezTo>
                  <a:cubicBezTo>
                    <a:pt x="1422" y="946"/>
                    <a:pt x="1416" y="940"/>
                    <a:pt x="1416" y="940"/>
                  </a:cubicBezTo>
                  <a:cubicBezTo>
                    <a:pt x="1421" y="938"/>
                    <a:pt x="1421" y="938"/>
                    <a:pt x="1421" y="938"/>
                  </a:cubicBezTo>
                  <a:cubicBezTo>
                    <a:pt x="1420" y="923"/>
                    <a:pt x="1420" y="923"/>
                    <a:pt x="1420" y="923"/>
                  </a:cubicBezTo>
                  <a:cubicBezTo>
                    <a:pt x="1420" y="923"/>
                    <a:pt x="1427" y="927"/>
                    <a:pt x="1431" y="927"/>
                  </a:cubicBezTo>
                  <a:cubicBezTo>
                    <a:pt x="1435" y="926"/>
                    <a:pt x="1430" y="918"/>
                    <a:pt x="1430" y="918"/>
                  </a:cubicBezTo>
                  <a:cubicBezTo>
                    <a:pt x="1442" y="909"/>
                    <a:pt x="1442" y="909"/>
                    <a:pt x="1442" y="909"/>
                  </a:cubicBezTo>
                  <a:cubicBezTo>
                    <a:pt x="1442" y="909"/>
                    <a:pt x="1456" y="914"/>
                    <a:pt x="1461" y="912"/>
                  </a:cubicBezTo>
                  <a:cubicBezTo>
                    <a:pt x="1464" y="910"/>
                    <a:pt x="1460" y="906"/>
                    <a:pt x="1461" y="903"/>
                  </a:cubicBezTo>
                  <a:cubicBezTo>
                    <a:pt x="1462" y="902"/>
                    <a:pt x="1469" y="902"/>
                    <a:pt x="1469" y="902"/>
                  </a:cubicBezTo>
                  <a:cubicBezTo>
                    <a:pt x="1460" y="893"/>
                    <a:pt x="1460" y="893"/>
                    <a:pt x="1460" y="893"/>
                  </a:cubicBezTo>
                  <a:cubicBezTo>
                    <a:pt x="1460" y="893"/>
                    <a:pt x="1477" y="886"/>
                    <a:pt x="1479" y="884"/>
                  </a:cubicBezTo>
                  <a:cubicBezTo>
                    <a:pt x="1482" y="882"/>
                    <a:pt x="1478" y="875"/>
                    <a:pt x="1478" y="875"/>
                  </a:cubicBezTo>
                  <a:cubicBezTo>
                    <a:pt x="1478" y="875"/>
                    <a:pt x="1483" y="874"/>
                    <a:pt x="1488" y="872"/>
                  </a:cubicBezTo>
                  <a:cubicBezTo>
                    <a:pt x="1494" y="872"/>
                    <a:pt x="1494" y="878"/>
                    <a:pt x="1503" y="883"/>
                  </a:cubicBezTo>
                  <a:cubicBezTo>
                    <a:pt x="1511" y="887"/>
                    <a:pt x="1523" y="880"/>
                    <a:pt x="1532" y="876"/>
                  </a:cubicBezTo>
                  <a:cubicBezTo>
                    <a:pt x="1532" y="795"/>
                    <a:pt x="1532" y="795"/>
                    <a:pt x="1532" y="795"/>
                  </a:cubicBezTo>
                  <a:cubicBezTo>
                    <a:pt x="1522" y="796"/>
                    <a:pt x="1522" y="796"/>
                    <a:pt x="1522" y="796"/>
                  </a:cubicBezTo>
                  <a:cubicBezTo>
                    <a:pt x="1522" y="796"/>
                    <a:pt x="1526" y="792"/>
                    <a:pt x="1522" y="788"/>
                  </a:cubicBezTo>
                  <a:cubicBezTo>
                    <a:pt x="1520" y="785"/>
                    <a:pt x="1504" y="795"/>
                    <a:pt x="1504" y="795"/>
                  </a:cubicBezTo>
                  <a:cubicBezTo>
                    <a:pt x="1501" y="790"/>
                    <a:pt x="1501" y="790"/>
                    <a:pt x="1501" y="790"/>
                  </a:cubicBezTo>
                  <a:cubicBezTo>
                    <a:pt x="1509" y="767"/>
                    <a:pt x="1509" y="767"/>
                    <a:pt x="1509" y="767"/>
                  </a:cubicBezTo>
                  <a:cubicBezTo>
                    <a:pt x="1515" y="765"/>
                    <a:pt x="1515" y="765"/>
                    <a:pt x="1515" y="765"/>
                  </a:cubicBezTo>
                  <a:cubicBezTo>
                    <a:pt x="1517" y="743"/>
                    <a:pt x="1517" y="743"/>
                    <a:pt x="1517" y="743"/>
                  </a:cubicBezTo>
                  <a:cubicBezTo>
                    <a:pt x="1507" y="740"/>
                    <a:pt x="1507" y="740"/>
                    <a:pt x="1507" y="740"/>
                  </a:cubicBezTo>
                  <a:cubicBezTo>
                    <a:pt x="1502" y="742"/>
                    <a:pt x="1502" y="742"/>
                    <a:pt x="1502" y="742"/>
                  </a:cubicBezTo>
                  <a:cubicBezTo>
                    <a:pt x="1488" y="737"/>
                    <a:pt x="1488" y="737"/>
                    <a:pt x="1488" y="737"/>
                  </a:cubicBezTo>
                  <a:cubicBezTo>
                    <a:pt x="1488" y="737"/>
                    <a:pt x="1491" y="720"/>
                    <a:pt x="1491" y="718"/>
                  </a:cubicBezTo>
                  <a:cubicBezTo>
                    <a:pt x="1491" y="717"/>
                    <a:pt x="1485" y="715"/>
                    <a:pt x="1485" y="715"/>
                  </a:cubicBezTo>
                  <a:cubicBezTo>
                    <a:pt x="1496" y="707"/>
                    <a:pt x="1496" y="707"/>
                    <a:pt x="1496" y="707"/>
                  </a:cubicBezTo>
                  <a:cubicBezTo>
                    <a:pt x="1501" y="702"/>
                    <a:pt x="1501" y="702"/>
                    <a:pt x="1501" y="702"/>
                  </a:cubicBezTo>
                  <a:cubicBezTo>
                    <a:pt x="1510" y="701"/>
                    <a:pt x="1510" y="701"/>
                    <a:pt x="1510" y="701"/>
                  </a:cubicBezTo>
                  <a:cubicBezTo>
                    <a:pt x="1510" y="701"/>
                    <a:pt x="1516" y="692"/>
                    <a:pt x="1520" y="690"/>
                  </a:cubicBezTo>
                  <a:cubicBezTo>
                    <a:pt x="1524" y="688"/>
                    <a:pt x="1522" y="685"/>
                    <a:pt x="1517" y="681"/>
                  </a:cubicBezTo>
                  <a:cubicBezTo>
                    <a:pt x="1513" y="677"/>
                    <a:pt x="1511" y="683"/>
                    <a:pt x="1506" y="685"/>
                  </a:cubicBezTo>
                  <a:cubicBezTo>
                    <a:pt x="1503" y="686"/>
                    <a:pt x="1497" y="686"/>
                    <a:pt x="1497" y="686"/>
                  </a:cubicBezTo>
                  <a:cubicBezTo>
                    <a:pt x="1498" y="690"/>
                    <a:pt x="1498" y="690"/>
                    <a:pt x="1498" y="690"/>
                  </a:cubicBezTo>
                  <a:cubicBezTo>
                    <a:pt x="1482" y="695"/>
                    <a:pt x="1482" y="695"/>
                    <a:pt x="1482" y="695"/>
                  </a:cubicBezTo>
                  <a:cubicBezTo>
                    <a:pt x="1478" y="682"/>
                    <a:pt x="1478" y="682"/>
                    <a:pt x="1478" y="682"/>
                  </a:cubicBezTo>
                  <a:cubicBezTo>
                    <a:pt x="1478" y="682"/>
                    <a:pt x="1488" y="677"/>
                    <a:pt x="1483" y="674"/>
                  </a:cubicBezTo>
                  <a:cubicBezTo>
                    <a:pt x="1478" y="670"/>
                    <a:pt x="1472" y="682"/>
                    <a:pt x="1472" y="682"/>
                  </a:cubicBezTo>
                  <a:cubicBezTo>
                    <a:pt x="1466" y="681"/>
                    <a:pt x="1466" y="681"/>
                    <a:pt x="1466" y="681"/>
                  </a:cubicBezTo>
                  <a:cubicBezTo>
                    <a:pt x="1457" y="685"/>
                    <a:pt x="1457" y="685"/>
                    <a:pt x="1457" y="685"/>
                  </a:cubicBezTo>
                  <a:cubicBezTo>
                    <a:pt x="1460" y="679"/>
                    <a:pt x="1460" y="679"/>
                    <a:pt x="1460" y="679"/>
                  </a:cubicBezTo>
                  <a:cubicBezTo>
                    <a:pt x="1458" y="667"/>
                    <a:pt x="1458" y="667"/>
                    <a:pt x="1458" y="667"/>
                  </a:cubicBezTo>
                  <a:cubicBezTo>
                    <a:pt x="1446" y="669"/>
                    <a:pt x="1446" y="669"/>
                    <a:pt x="1446" y="669"/>
                  </a:cubicBezTo>
                  <a:cubicBezTo>
                    <a:pt x="1455" y="660"/>
                    <a:pt x="1455" y="660"/>
                    <a:pt x="1455" y="660"/>
                  </a:cubicBezTo>
                  <a:cubicBezTo>
                    <a:pt x="1451" y="658"/>
                    <a:pt x="1451" y="658"/>
                    <a:pt x="1451" y="658"/>
                  </a:cubicBezTo>
                  <a:cubicBezTo>
                    <a:pt x="1452" y="650"/>
                    <a:pt x="1452" y="650"/>
                    <a:pt x="1452" y="650"/>
                  </a:cubicBezTo>
                  <a:cubicBezTo>
                    <a:pt x="1465" y="650"/>
                    <a:pt x="1465" y="650"/>
                    <a:pt x="1465" y="650"/>
                  </a:cubicBezTo>
                  <a:cubicBezTo>
                    <a:pt x="1467" y="644"/>
                    <a:pt x="1467" y="644"/>
                    <a:pt x="1467" y="644"/>
                  </a:cubicBezTo>
                  <a:cubicBezTo>
                    <a:pt x="1476" y="646"/>
                    <a:pt x="1476" y="646"/>
                    <a:pt x="1476" y="646"/>
                  </a:cubicBezTo>
                  <a:cubicBezTo>
                    <a:pt x="1478" y="639"/>
                    <a:pt x="1478" y="639"/>
                    <a:pt x="1478" y="639"/>
                  </a:cubicBezTo>
                  <a:cubicBezTo>
                    <a:pt x="1486" y="627"/>
                    <a:pt x="1486" y="627"/>
                    <a:pt x="1486" y="627"/>
                  </a:cubicBezTo>
                  <a:cubicBezTo>
                    <a:pt x="1486" y="627"/>
                    <a:pt x="1489" y="636"/>
                    <a:pt x="1495" y="633"/>
                  </a:cubicBezTo>
                  <a:cubicBezTo>
                    <a:pt x="1500" y="631"/>
                    <a:pt x="1490" y="619"/>
                    <a:pt x="1490" y="619"/>
                  </a:cubicBezTo>
                  <a:cubicBezTo>
                    <a:pt x="1505" y="606"/>
                    <a:pt x="1505" y="606"/>
                    <a:pt x="1505" y="606"/>
                  </a:cubicBezTo>
                  <a:cubicBezTo>
                    <a:pt x="1501" y="599"/>
                    <a:pt x="1501" y="599"/>
                    <a:pt x="1501" y="599"/>
                  </a:cubicBezTo>
                  <a:cubicBezTo>
                    <a:pt x="1509" y="596"/>
                    <a:pt x="1509" y="596"/>
                    <a:pt x="1509" y="596"/>
                  </a:cubicBezTo>
                  <a:cubicBezTo>
                    <a:pt x="1515" y="584"/>
                    <a:pt x="1515" y="584"/>
                    <a:pt x="1515" y="584"/>
                  </a:cubicBezTo>
                  <a:cubicBezTo>
                    <a:pt x="1515" y="584"/>
                    <a:pt x="1521" y="584"/>
                    <a:pt x="1522" y="581"/>
                  </a:cubicBezTo>
                  <a:cubicBezTo>
                    <a:pt x="1524" y="578"/>
                    <a:pt x="1519" y="575"/>
                    <a:pt x="1519" y="575"/>
                  </a:cubicBezTo>
                  <a:cubicBezTo>
                    <a:pt x="1532" y="556"/>
                    <a:pt x="1532" y="556"/>
                    <a:pt x="1532" y="556"/>
                  </a:cubicBezTo>
                  <a:lnTo>
                    <a:pt x="1532" y="0"/>
                  </a:lnTo>
                  <a:close/>
                  <a:moveTo>
                    <a:pt x="375" y="778"/>
                  </a:moveTo>
                  <a:cubicBezTo>
                    <a:pt x="373" y="786"/>
                    <a:pt x="367" y="785"/>
                    <a:pt x="367" y="785"/>
                  </a:cubicBezTo>
                  <a:cubicBezTo>
                    <a:pt x="367" y="785"/>
                    <a:pt x="377" y="803"/>
                    <a:pt x="372" y="806"/>
                  </a:cubicBezTo>
                  <a:cubicBezTo>
                    <a:pt x="366" y="809"/>
                    <a:pt x="357" y="806"/>
                    <a:pt x="357" y="806"/>
                  </a:cubicBezTo>
                  <a:cubicBezTo>
                    <a:pt x="346" y="807"/>
                    <a:pt x="346" y="807"/>
                    <a:pt x="346" y="807"/>
                  </a:cubicBezTo>
                  <a:cubicBezTo>
                    <a:pt x="340" y="816"/>
                    <a:pt x="340" y="816"/>
                    <a:pt x="340" y="816"/>
                  </a:cubicBezTo>
                  <a:cubicBezTo>
                    <a:pt x="340" y="816"/>
                    <a:pt x="350" y="830"/>
                    <a:pt x="341" y="830"/>
                  </a:cubicBezTo>
                  <a:cubicBezTo>
                    <a:pt x="334" y="831"/>
                    <a:pt x="324" y="830"/>
                    <a:pt x="324" y="830"/>
                  </a:cubicBezTo>
                  <a:cubicBezTo>
                    <a:pt x="324" y="818"/>
                    <a:pt x="324" y="818"/>
                    <a:pt x="324" y="818"/>
                  </a:cubicBezTo>
                  <a:cubicBezTo>
                    <a:pt x="316" y="814"/>
                    <a:pt x="316" y="814"/>
                    <a:pt x="316" y="814"/>
                  </a:cubicBezTo>
                  <a:cubicBezTo>
                    <a:pt x="316" y="814"/>
                    <a:pt x="319" y="808"/>
                    <a:pt x="313" y="803"/>
                  </a:cubicBezTo>
                  <a:cubicBezTo>
                    <a:pt x="307" y="798"/>
                    <a:pt x="299" y="792"/>
                    <a:pt x="299" y="792"/>
                  </a:cubicBezTo>
                  <a:cubicBezTo>
                    <a:pt x="299" y="792"/>
                    <a:pt x="299" y="786"/>
                    <a:pt x="295" y="781"/>
                  </a:cubicBezTo>
                  <a:cubicBezTo>
                    <a:pt x="291" y="775"/>
                    <a:pt x="266" y="769"/>
                    <a:pt x="266" y="764"/>
                  </a:cubicBezTo>
                  <a:cubicBezTo>
                    <a:pt x="267" y="758"/>
                    <a:pt x="277" y="754"/>
                    <a:pt x="277" y="754"/>
                  </a:cubicBezTo>
                  <a:cubicBezTo>
                    <a:pt x="275" y="744"/>
                    <a:pt x="275" y="744"/>
                    <a:pt x="275" y="744"/>
                  </a:cubicBezTo>
                  <a:cubicBezTo>
                    <a:pt x="275" y="744"/>
                    <a:pt x="285" y="740"/>
                    <a:pt x="285" y="736"/>
                  </a:cubicBezTo>
                  <a:cubicBezTo>
                    <a:pt x="285" y="730"/>
                    <a:pt x="286" y="722"/>
                    <a:pt x="286" y="722"/>
                  </a:cubicBezTo>
                  <a:cubicBezTo>
                    <a:pt x="291" y="723"/>
                    <a:pt x="297" y="724"/>
                    <a:pt x="297" y="724"/>
                  </a:cubicBezTo>
                  <a:cubicBezTo>
                    <a:pt x="301" y="729"/>
                    <a:pt x="301" y="729"/>
                    <a:pt x="301" y="729"/>
                  </a:cubicBezTo>
                  <a:cubicBezTo>
                    <a:pt x="302" y="726"/>
                    <a:pt x="302" y="726"/>
                    <a:pt x="302" y="726"/>
                  </a:cubicBezTo>
                  <a:cubicBezTo>
                    <a:pt x="310" y="726"/>
                    <a:pt x="310" y="726"/>
                    <a:pt x="310" y="726"/>
                  </a:cubicBezTo>
                  <a:cubicBezTo>
                    <a:pt x="316" y="735"/>
                    <a:pt x="316" y="735"/>
                    <a:pt x="316" y="735"/>
                  </a:cubicBezTo>
                  <a:cubicBezTo>
                    <a:pt x="319" y="732"/>
                    <a:pt x="319" y="732"/>
                    <a:pt x="319" y="732"/>
                  </a:cubicBezTo>
                  <a:cubicBezTo>
                    <a:pt x="325" y="739"/>
                    <a:pt x="325" y="739"/>
                    <a:pt x="325" y="739"/>
                  </a:cubicBezTo>
                  <a:cubicBezTo>
                    <a:pt x="315" y="739"/>
                    <a:pt x="315" y="739"/>
                    <a:pt x="315" y="739"/>
                  </a:cubicBezTo>
                  <a:cubicBezTo>
                    <a:pt x="315" y="739"/>
                    <a:pt x="313" y="742"/>
                    <a:pt x="316" y="743"/>
                  </a:cubicBezTo>
                  <a:cubicBezTo>
                    <a:pt x="319" y="744"/>
                    <a:pt x="321" y="741"/>
                    <a:pt x="321" y="741"/>
                  </a:cubicBezTo>
                  <a:cubicBezTo>
                    <a:pt x="321" y="741"/>
                    <a:pt x="341" y="739"/>
                    <a:pt x="349" y="744"/>
                  </a:cubicBezTo>
                  <a:cubicBezTo>
                    <a:pt x="355" y="751"/>
                    <a:pt x="356" y="755"/>
                    <a:pt x="356" y="755"/>
                  </a:cubicBezTo>
                  <a:cubicBezTo>
                    <a:pt x="366" y="760"/>
                    <a:pt x="366" y="760"/>
                    <a:pt x="366" y="760"/>
                  </a:cubicBezTo>
                  <a:cubicBezTo>
                    <a:pt x="369" y="770"/>
                    <a:pt x="369" y="770"/>
                    <a:pt x="369" y="770"/>
                  </a:cubicBezTo>
                  <a:cubicBezTo>
                    <a:pt x="369" y="770"/>
                    <a:pt x="376" y="771"/>
                    <a:pt x="375" y="778"/>
                  </a:cubicBezTo>
                  <a:close/>
                  <a:moveTo>
                    <a:pt x="464" y="712"/>
                  </a:moveTo>
                  <a:cubicBezTo>
                    <a:pt x="462" y="717"/>
                    <a:pt x="462" y="724"/>
                    <a:pt x="462" y="724"/>
                  </a:cubicBezTo>
                  <a:cubicBezTo>
                    <a:pt x="449" y="726"/>
                    <a:pt x="449" y="726"/>
                    <a:pt x="449" y="726"/>
                  </a:cubicBezTo>
                  <a:cubicBezTo>
                    <a:pt x="449" y="726"/>
                    <a:pt x="454" y="717"/>
                    <a:pt x="446" y="708"/>
                  </a:cubicBezTo>
                  <a:cubicBezTo>
                    <a:pt x="437" y="698"/>
                    <a:pt x="425" y="697"/>
                    <a:pt x="425" y="697"/>
                  </a:cubicBezTo>
                  <a:cubicBezTo>
                    <a:pt x="408" y="694"/>
                    <a:pt x="408" y="694"/>
                    <a:pt x="408" y="694"/>
                  </a:cubicBezTo>
                  <a:cubicBezTo>
                    <a:pt x="388" y="677"/>
                    <a:pt x="388" y="677"/>
                    <a:pt x="388" y="677"/>
                  </a:cubicBezTo>
                  <a:cubicBezTo>
                    <a:pt x="398" y="683"/>
                    <a:pt x="398" y="683"/>
                    <a:pt x="398" y="683"/>
                  </a:cubicBezTo>
                  <a:cubicBezTo>
                    <a:pt x="401" y="683"/>
                    <a:pt x="401" y="683"/>
                    <a:pt x="401" y="683"/>
                  </a:cubicBezTo>
                  <a:cubicBezTo>
                    <a:pt x="401" y="674"/>
                    <a:pt x="401" y="674"/>
                    <a:pt x="401" y="674"/>
                  </a:cubicBezTo>
                  <a:cubicBezTo>
                    <a:pt x="392" y="669"/>
                    <a:pt x="392" y="669"/>
                    <a:pt x="392" y="669"/>
                  </a:cubicBezTo>
                  <a:cubicBezTo>
                    <a:pt x="389" y="667"/>
                    <a:pt x="389" y="667"/>
                    <a:pt x="389" y="667"/>
                  </a:cubicBezTo>
                  <a:cubicBezTo>
                    <a:pt x="381" y="658"/>
                    <a:pt x="381" y="658"/>
                    <a:pt x="381" y="658"/>
                  </a:cubicBezTo>
                  <a:cubicBezTo>
                    <a:pt x="373" y="650"/>
                    <a:pt x="373" y="650"/>
                    <a:pt x="373" y="650"/>
                  </a:cubicBezTo>
                  <a:cubicBezTo>
                    <a:pt x="375" y="650"/>
                    <a:pt x="375" y="650"/>
                    <a:pt x="375" y="650"/>
                  </a:cubicBezTo>
                  <a:cubicBezTo>
                    <a:pt x="384" y="656"/>
                    <a:pt x="384" y="656"/>
                    <a:pt x="384" y="656"/>
                  </a:cubicBezTo>
                  <a:cubicBezTo>
                    <a:pt x="386" y="661"/>
                    <a:pt x="386" y="661"/>
                    <a:pt x="386" y="661"/>
                  </a:cubicBezTo>
                  <a:cubicBezTo>
                    <a:pt x="401" y="669"/>
                    <a:pt x="401" y="669"/>
                    <a:pt x="401" y="669"/>
                  </a:cubicBezTo>
                  <a:cubicBezTo>
                    <a:pt x="401" y="666"/>
                    <a:pt x="401" y="666"/>
                    <a:pt x="401" y="666"/>
                  </a:cubicBezTo>
                  <a:cubicBezTo>
                    <a:pt x="395" y="658"/>
                    <a:pt x="395" y="658"/>
                    <a:pt x="395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85" y="646"/>
                    <a:pt x="385" y="646"/>
                    <a:pt x="385" y="646"/>
                  </a:cubicBezTo>
                  <a:cubicBezTo>
                    <a:pt x="398" y="653"/>
                    <a:pt x="398" y="653"/>
                    <a:pt x="398" y="653"/>
                  </a:cubicBezTo>
                  <a:cubicBezTo>
                    <a:pt x="385" y="638"/>
                    <a:pt x="385" y="638"/>
                    <a:pt x="385" y="638"/>
                  </a:cubicBezTo>
                  <a:cubicBezTo>
                    <a:pt x="385" y="638"/>
                    <a:pt x="401" y="649"/>
                    <a:pt x="402" y="653"/>
                  </a:cubicBezTo>
                  <a:cubicBezTo>
                    <a:pt x="404" y="656"/>
                    <a:pt x="411" y="662"/>
                    <a:pt x="413" y="663"/>
                  </a:cubicBezTo>
                  <a:cubicBezTo>
                    <a:pt x="414" y="663"/>
                    <a:pt x="414" y="660"/>
                    <a:pt x="414" y="660"/>
                  </a:cubicBezTo>
                  <a:cubicBezTo>
                    <a:pt x="414" y="660"/>
                    <a:pt x="407" y="656"/>
                    <a:pt x="408" y="654"/>
                  </a:cubicBezTo>
                  <a:cubicBezTo>
                    <a:pt x="409" y="651"/>
                    <a:pt x="422" y="660"/>
                    <a:pt x="422" y="650"/>
                  </a:cubicBezTo>
                  <a:cubicBezTo>
                    <a:pt x="423" y="641"/>
                    <a:pt x="411" y="632"/>
                    <a:pt x="411" y="632"/>
                  </a:cubicBezTo>
                  <a:cubicBezTo>
                    <a:pt x="405" y="632"/>
                    <a:pt x="405" y="632"/>
                    <a:pt x="405" y="632"/>
                  </a:cubicBezTo>
                  <a:cubicBezTo>
                    <a:pt x="397" y="629"/>
                    <a:pt x="397" y="629"/>
                    <a:pt x="397" y="629"/>
                  </a:cubicBezTo>
                  <a:cubicBezTo>
                    <a:pt x="393" y="629"/>
                    <a:pt x="393" y="629"/>
                    <a:pt x="393" y="629"/>
                  </a:cubicBezTo>
                  <a:cubicBezTo>
                    <a:pt x="404" y="643"/>
                    <a:pt x="404" y="643"/>
                    <a:pt x="404" y="643"/>
                  </a:cubicBezTo>
                  <a:cubicBezTo>
                    <a:pt x="404" y="643"/>
                    <a:pt x="374" y="620"/>
                    <a:pt x="376" y="618"/>
                  </a:cubicBezTo>
                  <a:cubicBezTo>
                    <a:pt x="379" y="615"/>
                    <a:pt x="385" y="620"/>
                    <a:pt x="385" y="620"/>
                  </a:cubicBezTo>
                  <a:cubicBezTo>
                    <a:pt x="385" y="620"/>
                    <a:pt x="390" y="618"/>
                    <a:pt x="393" y="619"/>
                  </a:cubicBezTo>
                  <a:cubicBezTo>
                    <a:pt x="397" y="619"/>
                    <a:pt x="407" y="625"/>
                    <a:pt x="407" y="625"/>
                  </a:cubicBezTo>
                  <a:cubicBezTo>
                    <a:pt x="407" y="625"/>
                    <a:pt x="421" y="622"/>
                    <a:pt x="426" y="632"/>
                  </a:cubicBezTo>
                  <a:cubicBezTo>
                    <a:pt x="433" y="642"/>
                    <a:pt x="424" y="654"/>
                    <a:pt x="429" y="657"/>
                  </a:cubicBezTo>
                  <a:cubicBezTo>
                    <a:pt x="433" y="660"/>
                    <a:pt x="440" y="670"/>
                    <a:pt x="440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8" y="677"/>
                    <a:pt x="448" y="677"/>
                    <a:pt x="448" y="677"/>
                  </a:cubicBezTo>
                  <a:cubicBezTo>
                    <a:pt x="448" y="677"/>
                    <a:pt x="466" y="682"/>
                    <a:pt x="468" y="692"/>
                  </a:cubicBezTo>
                  <a:cubicBezTo>
                    <a:pt x="470" y="702"/>
                    <a:pt x="467" y="707"/>
                    <a:pt x="464" y="71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3" name="Litauen" descr="© INSCALE GmbH, 05.05.2010&#10;http://www.presentationload.com/">
              <a:extLst>
                <a:ext uri="{FF2B5EF4-FFF2-40B4-BE49-F238E27FC236}">
                  <a16:creationId xmlns:a16="http://schemas.microsoft.com/office/drawing/2014/main" id="{41FA55F6-8DB9-EE46-8377-E9170A569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1314" y="3509648"/>
              <a:ext cx="529729" cy="401010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" name="Sp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EFFD3AF0-CFA3-1843-8C92-5D8CC952D9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28478" y="5334821"/>
              <a:ext cx="1506677" cy="1242637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" name="Italien" descr="© INSCALE GmbH, 05.05.2010&#10;http://www.presentationload.com/">
              <a:extLst>
                <a:ext uri="{FF2B5EF4-FFF2-40B4-BE49-F238E27FC236}">
                  <a16:creationId xmlns:a16="http://schemas.microsoft.com/office/drawing/2014/main" id="{43940C29-EB74-654C-AC81-0E5F42E5BE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63553" y="5059231"/>
              <a:ext cx="1407662" cy="1617242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FCE53FAD-B49D-114A-8F48-8D3BBB21AB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529858" y="5691275"/>
              <a:ext cx="47858" cy="41257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" name="Deutsch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8080B04-E69A-C643-A257-81203151C1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50351" y="3808344"/>
              <a:ext cx="909287" cy="1227784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" name="Saudi-Arabien" descr="© INSCALE GmbH, 05.05.2010&#10;http://www.presentationload.com/">
              <a:extLst>
                <a:ext uri="{FF2B5EF4-FFF2-40B4-BE49-F238E27FC236}">
                  <a16:creationId xmlns:a16="http://schemas.microsoft.com/office/drawing/2014/main" id="{40EA2FBF-960D-B249-B720-F96918CB742E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8580" y="6668221"/>
              <a:ext cx="795420" cy="189779"/>
            </a:xfrm>
            <a:custGeom>
              <a:avLst/>
              <a:gdLst/>
              <a:ahLst/>
              <a:cxnLst>
                <a:cxn ang="0">
                  <a:pos x="333" y="80"/>
                </a:cxn>
                <a:cxn ang="0">
                  <a:pos x="333" y="30"/>
                </a:cxn>
                <a:cxn ang="0">
                  <a:pos x="319" y="13"/>
                </a:cxn>
                <a:cxn ang="0">
                  <a:pos x="224" y="11"/>
                </a:cxn>
                <a:cxn ang="0">
                  <a:pos x="122" y="0"/>
                </a:cxn>
                <a:cxn ang="0">
                  <a:pos x="78" y="7"/>
                </a:cxn>
                <a:cxn ang="0">
                  <a:pos x="66" y="29"/>
                </a:cxn>
                <a:cxn ang="0">
                  <a:pos x="15" y="68"/>
                </a:cxn>
                <a:cxn ang="0">
                  <a:pos x="0" y="80"/>
                </a:cxn>
                <a:cxn ang="0">
                  <a:pos x="333" y="80"/>
                </a:cxn>
              </a:cxnLst>
              <a:rect l="0" t="0" r="r" b="b"/>
              <a:pathLst>
                <a:path w="333" h="80">
                  <a:moveTo>
                    <a:pt x="333" y="80"/>
                  </a:moveTo>
                  <a:cubicBezTo>
                    <a:pt x="333" y="30"/>
                    <a:pt x="333" y="30"/>
                    <a:pt x="333" y="30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9" y="13"/>
                    <a:pt x="251" y="13"/>
                    <a:pt x="224" y="11"/>
                  </a:cubicBezTo>
                  <a:cubicBezTo>
                    <a:pt x="197" y="11"/>
                    <a:pt x="135" y="0"/>
                    <a:pt x="122" y="0"/>
                  </a:cubicBezTo>
                  <a:cubicBezTo>
                    <a:pt x="108" y="0"/>
                    <a:pt x="78" y="7"/>
                    <a:pt x="78" y="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25" y="61"/>
                    <a:pt x="15" y="68"/>
                  </a:cubicBezTo>
                  <a:cubicBezTo>
                    <a:pt x="11" y="70"/>
                    <a:pt x="6" y="74"/>
                    <a:pt x="0" y="80"/>
                  </a:cubicBezTo>
                  <a:lnTo>
                    <a:pt x="333" y="8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9" name="Jord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2556CF34-5F6F-8A40-A05E-6560E9DF22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21832" y="6537852"/>
              <a:ext cx="513227" cy="320148"/>
            </a:xfrm>
            <a:custGeom>
              <a:avLst/>
              <a:gdLst/>
              <a:ahLst/>
              <a:cxnLst>
                <a:cxn ang="0">
                  <a:pos x="5" y="128"/>
                </a:cxn>
                <a:cxn ang="0">
                  <a:pos x="7" y="134"/>
                </a:cxn>
                <a:cxn ang="0">
                  <a:pos x="137" y="134"/>
                </a:cxn>
                <a:cxn ang="0">
                  <a:pos x="152" y="122"/>
                </a:cxn>
                <a:cxn ang="0">
                  <a:pos x="203" y="83"/>
                </a:cxn>
                <a:cxn ang="0">
                  <a:pos x="215" y="61"/>
                </a:cxn>
                <a:cxn ang="0">
                  <a:pos x="158" y="0"/>
                </a:cxn>
                <a:cxn ang="0">
                  <a:pos x="76" y="109"/>
                </a:cxn>
                <a:cxn ang="0">
                  <a:pos x="49" y="110"/>
                </a:cxn>
                <a:cxn ang="0">
                  <a:pos x="42" y="105"/>
                </a:cxn>
                <a:cxn ang="0">
                  <a:pos x="34" y="109"/>
                </a:cxn>
                <a:cxn ang="0">
                  <a:pos x="30" y="109"/>
                </a:cxn>
                <a:cxn ang="0">
                  <a:pos x="18" y="99"/>
                </a:cxn>
                <a:cxn ang="0">
                  <a:pos x="5" y="107"/>
                </a:cxn>
                <a:cxn ang="0">
                  <a:pos x="0" y="110"/>
                </a:cxn>
                <a:cxn ang="0">
                  <a:pos x="3" y="120"/>
                </a:cxn>
                <a:cxn ang="0">
                  <a:pos x="5" y="128"/>
                </a:cxn>
              </a:cxnLst>
              <a:rect l="0" t="0" r="r" b="b"/>
              <a:pathLst>
                <a:path w="215" h="134">
                  <a:moveTo>
                    <a:pt x="5" y="128"/>
                  </a:moveTo>
                  <a:cubicBezTo>
                    <a:pt x="7" y="134"/>
                    <a:pt x="7" y="134"/>
                    <a:pt x="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43" y="128"/>
                    <a:pt x="148" y="124"/>
                    <a:pt x="152" y="122"/>
                  </a:cubicBezTo>
                  <a:cubicBezTo>
                    <a:pt x="162" y="115"/>
                    <a:pt x="203" y="83"/>
                    <a:pt x="203" y="83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0"/>
                    <a:pt x="48" y="106"/>
                    <a:pt x="42" y="105"/>
                  </a:cubicBezTo>
                  <a:cubicBezTo>
                    <a:pt x="35" y="105"/>
                    <a:pt x="34" y="109"/>
                    <a:pt x="34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26" y="100"/>
                    <a:pt x="18" y="99"/>
                  </a:cubicBezTo>
                  <a:cubicBezTo>
                    <a:pt x="10" y="99"/>
                    <a:pt x="5" y="107"/>
                    <a:pt x="5" y="10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8"/>
                    <a:pt x="3" y="120"/>
                  </a:cubicBezTo>
                  <a:cubicBezTo>
                    <a:pt x="7" y="123"/>
                    <a:pt x="5" y="128"/>
                    <a:pt x="5" y="12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0" name="Freeform 9" descr="© INSCALE GmbH, 05.05.2010&#10;http://www.presentationload.com/">
              <a:extLst>
                <a:ext uri="{FF2B5EF4-FFF2-40B4-BE49-F238E27FC236}">
                  <a16:creationId xmlns:a16="http://schemas.microsoft.com/office/drawing/2014/main" id="{AF809ACA-1D57-7D48-86F1-A4CAC2CE4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1017" y="5077384"/>
              <a:ext cx="344901" cy="242586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1" name="Freeform 79" descr="© INSCALE GmbH, 05.05.2010&#10;http://www.presentationload.com/">
              <a:extLst>
                <a:ext uri="{FF2B5EF4-FFF2-40B4-BE49-F238E27FC236}">
                  <a16:creationId xmlns:a16="http://schemas.microsoft.com/office/drawing/2014/main" id="{F93E05D2-73D9-D84A-94A9-519D5AB92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3260" y="5561736"/>
              <a:ext cx="207930" cy="26074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9" y="9"/>
                </a:cxn>
                <a:cxn ang="0">
                  <a:pos x="44" y="9"/>
                </a:cxn>
                <a:cxn ang="0">
                  <a:pos x="34" y="2"/>
                </a:cxn>
                <a:cxn ang="0">
                  <a:pos x="32" y="13"/>
                </a:cxn>
                <a:cxn ang="0">
                  <a:pos x="49" y="36"/>
                </a:cxn>
                <a:cxn ang="0">
                  <a:pos x="30" y="32"/>
                </a:cxn>
                <a:cxn ang="0">
                  <a:pos x="13" y="43"/>
                </a:cxn>
                <a:cxn ang="0">
                  <a:pos x="15" y="70"/>
                </a:cxn>
                <a:cxn ang="0">
                  <a:pos x="2" y="78"/>
                </a:cxn>
                <a:cxn ang="0">
                  <a:pos x="3" y="108"/>
                </a:cxn>
                <a:cxn ang="0">
                  <a:pos x="9" y="108"/>
                </a:cxn>
                <a:cxn ang="0">
                  <a:pos x="9" y="127"/>
                </a:cxn>
                <a:cxn ang="0">
                  <a:pos x="0" y="133"/>
                </a:cxn>
                <a:cxn ang="0">
                  <a:pos x="0" y="144"/>
                </a:cxn>
                <a:cxn ang="0">
                  <a:pos x="7" y="148"/>
                </a:cxn>
                <a:cxn ang="0">
                  <a:pos x="19" y="136"/>
                </a:cxn>
                <a:cxn ang="0">
                  <a:pos x="28" y="138"/>
                </a:cxn>
                <a:cxn ang="0">
                  <a:pos x="25" y="159"/>
                </a:cxn>
                <a:cxn ang="0">
                  <a:pos x="34" y="165"/>
                </a:cxn>
                <a:cxn ang="0">
                  <a:pos x="47" y="163"/>
                </a:cxn>
                <a:cxn ang="0">
                  <a:pos x="49" y="170"/>
                </a:cxn>
                <a:cxn ang="0">
                  <a:pos x="72" y="189"/>
                </a:cxn>
                <a:cxn ang="0">
                  <a:pos x="72" y="199"/>
                </a:cxn>
                <a:cxn ang="0">
                  <a:pos x="82" y="205"/>
                </a:cxn>
                <a:cxn ang="0">
                  <a:pos x="93" y="208"/>
                </a:cxn>
                <a:cxn ang="0">
                  <a:pos x="91" y="193"/>
                </a:cxn>
                <a:cxn ang="0">
                  <a:pos x="87" y="174"/>
                </a:cxn>
                <a:cxn ang="0">
                  <a:pos x="82" y="172"/>
                </a:cxn>
                <a:cxn ang="0">
                  <a:pos x="116" y="106"/>
                </a:cxn>
                <a:cxn ang="0">
                  <a:pos x="121" y="108"/>
                </a:cxn>
                <a:cxn ang="0">
                  <a:pos x="121" y="121"/>
                </a:cxn>
                <a:cxn ang="0">
                  <a:pos x="135" y="129"/>
                </a:cxn>
                <a:cxn ang="0">
                  <a:pos x="145" y="122"/>
                </a:cxn>
                <a:cxn ang="0">
                  <a:pos x="140" y="116"/>
                </a:cxn>
                <a:cxn ang="0">
                  <a:pos x="130" y="96"/>
                </a:cxn>
                <a:cxn ang="0">
                  <a:pos x="138" y="90"/>
                </a:cxn>
                <a:cxn ang="0">
                  <a:pos x="146" y="90"/>
                </a:cxn>
                <a:cxn ang="0">
                  <a:pos x="153" y="92"/>
                </a:cxn>
                <a:cxn ang="0">
                  <a:pos x="158" y="83"/>
                </a:cxn>
                <a:cxn ang="0">
                  <a:pos x="164" y="78"/>
                </a:cxn>
                <a:cxn ang="0">
                  <a:pos x="166" y="66"/>
                </a:cxn>
                <a:cxn ang="0">
                  <a:pos x="153" y="63"/>
                </a:cxn>
                <a:cxn ang="0">
                  <a:pos x="120" y="47"/>
                </a:cxn>
                <a:cxn ang="0">
                  <a:pos x="109" y="43"/>
                </a:cxn>
                <a:cxn ang="0">
                  <a:pos x="94" y="30"/>
                </a:cxn>
                <a:cxn ang="0">
                  <a:pos x="78" y="19"/>
                </a:cxn>
                <a:cxn ang="0">
                  <a:pos x="66" y="10"/>
                </a:cxn>
                <a:cxn ang="0">
                  <a:pos x="60" y="0"/>
                </a:cxn>
              </a:cxnLst>
              <a:rect l="0" t="0" r="r" b="b"/>
              <a:pathLst>
                <a:path w="166" h="208">
                  <a:moveTo>
                    <a:pt x="60" y="0"/>
                  </a:moveTo>
                  <a:cubicBezTo>
                    <a:pt x="59" y="9"/>
                    <a:pt x="59" y="9"/>
                    <a:pt x="5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53" y="30"/>
                    <a:pt x="49" y="36"/>
                  </a:cubicBezTo>
                  <a:cubicBezTo>
                    <a:pt x="44" y="42"/>
                    <a:pt x="36" y="32"/>
                    <a:pt x="30" y="32"/>
                  </a:cubicBezTo>
                  <a:cubicBezTo>
                    <a:pt x="21" y="32"/>
                    <a:pt x="15" y="40"/>
                    <a:pt x="13" y="43"/>
                  </a:cubicBezTo>
                  <a:cubicBezTo>
                    <a:pt x="9" y="49"/>
                    <a:pt x="19" y="66"/>
                    <a:pt x="15" y="70"/>
                  </a:cubicBezTo>
                  <a:cubicBezTo>
                    <a:pt x="11" y="72"/>
                    <a:pt x="6" y="72"/>
                    <a:pt x="2" y="78"/>
                  </a:cubicBezTo>
                  <a:cubicBezTo>
                    <a:pt x="0" y="83"/>
                    <a:pt x="3" y="108"/>
                    <a:pt x="3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2" y="199"/>
                    <a:pt x="72" y="199"/>
                    <a:pt x="72" y="199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82" y="172"/>
                    <a:pt x="82" y="172"/>
                    <a:pt x="82" y="172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21" y="108"/>
                    <a:pt x="121" y="108"/>
                    <a:pt x="121" y="108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53" y="63"/>
                    <a:pt x="153" y="63"/>
                    <a:pt x="153" y="63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2" name="Freeform 141" descr="© INSCALE GmbH, 05.05.2010&#10;http://www.presentationload.com/">
              <a:extLst>
                <a:ext uri="{FF2B5EF4-FFF2-40B4-BE49-F238E27FC236}">
                  <a16:creationId xmlns:a16="http://schemas.microsoft.com/office/drawing/2014/main" id="{29987B60-09DE-B649-90F9-CD11C7246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6659" y="5147524"/>
              <a:ext cx="519827" cy="585114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3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F3F863CD-0F50-7045-83C7-04713D0C0D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4838" y="5592658"/>
              <a:ext cx="223776" cy="228166"/>
            </a:xfrm>
            <a:custGeom>
              <a:avLst/>
              <a:gdLst/>
              <a:ahLst/>
              <a:cxnLst>
                <a:cxn ang="0">
                  <a:pos x="63" y="40"/>
                </a:cxn>
                <a:cxn ang="0">
                  <a:pos x="65" y="36"/>
                </a:cxn>
                <a:cxn ang="0">
                  <a:pos x="68" y="29"/>
                </a:cxn>
                <a:cxn ang="0">
                  <a:pos x="66" y="24"/>
                </a:cxn>
                <a:cxn ang="0">
                  <a:pos x="61" y="22"/>
                </a:cxn>
                <a:cxn ang="0">
                  <a:pos x="59" y="21"/>
                </a:cxn>
                <a:cxn ang="0">
                  <a:pos x="54" y="19"/>
                </a:cxn>
                <a:cxn ang="0">
                  <a:pos x="51" y="16"/>
                </a:cxn>
                <a:cxn ang="0">
                  <a:pos x="47" y="15"/>
                </a:cxn>
                <a:cxn ang="0">
                  <a:pos x="44" y="11"/>
                </a:cxn>
                <a:cxn ang="0">
                  <a:pos x="39" y="9"/>
                </a:cxn>
                <a:cxn ang="0">
                  <a:pos x="37" y="8"/>
                </a:cxn>
                <a:cxn ang="0">
                  <a:pos x="34" y="7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1" y="1"/>
                </a:cxn>
                <a:cxn ang="0">
                  <a:pos x="27" y="4"/>
                </a:cxn>
                <a:cxn ang="0">
                  <a:pos x="24" y="9"/>
                </a:cxn>
                <a:cxn ang="0">
                  <a:pos x="25" y="15"/>
                </a:cxn>
                <a:cxn ang="0">
                  <a:pos x="22" y="20"/>
                </a:cxn>
                <a:cxn ang="0">
                  <a:pos x="18" y="24"/>
                </a:cxn>
                <a:cxn ang="0">
                  <a:pos x="10" y="24"/>
                </a:cxn>
                <a:cxn ang="0">
                  <a:pos x="6" y="25"/>
                </a:cxn>
                <a:cxn ang="0">
                  <a:pos x="0" y="27"/>
                </a:cxn>
                <a:cxn ang="0">
                  <a:pos x="5" y="37"/>
                </a:cxn>
                <a:cxn ang="0">
                  <a:pos x="12" y="38"/>
                </a:cxn>
                <a:cxn ang="0">
                  <a:pos x="26" y="48"/>
                </a:cxn>
                <a:cxn ang="0">
                  <a:pos x="29" y="69"/>
                </a:cxn>
                <a:cxn ang="0">
                  <a:pos x="35" y="55"/>
                </a:cxn>
                <a:cxn ang="0">
                  <a:pos x="46" y="47"/>
                </a:cxn>
                <a:cxn ang="0">
                  <a:pos x="58" y="43"/>
                </a:cxn>
                <a:cxn ang="0">
                  <a:pos x="63" y="42"/>
                </a:cxn>
              </a:cxnLst>
              <a:rect l="0" t="0" r="r" b="b"/>
              <a:pathLst>
                <a:path w="68" h="69">
                  <a:moveTo>
                    <a:pt x="63" y="42"/>
                  </a:moveTo>
                  <a:cubicBezTo>
                    <a:pt x="63" y="41"/>
                    <a:pt x="63" y="40"/>
                    <a:pt x="63" y="40"/>
                  </a:cubicBezTo>
                  <a:cubicBezTo>
                    <a:pt x="63" y="40"/>
                    <a:pt x="64" y="39"/>
                    <a:pt x="64" y="38"/>
                  </a:cubicBezTo>
                  <a:cubicBezTo>
                    <a:pt x="64" y="38"/>
                    <a:pt x="65" y="36"/>
                    <a:pt x="65" y="3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8" y="30"/>
                    <a:pt x="68" y="29"/>
                  </a:cubicBezTo>
                  <a:cubicBezTo>
                    <a:pt x="68" y="29"/>
                    <a:pt x="67" y="27"/>
                    <a:pt x="67" y="27"/>
                  </a:cubicBezTo>
                  <a:cubicBezTo>
                    <a:pt x="67" y="27"/>
                    <a:pt x="66" y="24"/>
                    <a:pt x="66" y="24"/>
                  </a:cubicBezTo>
                  <a:cubicBezTo>
                    <a:pt x="65" y="23"/>
                    <a:pt x="63" y="23"/>
                    <a:pt x="63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8" y="16"/>
                    <a:pt x="47" y="15"/>
                    <a:pt x="47" y="15"/>
                  </a:cubicBezTo>
                  <a:cubicBezTo>
                    <a:pt x="47" y="15"/>
                    <a:pt x="47" y="12"/>
                    <a:pt x="47" y="12"/>
                  </a:cubicBezTo>
                  <a:cubicBezTo>
                    <a:pt x="46" y="11"/>
                    <a:pt x="44" y="11"/>
                    <a:pt x="44" y="11"/>
                  </a:cubicBezTo>
                  <a:cubicBezTo>
                    <a:pt x="44" y="11"/>
                    <a:pt x="44" y="9"/>
                    <a:pt x="43" y="9"/>
                  </a:cubicBezTo>
                  <a:cubicBezTo>
                    <a:pt x="42" y="9"/>
                    <a:pt x="40" y="10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8" y="8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2" y="6"/>
                    <a:pt x="33" y="5"/>
                    <a:pt x="34" y="4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1" y="1"/>
                  </a:cubicBezTo>
                  <a:cubicBezTo>
                    <a:pt x="31" y="1"/>
                    <a:pt x="30" y="4"/>
                    <a:pt x="30" y="4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8"/>
                    <a:pt x="24" y="9"/>
                  </a:cubicBezTo>
                  <a:cubicBezTo>
                    <a:pt x="25" y="9"/>
                    <a:pt x="25" y="10"/>
                    <a:pt x="26" y="11"/>
                  </a:cubicBezTo>
                  <a:cubicBezTo>
                    <a:pt x="26" y="11"/>
                    <a:pt x="25" y="15"/>
                    <a:pt x="25" y="15"/>
                  </a:cubicBezTo>
                  <a:cubicBezTo>
                    <a:pt x="25" y="15"/>
                    <a:pt x="23" y="17"/>
                    <a:pt x="22" y="18"/>
                  </a:cubicBezTo>
                  <a:cubicBezTo>
                    <a:pt x="21" y="19"/>
                    <a:pt x="22" y="20"/>
                    <a:pt x="22" y="20"/>
                  </a:cubicBezTo>
                  <a:cubicBezTo>
                    <a:pt x="21" y="21"/>
                    <a:pt x="21" y="22"/>
                    <a:pt x="20" y="23"/>
                  </a:cubicBezTo>
                  <a:cubicBezTo>
                    <a:pt x="20" y="23"/>
                    <a:pt x="18" y="24"/>
                    <a:pt x="1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1" y="36"/>
                    <a:pt x="12" y="38"/>
                  </a:cubicBezTo>
                  <a:cubicBezTo>
                    <a:pt x="14" y="40"/>
                    <a:pt x="15" y="45"/>
                    <a:pt x="15" y="45"/>
                  </a:cubicBezTo>
                  <a:cubicBezTo>
                    <a:pt x="15" y="45"/>
                    <a:pt x="23" y="46"/>
                    <a:pt x="26" y="48"/>
                  </a:cubicBezTo>
                  <a:cubicBezTo>
                    <a:pt x="28" y="52"/>
                    <a:pt x="31" y="59"/>
                    <a:pt x="31" y="5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3" y="58"/>
                    <a:pt x="35" y="55"/>
                  </a:cubicBezTo>
                  <a:cubicBezTo>
                    <a:pt x="37" y="51"/>
                    <a:pt x="42" y="51"/>
                    <a:pt x="42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60" y="43"/>
                    <a:pt x="61" y="43"/>
                  </a:cubicBezTo>
                  <a:cubicBezTo>
                    <a:pt x="62" y="42"/>
                    <a:pt x="63" y="42"/>
                    <a:pt x="63" y="4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4" name="Freeform 7" descr="© INSCALE GmbH, 05.05.2010&#10;http://www.presentationload.com/">
              <a:extLst>
                <a:ext uri="{FF2B5EF4-FFF2-40B4-BE49-F238E27FC236}">
                  <a16:creationId xmlns:a16="http://schemas.microsoft.com/office/drawing/2014/main" id="{0F12AA26-9A8C-D243-8FAD-8ACD6B875E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9195" y="4433787"/>
              <a:ext cx="704656" cy="397709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5" name="Freeform 20" descr="© INSCALE GmbH, 05.05.2010&#10;http://www.presentationload.com/">
              <a:extLst>
                <a:ext uri="{FF2B5EF4-FFF2-40B4-BE49-F238E27FC236}">
                  <a16:creationId xmlns:a16="http://schemas.microsoft.com/office/drawing/2014/main" id="{3D2CD66F-2E2B-FD4B-AABE-3E54572497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30918" y="5130191"/>
              <a:ext cx="668349" cy="613892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6" name="Freeform 26" descr="© INSCALE GmbH, 05.05.2010&#10;http://www.presentationload.com/">
              <a:extLst>
                <a:ext uri="{FF2B5EF4-FFF2-40B4-BE49-F238E27FC236}">
                  <a16:creationId xmlns:a16="http://schemas.microsoft.com/office/drawing/2014/main" id="{1F4AD5A9-1CB7-AE4B-A406-F5C0281171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820" y="4623566"/>
              <a:ext cx="587488" cy="310247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7" name="Freeform 27" descr="© INSCALE GmbH, 05.05.2010&#10;http://www.presentationload.com/">
              <a:extLst>
                <a:ext uri="{FF2B5EF4-FFF2-40B4-BE49-F238E27FC236}">
                  <a16:creationId xmlns:a16="http://schemas.microsoft.com/office/drawing/2014/main" id="{46302BA9-37CC-C045-9471-C3C5ECBCD18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410" y="4762187"/>
              <a:ext cx="716207" cy="478571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8" name="Freeform 32" descr="© INSCALE GmbH, 05.05.2010&#10;http://www.presentationload.com/">
              <a:extLst>
                <a:ext uri="{FF2B5EF4-FFF2-40B4-BE49-F238E27FC236}">
                  <a16:creationId xmlns:a16="http://schemas.microsoft.com/office/drawing/2014/main" id="{FDE6B26E-0DA2-C349-99AB-CE70EEC855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5180" y="4712680"/>
              <a:ext cx="1071010" cy="760763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9" name="Freeform 52" descr="© INSCALE GmbH, 05.05.2010&#10;http://www.presentationload.com/">
              <a:extLst>
                <a:ext uri="{FF2B5EF4-FFF2-40B4-BE49-F238E27FC236}">
                  <a16:creationId xmlns:a16="http://schemas.microsoft.com/office/drawing/2014/main" id="{2D7945EE-E5D4-0C4D-BE10-BFAAC73CAF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4022" y="3836397"/>
              <a:ext cx="1029753" cy="849878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0" name="Frank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4F4FCEBA-5739-0943-B838-DE52D460DB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478" y="4395832"/>
              <a:ext cx="1496774" cy="1554533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1" name="Sch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6D2684C6-DB94-E042-8D36-6E707F59D0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88331" y="1638269"/>
              <a:ext cx="872981" cy="2145322"/>
            </a:xfrm>
            <a:custGeom>
              <a:avLst/>
              <a:gdLst/>
              <a:ahLst/>
              <a:cxnLst>
                <a:cxn ang="0">
                  <a:pos x="336" y="111"/>
                </a:cxn>
                <a:cxn ang="0">
                  <a:pos x="305" y="38"/>
                </a:cxn>
                <a:cxn ang="0">
                  <a:pos x="247" y="2"/>
                </a:cxn>
                <a:cxn ang="0">
                  <a:pos x="194" y="36"/>
                </a:cxn>
                <a:cxn ang="0">
                  <a:pos x="136" y="151"/>
                </a:cxn>
                <a:cxn ang="0">
                  <a:pos x="98" y="268"/>
                </a:cxn>
                <a:cxn ang="0">
                  <a:pos x="33" y="410"/>
                </a:cxn>
                <a:cxn ang="0">
                  <a:pos x="41" y="538"/>
                </a:cxn>
                <a:cxn ang="0">
                  <a:pos x="12" y="671"/>
                </a:cxn>
                <a:cxn ang="0">
                  <a:pos x="9" y="707"/>
                </a:cxn>
                <a:cxn ang="0">
                  <a:pos x="18" y="737"/>
                </a:cxn>
                <a:cxn ang="0">
                  <a:pos x="37" y="779"/>
                </a:cxn>
                <a:cxn ang="0">
                  <a:pos x="52" y="826"/>
                </a:cxn>
                <a:cxn ang="0">
                  <a:pos x="64" y="871"/>
                </a:cxn>
                <a:cxn ang="0">
                  <a:pos x="106" y="895"/>
                </a:cxn>
                <a:cxn ang="0">
                  <a:pos x="172" y="847"/>
                </a:cxn>
                <a:cxn ang="0">
                  <a:pos x="197" y="756"/>
                </a:cxn>
                <a:cxn ang="0">
                  <a:pos x="196" y="719"/>
                </a:cxn>
                <a:cxn ang="0">
                  <a:pos x="192" y="677"/>
                </a:cxn>
                <a:cxn ang="0">
                  <a:pos x="226" y="648"/>
                </a:cxn>
                <a:cxn ang="0">
                  <a:pos x="237" y="628"/>
                </a:cxn>
                <a:cxn ang="0">
                  <a:pos x="267" y="592"/>
                </a:cxn>
                <a:cxn ang="0">
                  <a:pos x="216" y="557"/>
                </a:cxn>
                <a:cxn ang="0">
                  <a:pos x="193" y="502"/>
                </a:cxn>
                <a:cxn ang="0">
                  <a:pos x="201" y="450"/>
                </a:cxn>
                <a:cxn ang="0">
                  <a:pos x="207" y="432"/>
                </a:cxn>
                <a:cxn ang="0">
                  <a:pos x="225" y="405"/>
                </a:cxn>
                <a:cxn ang="0">
                  <a:pos x="233" y="375"/>
                </a:cxn>
                <a:cxn ang="0">
                  <a:pos x="262" y="357"/>
                </a:cxn>
                <a:cxn ang="0">
                  <a:pos x="290" y="333"/>
                </a:cxn>
                <a:cxn ang="0">
                  <a:pos x="309" y="283"/>
                </a:cxn>
                <a:cxn ang="0">
                  <a:pos x="307" y="221"/>
                </a:cxn>
                <a:cxn ang="0">
                  <a:pos x="329" y="199"/>
                </a:cxn>
                <a:cxn ang="0">
                  <a:pos x="365" y="195"/>
                </a:cxn>
                <a:cxn ang="0">
                  <a:pos x="14" y="718"/>
                </a:cxn>
                <a:cxn ang="0">
                  <a:pos x="207" y="765"/>
                </a:cxn>
                <a:cxn ang="0">
                  <a:pos x="190" y="816"/>
                </a:cxn>
                <a:cxn ang="0">
                  <a:pos x="208" y="788"/>
                </a:cxn>
                <a:cxn ang="0">
                  <a:pos x="277" y="731"/>
                </a:cxn>
                <a:cxn ang="0">
                  <a:pos x="248" y="746"/>
                </a:cxn>
                <a:cxn ang="0">
                  <a:pos x="253" y="787"/>
                </a:cxn>
                <a:cxn ang="0">
                  <a:pos x="277" y="750"/>
                </a:cxn>
                <a:cxn ang="0">
                  <a:pos x="281" y="712"/>
                </a:cxn>
                <a:cxn ang="0">
                  <a:pos x="281" y="689"/>
                </a:cxn>
                <a:cxn ang="0">
                  <a:pos x="243" y="630"/>
                </a:cxn>
                <a:cxn ang="0">
                  <a:pos x="258" y="630"/>
                </a:cxn>
                <a:cxn ang="0">
                  <a:pos x="247" y="656"/>
                </a:cxn>
                <a:cxn ang="0">
                  <a:pos x="251" y="636"/>
                </a:cxn>
                <a:cxn ang="0">
                  <a:pos x="241" y="554"/>
                </a:cxn>
                <a:cxn ang="0">
                  <a:pos x="256" y="573"/>
                </a:cxn>
                <a:cxn ang="0">
                  <a:pos x="195" y="740"/>
                </a:cxn>
                <a:cxn ang="0">
                  <a:pos x="205" y="485"/>
                </a:cxn>
                <a:cxn ang="0">
                  <a:pos x="214" y="425"/>
                </a:cxn>
                <a:cxn ang="0">
                  <a:pos x="294" y="343"/>
                </a:cxn>
                <a:cxn ang="0">
                  <a:pos x="307" y="241"/>
                </a:cxn>
                <a:cxn ang="0">
                  <a:pos x="312" y="222"/>
                </a:cxn>
                <a:cxn ang="0">
                  <a:pos x="325" y="217"/>
                </a:cxn>
                <a:cxn ang="0">
                  <a:pos x="356" y="200"/>
                </a:cxn>
              </a:cxnLst>
              <a:rect l="0" t="0" r="r" b="b"/>
              <a:pathLst>
                <a:path w="365" h="899">
                  <a:moveTo>
                    <a:pt x="364" y="188"/>
                  </a:moveTo>
                  <a:cubicBezTo>
                    <a:pt x="364" y="188"/>
                    <a:pt x="359" y="186"/>
                    <a:pt x="358" y="182"/>
                  </a:cubicBezTo>
                  <a:cubicBezTo>
                    <a:pt x="357" y="178"/>
                    <a:pt x="358" y="175"/>
                    <a:pt x="356" y="173"/>
                  </a:cubicBezTo>
                  <a:cubicBezTo>
                    <a:pt x="354" y="172"/>
                    <a:pt x="347" y="171"/>
                    <a:pt x="347" y="167"/>
                  </a:cubicBezTo>
                  <a:cubicBezTo>
                    <a:pt x="348" y="161"/>
                    <a:pt x="348" y="160"/>
                    <a:pt x="348" y="160"/>
                  </a:cubicBezTo>
                  <a:cubicBezTo>
                    <a:pt x="348" y="160"/>
                    <a:pt x="343" y="159"/>
                    <a:pt x="345" y="155"/>
                  </a:cubicBezTo>
                  <a:cubicBezTo>
                    <a:pt x="348" y="150"/>
                    <a:pt x="353" y="147"/>
                    <a:pt x="352" y="144"/>
                  </a:cubicBezTo>
                  <a:cubicBezTo>
                    <a:pt x="350" y="140"/>
                    <a:pt x="348" y="136"/>
                    <a:pt x="348" y="136"/>
                  </a:cubicBezTo>
                  <a:cubicBezTo>
                    <a:pt x="348" y="136"/>
                    <a:pt x="349" y="129"/>
                    <a:pt x="347" y="125"/>
                  </a:cubicBezTo>
                  <a:cubicBezTo>
                    <a:pt x="345" y="122"/>
                    <a:pt x="336" y="117"/>
                    <a:pt x="336" y="111"/>
                  </a:cubicBezTo>
                  <a:cubicBezTo>
                    <a:pt x="336" y="106"/>
                    <a:pt x="337" y="104"/>
                    <a:pt x="337" y="104"/>
                  </a:cubicBezTo>
                  <a:cubicBezTo>
                    <a:pt x="340" y="101"/>
                    <a:pt x="340" y="101"/>
                    <a:pt x="340" y="101"/>
                  </a:cubicBezTo>
                  <a:cubicBezTo>
                    <a:pt x="339" y="95"/>
                    <a:pt x="339" y="95"/>
                    <a:pt x="339" y="95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93"/>
                    <a:pt x="330" y="87"/>
                    <a:pt x="328" y="81"/>
                  </a:cubicBezTo>
                  <a:cubicBezTo>
                    <a:pt x="327" y="77"/>
                    <a:pt x="325" y="74"/>
                    <a:pt x="326" y="69"/>
                  </a:cubicBezTo>
                  <a:cubicBezTo>
                    <a:pt x="327" y="65"/>
                    <a:pt x="332" y="65"/>
                    <a:pt x="330" y="62"/>
                  </a:cubicBezTo>
                  <a:cubicBezTo>
                    <a:pt x="328" y="59"/>
                    <a:pt x="319" y="50"/>
                    <a:pt x="319" y="50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53"/>
                    <a:pt x="314" y="43"/>
                    <a:pt x="305" y="38"/>
                  </a:cubicBezTo>
                  <a:cubicBezTo>
                    <a:pt x="295" y="33"/>
                    <a:pt x="282" y="31"/>
                    <a:pt x="282" y="31"/>
                  </a:cubicBezTo>
                  <a:cubicBezTo>
                    <a:pt x="278" y="27"/>
                    <a:pt x="278" y="27"/>
                    <a:pt x="278" y="27"/>
                  </a:cubicBezTo>
                  <a:cubicBezTo>
                    <a:pt x="274" y="27"/>
                    <a:pt x="274" y="27"/>
                    <a:pt x="274" y="27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0" y="5"/>
                    <a:pt x="250" y="5"/>
                    <a:pt x="250" y="5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30" y="2"/>
                    <a:pt x="237" y="11"/>
                    <a:pt x="238" y="17"/>
                  </a:cubicBezTo>
                  <a:cubicBezTo>
                    <a:pt x="239" y="25"/>
                    <a:pt x="231" y="34"/>
                    <a:pt x="231" y="34"/>
                  </a:cubicBezTo>
                  <a:cubicBezTo>
                    <a:pt x="239" y="38"/>
                    <a:pt x="239" y="38"/>
                    <a:pt x="239" y="38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198" y="41"/>
                    <a:pt x="198" y="41"/>
                    <a:pt x="198" y="41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9" y="56"/>
                    <a:pt x="188" y="61"/>
                  </a:cubicBezTo>
                  <a:cubicBezTo>
                    <a:pt x="186" y="66"/>
                    <a:pt x="183" y="77"/>
                    <a:pt x="183" y="77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4"/>
                    <a:pt x="149" y="101"/>
                    <a:pt x="149" y="106"/>
                  </a:cubicBezTo>
                  <a:cubicBezTo>
                    <a:pt x="148" y="111"/>
                    <a:pt x="140" y="109"/>
                    <a:pt x="140" y="109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7" y="127"/>
                    <a:pt x="148" y="135"/>
                  </a:cubicBezTo>
                  <a:cubicBezTo>
                    <a:pt x="150" y="141"/>
                    <a:pt x="144" y="143"/>
                    <a:pt x="136" y="151"/>
                  </a:cubicBezTo>
                  <a:cubicBezTo>
                    <a:pt x="130" y="157"/>
                    <a:pt x="132" y="162"/>
                    <a:pt x="130" y="169"/>
                  </a:cubicBezTo>
                  <a:cubicBezTo>
                    <a:pt x="128" y="175"/>
                    <a:pt x="123" y="176"/>
                    <a:pt x="123" y="176"/>
                  </a:cubicBezTo>
                  <a:cubicBezTo>
                    <a:pt x="126" y="189"/>
                    <a:pt x="126" y="189"/>
                    <a:pt x="126" y="18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00" y="201"/>
                    <a:pt x="100" y="201"/>
                    <a:pt x="100" y="201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03" y="253"/>
                    <a:pt x="103" y="253"/>
                    <a:pt x="103" y="253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79" y="300"/>
                    <a:pt x="79" y="300"/>
                    <a:pt x="79" y="300"/>
                  </a:cubicBezTo>
                  <a:cubicBezTo>
                    <a:pt x="93" y="310"/>
                    <a:pt x="93" y="310"/>
                    <a:pt x="93" y="310"/>
                  </a:cubicBezTo>
                  <a:cubicBezTo>
                    <a:pt x="94" y="325"/>
                    <a:pt x="94" y="325"/>
                    <a:pt x="94" y="325"/>
                  </a:cubicBezTo>
                  <a:cubicBezTo>
                    <a:pt x="89" y="337"/>
                    <a:pt x="89" y="337"/>
                    <a:pt x="89" y="337"/>
                  </a:cubicBezTo>
                  <a:cubicBezTo>
                    <a:pt x="89" y="337"/>
                    <a:pt x="69" y="331"/>
                    <a:pt x="59" y="334"/>
                  </a:cubicBezTo>
                  <a:cubicBezTo>
                    <a:pt x="47" y="337"/>
                    <a:pt x="35" y="365"/>
                    <a:pt x="35" y="365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30" y="385"/>
                    <a:pt x="30" y="385"/>
                    <a:pt x="30" y="385"/>
                  </a:cubicBezTo>
                  <a:cubicBezTo>
                    <a:pt x="37" y="404"/>
                    <a:pt x="37" y="404"/>
                    <a:pt x="37" y="404"/>
                  </a:cubicBezTo>
                  <a:cubicBezTo>
                    <a:pt x="33" y="410"/>
                    <a:pt x="33" y="410"/>
                    <a:pt x="33" y="410"/>
                  </a:cubicBezTo>
                  <a:cubicBezTo>
                    <a:pt x="36" y="421"/>
                    <a:pt x="36" y="421"/>
                    <a:pt x="36" y="421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41" y="452"/>
                    <a:pt x="41" y="452"/>
                    <a:pt x="41" y="452"/>
                  </a:cubicBezTo>
                  <a:cubicBezTo>
                    <a:pt x="35" y="487"/>
                    <a:pt x="35" y="487"/>
                    <a:pt x="35" y="487"/>
                  </a:cubicBezTo>
                  <a:cubicBezTo>
                    <a:pt x="45" y="497"/>
                    <a:pt x="45" y="497"/>
                    <a:pt x="45" y="497"/>
                  </a:cubicBezTo>
                  <a:cubicBezTo>
                    <a:pt x="45" y="497"/>
                    <a:pt x="50" y="500"/>
                    <a:pt x="54" y="503"/>
                  </a:cubicBezTo>
                  <a:cubicBezTo>
                    <a:pt x="58" y="507"/>
                    <a:pt x="59" y="511"/>
                    <a:pt x="55" y="523"/>
                  </a:cubicBezTo>
                  <a:cubicBezTo>
                    <a:pt x="53" y="535"/>
                    <a:pt x="45" y="529"/>
                    <a:pt x="45" y="529"/>
                  </a:cubicBezTo>
                  <a:cubicBezTo>
                    <a:pt x="36" y="532"/>
                    <a:pt x="36" y="532"/>
                    <a:pt x="36" y="532"/>
                  </a:cubicBezTo>
                  <a:cubicBezTo>
                    <a:pt x="41" y="538"/>
                    <a:pt x="41" y="538"/>
                    <a:pt x="41" y="538"/>
                  </a:cubicBezTo>
                  <a:cubicBezTo>
                    <a:pt x="43" y="547"/>
                    <a:pt x="43" y="547"/>
                    <a:pt x="43" y="547"/>
                  </a:cubicBezTo>
                  <a:cubicBezTo>
                    <a:pt x="43" y="547"/>
                    <a:pt x="49" y="561"/>
                    <a:pt x="51" y="568"/>
                  </a:cubicBezTo>
                  <a:cubicBezTo>
                    <a:pt x="54" y="576"/>
                    <a:pt x="46" y="572"/>
                    <a:pt x="45" y="577"/>
                  </a:cubicBezTo>
                  <a:cubicBezTo>
                    <a:pt x="44" y="581"/>
                    <a:pt x="48" y="584"/>
                    <a:pt x="45" y="597"/>
                  </a:cubicBezTo>
                  <a:cubicBezTo>
                    <a:pt x="41" y="609"/>
                    <a:pt x="30" y="603"/>
                    <a:pt x="26" y="607"/>
                  </a:cubicBezTo>
                  <a:cubicBezTo>
                    <a:pt x="21" y="610"/>
                    <a:pt x="28" y="611"/>
                    <a:pt x="27" y="616"/>
                  </a:cubicBezTo>
                  <a:cubicBezTo>
                    <a:pt x="27" y="620"/>
                    <a:pt x="21" y="619"/>
                    <a:pt x="19" y="623"/>
                  </a:cubicBezTo>
                  <a:cubicBezTo>
                    <a:pt x="16" y="625"/>
                    <a:pt x="25" y="643"/>
                    <a:pt x="25" y="643"/>
                  </a:cubicBezTo>
                  <a:cubicBezTo>
                    <a:pt x="25" y="643"/>
                    <a:pt x="21" y="651"/>
                    <a:pt x="19" y="658"/>
                  </a:cubicBezTo>
                  <a:cubicBezTo>
                    <a:pt x="17" y="665"/>
                    <a:pt x="16" y="671"/>
                    <a:pt x="12" y="671"/>
                  </a:cubicBezTo>
                  <a:cubicBezTo>
                    <a:pt x="8" y="671"/>
                    <a:pt x="11" y="662"/>
                    <a:pt x="10" y="657"/>
                  </a:cubicBezTo>
                  <a:cubicBezTo>
                    <a:pt x="9" y="652"/>
                    <a:pt x="1" y="657"/>
                    <a:pt x="1" y="657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0" y="664"/>
                    <a:pt x="3" y="668"/>
                    <a:pt x="3" y="673"/>
                  </a:cubicBezTo>
                  <a:cubicBezTo>
                    <a:pt x="3" y="676"/>
                    <a:pt x="0" y="679"/>
                    <a:pt x="0" y="679"/>
                  </a:cubicBezTo>
                  <a:cubicBezTo>
                    <a:pt x="0" y="679"/>
                    <a:pt x="5" y="693"/>
                    <a:pt x="5" y="696"/>
                  </a:cubicBezTo>
                  <a:cubicBezTo>
                    <a:pt x="5" y="699"/>
                    <a:pt x="1" y="699"/>
                    <a:pt x="1" y="699"/>
                  </a:cubicBezTo>
                  <a:cubicBezTo>
                    <a:pt x="2" y="703"/>
                    <a:pt x="2" y="703"/>
                    <a:pt x="2" y="703"/>
                  </a:cubicBezTo>
                  <a:cubicBezTo>
                    <a:pt x="2" y="703"/>
                    <a:pt x="6" y="700"/>
                    <a:pt x="9" y="702"/>
                  </a:cubicBezTo>
                  <a:cubicBezTo>
                    <a:pt x="10" y="703"/>
                    <a:pt x="9" y="707"/>
                    <a:pt x="9" y="707"/>
                  </a:cubicBezTo>
                  <a:cubicBezTo>
                    <a:pt x="11" y="707"/>
                    <a:pt x="11" y="707"/>
                    <a:pt x="11" y="707"/>
                  </a:cubicBezTo>
                  <a:cubicBezTo>
                    <a:pt x="14" y="697"/>
                    <a:pt x="14" y="697"/>
                    <a:pt x="14" y="697"/>
                  </a:cubicBezTo>
                  <a:cubicBezTo>
                    <a:pt x="17" y="700"/>
                    <a:pt x="17" y="700"/>
                    <a:pt x="17" y="700"/>
                  </a:cubicBezTo>
                  <a:cubicBezTo>
                    <a:pt x="10" y="710"/>
                    <a:pt x="10" y="710"/>
                    <a:pt x="10" y="710"/>
                  </a:cubicBezTo>
                  <a:cubicBezTo>
                    <a:pt x="10" y="712"/>
                    <a:pt x="10" y="712"/>
                    <a:pt x="10" y="712"/>
                  </a:cubicBezTo>
                  <a:cubicBezTo>
                    <a:pt x="25" y="704"/>
                    <a:pt x="25" y="704"/>
                    <a:pt x="25" y="704"/>
                  </a:cubicBezTo>
                  <a:cubicBezTo>
                    <a:pt x="22" y="709"/>
                    <a:pt x="22" y="709"/>
                    <a:pt x="22" y="709"/>
                  </a:cubicBezTo>
                  <a:cubicBezTo>
                    <a:pt x="25" y="713"/>
                    <a:pt x="25" y="713"/>
                    <a:pt x="25" y="713"/>
                  </a:cubicBezTo>
                  <a:cubicBezTo>
                    <a:pt x="21" y="730"/>
                    <a:pt x="21" y="730"/>
                    <a:pt x="21" y="730"/>
                  </a:cubicBezTo>
                  <a:cubicBezTo>
                    <a:pt x="18" y="737"/>
                    <a:pt x="18" y="737"/>
                    <a:pt x="18" y="737"/>
                  </a:cubicBezTo>
                  <a:cubicBezTo>
                    <a:pt x="22" y="741"/>
                    <a:pt x="22" y="741"/>
                    <a:pt x="22" y="741"/>
                  </a:cubicBezTo>
                  <a:cubicBezTo>
                    <a:pt x="17" y="746"/>
                    <a:pt x="17" y="746"/>
                    <a:pt x="17" y="746"/>
                  </a:cubicBezTo>
                  <a:cubicBezTo>
                    <a:pt x="22" y="746"/>
                    <a:pt x="22" y="746"/>
                    <a:pt x="22" y="746"/>
                  </a:cubicBezTo>
                  <a:cubicBezTo>
                    <a:pt x="24" y="746"/>
                    <a:pt x="26" y="754"/>
                    <a:pt x="26" y="757"/>
                  </a:cubicBezTo>
                  <a:cubicBezTo>
                    <a:pt x="26" y="761"/>
                    <a:pt x="27" y="768"/>
                    <a:pt x="29" y="768"/>
                  </a:cubicBezTo>
                  <a:cubicBezTo>
                    <a:pt x="31" y="768"/>
                    <a:pt x="32" y="761"/>
                    <a:pt x="32" y="761"/>
                  </a:cubicBezTo>
                  <a:cubicBezTo>
                    <a:pt x="32" y="770"/>
                    <a:pt x="32" y="770"/>
                    <a:pt x="32" y="770"/>
                  </a:cubicBezTo>
                  <a:cubicBezTo>
                    <a:pt x="34" y="771"/>
                    <a:pt x="34" y="771"/>
                    <a:pt x="34" y="771"/>
                  </a:cubicBezTo>
                  <a:cubicBezTo>
                    <a:pt x="32" y="777"/>
                    <a:pt x="32" y="777"/>
                    <a:pt x="32" y="777"/>
                  </a:cubicBezTo>
                  <a:cubicBezTo>
                    <a:pt x="37" y="779"/>
                    <a:pt x="37" y="779"/>
                    <a:pt x="37" y="779"/>
                  </a:cubicBezTo>
                  <a:cubicBezTo>
                    <a:pt x="37" y="786"/>
                    <a:pt x="37" y="786"/>
                    <a:pt x="37" y="786"/>
                  </a:cubicBezTo>
                  <a:cubicBezTo>
                    <a:pt x="42" y="791"/>
                    <a:pt x="42" y="791"/>
                    <a:pt x="42" y="791"/>
                  </a:cubicBezTo>
                  <a:cubicBezTo>
                    <a:pt x="42" y="796"/>
                    <a:pt x="42" y="796"/>
                    <a:pt x="42" y="796"/>
                  </a:cubicBezTo>
                  <a:cubicBezTo>
                    <a:pt x="48" y="804"/>
                    <a:pt x="48" y="804"/>
                    <a:pt x="48" y="804"/>
                  </a:cubicBezTo>
                  <a:cubicBezTo>
                    <a:pt x="50" y="803"/>
                    <a:pt x="50" y="803"/>
                    <a:pt x="50" y="803"/>
                  </a:cubicBezTo>
                  <a:cubicBezTo>
                    <a:pt x="50" y="803"/>
                    <a:pt x="52" y="815"/>
                    <a:pt x="55" y="816"/>
                  </a:cubicBezTo>
                  <a:cubicBezTo>
                    <a:pt x="60" y="818"/>
                    <a:pt x="61" y="814"/>
                    <a:pt x="61" y="814"/>
                  </a:cubicBezTo>
                  <a:cubicBezTo>
                    <a:pt x="61" y="814"/>
                    <a:pt x="64" y="822"/>
                    <a:pt x="64" y="825"/>
                  </a:cubicBezTo>
                  <a:cubicBezTo>
                    <a:pt x="64" y="829"/>
                    <a:pt x="58" y="828"/>
                    <a:pt x="58" y="828"/>
                  </a:cubicBezTo>
                  <a:cubicBezTo>
                    <a:pt x="58" y="828"/>
                    <a:pt x="57" y="823"/>
                    <a:pt x="52" y="826"/>
                  </a:cubicBezTo>
                  <a:cubicBezTo>
                    <a:pt x="48" y="830"/>
                    <a:pt x="58" y="834"/>
                    <a:pt x="58" y="834"/>
                  </a:cubicBezTo>
                  <a:cubicBezTo>
                    <a:pt x="58" y="834"/>
                    <a:pt x="61" y="839"/>
                    <a:pt x="59" y="841"/>
                  </a:cubicBezTo>
                  <a:cubicBezTo>
                    <a:pt x="55" y="844"/>
                    <a:pt x="51" y="838"/>
                    <a:pt x="49" y="837"/>
                  </a:cubicBezTo>
                  <a:cubicBezTo>
                    <a:pt x="47" y="835"/>
                    <a:pt x="44" y="835"/>
                    <a:pt x="43" y="836"/>
                  </a:cubicBezTo>
                  <a:cubicBezTo>
                    <a:pt x="42" y="837"/>
                    <a:pt x="47" y="839"/>
                    <a:pt x="47" y="839"/>
                  </a:cubicBezTo>
                  <a:cubicBezTo>
                    <a:pt x="48" y="844"/>
                    <a:pt x="48" y="844"/>
                    <a:pt x="48" y="844"/>
                  </a:cubicBezTo>
                  <a:cubicBezTo>
                    <a:pt x="48" y="844"/>
                    <a:pt x="54" y="852"/>
                    <a:pt x="58" y="856"/>
                  </a:cubicBezTo>
                  <a:cubicBezTo>
                    <a:pt x="61" y="861"/>
                    <a:pt x="61" y="865"/>
                    <a:pt x="61" y="865"/>
                  </a:cubicBezTo>
                  <a:cubicBezTo>
                    <a:pt x="65" y="866"/>
                    <a:pt x="65" y="866"/>
                    <a:pt x="65" y="866"/>
                  </a:cubicBezTo>
                  <a:cubicBezTo>
                    <a:pt x="64" y="871"/>
                    <a:pt x="64" y="871"/>
                    <a:pt x="64" y="871"/>
                  </a:cubicBezTo>
                  <a:cubicBezTo>
                    <a:pt x="64" y="871"/>
                    <a:pt x="67" y="871"/>
                    <a:pt x="69" y="877"/>
                  </a:cubicBezTo>
                  <a:cubicBezTo>
                    <a:pt x="71" y="881"/>
                    <a:pt x="64" y="882"/>
                    <a:pt x="64" y="882"/>
                  </a:cubicBezTo>
                  <a:cubicBezTo>
                    <a:pt x="64" y="888"/>
                    <a:pt x="64" y="888"/>
                    <a:pt x="64" y="888"/>
                  </a:cubicBezTo>
                  <a:cubicBezTo>
                    <a:pt x="64" y="888"/>
                    <a:pt x="67" y="891"/>
                    <a:pt x="66" y="894"/>
                  </a:cubicBezTo>
                  <a:cubicBezTo>
                    <a:pt x="65" y="896"/>
                    <a:pt x="62" y="893"/>
                    <a:pt x="62" y="893"/>
                  </a:cubicBezTo>
                  <a:cubicBezTo>
                    <a:pt x="61" y="897"/>
                    <a:pt x="61" y="897"/>
                    <a:pt x="61" y="897"/>
                  </a:cubicBezTo>
                  <a:cubicBezTo>
                    <a:pt x="65" y="896"/>
                    <a:pt x="65" y="896"/>
                    <a:pt x="65" y="896"/>
                  </a:cubicBezTo>
                  <a:cubicBezTo>
                    <a:pt x="65" y="896"/>
                    <a:pt x="78" y="899"/>
                    <a:pt x="82" y="899"/>
                  </a:cubicBezTo>
                  <a:cubicBezTo>
                    <a:pt x="85" y="899"/>
                    <a:pt x="91" y="895"/>
                    <a:pt x="97" y="893"/>
                  </a:cubicBezTo>
                  <a:cubicBezTo>
                    <a:pt x="103" y="891"/>
                    <a:pt x="106" y="895"/>
                    <a:pt x="106" y="895"/>
                  </a:cubicBezTo>
                  <a:cubicBezTo>
                    <a:pt x="112" y="894"/>
                    <a:pt x="112" y="894"/>
                    <a:pt x="112" y="894"/>
                  </a:cubicBezTo>
                  <a:cubicBezTo>
                    <a:pt x="112" y="894"/>
                    <a:pt x="117" y="885"/>
                    <a:pt x="118" y="880"/>
                  </a:cubicBezTo>
                  <a:cubicBezTo>
                    <a:pt x="119" y="876"/>
                    <a:pt x="111" y="875"/>
                    <a:pt x="111" y="869"/>
                  </a:cubicBezTo>
                  <a:cubicBezTo>
                    <a:pt x="111" y="865"/>
                    <a:pt x="118" y="854"/>
                    <a:pt x="120" y="852"/>
                  </a:cubicBezTo>
                  <a:cubicBezTo>
                    <a:pt x="123" y="851"/>
                    <a:pt x="129" y="855"/>
                    <a:pt x="131" y="854"/>
                  </a:cubicBezTo>
                  <a:cubicBezTo>
                    <a:pt x="133" y="852"/>
                    <a:pt x="129" y="844"/>
                    <a:pt x="129" y="844"/>
                  </a:cubicBezTo>
                  <a:cubicBezTo>
                    <a:pt x="147" y="842"/>
                    <a:pt x="147" y="842"/>
                    <a:pt x="147" y="842"/>
                  </a:cubicBezTo>
                  <a:cubicBezTo>
                    <a:pt x="155" y="844"/>
                    <a:pt x="155" y="844"/>
                    <a:pt x="155" y="844"/>
                  </a:cubicBezTo>
                  <a:cubicBezTo>
                    <a:pt x="161" y="839"/>
                    <a:pt x="161" y="839"/>
                    <a:pt x="161" y="839"/>
                  </a:cubicBezTo>
                  <a:cubicBezTo>
                    <a:pt x="172" y="847"/>
                    <a:pt x="172" y="847"/>
                    <a:pt x="172" y="847"/>
                  </a:cubicBezTo>
                  <a:cubicBezTo>
                    <a:pt x="172" y="847"/>
                    <a:pt x="176" y="838"/>
                    <a:pt x="178" y="837"/>
                  </a:cubicBezTo>
                  <a:cubicBezTo>
                    <a:pt x="179" y="835"/>
                    <a:pt x="181" y="820"/>
                    <a:pt x="181" y="820"/>
                  </a:cubicBezTo>
                  <a:cubicBezTo>
                    <a:pt x="184" y="810"/>
                    <a:pt x="184" y="810"/>
                    <a:pt x="184" y="810"/>
                  </a:cubicBezTo>
                  <a:cubicBezTo>
                    <a:pt x="188" y="807"/>
                    <a:pt x="188" y="807"/>
                    <a:pt x="188" y="807"/>
                  </a:cubicBezTo>
                  <a:cubicBezTo>
                    <a:pt x="192" y="791"/>
                    <a:pt x="192" y="791"/>
                    <a:pt x="192" y="791"/>
                  </a:cubicBezTo>
                  <a:cubicBezTo>
                    <a:pt x="190" y="785"/>
                    <a:pt x="190" y="785"/>
                    <a:pt x="190" y="785"/>
                  </a:cubicBezTo>
                  <a:cubicBezTo>
                    <a:pt x="190" y="785"/>
                    <a:pt x="193" y="784"/>
                    <a:pt x="194" y="781"/>
                  </a:cubicBezTo>
                  <a:cubicBezTo>
                    <a:pt x="195" y="777"/>
                    <a:pt x="191" y="775"/>
                    <a:pt x="191" y="775"/>
                  </a:cubicBezTo>
                  <a:cubicBezTo>
                    <a:pt x="192" y="761"/>
                    <a:pt x="192" y="761"/>
                    <a:pt x="192" y="761"/>
                  </a:cubicBezTo>
                  <a:cubicBezTo>
                    <a:pt x="192" y="761"/>
                    <a:pt x="195" y="762"/>
                    <a:pt x="197" y="756"/>
                  </a:cubicBezTo>
                  <a:cubicBezTo>
                    <a:pt x="200" y="751"/>
                    <a:pt x="191" y="746"/>
                    <a:pt x="191" y="746"/>
                  </a:cubicBezTo>
                  <a:cubicBezTo>
                    <a:pt x="193" y="744"/>
                    <a:pt x="193" y="744"/>
                    <a:pt x="193" y="744"/>
                  </a:cubicBezTo>
                  <a:cubicBezTo>
                    <a:pt x="194" y="735"/>
                    <a:pt x="194" y="735"/>
                    <a:pt x="194" y="735"/>
                  </a:cubicBezTo>
                  <a:cubicBezTo>
                    <a:pt x="192" y="728"/>
                    <a:pt x="192" y="728"/>
                    <a:pt x="192" y="728"/>
                  </a:cubicBezTo>
                  <a:cubicBezTo>
                    <a:pt x="188" y="728"/>
                    <a:pt x="188" y="728"/>
                    <a:pt x="188" y="728"/>
                  </a:cubicBezTo>
                  <a:cubicBezTo>
                    <a:pt x="188" y="728"/>
                    <a:pt x="188" y="726"/>
                    <a:pt x="191" y="725"/>
                  </a:cubicBezTo>
                  <a:cubicBezTo>
                    <a:pt x="195" y="725"/>
                    <a:pt x="198" y="728"/>
                    <a:pt x="198" y="728"/>
                  </a:cubicBezTo>
                  <a:cubicBezTo>
                    <a:pt x="197" y="722"/>
                    <a:pt x="197" y="722"/>
                    <a:pt x="197" y="722"/>
                  </a:cubicBezTo>
                  <a:cubicBezTo>
                    <a:pt x="193" y="720"/>
                    <a:pt x="193" y="720"/>
                    <a:pt x="193" y="720"/>
                  </a:cubicBezTo>
                  <a:cubicBezTo>
                    <a:pt x="196" y="719"/>
                    <a:pt x="196" y="719"/>
                    <a:pt x="196" y="719"/>
                  </a:cubicBezTo>
                  <a:cubicBezTo>
                    <a:pt x="196" y="719"/>
                    <a:pt x="196" y="711"/>
                    <a:pt x="198" y="707"/>
                  </a:cubicBezTo>
                  <a:cubicBezTo>
                    <a:pt x="201" y="703"/>
                    <a:pt x="192" y="698"/>
                    <a:pt x="192" y="698"/>
                  </a:cubicBezTo>
                  <a:cubicBezTo>
                    <a:pt x="195" y="697"/>
                    <a:pt x="195" y="697"/>
                    <a:pt x="195" y="697"/>
                  </a:cubicBezTo>
                  <a:cubicBezTo>
                    <a:pt x="192" y="692"/>
                    <a:pt x="192" y="692"/>
                    <a:pt x="192" y="692"/>
                  </a:cubicBezTo>
                  <a:cubicBezTo>
                    <a:pt x="192" y="692"/>
                    <a:pt x="198" y="694"/>
                    <a:pt x="201" y="687"/>
                  </a:cubicBezTo>
                  <a:cubicBezTo>
                    <a:pt x="204" y="679"/>
                    <a:pt x="183" y="679"/>
                    <a:pt x="183" y="679"/>
                  </a:cubicBezTo>
                  <a:cubicBezTo>
                    <a:pt x="182" y="682"/>
                    <a:pt x="182" y="682"/>
                    <a:pt x="182" y="682"/>
                  </a:cubicBezTo>
                  <a:cubicBezTo>
                    <a:pt x="176" y="681"/>
                    <a:pt x="176" y="681"/>
                    <a:pt x="176" y="681"/>
                  </a:cubicBezTo>
                  <a:cubicBezTo>
                    <a:pt x="176" y="677"/>
                    <a:pt x="176" y="677"/>
                    <a:pt x="176" y="677"/>
                  </a:cubicBezTo>
                  <a:cubicBezTo>
                    <a:pt x="192" y="677"/>
                    <a:pt x="192" y="677"/>
                    <a:pt x="192" y="677"/>
                  </a:cubicBezTo>
                  <a:cubicBezTo>
                    <a:pt x="195" y="677"/>
                    <a:pt x="201" y="680"/>
                    <a:pt x="201" y="680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2" y="668"/>
                    <a:pt x="202" y="668"/>
                    <a:pt x="202" y="668"/>
                  </a:cubicBezTo>
                  <a:cubicBezTo>
                    <a:pt x="208" y="672"/>
                    <a:pt x="208" y="672"/>
                    <a:pt x="208" y="672"/>
                  </a:cubicBezTo>
                  <a:cubicBezTo>
                    <a:pt x="208" y="672"/>
                    <a:pt x="212" y="671"/>
                    <a:pt x="213" y="671"/>
                  </a:cubicBezTo>
                  <a:cubicBezTo>
                    <a:pt x="214" y="671"/>
                    <a:pt x="218" y="666"/>
                    <a:pt x="218" y="666"/>
                  </a:cubicBezTo>
                  <a:cubicBezTo>
                    <a:pt x="218" y="661"/>
                    <a:pt x="218" y="661"/>
                    <a:pt x="218" y="661"/>
                  </a:cubicBezTo>
                  <a:cubicBezTo>
                    <a:pt x="222" y="662"/>
                    <a:pt x="222" y="662"/>
                    <a:pt x="222" y="662"/>
                  </a:cubicBezTo>
                  <a:cubicBezTo>
                    <a:pt x="223" y="647"/>
                    <a:pt x="223" y="647"/>
                    <a:pt x="223" y="647"/>
                  </a:cubicBezTo>
                  <a:cubicBezTo>
                    <a:pt x="226" y="648"/>
                    <a:pt x="226" y="648"/>
                    <a:pt x="226" y="648"/>
                  </a:cubicBezTo>
                  <a:cubicBezTo>
                    <a:pt x="228" y="658"/>
                    <a:pt x="228" y="658"/>
                    <a:pt x="228" y="658"/>
                  </a:cubicBezTo>
                  <a:cubicBezTo>
                    <a:pt x="235" y="659"/>
                    <a:pt x="235" y="659"/>
                    <a:pt x="235" y="659"/>
                  </a:cubicBezTo>
                  <a:cubicBezTo>
                    <a:pt x="237" y="649"/>
                    <a:pt x="237" y="649"/>
                    <a:pt x="237" y="649"/>
                  </a:cubicBezTo>
                  <a:cubicBezTo>
                    <a:pt x="237" y="649"/>
                    <a:pt x="239" y="649"/>
                    <a:pt x="241" y="648"/>
                  </a:cubicBezTo>
                  <a:cubicBezTo>
                    <a:pt x="242" y="647"/>
                    <a:pt x="242" y="643"/>
                    <a:pt x="242" y="643"/>
                  </a:cubicBezTo>
                  <a:cubicBezTo>
                    <a:pt x="246" y="642"/>
                    <a:pt x="246" y="642"/>
                    <a:pt x="246" y="642"/>
                  </a:cubicBezTo>
                  <a:cubicBezTo>
                    <a:pt x="248" y="640"/>
                    <a:pt x="248" y="640"/>
                    <a:pt x="248" y="640"/>
                  </a:cubicBezTo>
                  <a:cubicBezTo>
                    <a:pt x="245" y="639"/>
                    <a:pt x="245" y="639"/>
                    <a:pt x="245" y="639"/>
                  </a:cubicBezTo>
                  <a:cubicBezTo>
                    <a:pt x="243" y="633"/>
                    <a:pt x="243" y="633"/>
                    <a:pt x="243" y="633"/>
                  </a:cubicBezTo>
                  <a:cubicBezTo>
                    <a:pt x="237" y="628"/>
                    <a:pt x="237" y="628"/>
                    <a:pt x="237" y="628"/>
                  </a:cubicBezTo>
                  <a:cubicBezTo>
                    <a:pt x="239" y="625"/>
                    <a:pt x="239" y="625"/>
                    <a:pt x="239" y="625"/>
                  </a:cubicBezTo>
                  <a:cubicBezTo>
                    <a:pt x="244" y="625"/>
                    <a:pt x="244" y="625"/>
                    <a:pt x="244" y="625"/>
                  </a:cubicBezTo>
                  <a:cubicBezTo>
                    <a:pt x="258" y="610"/>
                    <a:pt x="258" y="610"/>
                    <a:pt x="258" y="610"/>
                  </a:cubicBezTo>
                  <a:cubicBezTo>
                    <a:pt x="258" y="607"/>
                    <a:pt x="258" y="607"/>
                    <a:pt x="258" y="607"/>
                  </a:cubicBezTo>
                  <a:cubicBezTo>
                    <a:pt x="266" y="601"/>
                    <a:pt x="266" y="601"/>
                    <a:pt x="266" y="601"/>
                  </a:cubicBezTo>
                  <a:cubicBezTo>
                    <a:pt x="267" y="600"/>
                    <a:pt x="267" y="600"/>
                    <a:pt x="267" y="600"/>
                  </a:cubicBezTo>
                  <a:cubicBezTo>
                    <a:pt x="259" y="600"/>
                    <a:pt x="259" y="600"/>
                    <a:pt x="259" y="600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67" y="592"/>
                    <a:pt x="267" y="592"/>
                    <a:pt x="267" y="592"/>
                  </a:cubicBezTo>
                  <a:cubicBezTo>
                    <a:pt x="261" y="588"/>
                    <a:pt x="261" y="588"/>
                    <a:pt x="261" y="588"/>
                  </a:cubicBezTo>
                  <a:cubicBezTo>
                    <a:pt x="256" y="578"/>
                    <a:pt x="256" y="578"/>
                    <a:pt x="256" y="578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5" y="578"/>
                    <a:pt x="242" y="570"/>
                    <a:pt x="242" y="570"/>
                  </a:cubicBezTo>
                  <a:cubicBezTo>
                    <a:pt x="242" y="566"/>
                    <a:pt x="242" y="566"/>
                    <a:pt x="242" y="566"/>
                  </a:cubicBezTo>
                  <a:cubicBezTo>
                    <a:pt x="241" y="564"/>
                    <a:pt x="241" y="564"/>
                    <a:pt x="241" y="564"/>
                  </a:cubicBezTo>
                  <a:cubicBezTo>
                    <a:pt x="237" y="565"/>
                    <a:pt x="237" y="565"/>
                    <a:pt x="237" y="565"/>
                  </a:cubicBezTo>
                  <a:cubicBezTo>
                    <a:pt x="227" y="554"/>
                    <a:pt x="227" y="554"/>
                    <a:pt x="227" y="554"/>
                  </a:cubicBezTo>
                  <a:cubicBezTo>
                    <a:pt x="227" y="554"/>
                    <a:pt x="228" y="550"/>
                    <a:pt x="225" y="549"/>
                  </a:cubicBezTo>
                  <a:cubicBezTo>
                    <a:pt x="221" y="548"/>
                    <a:pt x="216" y="557"/>
                    <a:pt x="216" y="557"/>
                  </a:cubicBezTo>
                  <a:cubicBezTo>
                    <a:pt x="213" y="552"/>
                    <a:pt x="213" y="552"/>
                    <a:pt x="213" y="552"/>
                  </a:cubicBezTo>
                  <a:cubicBezTo>
                    <a:pt x="213" y="552"/>
                    <a:pt x="215" y="550"/>
                    <a:pt x="213" y="548"/>
                  </a:cubicBezTo>
                  <a:cubicBezTo>
                    <a:pt x="210" y="546"/>
                    <a:pt x="198" y="548"/>
                    <a:pt x="198" y="548"/>
                  </a:cubicBezTo>
                  <a:cubicBezTo>
                    <a:pt x="205" y="541"/>
                    <a:pt x="205" y="541"/>
                    <a:pt x="205" y="541"/>
                  </a:cubicBezTo>
                  <a:cubicBezTo>
                    <a:pt x="200" y="534"/>
                    <a:pt x="200" y="534"/>
                    <a:pt x="200" y="534"/>
                  </a:cubicBezTo>
                  <a:cubicBezTo>
                    <a:pt x="196" y="533"/>
                    <a:pt x="196" y="533"/>
                    <a:pt x="196" y="533"/>
                  </a:cubicBezTo>
                  <a:cubicBezTo>
                    <a:pt x="198" y="525"/>
                    <a:pt x="198" y="525"/>
                    <a:pt x="198" y="525"/>
                  </a:cubicBezTo>
                  <a:cubicBezTo>
                    <a:pt x="196" y="515"/>
                    <a:pt x="196" y="515"/>
                    <a:pt x="196" y="515"/>
                  </a:cubicBezTo>
                  <a:cubicBezTo>
                    <a:pt x="196" y="515"/>
                    <a:pt x="198" y="509"/>
                    <a:pt x="198" y="506"/>
                  </a:cubicBezTo>
                  <a:cubicBezTo>
                    <a:pt x="198" y="504"/>
                    <a:pt x="193" y="502"/>
                    <a:pt x="193" y="502"/>
                  </a:cubicBezTo>
                  <a:cubicBezTo>
                    <a:pt x="195" y="491"/>
                    <a:pt x="195" y="491"/>
                    <a:pt x="195" y="491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6" y="488"/>
                    <a:pt x="196" y="488"/>
                    <a:pt x="196" y="488"/>
                  </a:cubicBezTo>
                  <a:cubicBezTo>
                    <a:pt x="192" y="479"/>
                    <a:pt x="192" y="479"/>
                    <a:pt x="192" y="479"/>
                  </a:cubicBezTo>
                  <a:cubicBezTo>
                    <a:pt x="198" y="483"/>
                    <a:pt x="198" y="483"/>
                    <a:pt x="198" y="483"/>
                  </a:cubicBezTo>
                  <a:cubicBezTo>
                    <a:pt x="201" y="479"/>
                    <a:pt x="201" y="479"/>
                    <a:pt x="201" y="479"/>
                  </a:cubicBezTo>
                  <a:cubicBezTo>
                    <a:pt x="201" y="479"/>
                    <a:pt x="200" y="475"/>
                    <a:pt x="198" y="473"/>
                  </a:cubicBezTo>
                  <a:cubicBezTo>
                    <a:pt x="195" y="472"/>
                    <a:pt x="197" y="464"/>
                    <a:pt x="197" y="464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201" y="450"/>
                    <a:pt x="201" y="450"/>
                    <a:pt x="201" y="450"/>
                  </a:cubicBezTo>
                  <a:cubicBezTo>
                    <a:pt x="206" y="448"/>
                    <a:pt x="206" y="448"/>
                    <a:pt x="206" y="448"/>
                  </a:cubicBezTo>
                  <a:cubicBezTo>
                    <a:pt x="206" y="445"/>
                    <a:pt x="206" y="445"/>
                    <a:pt x="206" y="445"/>
                  </a:cubicBezTo>
                  <a:cubicBezTo>
                    <a:pt x="200" y="445"/>
                    <a:pt x="200" y="445"/>
                    <a:pt x="200" y="445"/>
                  </a:cubicBezTo>
                  <a:cubicBezTo>
                    <a:pt x="199" y="441"/>
                    <a:pt x="199" y="441"/>
                    <a:pt x="199" y="441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196" y="432"/>
                    <a:pt x="196" y="432"/>
                    <a:pt x="196" y="432"/>
                  </a:cubicBezTo>
                  <a:cubicBezTo>
                    <a:pt x="194" y="430"/>
                    <a:pt x="194" y="430"/>
                    <a:pt x="194" y="430"/>
                  </a:cubicBezTo>
                  <a:cubicBezTo>
                    <a:pt x="199" y="428"/>
                    <a:pt x="199" y="428"/>
                    <a:pt x="199" y="428"/>
                  </a:cubicBezTo>
                  <a:cubicBezTo>
                    <a:pt x="202" y="434"/>
                    <a:pt x="202" y="434"/>
                    <a:pt x="202" y="434"/>
                  </a:cubicBezTo>
                  <a:cubicBezTo>
                    <a:pt x="207" y="432"/>
                    <a:pt x="207" y="432"/>
                    <a:pt x="207" y="432"/>
                  </a:cubicBezTo>
                  <a:cubicBezTo>
                    <a:pt x="205" y="430"/>
                    <a:pt x="205" y="430"/>
                    <a:pt x="205" y="430"/>
                  </a:cubicBezTo>
                  <a:cubicBezTo>
                    <a:pt x="207" y="427"/>
                    <a:pt x="207" y="427"/>
                    <a:pt x="207" y="427"/>
                  </a:cubicBezTo>
                  <a:cubicBezTo>
                    <a:pt x="207" y="427"/>
                    <a:pt x="212" y="427"/>
                    <a:pt x="212" y="425"/>
                  </a:cubicBezTo>
                  <a:cubicBezTo>
                    <a:pt x="212" y="418"/>
                    <a:pt x="212" y="418"/>
                    <a:pt x="212" y="418"/>
                  </a:cubicBezTo>
                  <a:cubicBezTo>
                    <a:pt x="213" y="414"/>
                    <a:pt x="213" y="414"/>
                    <a:pt x="213" y="414"/>
                  </a:cubicBezTo>
                  <a:cubicBezTo>
                    <a:pt x="213" y="414"/>
                    <a:pt x="211" y="408"/>
                    <a:pt x="213" y="408"/>
                  </a:cubicBezTo>
                  <a:cubicBezTo>
                    <a:pt x="215" y="407"/>
                    <a:pt x="216" y="410"/>
                    <a:pt x="216" y="410"/>
                  </a:cubicBezTo>
                  <a:cubicBezTo>
                    <a:pt x="221" y="407"/>
                    <a:pt x="221" y="407"/>
                    <a:pt x="221" y="407"/>
                  </a:cubicBezTo>
                  <a:cubicBezTo>
                    <a:pt x="221" y="407"/>
                    <a:pt x="218" y="403"/>
                    <a:pt x="221" y="401"/>
                  </a:cubicBezTo>
                  <a:cubicBezTo>
                    <a:pt x="222" y="400"/>
                    <a:pt x="225" y="405"/>
                    <a:pt x="225" y="405"/>
                  </a:cubicBezTo>
                  <a:cubicBezTo>
                    <a:pt x="229" y="399"/>
                    <a:pt x="229" y="399"/>
                    <a:pt x="229" y="399"/>
                  </a:cubicBezTo>
                  <a:cubicBezTo>
                    <a:pt x="225" y="397"/>
                    <a:pt x="225" y="397"/>
                    <a:pt x="225" y="397"/>
                  </a:cubicBezTo>
                  <a:cubicBezTo>
                    <a:pt x="228" y="396"/>
                    <a:pt x="228" y="396"/>
                    <a:pt x="228" y="396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22" y="395"/>
                    <a:pt x="222" y="395"/>
                    <a:pt x="222" y="395"/>
                  </a:cubicBezTo>
                  <a:cubicBezTo>
                    <a:pt x="226" y="392"/>
                    <a:pt x="226" y="392"/>
                    <a:pt x="226" y="392"/>
                  </a:cubicBezTo>
                  <a:cubicBezTo>
                    <a:pt x="231" y="380"/>
                    <a:pt x="231" y="380"/>
                    <a:pt x="231" y="380"/>
                  </a:cubicBezTo>
                  <a:cubicBezTo>
                    <a:pt x="234" y="380"/>
                    <a:pt x="234" y="380"/>
                    <a:pt x="234" y="380"/>
                  </a:cubicBezTo>
                  <a:cubicBezTo>
                    <a:pt x="239" y="377"/>
                    <a:pt x="239" y="377"/>
                    <a:pt x="239" y="377"/>
                  </a:cubicBezTo>
                  <a:cubicBezTo>
                    <a:pt x="233" y="375"/>
                    <a:pt x="233" y="375"/>
                    <a:pt x="233" y="375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43" y="378"/>
                    <a:pt x="243" y="378"/>
                    <a:pt x="243" y="378"/>
                  </a:cubicBezTo>
                  <a:cubicBezTo>
                    <a:pt x="243" y="378"/>
                    <a:pt x="244" y="374"/>
                    <a:pt x="246" y="371"/>
                  </a:cubicBezTo>
                  <a:cubicBezTo>
                    <a:pt x="248" y="368"/>
                    <a:pt x="249" y="361"/>
                    <a:pt x="249" y="361"/>
                  </a:cubicBezTo>
                  <a:cubicBezTo>
                    <a:pt x="249" y="361"/>
                    <a:pt x="251" y="362"/>
                    <a:pt x="254" y="360"/>
                  </a:cubicBezTo>
                  <a:cubicBezTo>
                    <a:pt x="256" y="359"/>
                    <a:pt x="255" y="353"/>
                    <a:pt x="255" y="35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61" y="363"/>
                    <a:pt x="261" y="363"/>
                    <a:pt x="261" y="363"/>
                  </a:cubicBezTo>
                  <a:cubicBezTo>
                    <a:pt x="263" y="361"/>
                    <a:pt x="263" y="361"/>
                    <a:pt x="263" y="361"/>
                  </a:cubicBezTo>
                  <a:cubicBezTo>
                    <a:pt x="262" y="357"/>
                    <a:pt x="262" y="357"/>
                    <a:pt x="262" y="357"/>
                  </a:cubicBezTo>
                  <a:cubicBezTo>
                    <a:pt x="270" y="348"/>
                    <a:pt x="270" y="348"/>
                    <a:pt x="270" y="34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8" y="344"/>
                    <a:pt x="278" y="344"/>
                    <a:pt x="278" y="344"/>
                  </a:cubicBezTo>
                  <a:cubicBezTo>
                    <a:pt x="278" y="340"/>
                    <a:pt x="278" y="340"/>
                    <a:pt x="278" y="340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1" y="334"/>
                    <a:pt x="281" y="334"/>
                    <a:pt x="281" y="334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0" y="333"/>
                    <a:pt x="290" y="333"/>
                    <a:pt x="290" y="333"/>
                  </a:cubicBezTo>
                  <a:cubicBezTo>
                    <a:pt x="290" y="333"/>
                    <a:pt x="293" y="325"/>
                    <a:pt x="294" y="321"/>
                  </a:cubicBezTo>
                  <a:cubicBezTo>
                    <a:pt x="295" y="318"/>
                    <a:pt x="293" y="313"/>
                    <a:pt x="293" y="313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9" y="302"/>
                    <a:pt x="299" y="302"/>
                    <a:pt x="299" y="3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06" y="288"/>
                    <a:pt x="306" y="288"/>
                    <a:pt x="306" y="288"/>
                  </a:cubicBezTo>
                  <a:cubicBezTo>
                    <a:pt x="304" y="286"/>
                    <a:pt x="304" y="286"/>
                    <a:pt x="304" y="286"/>
                  </a:cubicBezTo>
                  <a:cubicBezTo>
                    <a:pt x="308" y="285"/>
                    <a:pt x="308" y="285"/>
                    <a:pt x="308" y="285"/>
                  </a:cubicBezTo>
                  <a:cubicBezTo>
                    <a:pt x="309" y="283"/>
                    <a:pt x="309" y="283"/>
                    <a:pt x="309" y="283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295" y="277"/>
                    <a:pt x="295" y="277"/>
                    <a:pt x="295" y="277"/>
                  </a:cubicBezTo>
                  <a:cubicBezTo>
                    <a:pt x="298" y="269"/>
                    <a:pt x="298" y="269"/>
                    <a:pt x="298" y="269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98" y="259"/>
                    <a:pt x="298" y="259"/>
                    <a:pt x="298" y="259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3" y="246"/>
                    <a:pt x="293" y="238"/>
                    <a:pt x="295" y="234"/>
                  </a:cubicBezTo>
                  <a:cubicBezTo>
                    <a:pt x="296" y="230"/>
                    <a:pt x="304" y="231"/>
                    <a:pt x="309" y="229"/>
                  </a:cubicBezTo>
                  <a:cubicBezTo>
                    <a:pt x="315" y="226"/>
                    <a:pt x="307" y="221"/>
                    <a:pt x="307" y="221"/>
                  </a:cubicBezTo>
                  <a:cubicBezTo>
                    <a:pt x="313" y="219"/>
                    <a:pt x="313" y="219"/>
                    <a:pt x="313" y="219"/>
                  </a:cubicBezTo>
                  <a:cubicBezTo>
                    <a:pt x="313" y="216"/>
                    <a:pt x="313" y="216"/>
                    <a:pt x="313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5" y="196"/>
                    <a:pt x="315" y="196"/>
                    <a:pt x="315" y="196"/>
                  </a:cubicBezTo>
                  <a:cubicBezTo>
                    <a:pt x="319" y="196"/>
                    <a:pt x="319" y="196"/>
                    <a:pt x="319" y="196"/>
                  </a:cubicBezTo>
                  <a:cubicBezTo>
                    <a:pt x="322" y="201"/>
                    <a:pt x="322" y="201"/>
                    <a:pt x="322" y="201"/>
                  </a:cubicBezTo>
                  <a:cubicBezTo>
                    <a:pt x="326" y="201"/>
                    <a:pt x="326" y="201"/>
                    <a:pt x="326" y="201"/>
                  </a:cubicBezTo>
                  <a:cubicBezTo>
                    <a:pt x="324" y="193"/>
                    <a:pt x="324" y="193"/>
                    <a:pt x="324" y="193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6" y="201"/>
                    <a:pt x="336" y="201"/>
                    <a:pt x="336" y="201"/>
                  </a:cubicBezTo>
                  <a:cubicBezTo>
                    <a:pt x="337" y="205"/>
                    <a:pt x="337" y="205"/>
                    <a:pt x="337" y="205"/>
                  </a:cubicBezTo>
                  <a:cubicBezTo>
                    <a:pt x="340" y="200"/>
                    <a:pt x="340" y="200"/>
                    <a:pt x="340" y="200"/>
                  </a:cubicBezTo>
                  <a:cubicBezTo>
                    <a:pt x="339" y="196"/>
                    <a:pt x="339" y="196"/>
                    <a:pt x="339" y="196"/>
                  </a:cubicBezTo>
                  <a:cubicBezTo>
                    <a:pt x="350" y="196"/>
                    <a:pt x="350" y="196"/>
                    <a:pt x="350" y="196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4" y="188"/>
                  </a:lnTo>
                  <a:close/>
                  <a:moveTo>
                    <a:pt x="14" y="718"/>
                  </a:moveTo>
                  <a:cubicBezTo>
                    <a:pt x="21" y="719"/>
                    <a:pt x="21" y="719"/>
                    <a:pt x="21" y="719"/>
                  </a:cubicBezTo>
                  <a:cubicBezTo>
                    <a:pt x="22" y="712"/>
                    <a:pt x="22" y="712"/>
                    <a:pt x="22" y="712"/>
                  </a:cubicBezTo>
                  <a:cubicBezTo>
                    <a:pt x="19" y="709"/>
                    <a:pt x="19" y="709"/>
                    <a:pt x="19" y="709"/>
                  </a:cubicBezTo>
                  <a:cubicBezTo>
                    <a:pt x="17" y="712"/>
                    <a:pt x="17" y="712"/>
                    <a:pt x="17" y="712"/>
                  </a:cubicBezTo>
                  <a:cubicBezTo>
                    <a:pt x="16" y="712"/>
                    <a:pt x="16" y="712"/>
                    <a:pt x="16" y="712"/>
                  </a:cubicBezTo>
                  <a:cubicBezTo>
                    <a:pt x="8" y="720"/>
                    <a:pt x="8" y="720"/>
                    <a:pt x="8" y="720"/>
                  </a:cubicBezTo>
                  <a:cubicBezTo>
                    <a:pt x="14" y="721"/>
                    <a:pt x="14" y="721"/>
                    <a:pt x="14" y="721"/>
                  </a:cubicBezTo>
                  <a:lnTo>
                    <a:pt x="14" y="718"/>
                  </a:lnTo>
                  <a:close/>
                  <a:moveTo>
                    <a:pt x="20" y="727"/>
                  </a:moveTo>
                  <a:cubicBezTo>
                    <a:pt x="19" y="723"/>
                    <a:pt x="19" y="723"/>
                    <a:pt x="19" y="723"/>
                  </a:cubicBezTo>
                  <a:cubicBezTo>
                    <a:pt x="11" y="725"/>
                    <a:pt x="11" y="725"/>
                    <a:pt x="11" y="725"/>
                  </a:cubicBezTo>
                  <a:cubicBezTo>
                    <a:pt x="13" y="728"/>
                    <a:pt x="13" y="728"/>
                    <a:pt x="13" y="728"/>
                  </a:cubicBezTo>
                  <a:cubicBezTo>
                    <a:pt x="13" y="730"/>
                    <a:pt x="13" y="730"/>
                    <a:pt x="13" y="730"/>
                  </a:cubicBezTo>
                  <a:cubicBezTo>
                    <a:pt x="16" y="730"/>
                    <a:pt x="16" y="730"/>
                    <a:pt x="16" y="730"/>
                  </a:cubicBezTo>
                  <a:cubicBezTo>
                    <a:pt x="17" y="727"/>
                    <a:pt x="17" y="727"/>
                    <a:pt x="17" y="727"/>
                  </a:cubicBezTo>
                  <a:lnTo>
                    <a:pt x="20" y="727"/>
                  </a:lnTo>
                  <a:close/>
                  <a:moveTo>
                    <a:pt x="211" y="760"/>
                  </a:moveTo>
                  <a:cubicBezTo>
                    <a:pt x="207" y="765"/>
                    <a:pt x="207" y="765"/>
                    <a:pt x="207" y="765"/>
                  </a:cubicBezTo>
                  <a:cubicBezTo>
                    <a:pt x="208" y="771"/>
                    <a:pt x="208" y="771"/>
                    <a:pt x="208" y="771"/>
                  </a:cubicBezTo>
                  <a:cubicBezTo>
                    <a:pt x="207" y="771"/>
                    <a:pt x="207" y="771"/>
                    <a:pt x="207" y="771"/>
                  </a:cubicBezTo>
                  <a:cubicBezTo>
                    <a:pt x="207" y="773"/>
                    <a:pt x="207" y="773"/>
                    <a:pt x="207" y="773"/>
                  </a:cubicBezTo>
                  <a:cubicBezTo>
                    <a:pt x="205" y="783"/>
                    <a:pt x="205" y="783"/>
                    <a:pt x="205" y="783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0" y="792"/>
                    <a:pt x="200" y="792"/>
                    <a:pt x="200" y="792"/>
                  </a:cubicBezTo>
                  <a:cubicBezTo>
                    <a:pt x="198" y="792"/>
                    <a:pt x="198" y="792"/>
                    <a:pt x="198" y="792"/>
                  </a:cubicBezTo>
                  <a:cubicBezTo>
                    <a:pt x="198" y="792"/>
                    <a:pt x="195" y="797"/>
                    <a:pt x="194" y="801"/>
                  </a:cubicBezTo>
                  <a:cubicBezTo>
                    <a:pt x="193" y="804"/>
                    <a:pt x="194" y="807"/>
                    <a:pt x="193" y="808"/>
                  </a:cubicBezTo>
                  <a:cubicBezTo>
                    <a:pt x="193" y="810"/>
                    <a:pt x="190" y="812"/>
                    <a:pt x="190" y="816"/>
                  </a:cubicBezTo>
                  <a:cubicBezTo>
                    <a:pt x="190" y="821"/>
                    <a:pt x="190" y="821"/>
                    <a:pt x="190" y="821"/>
                  </a:cubicBezTo>
                  <a:cubicBezTo>
                    <a:pt x="193" y="823"/>
                    <a:pt x="193" y="823"/>
                    <a:pt x="193" y="823"/>
                  </a:cubicBezTo>
                  <a:cubicBezTo>
                    <a:pt x="192" y="836"/>
                    <a:pt x="192" y="836"/>
                    <a:pt x="192" y="836"/>
                  </a:cubicBezTo>
                  <a:cubicBezTo>
                    <a:pt x="192" y="836"/>
                    <a:pt x="196" y="833"/>
                    <a:pt x="197" y="830"/>
                  </a:cubicBezTo>
                  <a:cubicBezTo>
                    <a:pt x="198" y="825"/>
                    <a:pt x="197" y="824"/>
                    <a:pt x="197" y="822"/>
                  </a:cubicBezTo>
                  <a:cubicBezTo>
                    <a:pt x="197" y="820"/>
                    <a:pt x="199" y="817"/>
                    <a:pt x="200" y="815"/>
                  </a:cubicBezTo>
                  <a:cubicBezTo>
                    <a:pt x="201" y="813"/>
                    <a:pt x="200" y="807"/>
                    <a:pt x="200" y="807"/>
                  </a:cubicBezTo>
                  <a:cubicBezTo>
                    <a:pt x="204" y="796"/>
                    <a:pt x="204" y="796"/>
                    <a:pt x="204" y="796"/>
                  </a:cubicBezTo>
                  <a:cubicBezTo>
                    <a:pt x="206" y="796"/>
                    <a:pt x="206" y="796"/>
                    <a:pt x="206" y="796"/>
                  </a:cubicBezTo>
                  <a:cubicBezTo>
                    <a:pt x="208" y="788"/>
                    <a:pt x="208" y="788"/>
                    <a:pt x="208" y="788"/>
                  </a:cubicBezTo>
                  <a:cubicBezTo>
                    <a:pt x="207" y="785"/>
                    <a:pt x="207" y="785"/>
                    <a:pt x="207" y="785"/>
                  </a:cubicBezTo>
                  <a:cubicBezTo>
                    <a:pt x="209" y="783"/>
                    <a:pt x="209" y="783"/>
                    <a:pt x="209" y="783"/>
                  </a:cubicBezTo>
                  <a:cubicBezTo>
                    <a:pt x="208" y="782"/>
                    <a:pt x="208" y="782"/>
                    <a:pt x="208" y="782"/>
                  </a:cubicBezTo>
                  <a:cubicBezTo>
                    <a:pt x="210" y="779"/>
                    <a:pt x="210" y="779"/>
                    <a:pt x="210" y="779"/>
                  </a:cubicBezTo>
                  <a:cubicBezTo>
                    <a:pt x="209" y="777"/>
                    <a:pt x="209" y="777"/>
                    <a:pt x="209" y="777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4" y="763"/>
                    <a:pt x="214" y="763"/>
                    <a:pt x="214" y="763"/>
                  </a:cubicBezTo>
                  <a:lnTo>
                    <a:pt x="211" y="760"/>
                  </a:lnTo>
                  <a:close/>
                  <a:moveTo>
                    <a:pt x="277" y="731"/>
                  </a:moveTo>
                  <a:cubicBezTo>
                    <a:pt x="281" y="724"/>
                    <a:pt x="281" y="724"/>
                    <a:pt x="281" y="724"/>
                  </a:cubicBezTo>
                  <a:cubicBezTo>
                    <a:pt x="278" y="718"/>
                    <a:pt x="278" y="718"/>
                    <a:pt x="278" y="718"/>
                  </a:cubicBezTo>
                  <a:cubicBezTo>
                    <a:pt x="272" y="719"/>
                    <a:pt x="272" y="719"/>
                    <a:pt x="272" y="719"/>
                  </a:cubicBezTo>
                  <a:cubicBezTo>
                    <a:pt x="270" y="724"/>
                    <a:pt x="270" y="724"/>
                    <a:pt x="270" y="724"/>
                  </a:cubicBezTo>
                  <a:cubicBezTo>
                    <a:pt x="270" y="719"/>
                    <a:pt x="270" y="719"/>
                    <a:pt x="270" y="719"/>
                  </a:cubicBezTo>
                  <a:cubicBezTo>
                    <a:pt x="270" y="719"/>
                    <a:pt x="267" y="719"/>
                    <a:pt x="266" y="720"/>
                  </a:cubicBezTo>
                  <a:cubicBezTo>
                    <a:pt x="264" y="721"/>
                    <a:pt x="263" y="724"/>
                    <a:pt x="263" y="724"/>
                  </a:cubicBezTo>
                  <a:cubicBezTo>
                    <a:pt x="263" y="724"/>
                    <a:pt x="262" y="723"/>
                    <a:pt x="259" y="726"/>
                  </a:cubicBezTo>
                  <a:cubicBezTo>
                    <a:pt x="257" y="729"/>
                    <a:pt x="253" y="739"/>
                    <a:pt x="253" y="739"/>
                  </a:cubicBezTo>
                  <a:cubicBezTo>
                    <a:pt x="253" y="739"/>
                    <a:pt x="248" y="741"/>
                    <a:pt x="248" y="746"/>
                  </a:cubicBezTo>
                  <a:cubicBezTo>
                    <a:pt x="247" y="753"/>
                    <a:pt x="253" y="753"/>
                    <a:pt x="253" y="757"/>
                  </a:cubicBezTo>
                  <a:cubicBezTo>
                    <a:pt x="251" y="762"/>
                    <a:pt x="249" y="763"/>
                    <a:pt x="249" y="763"/>
                  </a:cubicBezTo>
                  <a:cubicBezTo>
                    <a:pt x="251" y="765"/>
                    <a:pt x="251" y="765"/>
                    <a:pt x="251" y="765"/>
                  </a:cubicBezTo>
                  <a:cubicBezTo>
                    <a:pt x="251" y="772"/>
                    <a:pt x="251" y="772"/>
                    <a:pt x="251" y="772"/>
                  </a:cubicBezTo>
                  <a:cubicBezTo>
                    <a:pt x="254" y="773"/>
                    <a:pt x="254" y="773"/>
                    <a:pt x="254" y="773"/>
                  </a:cubicBezTo>
                  <a:cubicBezTo>
                    <a:pt x="254" y="776"/>
                    <a:pt x="254" y="776"/>
                    <a:pt x="254" y="776"/>
                  </a:cubicBezTo>
                  <a:cubicBezTo>
                    <a:pt x="254" y="776"/>
                    <a:pt x="257" y="775"/>
                    <a:pt x="257" y="776"/>
                  </a:cubicBezTo>
                  <a:cubicBezTo>
                    <a:pt x="257" y="777"/>
                    <a:pt x="255" y="778"/>
                    <a:pt x="255" y="778"/>
                  </a:cubicBezTo>
                  <a:cubicBezTo>
                    <a:pt x="255" y="782"/>
                    <a:pt x="255" y="782"/>
                    <a:pt x="255" y="782"/>
                  </a:cubicBezTo>
                  <a:cubicBezTo>
                    <a:pt x="255" y="783"/>
                    <a:pt x="253" y="787"/>
                    <a:pt x="253" y="787"/>
                  </a:cubicBezTo>
                  <a:cubicBezTo>
                    <a:pt x="258" y="785"/>
                    <a:pt x="258" y="785"/>
                    <a:pt x="258" y="785"/>
                  </a:cubicBezTo>
                  <a:cubicBezTo>
                    <a:pt x="261" y="779"/>
                    <a:pt x="261" y="779"/>
                    <a:pt x="261" y="779"/>
                  </a:cubicBezTo>
                  <a:cubicBezTo>
                    <a:pt x="260" y="779"/>
                    <a:pt x="260" y="779"/>
                    <a:pt x="260" y="779"/>
                  </a:cubicBezTo>
                  <a:cubicBezTo>
                    <a:pt x="261" y="774"/>
                    <a:pt x="261" y="774"/>
                    <a:pt x="261" y="774"/>
                  </a:cubicBezTo>
                  <a:cubicBezTo>
                    <a:pt x="262" y="772"/>
                    <a:pt x="262" y="772"/>
                    <a:pt x="262" y="772"/>
                  </a:cubicBezTo>
                  <a:cubicBezTo>
                    <a:pt x="261" y="772"/>
                    <a:pt x="261" y="772"/>
                    <a:pt x="261" y="772"/>
                  </a:cubicBezTo>
                  <a:cubicBezTo>
                    <a:pt x="266" y="766"/>
                    <a:pt x="266" y="766"/>
                    <a:pt x="266" y="766"/>
                  </a:cubicBezTo>
                  <a:cubicBezTo>
                    <a:pt x="271" y="763"/>
                    <a:pt x="271" y="763"/>
                    <a:pt x="271" y="763"/>
                  </a:cubicBezTo>
                  <a:cubicBezTo>
                    <a:pt x="271" y="758"/>
                    <a:pt x="271" y="758"/>
                    <a:pt x="271" y="758"/>
                  </a:cubicBezTo>
                  <a:cubicBezTo>
                    <a:pt x="277" y="750"/>
                    <a:pt x="277" y="750"/>
                    <a:pt x="277" y="750"/>
                  </a:cubicBezTo>
                  <a:cubicBezTo>
                    <a:pt x="274" y="750"/>
                    <a:pt x="274" y="750"/>
                    <a:pt x="274" y="750"/>
                  </a:cubicBezTo>
                  <a:cubicBezTo>
                    <a:pt x="271" y="746"/>
                    <a:pt x="271" y="746"/>
                    <a:pt x="271" y="746"/>
                  </a:cubicBezTo>
                  <a:cubicBezTo>
                    <a:pt x="271" y="746"/>
                    <a:pt x="273" y="743"/>
                    <a:pt x="274" y="740"/>
                  </a:cubicBezTo>
                  <a:cubicBezTo>
                    <a:pt x="274" y="738"/>
                    <a:pt x="271" y="735"/>
                    <a:pt x="271" y="735"/>
                  </a:cubicBezTo>
                  <a:cubicBezTo>
                    <a:pt x="272" y="730"/>
                    <a:pt x="272" y="730"/>
                    <a:pt x="272" y="730"/>
                  </a:cubicBezTo>
                  <a:lnTo>
                    <a:pt x="277" y="731"/>
                  </a:lnTo>
                  <a:close/>
                  <a:moveTo>
                    <a:pt x="280" y="719"/>
                  </a:moveTo>
                  <a:cubicBezTo>
                    <a:pt x="282" y="721"/>
                    <a:pt x="282" y="721"/>
                    <a:pt x="282" y="721"/>
                  </a:cubicBezTo>
                  <a:cubicBezTo>
                    <a:pt x="286" y="711"/>
                    <a:pt x="286" y="711"/>
                    <a:pt x="286" y="711"/>
                  </a:cubicBezTo>
                  <a:cubicBezTo>
                    <a:pt x="281" y="712"/>
                    <a:pt x="281" y="712"/>
                    <a:pt x="281" y="712"/>
                  </a:cubicBezTo>
                  <a:lnTo>
                    <a:pt x="280" y="719"/>
                  </a:lnTo>
                  <a:close/>
                  <a:moveTo>
                    <a:pt x="286" y="715"/>
                  </a:moveTo>
                  <a:cubicBezTo>
                    <a:pt x="290" y="715"/>
                    <a:pt x="290" y="715"/>
                    <a:pt x="290" y="715"/>
                  </a:cubicBezTo>
                  <a:cubicBezTo>
                    <a:pt x="291" y="712"/>
                    <a:pt x="291" y="712"/>
                    <a:pt x="291" y="712"/>
                  </a:cubicBezTo>
                  <a:cubicBezTo>
                    <a:pt x="288" y="712"/>
                    <a:pt x="288" y="712"/>
                    <a:pt x="288" y="712"/>
                  </a:cubicBezTo>
                  <a:lnTo>
                    <a:pt x="286" y="715"/>
                  </a:lnTo>
                  <a:close/>
                  <a:moveTo>
                    <a:pt x="282" y="691"/>
                  </a:moveTo>
                  <a:cubicBezTo>
                    <a:pt x="287" y="688"/>
                    <a:pt x="287" y="688"/>
                    <a:pt x="287" y="688"/>
                  </a:cubicBezTo>
                  <a:cubicBezTo>
                    <a:pt x="280" y="684"/>
                    <a:pt x="280" y="684"/>
                    <a:pt x="280" y="684"/>
                  </a:cubicBezTo>
                  <a:cubicBezTo>
                    <a:pt x="281" y="689"/>
                    <a:pt x="281" y="689"/>
                    <a:pt x="281" y="689"/>
                  </a:cubicBezTo>
                  <a:lnTo>
                    <a:pt x="282" y="691"/>
                  </a:lnTo>
                  <a:close/>
                  <a:moveTo>
                    <a:pt x="243" y="630"/>
                  </a:moveTo>
                  <a:cubicBezTo>
                    <a:pt x="255" y="631"/>
                    <a:pt x="255" y="631"/>
                    <a:pt x="255" y="631"/>
                  </a:cubicBezTo>
                  <a:cubicBezTo>
                    <a:pt x="256" y="630"/>
                    <a:pt x="256" y="630"/>
                    <a:pt x="256" y="630"/>
                  </a:cubicBezTo>
                  <a:cubicBezTo>
                    <a:pt x="254" y="626"/>
                    <a:pt x="254" y="626"/>
                    <a:pt x="254" y="626"/>
                  </a:cubicBezTo>
                  <a:cubicBezTo>
                    <a:pt x="251" y="625"/>
                    <a:pt x="251" y="625"/>
                    <a:pt x="251" y="625"/>
                  </a:cubicBezTo>
                  <a:cubicBezTo>
                    <a:pt x="248" y="626"/>
                    <a:pt x="248" y="626"/>
                    <a:pt x="248" y="626"/>
                  </a:cubicBezTo>
                  <a:cubicBezTo>
                    <a:pt x="249" y="628"/>
                    <a:pt x="249" y="628"/>
                    <a:pt x="249" y="628"/>
                  </a:cubicBezTo>
                  <a:cubicBezTo>
                    <a:pt x="243" y="628"/>
                    <a:pt x="243" y="628"/>
                    <a:pt x="243" y="628"/>
                  </a:cubicBezTo>
                  <a:lnTo>
                    <a:pt x="243" y="630"/>
                  </a:lnTo>
                  <a:close/>
                  <a:moveTo>
                    <a:pt x="254" y="615"/>
                  </a:moveTo>
                  <a:cubicBezTo>
                    <a:pt x="253" y="620"/>
                    <a:pt x="253" y="620"/>
                    <a:pt x="253" y="620"/>
                  </a:cubicBezTo>
                  <a:cubicBezTo>
                    <a:pt x="258" y="617"/>
                    <a:pt x="258" y="617"/>
                    <a:pt x="258" y="617"/>
                  </a:cubicBezTo>
                  <a:lnTo>
                    <a:pt x="254" y="615"/>
                  </a:lnTo>
                  <a:close/>
                  <a:moveTo>
                    <a:pt x="266" y="610"/>
                  </a:moveTo>
                  <a:cubicBezTo>
                    <a:pt x="265" y="607"/>
                    <a:pt x="265" y="607"/>
                    <a:pt x="265" y="607"/>
                  </a:cubicBezTo>
                  <a:cubicBezTo>
                    <a:pt x="259" y="610"/>
                    <a:pt x="259" y="610"/>
                    <a:pt x="259" y="610"/>
                  </a:cubicBezTo>
                  <a:cubicBezTo>
                    <a:pt x="262" y="612"/>
                    <a:pt x="262" y="612"/>
                    <a:pt x="262" y="612"/>
                  </a:cubicBezTo>
                  <a:lnTo>
                    <a:pt x="266" y="610"/>
                  </a:lnTo>
                  <a:close/>
                  <a:moveTo>
                    <a:pt x="258" y="630"/>
                  </a:moveTo>
                  <a:cubicBezTo>
                    <a:pt x="261" y="629"/>
                    <a:pt x="261" y="629"/>
                    <a:pt x="261" y="629"/>
                  </a:cubicBezTo>
                  <a:cubicBezTo>
                    <a:pt x="258" y="626"/>
                    <a:pt x="258" y="626"/>
                    <a:pt x="258" y="626"/>
                  </a:cubicBezTo>
                  <a:lnTo>
                    <a:pt x="258" y="630"/>
                  </a:lnTo>
                  <a:close/>
                  <a:moveTo>
                    <a:pt x="249" y="651"/>
                  </a:moveTo>
                  <a:cubicBezTo>
                    <a:pt x="253" y="644"/>
                    <a:pt x="253" y="644"/>
                    <a:pt x="253" y="644"/>
                  </a:cubicBezTo>
                  <a:cubicBezTo>
                    <a:pt x="250" y="643"/>
                    <a:pt x="250" y="643"/>
                    <a:pt x="250" y="643"/>
                  </a:cubicBezTo>
                  <a:cubicBezTo>
                    <a:pt x="246" y="649"/>
                    <a:pt x="246" y="649"/>
                    <a:pt x="246" y="649"/>
                  </a:cubicBezTo>
                  <a:lnTo>
                    <a:pt x="249" y="651"/>
                  </a:lnTo>
                  <a:close/>
                  <a:moveTo>
                    <a:pt x="245" y="653"/>
                  </a:moveTo>
                  <a:cubicBezTo>
                    <a:pt x="244" y="656"/>
                    <a:pt x="245" y="658"/>
                    <a:pt x="247" y="656"/>
                  </a:cubicBezTo>
                  <a:cubicBezTo>
                    <a:pt x="249" y="653"/>
                    <a:pt x="246" y="651"/>
                    <a:pt x="245" y="653"/>
                  </a:cubicBezTo>
                  <a:close/>
                  <a:moveTo>
                    <a:pt x="238" y="652"/>
                  </a:moveTo>
                  <a:cubicBezTo>
                    <a:pt x="241" y="653"/>
                    <a:pt x="241" y="653"/>
                    <a:pt x="241" y="653"/>
                  </a:cubicBezTo>
                  <a:cubicBezTo>
                    <a:pt x="243" y="649"/>
                    <a:pt x="243" y="649"/>
                    <a:pt x="243" y="649"/>
                  </a:cubicBezTo>
                  <a:cubicBezTo>
                    <a:pt x="242" y="649"/>
                    <a:pt x="242" y="649"/>
                    <a:pt x="242" y="649"/>
                  </a:cubicBezTo>
                  <a:lnTo>
                    <a:pt x="238" y="652"/>
                  </a:lnTo>
                  <a:close/>
                  <a:moveTo>
                    <a:pt x="251" y="632"/>
                  </a:moveTo>
                  <a:cubicBezTo>
                    <a:pt x="249" y="633"/>
                    <a:pt x="249" y="633"/>
                    <a:pt x="249" y="633"/>
                  </a:cubicBezTo>
                  <a:cubicBezTo>
                    <a:pt x="246" y="635"/>
                    <a:pt x="246" y="635"/>
                    <a:pt x="246" y="635"/>
                  </a:cubicBezTo>
                  <a:cubicBezTo>
                    <a:pt x="251" y="636"/>
                    <a:pt x="251" y="636"/>
                    <a:pt x="251" y="636"/>
                  </a:cubicBezTo>
                  <a:lnTo>
                    <a:pt x="251" y="632"/>
                  </a:lnTo>
                  <a:close/>
                  <a:moveTo>
                    <a:pt x="229" y="662"/>
                  </a:moveTo>
                  <a:cubicBezTo>
                    <a:pt x="229" y="664"/>
                    <a:pt x="229" y="664"/>
                    <a:pt x="229" y="664"/>
                  </a:cubicBezTo>
                  <a:cubicBezTo>
                    <a:pt x="232" y="666"/>
                    <a:pt x="232" y="666"/>
                    <a:pt x="232" y="666"/>
                  </a:cubicBezTo>
                  <a:cubicBezTo>
                    <a:pt x="231" y="661"/>
                    <a:pt x="231" y="661"/>
                    <a:pt x="231" y="661"/>
                  </a:cubicBezTo>
                  <a:lnTo>
                    <a:pt x="229" y="662"/>
                  </a:lnTo>
                  <a:close/>
                  <a:moveTo>
                    <a:pt x="246" y="562"/>
                  </a:moveTo>
                  <a:cubicBezTo>
                    <a:pt x="244" y="562"/>
                    <a:pt x="244" y="562"/>
                    <a:pt x="244" y="562"/>
                  </a:cubicBezTo>
                  <a:cubicBezTo>
                    <a:pt x="243" y="558"/>
                    <a:pt x="243" y="558"/>
                    <a:pt x="243" y="558"/>
                  </a:cubicBezTo>
                  <a:cubicBezTo>
                    <a:pt x="241" y="554"/>
                    <a:pt x="241" y="554"/>
                    <a:pt x="241" y="554"/>
                  </a:cubicBezTo>
                  <a:cubicBezTo>
                    <a:pt x="240" y="554"/>
                    <a:pt x="240" y="554"/>
                    <a:pt x="240" y="554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6" y="567"/>
                    <a:pt x="246" y="567"/>
                    <a:pt x="246" y="567"/>
                  </a:cubicBezTo>
                  <a:lnTo>
                    <a:pt x="246" y="562"/>
                  </a:lnTo>
                  <a:close/>
                  <a:moveTo>
                    <a:pt x="245" y="571"/>
                  </a:moveTo>
                  <a:cubicBezTo>
                    <a:pt x="248" y="572"/>
                    <a:pt x="249" y="569"/>
                    <a:pt x="246" y="569"/>
                  </a:cubicBezTo>
                  <a:cubicBezTo>
                    <a:pt x="243" y="569"/>
                    <a:pt x="243" y="571"/>
                    <a:pt x="245" y="571"/>
                  </a:cubicBezTo>
                  <a:close/>
                  <a:moveTo>
                    <a:pt x="253" y="571"/>
                  </a:moveTo>
                  <a:cubicBezTo>
                    <a:pt x="250" y="571"/>
                    <a:pt x="250" y="574"/>
                    <a:pt x="253" y="576"/>
                  </a:cubicBezTo>
                  <a:cubicBezTo>
                    <a:pt x="255" y="577"/>
                    <a:pt x="256" y="576"/>
                    <a:pt x="256" y="573"/>
                  </a:cubicBezTo>
                  <a:cubicBezTo>
                    <a:pt x="255" y="571"/>
                    <a:pt x="254" y="571"/>
                    <a:pt x="253" y="571"/>
                  </a:cubicBezTo>
                  <a:close/>
                  <a:moveTo>
                    <a:pt x="200" y="696"/>
                  </a:moveTo>
                  <a:cubicBezTo>
                    <a:pt x="199" y="693"/>
                    <a:pt x="199" y="693"/>
                    <a:pt x="199" y="693"/>
                  </a:cubicBezTo>
                  <a:cubicBezTo>
                    <a:pt x="198" y="693"/>
                    <a:pt x="198" y="693"/>
                    <a:pt x="198" y="69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202" y="698"/>
                    <a:pt x="202" y="698"/>
                    <a:pt x="202" y="698"/>
                  </a:cubicBezTo>
                  <a:lnTo>
                    <a:pt x="200" y="696"/>
                  </a:lnTo>
                  <a:close/>
                  <a:moveTo>
                    <a:pt x="198" y="739"/>
                  </a:moveTo>
                  <a:cubicBezTo>
                    <a:pt x="195" y="736"/>
                    <a:pt x="195" y="736"/>
                    <a:pt x="195" y="736"/>
                  </a:cubicBezTo>
                  <a:cubicBezTo>
                    <a:pt x="195" y="740"/>
                    <a:pt x="195" y="740"/>
                    <a:pt x="195" y="740"/>
                  </a:cubicBezTo>
                  <a:lnTo>
                    <a:pt x="198" y="739"/>
                  </a:lnTo>
                  <a:close/>
                  <a:moveTo>
                    <a:pt x="266" y="598"/>
                  </a:moveTo>
                  <a:cubicBezTo>
                    <a:pt x="263" y="596"/>
                    <a:pt x="263" y="596"/>
                    <a:pt x="263" y="596"/>
                  </a:cubicBezTo>
                  <a:cubicBezTo>
                    <a:pt x="261" y="598"/>
                    <a:pt x="261" y="598"/>
                    <a:pt x="261" y="598"/>
                  </a:cubicBezTo>
                  <a:lnTo>
                    <a:pt x="266" y="598"/>
                  </a:lnTo>
                  <a:close/>
                  <a:moveTo>
                    <a:pt x="205" y="485"/>
                  </a:moveTo>
                  <a:cubicBezTo>
                    <a:pt x="206" y="482"/>
                    <a:pt x="206" y="482"/>
                    <a:pt x="206" y="482"/>
                  </a:cubicBezTo>
                  <a:cubicBezTo>
                    <a:pt x="202" y="479"/>
                    <a:pt x="202" y="479"/>
                    <a:pt x="202" y="479"/>
                  </a:cubicBezTo>
                  <a:cubicBezTo>
                    <a:pt x="200" y="482"/>
                    <a:pt x="200" y="482"/>
                    <a:pt x="200" y="482"/>
                  </a:cubicBezTo>
                  <a:lnTo>
                    <a:pt x="205" y="485"/>
                  </a:lnTo>
                  <a:close/>
                  <a:moveTo>
                    <a:pt x="199" y="439"/>
                  </a:moveTo>
                  <a:cubicBezTo>
                    <a:pt x="201" y="439"/>
                    <a:pt x="201" y="439"/>
                    <a:pt x="201" y="439"/>
                  </a:cubicBezTo>
                  <a:cubicBezTo>
                    <a:pt x="200" y="432"/>
                    <a:pt x="200" y="432"/>
                    <a:pt x="200" y="432"/>
                  </a:cubicBezTo>
                  <a:cubicBezTo>
                    <a:pt x="198" y="431"/>
                    <a:pt x="198" y="431"/>
                    <a:pt x="198" y="431"/>
                  </a:cubicBezTo>
                  <a:lnTo>
                    <a:pt x="199" y="439"/>
                  </a:lnTo>
                  <a:close/>
                  <a:moveTo>
                    <a:pt x="217" y="421"/>
                  </a:moveTo>
                  <a:cubicBezTo>
                    <a:pt x="216" y="419"/>
                    <a:pt x="216" y="419"/>
                    <a:pt x="216" y="419"/>
                  </a:cubicBezTo>
                  <a:cubicBezTo>
                    <a:pt x="214" y="419"/>
                    <a:pt x="214" y="419"/>
                    <a:pt x="214" y="419"/>
                  </a:cubicBezTo>
                  <a:cubicBezTo>
                    <a:pt x="214" y="421"/>
                    <a:pt x="214" y="421"/>
                    <a:pt x="214" y="421"/>
                  </a:cubicBezTo>
                  <a:cubicBezTo>
                    <a:pt x="214" y="425"/>
                    <a:pt x="214" y="425"/>
                    <a:pt x="214" y="425"/>
                  </a:cubicBezTo>
                  <a:lnTo>
                    <a:pt x="217" y="421"/>
                  </a:lnTo>
                  <a:close/>
                  <a:moveTo>
                    <a:pt x="220" y="411"/>
                  </a:moveTo>
                  <a:cubicBezTo>
                    <a:pt x="215" y="412"/>
                    <a:pt x="214" y="415"/>
                    <a:pt x="216" y="416"/>
                  </a:cubicBezTo>
                  <a:cubicBezTo>
                    <a:pt x="220" y="418"/>
                    <a:pt x="223" y="411"/>
                    <a:pt x="220" y="411"/>
                  </a:cubicBezTo>
                  <a:close/>
                  <a:moveTo>
                    <a:pt x="234" y="392"/>
                  </a:moveTo>
                  <a:cubicBezTo>
                    <a:pt x="232" y="384"/>
                    <a:pt x="232" y="384"/>
                    <a:pt x="232" y="384"/>
                  </a:cubicBezTo>
                  <a:cubicBezTo>
                    <a:pt x="231" y="393"/>
                    <a:pt x="231" y="393"/>
                    <a:pt x="231" y="393"/>
                  </a:cubicBezTo>
                  <a:lnTo>
                    <a:pt x="234" y="392"/>
                  </a:lnTo>
                  <a:close/>
                  <a:moveTo>
                    <a:pt x="294" y="340"/>
                  </a:moveTo>
                  <a:cubicBezTo>
                    <a:pt x="294" y="343"/>
                    <a:pt x="294" y="343"/>
                    <a:pt x="294" y="343"/>
                  </a:cubicBezTo>
                  <a:cubicBezTo>
                    <a:pt x="297" y="342"/>
                    <a:pt x="297" y="342"/>
                    <a:pt x="297" y="342"/>
                  </a:cubicBezTo>
                  <a:cubicBezTo>
                    <a:pt x="296" y="336"/>
                    <a:pt x="296" y="336"/>
                    <a:pt x="296" y="336"/>
                  </a:cubicBezTo>
                  <a:lnTo>
                    <a:pt x="294" y="340"/>
                  </a:lnTo>
                  <a:close/>
                  <a:moveTo>
                    <a:pt x="293" y="335"/>
                  </a:moveTo>
                  <a:cubicBezTo>
                    <a:pt x="290" y="340"/>
                    <a:pt x="294" y="336"/>
                    <a:pt x="294" y="336"/>
                  </a:cubicBezTo>
                  <a:cubicBezTo>
                    <a:pt x="296" y="333"/>
                    <a:pt x="295" y="331"/>
                    <a:pt x="293" y="335"/>
                  </a:cubicBezTo>
                  <a:close/>
                  <a:moveTo>
                    <a:pt x="298" y="236"/>
                  </a:moveTo>
                  <a:cubicBezTo>
                    <a:pt x="300" y="240"/>
                    <a:pt x="300" y="240"/>
                    <a:pt x="300" y="240"/>
                  </a:cubicBezTo>
                  <a:cubicBezTo>
                    <a:pt x="306" y="242"/>
                    <a:pt x="306" y="242"/>
                    <a:pt x="306" y="242"/>
                  </a:cubicBezTo>
                  <a:cubicBezTo>
                    <a:pt x="307" y="241"/>
                    <a:pt x="307" y="241"/>
                    <a:pt x="307" y="241"/>
                  </a:cubicBezTo>
                  <a:cubicBezTo>
                    <a:pt x="304" y="239"/>
                    <a:pt x="304" y="239"/>
                    <a:pt x="304" y="239"/>
                  </a:cubicBezTo>
                  <a:cubicBezTo>
                    <a:pt x="305" y="236"/>
                    <a:pt x="305" y="236"/>
                    <a:pt x="305" y="236"/>
                  </a:cubicBezTo>
                  <a:cubicBezTo>
                    <a:pt x="303" y="235"/>
                    <a:pt x="303" y="235"/>
                    <a:pt x="303" y="235"/>
                  </a:cubicBezTo>
                  <a:cubicBezTo>
                    <a:pt x="302" y="237"/>
                    <a:pt x="302" y="237"/>
                    <a:pt x="302" y="237"/>
                  </a:cubicBezTo>
                  <a:cubicBezTo>
                    <a:pt x="302" y="235"/>
                    <a:pt x="302" y="235"/>
                    <a:pt x="302" y="235"/>
                  </a:cubicBezTo>
                  <a:lnTo>
                    <a:pt x="298" y="236"/>
                  </a:lnTo>
                  <a:close/>
                  <a:moveTo>
                    <a:pt x="312" y="222"/>
                  </a:moveTo>
                  <a:cubicBezTo>
                    <a:pt x="315" y="226"/>
                    <a:pt x="315" y="226"/>
                    <a:pt x="315" y="226"/>
                  </a:cubicBezTo>
                  <a:cubicBezTo>
                    <a:pt x="314" y="221"/>
                    <a:pt x="314" y="221"/>
                    <a:pt x="314" y="221"/>
                  </a:cubicBezTo>
                  <a:lnTo>
                    <a:pt x="312" y="222"/>
                  </a:lnTo>
                  <a:close/>
                  <a:moveTo>
                    <a:pt x="320" y="227"/>
                  </a:moveTo>
                  <a:cubicBezTo>
                    <a:pt x="322" y="224"/>
                    <a:pt x="322" y="224"/>
                    <a:pt x="322" y="224"/>
                  </a:cubicBezTo>
                  <a:cubicBezTo>
                    <a:pt x="317" y="225"/>
                    <a:pt x="317" y="225"/>
                    <a:pt x="317" y="225"/>
                  </a:cubicBezTo>
                  <a:lnTo>
                    <a:pt x="320" y="227"/>
                  </a:lnTo>
                  <a:close/>
                  <a:moveTo>
                    <a:pt x="322" y="222"/>
                  </a:moveTo>
                  <a:cubicBezTo>
                    <a:pt x="326" y="222"/>
                    <a:pt x="326" y="222"/>
                    <a:pt x="326" y="222"/>
                  </a:cubicBezTo>
                  <a:cubicBezTo>
                    <a:pt x="326" y="221"/>
                    <a:pt x="326" y="221"/>
                    <a:pt x="326" y="221"/>
                  </a:cubicBezTo>
                  <a:cubicBezTo>
                    <a:pt x="322" y="220"/>
                    <a:pt x="322" y="220"/>
                    <a:pt x="322" y="220"/>
                  </a:cubicBezTo>
                  <a:lnTo>
                    <a:pt x="322" y="222"/>
                  </a:lnTo>
                  <a:close/>
                  <a:moveTo>
                    <a:pt x="325" y="217"/>
                  </a:moveTo>
                  <a:cubicBezTo>
                    <a:pt x="326" y="213"/>
                    <a:pt x="326" y="213"/>
                    <a:pt x="326" y="213"/>
                  </a:cubicBezTo>
                  <a:cubicBezTo>
                    <a:pt x="322" y="215"/>
                    <a:pt x="322" y="215"/>
                    <a:pt x="322" y="215"/>
                  </a:cubicBezTo>
                  <a:lnTo>
                    <a:pt x="325" y="217"/>
                  </a:lnTo>
                  <a:close/>
                  <a:moveTo>
                    <a:pt x="319" y="219"/>
                  </a:moveTo>
                  <a:cubicBezTo>
                    <a:pt x="317" y="218"/>
                    <a:pt x="315" y="219"/>
                    <a:pt x="315" y="219"/>
                  </a:cubicBezTo>
                  <a:cubicBezTo>
                    <a:pt x="315" y="219"/>
                    <a:pt x="314" y="220"/>
                    <a:pt x="316" y="221"/>
                  </a:cubicBezTo>
                  <a:cubicBezTo>
                    <a:pt x="319" y="221"/>
                    <a:pt x="320" y="220"/>
                    <a:pt x="319" y="219"/>
                  </a:cubicBezTo>
                  <a:close/>
                  <a:moveTo>
                    <a:pt x="354" y="202"/>
                  </a:moveTo>
                  <a:cubicBezTo>
                    <a:pt x="356" y="202"/>
                    <a:pt x="356" y="202"/>
                    <a:pt x="356" y="202"/>
                  </a:cubicBezTo>
                  <a:cubicBezTo>
                    <a:pt x="356" y="200"/>
                    <a:pt x="356" y="200"/>
                    <a:pt x="356" y="200"/>
                  </a:cubicBezTo>
                  <a:cubicBezTo>
                    <a:pt x="354" y="200"/>
                    <a:pt x="354" y="200"/>
                    <a:pt x="354" y="200"/>
                  </a:cubicBezTo>
                  <a:lnTo>
                    <a:pt x="354" y="20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F7636D6-9045-8046-846A-18BC3CC14DDE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2678362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Rectangle 185">
            <a:extLst>
              <a:ext uri="{FF2B5EF4-FFF2-40B4-BE49-F238E27FC236}">
                <a16:creationId xmlns:a16="http://schemas.microsoft.com/office/drawing/2014/main" id="{1B24D510-5F04-0D4B-B09A-D6FCD87783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Title 1">
            <a:extLst>
              <a:ext uri="{FF2B5EF4-FFF2-40B4-BE49-F238E27FC236}">
                <a16:creationId xmlns:a16="http://schemas.microsoft.com/office/drawing/2014/main" id="{B4E0AB8A-C16B-0643-9066-4140FF474C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Australia</a:t>
            </a:r>
            <a:endParaRPr lang="en-US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8D485D-A667-DC44-81C7-6C226C580FE2}"/>
              </a:ext>
            </a:extLst>
          </p:cNvPr>
          <p:cNvGrpSpPr/>
          <p:nvPr userDrawn="1"/>
        </p:nvGrpSpPr>
        <p:grpSpPr>
          <a:xfrm>
            <a:off x="5431819" y="436846"/>
            <a:ext cx="6482275" cy="6091887"/>
            <a:chOff x="4450184" y="1201437"/>
            <a:chExt cx="4115592" cy="3867735"/>
          </a:xfrm>
        </p:grpSpPr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53826" y="2119391"/>
              <a:ext cx="298048" cy="319287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40660" y="1760190"/>
              <a:ext cx="875119" cy="667601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44805" y="4165732"/>
              <a:ext cx="1020971" cy="903440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0184" y="1201437"/>
              <a:ext cx="2625353" cy="119732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83103" y="2231865"/>
              <a:ext cx="199754" cy="108847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33351" y="2409652"/>
              <a:ext cx="2282917" cy="244908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70960D-A87D-FC4E-BA86-5B8E0C3BBE6B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733208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3850"/>
            <a:ext cx="10934497" cy="55722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592263"/>
            <a:ext cx="3554209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Category Title here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5" y="2121145"/>
            <a:ext cx="3554205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white as the </a:t>
            </a:r>
            <a:r>
              <a:rPr lang="en-US" dirty="0" err="1"/>
              <a:t>colour</a:t>
            </a:r>
            <a:r>
              <a:rPr lang="en-US" dirty="0"/>
              <a:t> and place inside the blue circle.</a:t>
            </a:r>
          </a:p>
          <a:p>
            <a:r>
              <a:rPr lang="en-US" dirty="0"/>
              <a:t>Any unwanted Icons can be masked with a simple white box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4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5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4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FDD0A0D-4813-0442-B7A9-81BFB4829B0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697802F-0840-EE48-B35C-9CB300CE1D8F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Subtitle 2">
            <a:extLst>
              <a:ext uri="{FF2B5EF4-FFF2-40B4-BE49-F238E27FC236}">
                <a16:creationId xmlns:a16="http://schemas.microsoft.com/office/drawing/2014/main" id="{26402C3C-F59C-3A42-B015-2EA68FBF825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689153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CFCF589-AF37-934C-9D77-389344C39EC6}"/>
              </a:ext>
            </a:extLst>
          </p:cNvPr>
          <p:cNvSpPr/>
          <p:nvPr userDrawn="1"/>
        </p:nvSpPr>
        <p:spPr>
          <a:xfrm>
            <a:off x="4187824" y="0"/>
            <a:ext cx="8004175" cy="685800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9148"/>
            <a:ext cx="3322921" cy="8213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7" y="1592262"/>
            <a:ext cx="3321608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Copy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6" y="2121144"/>
            <a:ext cx="3321608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Kingspan Blue as the </a:t>
            </a:r>
            <a:r>
              <a:rPr lang="en-US" dirty="0" err="1"/>
              <a:t>colour</a:t>
            </a:r>
            <a:r>
              <a:rPr lang="en-US" dirty="0"/>
              <a:t> and place inside the white circle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2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3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3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BC67C90-EE5C-624B-803D-A24E2B956D1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9B69D5E-ED9C-544E-A604-69F54D7871C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Subtitle 2">
            <a:extLst>
              <a:ext uri="{FF2B5EF4-FFF2-40B4-BE49-F238E27FC236}">
                <a16:creationId xmlns:a16="http://schemas.microsoft.com/office/drawing/2014/main" id="{9C1708ED-C33A-E546-BF47-ADC82014D16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D0268A4-3A87-5D4C-AF1D-0FE814E58E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771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A0AD9CA-DD4F-6849-9EBD-847328BAD8DE}"/>
              </a:ext>
            </a:extLst>
          </p:cNvPr>
          <p:cNvSpPr/>
          <p:nvPr userDrawn="1"/>
        </p:nvSpPr>
        <p:spPr>
          <a:xfrm>
            <a:off x="890524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DBA820-B79F-8940-93B5-9A3B88CEEBE6}"/>
              </a:ext>
            </a:extLst>
          </p:cNvPr>
          <p:cNvSpPr/>
          <p:nvPr userDrawn="1"/>
        </p:nvSpPr>
        <p:spPr>
          <a:xfrm>
            <a:off x="27608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12DD1A3-2ECA-2941-93A2-23BA1BB974D6}"/>
              </a:ext>
            </a:extLst>
          </p:cNvPr>
          <p:cNvSpPr/>
          <p:nvPr userDrawn="1"/>
        </p:nvSpPr>
        <p:spPr>
          <a:xfrm>
            <a:off x="45896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4DA6F6B-A360-834A-B6A1-672292E771E1}"/>
              </a:ext>
            </a:extLst>
          </p:cNvPr>
          <p:cNvSpPr/>
          <p:nvPr userDrawn="1"/>
        </p:nvSpPr>
        <p:spPr>
          <a:xfrm>
            <a:off x="6489841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1162878-B24C-CB4E-82D5-450D8A9335EA}"/>
              </a:ext>
            </a:extLst>
          </p:cNvPr>
          <p:cNvSpPr/>
          <p:nvPr userDrawn="1"/>
        </p:nvSpPr>
        <p:spPr>
          <a:xfrm>
            <a:off x="8313789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4B2BB32-0183-9442-AD45-3D1F3A7510B4}"/>
              </a:ext>
            </a:extLst>
          </p:cNvPr>
          <p:cNvSpPr/>
          <p:nvPr userDrawn="1"/>
        </p:nvSpPr>
        <p:spPr>
          <a:xfrm>
            <a:off x="1016752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1566"/>
            <a:ext cx="10934496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8A2391B-7CB4-D048-93B2-01298DBE852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4797425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B9895C84-2A29-B648-9FCB-581D7A666A5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5265738"/>
            <a:ext cx="1725410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C4372F70-3F92-984D-A1D6-64A68A41CC4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491189" y="4797425"/>
            <a:ext cx="169663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11357760-943B-E346-879B-5120DFBB54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91189" y="5265738"/>
            <a:ext cx="169663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AB36158F-1BCC-9142-AC83-0549E61597E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29614" y="4797425"/>
            <a:ext cx="1694949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A6B674D9-7291-2045-937A-0C8BE04CBCD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29614" y="5265738"/>
            <a:ext cx="1694949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D345FC74-CE8E-024B-9255-A89BBBAAAF2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06540" y="4797425"/>
            <a:ext cx="1658034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77946A5A-2264-094F-849A-D29C2FE0346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06540" y="5265738"/>
            <a:ext cx="1658034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2B8AE223-BAE7-584D-B3CF-E89FCAF2D75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006465" y="4797425"/>
            <a:ext cx="171747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6FD89598-B46E-E149-80A9-FFF06C86794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006465" y="5265738"/>
            <a:ext cx="1717472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E9C16BF4-14AA-904F-8536-6397929D2C9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9873766" y="4797425"/>
            <a:ext cx="169434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D10C066C-33CD-ED43-90D0-B8F060FE81F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9873766" y="5265738"/>
            <a:ext cx="169434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8F9FF5E-F6CE-BD44-8EE0-5F95979213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C5920A3-68C0-0748-B9EC-F7A9A8E276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Subtitle 2">
            <a:extLst>
              <a:ext uri="{FF2B5EF4-FFF2-40B4-BE49-F238E27FC236}">
                <a16:creationId xmlns:a16="http://schemas.microsoft.com/office/drawing/2014/main" id="{496FCA75-A150-5D4F-9612-55D226FB00C1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6624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F9FCBF-D3C7-5348-A691-5634596B90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673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09600" y="1510584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9C2F46-1389-2049-AB66-BA0E4767FF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847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05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E0753F-4CF5-0249-99E2-78D9368551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720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A191C85-8222-C049-9D1C-4D066189C0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138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2375" t="27833" r="42531" b="51236"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80083D-ED1D-A14E-AB59-11EE03FDC6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034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14E8BA2-96AA-D443-B26D-17071E739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834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Planet Passionat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9DDE4E-439C-584A-9367-471280FC2F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729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2D56AAE-6755-884D-9729-A3748131BB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035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A39A48A-1B62-F642-8CA6-53864C1F171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EB265DC-753B-A04E-AEED-322969FA79D3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Subtitle 2">
            <a:extLst>
              <a:ext uri="{FF2B5EF4-FFF2-40B4-BE49-F238E27FC236}">
                <a16:creationId xmlns:a16="http://schemas.microsoft.com/office/drawing/2014/main" id="{FBA345E0-EE21-5C40-9A9E-7CBADF7B171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95459B0-3CE0-F742-A537-8BB9245B20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637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683EF78-36EB-B347-8002-51E747491FD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081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9615A174-4F8A-2F4B-9A8E-80A3491D38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513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C036A99-9230-1D44-BD35-B76E66776C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511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7CF87F0-7E8F-904C-8D99-7DBEEF328B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10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6E69647-C502-C441-87EF-3977815DA1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588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B8647F-9952-F446-B6D5-8D7125A485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794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589FAB-72DB-3C47-8A59-E513229C35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371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8B147F-3449-9841-98AE-A51B6A4FB3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047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719F52-3F4D-094F-A7E3-CAB8AD389D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662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F9FCBF-D3C7-5348-A691-5634596B9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015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C036A99-9230-1D44-BD35-B76E66776C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174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F004747-33C9-704E-A2E6-F4C6141C8D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06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0E04F-D46A-C744-A629-DAA67A0816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09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F004747-33C9-704E-A2E6-F4C6141C8D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532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35017B9-77BC-284B-A42C-A296E825A7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80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260227-57F8-2644-B85D-64F25A1789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110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8FD18CE-A7CC-0342-99A8-D08B8CBC5F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243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BB4072D-3150-684F-96E4-3E2B94E27921}"/>
              </a:ext>
            </a:extLst>
          </p:cNvPr>
          <p:cNvGrpSpPr/>
          <p:nvPr userDrawn="1"/>
        </p:nvGrpSpPr>
        <p:grpSpPr>
          <a:xfrm>
            <a:off x="374053" y="-12529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0D6FCC16-AC36-7B41-9B9B-3B1A96FD6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4262DF0-E744-6041-AAE9-9D127B7A9AC3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lerts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D6B311C-FDD8-7A4A-9E1B-4E8579537454}"/>
              </a:ext>
            </a:extLst>
          </p:cNvPr>
          <p:cNvGrpSpPr/>
          <p:nvPr userDrawn="1"/>
        </p:nvGrpSpPr>
        <p:grpSpPr>
          <a:xfrm>
            <a:off x="8541224" y="3305151"/>
            <a:ext cx="1580322" cy="1608757"/>
            <a:chOff x="5750970" y="2169250"/>
            <a:chExt cx="1580322" cy="1608757"/>
          </a:xfrm>
        </p:grpSpPr>
        <p:pic>
          <p:nvPicPr>
            <p:cNvPr id="174" name="Picture 173" descr="A close up of a logo&#10;&#10;Description automatically generated">
              <a:extLst>
                <a:ext uri="{FF2B5EF4-FFF2-40B4-BE49-F238E27FC236}">
                  <a16:creationId xmlns:a16="http://schemas.microsoft.com/office/drawing/2014/main" id="{545988BF-965C-AA47-9425-0D6D6D39B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535BD7F4-24A1-0747-87AF-EF4D15762673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se Study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5088489E-7174-F243-A7AA-497CA2725050}"/>
              </a:ext>
            </a:extLst>
          </p:cNvPr>
          <p:cNvGrpSpPr/>
          <p:nvPr userDrawn="1"/>
        </p:nvGrpSpPr>
        <p:grpSpPr>
          <a:xfrm>
            <a:off x="5767441" y="1746216"/>
            <a:ext cx="1580322" cy="1715119"/>
            <a:chOff x="367748" y="405538"/>
            <a:chExt cx="1580322" cy="1715119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9684B06A-814D-4241-89C0-3A6DA490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93807C27-7A76-734F-9F6C-D956CCFA4A62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</a:t>
              </a:r>
            </a:p>
            <a:p>
              <a:pPr algn="ctr"/>
              <a:r>
                <a:rPr lang="en-US" sz="1200" dirty="0"/>
                <a:t>Service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064A34D-C51B-FA46-AAF8-C7D071096ECE}"/>
              </a:ext>
            </a:extLst>
          </p:cNvPr>
          <p:cNvGrpSpPr/>
          <p:nvPr userDrawn="1"/>
        </p:nvGrpSpPr>
        <p:grpSpPr>
          <a:xfrm>
            <a:off x="5773190" y="-28593"/>
            <a:ext cx="1580322" cy="1566045"/>
            <a:chOff x="367748" y="2169250"/>
            <a:chExt cx="1580322" cy="1566045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95E333A6-653E-F645-8071-A8B53C73A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E3DF9503-1188-EF42-874E-90566CC4A8DD}"/>
                </a:ext>
              </a:extLst>
            </p:cNvPr>
            <p:cNvSpPr txBox="1"/>
            <p:nvPr/>
          </p:nvSpPr>
          <p:spPr>
            <a:xfrm>
              <a:off x="367748" y="345829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rand DNA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89866316-E303-0344-BE71-8D9017A98606}"/>
              </a:ext>
            </a:extLst>
          </p:cNvPr>
          <p:cNvGrpSpPr/>
          <p:nvPr userDrawn="1"/>
        </p:nvGrpSpPr>
        <p:grpSpPr>
          <a:xfrm>
            <a:off x="7138849" y="1746216"/>
            <a:ext cx="1580322" cy="1553763"/>
            <a:chOff x="5750970" y="2169250"/>
            <a:chExt cx="1580322" cy="155376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E241773-9743-8D49-ACAA-E64CE7684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46513CAC-B56C-2E49-BFC1-44A1F6A2B074}"/>
                </a:ext>
              </a:extLst>
            </p:cNvPr>
            <p:cNvSpPr txBox="1"/>
            <p:nvPr/>
          </p:nvSpPr>
          <p:spPr>
            <a:xfrm>
              <a:off x="5750970" y="344601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llaboration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7AD6A17-ED90-6547-A570-1EAE684B017F}"/>
              </a:ext>
            </a:extLst>
          </p:cNvPr>
          <p:cNvGrpSpPr/>
          <p:nvPr userDrawn="1"/>
        </p:nvGrpSpPr>
        <p:grpSpPr>
          <a:xfrm>
            <a:off x="390557" y="3313364"/>
            <a:ext cx="1580322" cy="1537449"/>
            <a:chOff x="9480376" y="3968750"/>
            <a:chExt cx="1580322" cy="1537449"/>
          </a:xfrm>
        </p:grpSpPr>
        <p:pic>
          <p:nvPicPr>
            <p:cNvPr id="186" name="Picture 18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B6D36BF-1E77-B047-A477-9B1A19440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5CDFDBC-E158-B549-BB68-75DB5E0F1ED6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act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8D4F745E-0219-0346-8DD9-592D94CD0F1A}"/>
              </a:ext>
            </a:extLst>
          </p:cNvPr>
          <p:cNvGrpSpPr/>
          <p:nvPr userDrawn="1"/>
        </p:nvGrpSpPr>
        <p:grpSpPr>
          <a:xfrm>
            <a:off x="7155839" y="-23657"/>
            <a:ext cx="1580322" cy="1537586"/>
            <a:chOff x="5750970" y="3968613"/>
            <a:chExt cx="1580322" cy="1537586"/>
          </a:xfrm>
        </p:grpSpPr>
        <p:pic>
          <p:nvPicPr>
            <p:cNvPr id="189" name="Picture 188" descr="A close up of a logo&#10;&#10;Description automatically generated">
              <a:extLst>
                <a:ext uri="{FF2B5EF4-FFF2-40B4-BE49-F238E27FC236}">
                  <a16:creationId xmlns:a16="http://schemas.microsoft.com/office/drawing/2014/main" id="{5BEC7397-EA5B-8047-8142-35A4E2846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E0E91293-FA98-274D-A2CA-30660D44AC83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acteria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FF8C05F-938E-3540-AE08-1D6175D46C00}"/>
              </a:ext>
            </a:extLst>
          </p:cNvPr>
          <p:cNvGrpSpPr/>
          <p:nvPr userDrawn="1"/>
        </p:nvGrpSpPr>
        <p:grpSpPr>
          <a:xfrm>
            <a:off x="1627715" y="3302734"/>
            <a:ext cx="1580322" cy="1740157"/>
            <a:chOff x="7667309" y="2169250"/>
            <a:chExt cx="1580322" cy="1740157"/>
          </a:xfrm>
        </p:grpSpPr>
        <p:pic>
          <p:nvPicPr>
            <p:cNvPr id="192" name="Picture 191" descr="A close up of a sign&#10;&#10;Description automatically generated">
              <a:extLst>
                <a:ext uri="{FF2B5EF4-FFF2-40B4-BE49-F238E27FC236}">
                  <a16:creationId xmlns:a16="http://schemas.microsoft.com/office/drawing/2014/main" id="{2BE03BB0-45C2-824D-9534-7FAB7C4E66C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D4D9A9BA-AAC4-B544-A6DC-868CB55D999B}"/>
                </a:ext>
              </a:extLst>
            </p:cNvPr>
            <p:cNvSpPr txBox="1"/>
            <p:nvPr/>
          </p:nvSpPr>
          <p:spPr>
            <a:xfrm>
              <a:off x="7667309" y="344774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liant Solution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56138BC7-748A-D049-82ED-CAE61EC15437}"/>
              </a:ext>
            </a:extLst>
          </p:cNvPr>
          <p:cNvGrpSpPr/>
          <p:nvPr userDrawn="1"/>
        </p:nvGrpSpPr>
        <p:grpSpPr>
          <a:xfrm>
            <a:off x="374053" y="1763790"/>
            <a:ext cx="1580322" cy="1530453"/>
            <a:chOff x="367748" y="405538"/>
            <a:chExt cx="1580322" cy="1530453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64632124-D98E-4C47-B909-97AA1F99C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561DC6A-9438-874F-AA4C-5AEC225CF95B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lendar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588EF020-AE7A-2B48-9265-38C1075295F9}"/>
              </a:ext>
            </a:extLst>
          </p:cNvPr>
          <p:cNvGrpSpPr/>
          <p:nvPr userDrawn="1"/>
        </p:nvGrpSpPr>
        <p:grpSpPr>
          <a:xfrm>
            <a:off x="1637039" y="1750338"/>
            <a:ext cx="1580322" cy="1530453"/>
            <a:chOff x="2063552" y="405538"/>
            <a:chExt cx="1580322" cy="1530453"/>
          </a:xfrm>
        </p:grpSpPr>
        <p:pic>
          <p:nvPicPr>
            <p:cNvPr id="198" name="Picture 197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16375AE-E24C-3744-9A70-E2C84CEEB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35A4F2E9-4BE7-1E4B-B530-BC1CD4ADCE1C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art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910D802-A6C8-274C-9C65-47AFAC4CFE8B}"/>
              </a:ext>
            </a:extLst>
          </p:cNvPr>
          <p:cNvGrpSpPr/>
          <p:nvPr userDrawn="1"/>
        </p:nvGrpSpPr>
        <p:grpSpPr>
          <a:xfrm>
            <a:off x="1643847" y="-28593"/>
            <a:ext cx="1580322" cy="1722252"/>
            <a:chOff x="367748" y="3968613"/>
            <a:chExt cx="1580322" cy="1722252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2B8E77AE-2D9B-4A47-8684-1C0D40558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37909" y="3968613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7C81AE6-3996-7647-A9B4-8438B7CFC46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ccredited Installer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08690EF9-DDDF-1F40-818B-75754B172961}"/>
              </a:ext>
            </a:extLst>
          </p:cNvPr>
          <p:cNvGrpSpPr/>
          <p:nvPr userDrawn="1"/>
        </p:nvGrpSpPr>
        <p:grpSpPr>
          <a:xfrm>
            <a:off x="3000586" y="1746216"/>
            <a:ext cx="1580322" cy="1537449"/>
            <a:chOff x="5750970" y="3968750"/>
            <a:chExt cx="1580322" cy="1537449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6594CE0C-26AF-A047-A3D6-A9C611F7E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1164C9F6-C764-5E40-B736-75839445A2D1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unication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FCA607D7-2C8C-3D4B-B351-BBA093EE00BE}"/>
              </a:ext>
            </a:extLst>
          </p:cNvPr>
          <p:cNvGrpSpPr/>
          <p:nvPr userDrawn="1"/>
        </p:nvGrpSpPr>
        <p:grpSpPr>
          <a:xfrm>
            <a:off x="4369981" y="1746216"/>
            <a:ext cx="1580322" cy="1537586"/>
            <a:chOff x="7667309" y="3968613"/>
            <a:chExt cx="1580322" cy="1537586"/>
          </a:xfrm>
        </p:grpSpPr>
        <p:pic>
          <p:nvPicPr>
            <p:cNvPr id="207" name="Picture 206" descr="A close up of a sign&#10;&#10;Description automatically generated">
              <a:extLst>
                <a:ext uri="{FF2B5EF4-FFF2-40B4-BE49-F238E27FC236}">
                  <a16:creationId xmlns:a16="http://schemas.microsoft.com/office/drawing/2014/main" id="{A290880F-F450-4B44-9E67-E63D21ABC8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4CE1E15B-D5EC-FB44-95DA-0FE4DCD2172E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ed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DA3EF250-8F71-4F44-B1B0-3FFF284AD16D}"/>
              </a:ext>
            </a:extLst>
          </p:cNvPr>
          <p:cNvGrpSpPr/>
          <p:nvPr userDrawn="1"/>
        </p:nvGrpSpPr>
        <p:grpSpPr>
          <a:xfrm>
            <a:off x="4378756" y="3320360"/>
            <a:ext cx="1580322" cy="1530453"/>
            <a:chOff x="5750970" y="405538"/>
            <a:chExt cx="1580322" cy="1530453"/>
          </a:xfrm>
        </p:grpSpPr>
        <p:pic>
          <p:nvPicPr>
            <p:cNvPr id="210" name="Picture 209" descr="A close up of a sign&#10;&#10;Description automatically generated">
              <a:extLst>
                <a:ext uri="{FF2B5EF4-FFF2-40B4-BE49-F238E27FC236}">
                  <a16:creationId xmlns:a16="http://schemas.microsoft.com/office/drawing/2014/main" id="{BBF960DB-5E07-EB4D-BC48-1A5EF2910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A6D742A9-6A61-054A-9CDC-5E9FA42210F8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cate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DFAEBC59-2894-9C47-8523-D8693974B992}"/>
              </a:ext>
            </a:extLst>
          </p:cNvPr>
          <p:cNvGrpSpPr/>
          <p:nvPr userDrawn="1"/>
        </p:nvGrpSpPr>
        <p:grpSpPr>
          <a:xfrm>
            <a:off x="8534296" y="1742769"/>
            <a:ext cx="1580322" cy="1564192"/>
            <a:chOff x="2063552" y="2169250"/>
            <a:chExt cx="1580322" cy="1564192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F922517B-CA2F-6346-B1BA-B6F47E903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5FE21AD-85C6-D345-9A10-7B46BEA32814}"/>
                </a:ext>
              </a:extLst>
            </p:cNvPr>
            <p:cNvSpPr txBox="1"/>
            <p:nvPr/>
          </p:nvSpPr>
          <p:spPr>
            <a:xfrm>
              <a:off x="2063552" y="345644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B8F8ED8-D362-9043-A3D6-7462ACC1CE05}"/>
              </a:ext>
            </a:extLst>
          </p:cNvPr>
          <p:cNvGrpSpPr/>
          <p:nvPr userDrawn="1"/>
        </p:nvGrpSpPr>
        <p:grpSpPr>
          <a:xfrm>
            <a:off x="3004181" y="-22880"/>
            <a:ext cx="1580322" cy="1544397"/>
            <a:chOff x="9480376" y="2169250"/>
            <a:chExt cx="1580322" cy="1544397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F1BAC1CF-C9BB-2D4F-9500-7BB40CF84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D6299A57-6EF6-664C-BE40-A9AACB5631BD}"/>
                </a:ext>
              </a:extLst>
            </p:cNvPr>
            <p:cNvSpPr txBox="1"/>
            <p:nvPr/>
          </p:nvSpPr>
          <p:spPr>
            <a:xfrm>
              <a:off x="9480376" y="343664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d Blu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A917B2A9-4483-0C4E-B212-56D00A07DDEC}"/>
              </a:ext>
            </a:extLst>
          </p:cNvPr>
          <p:cNvGrpSpPr/>
          <p:nvPr userDrawn="1"/>
        </p:nvGrpSpPr>
        <p:grpSpPr>
          <a:xfrm>
            <a:off x="3001276" y="3313364"/>
            <a:ext cx="1580322" cy="1537449"/>
            <a:chOff x="5750970" y="3968750"/>
            <a:chExt cx="1580322" cy="1537449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CBA9383E-7B9F-B647-A0C8-4D320BE8F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AC9539E8-2107-DC4D-9FEA-ED7CB940FDF8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ivils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57A30889-B007-AD40-85E4-F6F17A1F1D52}"/>
              </a:ext>
            </a:extLst>
          </p:cNvPr>
          <p:cNvGrpSpPr/>
          <p:nvPr userDrawn="1"/>
        </p:nvGrpSpPr>
        <p:grpSpPr>
          <a:xfrm>
            <a:off x="5767441" y="3302734"/>
            <a:ext cx="1580322" cy="1722252"/>
            <a:chOff x="7667309" y="3968613"/>
            <a:chExt cx="1580322" cy="1722252"/>
          </a:xfrm>
        </p:grpSpPr>
        <p:pic>
          <p:nvPicPr>
            <p:cNvPr id="222" name="Picture 221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8D68CAAC-0F8A-3248-B6FC-B6C507489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73A02D73-85E4-D54E-B75C-5B46FFAF3D1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 </a:t>
              </a:r>
              <a:br>
                <a:rPr lang="en-US" sz="1200" dirty="0"/>
              </a:br>
              <a:r>
                <a:rPr lang="en-US" sz="1200" dirty="0"/>
                <a:t>Focu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C6939DA3-B198-C44D-A756-96A1E60EB82A}"/>
              </a:ext>
            </a:extLst>
          </p:cNvPr>
          <p:cNvGrpSpPr/>
          <p:nvPr userDrawn="1"/>
        </p:nvGrpSpPr>
        <p:grpSpPr>
          <a:xfrm>
            <a:off x="7141403" y="3313364"/>
            <a:ext cx="1580322" cy="1746998"/>
            <a:chOff x="5750970" y="2169250"/>
            <a:chExt cx="1580322" cy="1746998"/>
          </a:xfrm>
        </p:grpSpPr>
        <p:pic>
          <p:nvPicPr>
            <p:cNvPr id="225" name="Picture 224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4708964-CE3F-9D48-8BBA-2CFD73C8D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B23F0FC8-6B3E-0944-9F32-860C86EFC6FA}"/>
                </a:ext>
              </a:extLst>
            </p:cNvPr>
            <p:cNvSpPr txBox="1"/>
            <p:nvPr/>
          </p:nvSpPr>
          <p:spPr>
            <a:xfrm>
              <a:off x="5750970" y="345458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Containerised</a:t>
              </a:r>
              <a:r>
                <a:rPr lang="en-US" sz="1200" dirty="0"/>
                <a:t> Design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D8D3B16F-07A5-B944-A6E5-5DC37CA04E3C}"/>
              </a:ext>
            </a:extLst>
          </p:cNvPr>
          <p:cNvGrpSpPr/>
          <p:nvPr userDrawn="1"/>
        </p:nvGrpSpPr>
        <p:grpSpPr>
          <a:xfrm>
            <a:off x="4369981" y="-14955"/>
            <a:ext cx="1580322" cy="1537586"/>
            <a:chOff x="2063552" y="3968613"/>
            <a:chExt cx="1580322" cy="1537586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2788A875-5726-6B42-B1D9-4DAF20BCC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28B723FF-C4D0-5245-B84D-8D72732425F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gricultur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5EFF25D9-F93F-7148-9B95-038D2822567D}"/>
              </a:ext>
            </a:extLst>
          </p:cNvPr>
          <p:cNvGrpSpPr/>
          <p:nvPr userDrawn="1"/>
        </p:nvGrpSpPr>
        <p:grpSpPr>
          <a:xfrm>
            <a:off x="8541224" y="-26646"/>
            <a:ext cx="1580322" cy="1565539"/>
            <a:chOff x="7667309" y="405538"/>
            <a:chExt cx="1580322" cy="1565539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E4A0CF04-4EC5-814B-9421-725F8B1E1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2E0C3064-CD98-1B45-A64E-168C14E6084B}"/>
                </a:ext>
              </a:extLst>
            </p:cNvPr>
            <p:cNvSpPr txBox="1"/>
            <p:nvPr/>
          </p:nvSpPr>
          <p:spPr>
            <a:xfrm>
              <a:off x="7667309" y="169407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us Stop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A640E644-110F-8C49-9371-6D9238ABE916}"/>
              </a:ext>
            </a:extLst>
          </p:cNvPr>
          <p:cNvGrpSpPr/>
          <p:nvPr userDrawn="1"/>
        </p:nvGrpSpPr>
        <p:grpSpPr>
          <a:xfrm>
            <a:off x="9960528" y="3320360"/>
            <a:ext cx="1580322" cy="1740001"/>
            <a:chOff x="2063552" y="2169250"/>
            <a:chExt cx="1580322" cy="174000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838E1618-59F8-FD4E-A284-7D0B04246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3EB45999-6401-CD4F-A88E-21C4FB74114C}"/>
                </a:ext>
              </a:extLst>
            </p:cNvPr>
            <p:cNvSpPr txBox="1"/>
            <p:nvPr/>
          </p:nvSpPr>
          <p:spPr>
            <a:xfrm>
              <a:off x="2063552" y="344758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centration Less Than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211471AA-4E2C-6045-8300-C5AAE621AEE5}"/>
              </a:ext>
            </a:extLst>
          </p:cNvPr>
          <p:cNvGrpSpPr/>
          <p:nvPr userDrawn="1"/>
        </p:nvGrpSpPr>
        <p:grpSpPr>
          <a:xfrm>
            <a:off x="9954108" y="1742769"/>
            <a:ext cx="1580322" cy="1537449"/>
            <a:chOff x="367748" y="3968750"/>
            <a:chExt cx="1580322" cy="1537449"/>
          </a:xfrm>
        </p:grpSpPr>
        <p:pic>
          <p:nvPicPr>
            <p:cNvPr id="237" name="Picture 236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22C9C45-18CD-7A42-922D-4ED8DAE8A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5500F41A-2337-484C-8F87-3EFC5157C48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rols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5E2A23B-F9F0-2249-A919-88854DE225BB}"/>
              </a:ext>
            </a:extLst>
          </p:cNvPr>
          <p:cNvGrpSpPr/>
          <p:nvPr userDrawn="1"/>
        </p:nvGrpSpPr>
        <p:grpSpPr>
          <a:xfrm>
            <a:off x="9954108" y="-24119"/>
            <a:ext cx="1580322" cy="1566138"/>
            <a:chOff x="367748" y="2169250"/>
            <a:chExt cx="1580322" cy="1566138"/>
          </a:xfrm>
        </p:grpSpPr>
        <p:pic>
          <p:nvPicPr>
            <p:cNvPr id="240" name="Picture 23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7790CCC-4BC9-994E-B5EC-2E60C341C7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C9E76F3C-BBAC-5845-B4C8-74EA95D89503}"/>
                </a:ext>
              </a:extLst>
            </p:cNvPr>
            <p:cNvSpPr txBox="1"/>
            <p:nvPr/>
          </p:nvSpPr>
          <p:spPr>
            <a:xfrm>
              <a:off x="367748" y="345838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A93816-B89C-4948-9307-37A1BA81EE01}"/>
              </a:ext>
            </a:extLst>
          </p:cNvPr>
          <p:cNvGrpSpPr/>
          <p:nvPr userDrawn="1"/>
        </p:nvGrpSpPr>
        <p:grpSpPr>
          <a:xfrm>
            <a:off x="7143380" y="5092727"/>
            <a:ext cx="1580322" cy="1806074"/>
            <a:chOff x="3896140" y="3968613"/>
            <a:chExt cx="1580322" cy="1806074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AAF03E1D-6D2B-CC42-810D-332EBE69A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966301" y="3968613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B280E7F6-3DD1-DB4C-A9D3-245B50D94576}"/>
                </a:ext>
              </a:extLst>
            </p:cNvPr>
            <p:cNvSpPr txBox="1"/>
            <p:nvPr/>
          </p:nvSpPr>
          <p:spPr>
            <a:xfrm>
              <a:off x="3896140" y="531302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uble </a:t>
              </a:r>
              <a:br>
                <a:rPr lang="en-US" sz="1200" dirty="0"/>
              </a:br>
              <a:r>
                <a:rPr lang="en-US" sz="1200" dirty="0"/>
                <a:t>Bunded Tank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1160E0BC-312B-5749-8E2C-788C647D52D7}"/>
              </a:ext>
            </a:extLst>
          </p:cNvPr>
          <p:cNvGrpSpPr/>
          <p:nvPr userDrawn="1"/>
        </p:nvGrpSpPr>
        <p:grpSpPr>
          <a:xfrm>
            <a:off x="8535621" y="5084886"/>
            <a:ext cx="1580322" cy="1608757"/>
            <a:chOff x="7667309" y="2169250"/>
            <a:chExt cx="1580322" cy="1608757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4BEA655A-CE87-DB47-A33B-39D7B43F0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0189D3BC-84F9-1C43-AF9C-F6C71B68E32C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sign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6C2E3B41-B23F-1140-B5DE-19AE0335E465}"/>
              </a:ext>
            </a:extLst>
          </p:cNvPr>
          <p:cNvGrpSpPr/>
          <p:nvPr userDrawn="1"/>
        </p:nvGrpSpPr>
        <p:grpSpPr>
          <a:xfrm>
            <a:off x="367748" y="5076640"/>
            <a:ext cx="1580322" cy="1608757"/>
            <a:chOff x="367748" y="2169250"/>
            <a:chExt cx="1580322" cy="1608757"/>
          </a:xfrm>
        </p:grpSpPr>
        <p:pic>
          <p:nvPicPr>
            <p:cNvPr id="249" name="Picture 24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9CD3CFDD-9B01-1944-90CC-690882E16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B77E6B8C-3EEE-4A4C-B119-88D10C831E79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3080C162-9ACA-9649-AAA4-E3919FA0CE94}"/>
              </a:ext>
            </a:extLst>
          </p:cNvPr>
          <p:cNvGrpSpPr/>
          <p:nvPr userDrawn="1"/>
        </p:nvGrpSpPr>
        <p:grpSpPr>
          <a:xfrm>
            <a:off x="2989227" y="5076640"/>
            <a:ext cx="1580322" cy="1608757"/>
            <a:chOff x="3896140" y="2169250"/>
            <a:chExt cx="1580322" cy="1608757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BA99FADF-C9C2-744B-ABD7-2E0E24957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D9DEAC2-E13E-DB45-A6EF-B3096BAF7954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mpsit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4E0500C9-7689-B441-9E80-8B1C10481232}"/>
              </a:ext>
            </a:extLst>
          </p:cNvPr>
          <p:cNvGrpSpPr/>
          <p:nvPr userDrawn="1"/>
        </p:nvGrpSpPr>
        <p:grpSpPr>
          <a:xfrm>
            <a:off x="1625854" y="5080465"/>
            <a:ext cx="1580322" cy="1587504"/>
            <a:chOff x="3896140" y="3968750"/>
            <a:chExt cx="1580322" cy="1587504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A390A808-7B12-DD4F-A3E1-6CDEFC9DF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14D3C6B5-5606-3A4D-A141-6F4FD65FCFB9}"/>
                </a:ext>
              </a:extLst>
            </p:cNvPr>
            <p:cNvSpPr txBox="1"/>
            <p:nvPr/>
          </p:nvSpPr>
          <p:spPr>
            <a:xfrm>
              <a:off x="3896140" y="527925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truction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340B1088-F5C2-A94E-B775-3FF347DFDE02}"/>
              </a:ext>
            </a:extLst>
          </p:cNvPr>
          <p:cNvGrpSpPr/>
          <p:nvPr userDrawn="1"/>
        </p:nvGrpSpPr>
        <p:grpSpPr>
          <a:xfrm>
            <a:off x="5771791" y="5084886"/>
            <a:ext cx="1580322" cy="1608757"/>
            <a:chOff x="367748" y="2169250"/>
            <a:chExt cx="1580322" cy="1608757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F3160-7693-B647-AAD3-A5F94A711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0B8FD068-3704-A245-A241-3C8A27766E0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 Service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739299A-FCC2-C040-95C6-C2EC211988EB}"/>
              </a:ext>
            </a:extLst>
          </p:cNvPr>
          <p:cNvGrpSpPr/>
          <p:nvPr userDrawn="1"/>
        </p:nvGrpSpPr>
        <p:grpSpPr>
          <a:xfrm>
            <a:off x="4380509" y="5076640"/>
            <a:ext cx="1580322" cy="1608757"/>
            <a:chOff x="367748" y="2169250"/>
            <a:chExt cx="1580322" cy="1608757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8A7E159B-B9AF-4149-A50F-9D2CE9CF7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C576CB03-2114-7D4E-B4F0-4283DF40847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acts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CEBABC10-0D3B-3E4B-9843-901E63CE1B78}"/>
              </a:ext>
            </a:extLst>
          </p:cNvPr>
          <p:cNvGrpSpPr/>
          <p:nvPr userDrawn="1"/>
        </p:nvGrpSpPr>
        <p:grpSpPr>
          <a:xfrm>
            <a:off x="9976412" y="5084886"/>
            <a:ext cx="1580322" cy="1793423"/>
            <a:chOff x="3896140" y="405538"/>
            <a:chExt cx="1580322" cy="179342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1038D68E-F995-FD46-BFDA-8976A03C1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D1593DD-E3EB-7144-8247-78BA446326BD}"/>
                </a:ext>
              </a:extLst>
            </p:cNvPr>
            <p:cNvSpPr txBox="1"/>
            <p:nvPr/>
          </p:nvSpPr>
          <p:spPr>
            <a:xfrm>
              <a:off x="3896140" y="173729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Water 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67000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50221498-D76C-9D46-8117-7D1CD9CCFD9D}"/>
              </a:ext>
            </a:extLst>
          </p:cNvPr>
          <p:cNvGrpSpPr/>
          <p:nvPr userDrawn="1"/>
        </p:nvGrpSpPr>
        <p:grpSpPr>
          <a:xfrm>
            <a:off x="4380509" y="0"/>
            <a:ext cx="1580322" cy="1530453"/>
            <a:chOff x="3896140" y="405538"/>
            <a:chExt cx="1580322" cy="1530453"/>
          </a:xfrm>
        </p:grpSpPr>
        <p:pic>
          <p:nvPicPr>
            <p:cNvPr id="171" name="Picture 17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B4151B7-F01F-374F-8B4D-364EFD86D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D03FE6D7-884E-4346-A059-29EF66582267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rop Alert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2A0DFDF4-CB46-E44C-8524-19425DC1D40E}"/>
              </a:ext>
            </a:extLst>
          </p:cNvPr>
          <p:cNvGrpSpPr/>
          <p:nvPr userDrawn="1"/>
        </p:nvGrpSpPr>
        <p:grpSpPr>
          <a:xfrm>
            <a:off x="3002939" y="17780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8151A87E-6F08-4549-8747-60C02D058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3814486B-6A38-C94F-9F28-F6AD94B777BD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wnload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6327C041-6C19-0D40-8131-83A9E8761B0D}"/>
              </a:ext>
            </a:extLst>
          </p:cNvPr>
          <p:cNvGrpSpPr/>
          <p:nvPr userDrawn="1"/>
        </p:nvGrpSpPr>
        <p:grpSpPr>
          <a:xfrm>
            <a:off x="5765810" y="4526"/>
            <a:ext cx="1580322" cy="1521875"/>
            <a:chOff x="3896140" y="2169250"/>
            <a:chExt cx="1580322" cy="152187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5B6E4E08-78D2-5047-A763-15DD8BA7F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67DAD732-6E72-6F49-AEEA-EB1DCA3ABA02}"/>
                </a:ext>
              </a:extLst>
            </p:cNvPr>
            <p:cNvSpPr txBox="1"/>
            <p:nvPr/>
          </p:nvSpPr>
          <p:spPr>
            <a:xfrm>
              <a:off x="3896140" y="341412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livery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7BAF2BF-FC4F-7A47-931E-C102C8E4ED68}"/>
              </a:ext>
            </a:extLst>
          </p:cNvPr>
          <p:cNvGrpSpPr/>
          <p:nvPr userDrawn="1"/>
        </p:nvGrpSpPr>
        <p:grpSpPr>
          <a:xfrm>
            <a:off x="1657712" y="17780"/>
            <a:ext cx="1580322" cy="1715119"/>
            <a:chOff x="5750970" y="405538"/>
            <a:chExt cx="1580322" cy="1715119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BEA6BFED-D760-7B4B-BB1C-1C0C638F3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F2AC0507-B105-9346-AF0E-F30AB2E9F994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</a:t>
              </a:r>
              <a:br>
                <a:rPr lang="en-US" sz="1200" dirty="0"/>
              </a:br>
              <a:r>
                <a:rPr lang="en-US" sz="1200" dirty="0"/>
                <a:t>Laundry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21BE7CE9-4172-684F-98D5-AC6A445EBE72}"/>
              </a:ext>
            </a:extLst>
          </p:cNvPr>
          <p:cNvGrpSpPr/>
          <p:nvPr userDrawn="1"/>
        </p:nvGrpSpPr>
        <p:grpSpPr>
          <a:xfrm>
            <a:off x="343232" y="17780"/>
            <a:ext cx="1580322" cy="1530453"/>
            <a:chOff x="9480376" y="405538"/>
            <a:chExt cx="1580322" cy="153045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1BD92CC-9411-5A4D-92A5-09ADB3048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FF1C0D68-D998-F544-9F55-84604A8B60C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D83F1AA7-2B9D-7349-9035-2A35C1360550}"/>
              </a:ext>
            </a:extLst>
          </p:cNvPr>
          <p:cNvGrpSpPr/>
          <p:nvPr userDrawn="1"/>
        </p:nvGrpSpPr>
        <p:grpSpPr>
          <a:xfrm>
            <a:off x="343232" y="1755612"/>
            <a:ext cx="1580322" cy="1530453"/>
            <a:chOff x="367748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2D8BFC2-1175-094B-9C79-38ED104B5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812A1409-5044-5948-BB0A-4B1B269DCA2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ail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79E740CC-3137-2A40-BAD8-D000A1C1C02E}"/>
              </a:ext>
            </a:extLst>
          </p:cNvPr>
          <p:cNvGrpSpPr/>
          <p:nvPr userDrawn="1"/>
        </p:nvGrpSpPr>
        <p:grpSpPr>
          <a:xfrm>
            <a:off x="1657712" y="1746390"/>
            <a:ext cx="1580322" cy="1537449"/>
            <a:chOff x="367748" y="3968750"/>
            <a:chExt cx="1580322" cy="1537449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4924E03-F555-EA49-B9A5-BB5FF5DFD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3FEC2C78-5095-1E45-BFA8-4B8EC71AC8B4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AF990BDE-4D1C-244D-BB84-60F0668432E4}"/>
              </a:ext>
            </a:extLst>
          </p:cNvPr>
          <p:cNvGrpSpPr/>
          <p:nvPr userDrawn="1"/>
        </p:nvGrpSpPr>
        <p:grpSpPr>
          <a:xfrm>
            <a:off x="3026228" y="1755395"/>
            <a:ext cx="1580322" cy="1536771"/>
            <a:chOff x="3896140" y="2169250"/>
            <a:chExt cx="1580322" cy="1536771"/>
          </a:xfrm>
        </p:grpSpPr>
        <p:pic>
          <p:nvPicPr>
            <p:cNvPr id="192" name="Picture 191" descr="A close up of a logo&#10;&#10;Description automatically generated">
              <a:extLst>
                <a:ext uri="{FF2B5EF4-FFF2-40B4-BE49-F238E27FC236}">
                  <a16:creationId xmlns:a16="http://schemas.microsoft.com/office/drawing/2014/main" id="{920A2D21-906C-B04B-93CD-4B613B1E2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81834B9E-B48D-E74C-8D3A-2F00C0BE87EF}"/>
                </a:ext>
              </a:extLst>
            </p:cNvPr>
            <p:cNvSpPr txBox="1"/>
            <p:nvPr/>
          </p:nvSpPr>
          <p:spPr>
            <a:xfrm>
              <a:off x="3896140" y="342902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powerment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07B9FEBE-2129-1F44-B28B-B4B2A4149EFA}"/>
              </a:ext>
            </a:extLst>
          </p:cNvPr>
          <p:cNvGrpSpPr/>
          <p:nvPr userDrawn="1"/>
        </p:nvGrpSpPr>
        <p:grpSpPr>
          <a:xfrm>
            <a:off x="4361877" y="1755395"/>
            <a:ext cx="1580322" cy="1537449"/>
            <a:chOff x="367748" y="3968750"/>
            <a:chExt cx="1580322" cy="1537449"/>
          </a:xfrm>
        </p:grpSpPr>
        <p:pic>
          <p:nvPicPr>
            <p:cNvPr id="195" name="Picture 194" descr="A close up of a logo&#10;&#10;Description automatically generated">
              <a:extLst>
                <a:ext uri="{FF2B5EF4-FFF2-40B4-BE49-F238E27FC236}">
                  <a16:creationId xmlns:a16="http://schemas.microsoft.com/office/drawing/2014/main" id="{B6122C6F-CA89-B542-B16B-F39E290940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EB889A1-4936-B646-B959-B5261EEE7D5F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 Solutions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D656741-A054-4B42-B0DC-9D8462D4B712}"/>
              </a:ext>
            </a:extLst>
          </p:cNvPr>
          <p:cNvGrpSpPr/>
          <p:nvPr userDrawn="1"/>
        </p:nvGrpSpPr>
        <p:grpSpPr>
          <a:xfrm>
            <a:off x="5778373" y="1757471"/>
            <a:ext cx="1580322" cy="1534695"/>
            <a:chOff x="367748" y="2169250"/>
            <a:chExt cx="1580322" cy="1534695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9667614-6800-AA4C-B0ED-C7234C9FB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39DE722-46F4-EB4F-BEC1-C3AB835B01B6}"/>
                </a:ext>
              </a:extLst>
            </p:cNvPr>
            <p:cNvSpPr txBox="1"/>
            <p:nvPr/>
          </p:nvSpPr>
          <p:spPr>
            <a:xfrm>
              <a:off x="367748" y="342694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-Commerce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9C7A2839-6BC5-FF4D-8FD2-2A6F2D07C943}"/>
              </a:ext>
            </a:extLst>
          </p:cNvPr>
          <p:cNvGrpSpPr/>
          <p:nvPr userDrawn="1"/>
        </p:nvGrpSpPr>
        <p:grpSpPr>
          <a:xfrm>
            <a:off x="9951671" y="12953"/>
            <a:ext cx="1580322" cy="1705069"/>
            <a:chOff x="2063552" y="2169250"/>
            <a:chExt cx="1580322" cy="1705069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131737B1-A25C-8C45-B911-402571C5B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8F8B36C-5349-A340-BAD2-D47ADF48D2BC}"/>
                </a:ext>
              </a:extLst>
            </p:cNvPr>
            <p:cNvSpPr txBox="1"/>
            <p:nvPr/>
          </p:nvSpPr>
          <p:spPr>
            <a:xfrm>
              <a:off x="2063552" y="3412654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vironmentally</a:t>
              </a:r>
              <a:br>
                <a:rPr lang="en-US" sz="1200" dirty="0"/>
              </a:br>
              <a:r>
                <a:rPr lang="en-US" sz="1200" dirty="0"/>
                <a:t>Friendly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C46B788A-1DD8-B24A-863E-49E117037287}"/>
              </a:ext>
            </a:extLst>
          </p:cNvPr>
          <p:cNvGrpSpPr/>
          <p:nvPr userDrawn="1"/>
        </p:nvGrpSpPr>
        <p:grpSpPr>
          <a:xfrm>
            <a:off x="8546269" y="12953"/>
            <a:ext cx="1580322" cy="1537586"/>
            <a:chOff x="5750970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176440D8-6923-B244-9019-D0B47FFA1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0FC9591F-D7A3-3446-AC27-887E2468013B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fficiency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6F226A5-4C34-DA48-B111-62BD12AB6AC6}"/>
              </a:ext>
            </a:extLst>
          </p:cNvPr>
          <p:cNvGrpSpPr/>
          <p:nvPr userDrawn="1"/>
        </p:nvGrpSpPr>
        <p:grpSpPr>
          <a:xfrm>
            <a:off x="7143380" y="5144"/>
            <a:ext cx="1580322" cy="1537449"/>
            <a:chOff x="3896140" y="3968750"/>
            <a:chExt cx="1580322" cy="1537449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E03209AE-D236-2A44-80BB-8E73D7E36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5BEEF663-F7FC-654B-B091-81F93758B4C6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asy to Install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830B4AA5-EB34-D54D-9427-80C0D93EC6C0}"/>
              </a:ext>
            </a:extLst>
          </p:cNvPr>
          <p:cNvGrpSpPr/>
          <p:nvPr userDrawn="1"/>
        </p:nvGrpSpPr>
        <p:grpSpPr>
          <a:xfrm>
            <a:off x="9951671" y="1737034"/>
            <a:ext cx="1580322" cy="1537449"/>
            <a:chOff x="5750970" y="3968750"/>
            <a:chExt cx="1580322" cy="1537449"/>
          </a:xfrm>
        </p:grpSpPr>
        <p:pic>
          <p:nvPicPr>
            <p:cNvPr id="210" name="Picture 209" descr="A close up of a logo&#10;&#10;Description automatically generated">
              <a:extLst>
                <a:ext uri="{FF2B5EF4-FFF2-40B4-BE49-F238E27FC236}">
                  <a16:creationId xmlns:a16="http://schemas.microsoft.com/office/drawing/2014/main" id="{5BF55BCB-C1B5-CF41-A2BA-CCF7951A1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0C2898CF-EA1E-3C4B-96DD-AC28D7AE2C95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lexi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6206C2B-32F1-A14F-92C4-3E56CDBC5A4D}"/>
              </a:ext>
            </a:extLst>
          </p:cNvPr>
          <p:cNvGrpSpPr/>
          <p:nvPr userDrawn="1"/>
        </p:nvGrpSpPr>
        <p:grpSpPr>
          <a:xfrm>
            <a:off x="343232" y="3311573"/>
            <a:ext cx="1580322" cy="1530453"/>
            <a:chOff x="9480376" y="405538"/>
            <a:chExt cx="1580322" cy="1530453"/>
          </a:xfrm>
        </p:grpSpPr>
        <p:pic>
          <p:nvPicPr>
            <p:cNvPr id="213" name="Picture 212" descr="A close up of a logo&#10;&#10;Description automatically generated">
              <a:extLst>
                <a:ext uri="{FF2B5EF4-FFF2-40B4-BE49-F238E27FC236}">
                  <a16:creationId xmlns:a16="http://schemas.microsoft.com/office/drawing/2014/main" id="{628B300F-A10E-164D-BCAC-63D99147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7EB8851-1CAF-6D4C-83BE-B5C6CBB5E2F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ll Volume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B649E25E-258F-8840-887B-C1B937A38644}"/>
              </a:ext>
            </a:extLst>
          </p:cNvPr>
          <p:cNvGrpSpPr/>
          <p:nvPr userDrawn="1"/>
        </p:nvGrpSpPr>
        <p:grpSpPr>
          <a:xfrm>
            <a:off x="1657712" y="3316021"/>
            <a:ext cx="1580322" cy="1537449"/>
            <a:chOff x="7667309" y="3968750"/>
            <a:chExt cx="1580322" cy="1537449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C6D27AE4-4053-B446-910A-CD22888D7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39687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65616293-1E72-D444-BDF1-821275DEE285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utur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0A61EC18-1016-5148-BE26-965D6AC37F63}"/>
              </a:ext>
            </a:extLst>
          </p:cNvPr>
          <p:cNvGrpSpPr/>
          <p:nvPr userDrawn="1"/>
        </p:nvGrpSpPr>
        <p:grpSpPr>
          <a:xfrm>
            <a:off x="3094381" y="3300493"/>
            <a:ext cx="1440000" cy="1720296"/>
            <a:chOff x="4433924" y="448331"/>
            <a:chExt cx="1440000" cy="1720296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DEF2D25F-F0BB-0F42-AEF8-E84570108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433924" y="448331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CF5EAB-07DF-884D-B55B-4B57C3C05E79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 </a:t>
              </a:r>
              <a:br>
                <a:rPr lang="en-US" sz="1200" dirty="0"/>
              </a:br>
              <a:r>
                <a:rPr lang="en-US" sz="1200" dirty="0"/>
                <a:t>Perform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458D89A9-681A-F34A-A299-1532CC14C896}"/>
              </a:ext>
            </a:extLst>
          </p:cNvPr>
          <p:cNvGrpSpPr/>
          <p:nvPr userDrawn="1"/>
        </p:nvGrpSpPr>
        <p:grpSpPr>
          <a:xfrm>
            <a:off x="4455882" y="3300491"/>
            <a:ext cx="1440000" cy="1554196"/>
            <a:chOff x="5837032" y="429765"/>
            <a:chExt cx="1440000" cy="1554196"/>
          </a:xfrm>
        </p:grpSpPr>
        <p:pic>
          <p:nvPicPr>
            <p:cNvPr id="222" name="Picture 221" descr="A close up of a logo&#10;&#10;Description automatically generated">
              <a:extLst>
                <a:ext uri="{FF2B5EF4-FFF2-40B4-BE49-F238E27FC236}">
                  <a16:creationId xmlns:a16="http://schemas.microsoft.com/office/drawing/2014/main" id="{916335E0-EA23-1144-9FE8-32AB12966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A5F7A08E-84F4-3243-A2D4-EFF9E66F59C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safe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5D3D33E9-A3BD-4A4E-B4FD-73D621549651}"/>
              </a:ext>
            </a:extLst>
          </p:cNvPr>
          <p:cNvGrpSpPr/>
          <p:nvPr userDrawn="1"/>
        </p:nvGrpSpPr>
        <p:grpSpPr>
          <a:xfrm>
            <a:off x="9951671" y="3300491"/>
            <a:ext cx="1580322" cy="1537586"/>
            <a:chOff x="2063552" y="3968613"/>
            <a:chExt cx="1580322" cy="1537586"/>
          </a:xfrm>
        </p:grpSpPr>
        <p:pic>
          <p:nvPicPr>
            <p:cNvPr id="225" name="Picture 224" descr="A close up of a logo&#10;&#10;Description automatically generated">
              <a:extLst>
                <a:ext uri="{FF2B5EF4-FFF2-40B4-BE49-F238E27FC236}">
                  <a16:creationId xmlns:a16="http://schemas.microsoft.com/office/drawing/2014/main" id="{114BC0DF-DC48-014D-9BC3-25BB74871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0B99956C-D3BA-404C-9CD6-DAA3CA16EEE7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 Leaks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B36408F-664E-5648-92B3-179713A1FD42}"/>
              </a:ext>
            </a:extLst>
          </p:cNvPr>
          <p:cNvGrpSpPr/>
          <p:nvPr userDrawn="1"/>
        </p:nvGrpSpPr>
        <p:grpSpPr>
          <a:xfrm>
            <a:off x="343232" y="4961419"/>
            <a:ext cx="1580322" cy="1524154"/>
            <a:chOff x="2063552" y="2169250"/>
            <a:chExt cx="1580322" cy="1524154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BB727CEE-5917-4A45-971A-11DEC8154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1146F023-6429-7745-A118-B157919F0521}"/>
                </a:ext>
              </a:extLst>
            </p:cNvPr>
            <p:cNvSpPr txBox="1"/>
            <p:nvPr/>
          </p:nvSpPr>
          <p:spPr>
            <a:xfrm>
              <a:off x="2063552" y="34164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ursing Hom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A815FBA7-AA68-6B46-B8CC-9DEBE411081F}"/>
              </a:ext>
            </a:extLst>
          </p:cNvPr>
          <p:cNvGrpSpPr/>
          <p:nvPr userDrawn="1"/>
        </p:nvGrpSpPr>
        <p:grpSpPr>
          <a:xfrm>
            <a:off x="8540353" y="3286257"/>
            <a:ext cx="1580322" cy="1552865"/>
            <a:chOff x="5750970" y="2148717"/>
            <a:chExt cx="1580322" cy="1552865"/>
          </a:xfrm>
        </p:grpSpPr>
        <p:pic>
          <p:nvPicPr>
            <p:cNvPr id="231" name="Picture 230" descr="A close up of a sign&#10;&#10;Description automatically generated">
              <a:extLst>
                <a:ext uri="{FF2B5EF4-FFF2-40B4-BE49-F238E27FC236}">
                  <a16:creationId xmlns:a16="http://schemas.microsoft.com/office/drawing/2014/main" id="{79000ED5-2632-6644-AFCE-3B042D75B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821131" y="2148717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E2AAB9CC-EF37-4B4E-9FD4-5E54F541EF64}"/>
                </a:ext>
              </a:extLst>
            </p:cNvPr>
            <p:cNvSpPr txBox="1"/>
            <p:nvPr/>
          </p:nvSpPr>
          <p:spPr>
            <a:xfrm>
              <a:off x="5750970" y="342458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odular System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95496837-8DB8-F34A-9A21-0C5DECD346B2}"/>
              </a:ext>
            </a:extLst>
          </p:cNvPr>
          <p:cNvGrpSpPr/>
          <p:nvPr userDrawn="1"/>
        </p:nvGrpSpPr>
        <p:grpSpPr>
          <a:xfrm>
            <a:off x="1657712" y="4955120"/>
            <a:ext cx="1580322" cy="1537586"/>
            <a:chOff x="2063552" y="3968613"/>
            <a:chExt cx="1580322" cy="1537586"/>
          </a:xfrm>
        </p:grpSpPr>
        <p:pic>
          <p:nvPicPr>
            <p:cNvPr id="234" name="Picture 23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038BA89-A93D-2D45-AC2F-F062A0380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72C0688E-FFAE-5445-B3CA-C9DC4A423080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ise Free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6C482F69-F0EE-9B4B-A3AA-8ED0E10855C9}"/>
              </a:ext>
            </a:extLst>
          </p:cNvPr>
          <p:cNvGrpSpPr/>
          <p:nvPr userDrawn="1"/>
        </p:nvGrpSpPr>
        <p:grpSpPr>
          <a:xfrm>
            <a:off x="7147415" y="3307624"/>
            <a:ext cx="1580322" cy="1530453"/>
            <a:chOff x="5750970" y="405538"/>
            <a:chExt cx="1580322" cy="1530453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05961423-9164-E44F-89AA-4703489EB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057027C5-2881-6D41-B37A-6EB5F95F9D6B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ulti-Company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1EDC3AD-C4DF-7C4D-8D19-AD54564BF376}"/>
              </a:ext>
            </a:extLst>
          </p:cNvPr>
          <p:cNvGrpSpPr/>
          <p:nvPr userDrawn="1"/>
        </p:nvGrpSpPr>
        <p:grpSpPr>
          <a:xfrm>
            <a:off x="5752381" y="3322404"/>
            <a:ext cx="1580322" cy="1719741"/>
            <a:chOff x="2980152" y="3322404"/>
            <a:chExt cx="1580322" cy="1719741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53CAC480-8A14-E942-AF0D-3479B89C3169}"/>
                </a:ext>
              </a:extLst>
            </p:cNvPr>
            <p:cNvSpPr txBox="1"/>
            <p:nvPr/>
          </p:nvSpPr>
          <p:spPr>
            <a:xfrm>
              <a:off x="2980152" y="458048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Low Thermal Conductivity</a:t>
              </a:r>
            </a:p>
          </p:txBody>
        </p:sp>
        <p:pic>
          <p:nvPicPr>
            <p:cNvPr id="241" name="Picture 240" descr="A close up of a logo&#10;&#10;Description automatically generated">
              <a:extLst>
                <a:ext uri="{FF2B5EF4-FFF2-40B4-BE49-F238E27FC236}">
                  <a16:creationId xmlns:a16="http://schemas.microsoft.com/office/drawing/2014/main" id="{BDCA369E-9F57-9843-A26C-551A65D49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3066" y="3322404"/>
              <a:ext cx="1440000" cy="1440000"/>
            </a:xfrm>
            <a:prstGeom prst="rect">
              <a:avLst/>
            </a:prstGeom>
          </p:spPr>
        </p:pic>
      </p:grpSp>
      <p:pic>
        <p:nvPicPr>
          <p:cNvPr id="242" name="Picture 241" descr="A close up of a logo&#10;&#10;Description automatically generated">
            <a:extLst>
              <a:ext uri="{FF2B5EF4-FFF2-40B4-BE49-F238E27FC236}">
                <a16:creationId xmlns:a16="http://schemas.microsoft.com/office/drawing/2014/main" id="{4C306442-58F5-5A47-AFC2-5A4559620D11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7224823" y="1761923"/>
            <a:ext cx="1440000" cy="1440000"/>
          </a:xfrm>
          <a:prstGeom prst="rect">
            <a:avLst/>
          </a:prstGeom>
        </p:spPr>
      </p:pic>
      <p:pic>
        <p:nvPicPr>
          <p:cNvPr id="243" name="Picture 242" descr="A close up of a logo&#10;&#10;Description automatically generated">
            <a:extLst>
              <a:ext uri="{FF2B5EF4-FFF2-40B4-BE49-F238E27FC236}">
                <a16:creationId xmlns:a16="http://schemas.microsoft.com/office/drawing/2014/main" id="{37C829E3-2E24-A14D-ABCA-3B0A5AA92299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8612763" y="1767617"/>
            <a:ext cx="1440000" cy="1440000"/>
          </a:xfrm>
          <a:prstGeom prst="rect">
            <a:avLst/>
          </a:prstGeom>
        </p:spPr>
      </p:pic>
      <p:sp>
        <p:nvSpPr>
          <p:cNvPr id="244" name="TextBox 243">
            <a:extLst>
              <a:ext uri="{FF2B5EF4-FFF2-40B4-BE49-F238E27FC236}">
                <a16:creationId xmlns:a16="http://schemas.microsoft.com/office/drawing/2014/main" id="{4CFF9556-6CB0-E748-8A9C-BCB871C1A852}"/>
              </a:ext>
            </a:extLst>
          </p:cNvPr>
          <p:cNvSpPr txBox="1"/>
          <p:nvPr userDrawn="1"/>
        </p:nvSpPr>
        <p:spPr>
          <a:xfrm>
            <a:off x="715466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07805582-7E54-DD4A-9271-9561F3DA171B}"/>
              </a:ext>
            </a:extLst>
          </p:cNvPr>
          <p:cNvSpPr txBox="1"/>
          <p:nvPr userDrawn="1"/>
        </p:nvSpPr>
        <p:spPr>
          <a:xfrm>
            <a:off x="854260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</p:spTree>
    <p:extLst>
      <p:ext uri="{BB962C8B-B14F-4D97-AF65-F5344CB8AC3E}">
        <p14:creationId xmlns:p14="http://schemas.microsoft.com/office/powerpoint/2010/main" val="925180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D5FF9B05-B734-3C45-83E4-FDCEFC88B1C7}"/>
              </a:ext>
            </a:extLst>
          </p:cNvPr>
          <p:cNvGrpSpPr/>
          <p:nvPr userDrawn="1"/>
        </p:nvGrpSpPr>
        <p:grpSpPr>
          <a:xfrm>
            <a:off x="2992453" y="1617206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C4E3C020-A2BA-FB48-BB4C-F1C06698B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AAFEBB2E-BF9F-EA4E-9E9F-8FC47713F20C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cesses &amp; Data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B251DC2-41E1-3B4F-BC53-EF5605D64E9E}"/>
              </a:ext>
            </a:extLst>
          </p:cNvPr>
          <p:cNvGrpSpPr/>
          <p:nvPr userDrawn="1"/>
        </p:nvGrpSpPr>
        <p:grpSpPr>
          <a:xfrm>
            <a:off x="1621801" y="1622141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79B6A91C-1C58-324E-A8D3-8C58CF090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DC0F5970-5AE7-1A4B-BCBA-2320E932293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ject Tracking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320A5C4F-2848-8F4C-94DB-9D8E9FFE1133}"/>
              </a:ext>
            </a:extLst>
          </p:cNvPr>
          <p:cNvGrpSpPr/>
          <p:nvPr userDrawn="1"/>
        </p:nvGrpSpPr>
        <p:grpSpPr>
          <a:xfrm>
            <a:off x="4406194" y="1610210"/>
            <a:ext cx="1580322" cy="1722115"/>
            <a:chOff x="5750970" y="3968750"/>
            <a:chExt cx="1580322" cy="172211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1189C764-F6DB-FE45-9AB2-63E7DBC1C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74960FCF-5DDF-7B4D-BE10-E4DC4F857604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umping </a:t>
              </a:r>
              <a:br>
                <a:rPr lang="en-US" sz="1200" dirty="0"/>
              </a:br>
              <a:r>
                <a:rPr lang="en-US" sz="1200" dirty="0"/>
                <a:t>Stations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187FBFA-B3A4-254E-A187-F4E2EFCA49D6}"/>
              </a:ext>
            </a:extLst>
          </p:cNvPr>
          <p:cNvGrpSpPr/>
          <p:nvPr userDrawn="1"/>
        </p:nvGrpSpPr>
        <p:grpSpPr>
          <a:xfrm>
            <a:off x="5748340" y="1619297"/>
            <a:ext cx="1580322" cy="1530453"/>
            <a:chOff x="3896140" y="405538"/>
            <a:chExt cx="1580322" cy="1530453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0FD9866B-EC00-C043-8824-E82A94C72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9027EFED-85E1-D549-BAB5-9A2B9FE20D31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 Control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E19EF0FC-78B3-1B4E-B9B3-FA249C9CC8A8}"/>
              </a:ext>
            </a:extLst>
          </p:cNvPr>
          <p:cNvGrpSpPr/>
          <p:nvPr userDrawn="1"/>
        </p:nvGrpSpPr>
        <p:grpSpPr>
          <a:xfrm>
            <a:off x="7158370" y="1607240"/>
            <a:ext cx="1580322" cy="1532435"/>
            <a:chOff x="7667309" y="2169250"/>
            <a:chExt cx="1580322" cy="1532435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0364D460-89CF-2047-A881-C6B0203A3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3A7B073D-7A15-BF4A-936D-0AA7A7118E5A}"/>
                </a:ext>
              </a:extLst>
            </p:cNvPr>
            <p:cNvSpPr txBox="1"/>
            <p:nvPr/>
          </p:nvSpPr>
          <p:spPr>
            <a:xfrm>
              <a:off x="7667309" y="342468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1DE3D6AA-67AD-164A-803F-586500EDB5A2}"/>
              </a:ext>
            </a:extLst>
          </p:cNvPr>
          <p:cNvGrpSpPr/>
          <p:nvPr userDrawn="1"/>
        </p:nvGrpSpPr>
        <p:grpSpPr>
          <a:xfrm>
            <a:off x="365149" y="1625181"/>
            <a:ext cx="1580322" cy="1530453"/>
            <a:chOff x="9480376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8727F5C-3D5B-124D-8161-B468684C9B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26C3FF5-ABAD-4949-BA71-EB4D618BE55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ortable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760EC1A-EBE2-6F4D-B23F-9258112B15BA}"/>
              </a:ext>
            </a:extLst>
          </p:cNvPr>
          <p:cNvGrpSpPr/>
          <p:nvPr userDrawn="1"/>
        </p:nvGrpSpPr>
        <p:grpSpPr>
          <a:xfrm>
            <a:off x="8531671" y="1607240"/>
            <a:ext cx="1580322" cy="1519720"/>
            <a:chOff x="7667309" y="2169250"/>
            <a:chExt cx="1580322" cy="1519720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4686F63-1BCA-FC4E-9E27-3CB984408C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5462DC1F-8C40-DB48-991F-49E5A02E8052}"/>
                </a:ext>
              </a:extLst>
            </p:cNvPr>
            <p:cNvSpPr txBox="1"/>
            <p:nvPr/>
          </p:nvSpPr>
          <p:spPr>
            <a:xfrm>
              <a:off x="7667309" y="341197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cycling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2FE3-1BA6-1340-8FA3-F3FF7C50AE60}"/>
              </a:ext>
            </a:extLst>
          </p:cNvPr>
          <p:cNvGrpSpPr/>
          <p:nvPr userDrawn="1"/>
        </p:nvGrpSpPr>
        <p:grpSpPr>
          <a:xfrm>
            <a:off x="9943929" y="1613389"/>
            <a:ext cx="1580322" cy="1534270"/>
            <a:chOff x="3896140" y="2169250"/>
            <a:chExt cx="1580322" cy="1534270"/>
          </a:xfrm>
        </p:grpSpPr>
        <p:pic>
          <p:nvPicPr>
            <p:cNvPr id="192" name="Picture 19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FCBBFB0-F7D6-304F-AE1A-F29DE2973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CF9AA23D-4538-4344-9C30-AB3CE2029482}"/>
                </a:ext>
              </a:extLst>
            </p:cNvPr>
            <p:cNvSpPr txBox="1"/>
            <p:nvPr/>
          </p:nvSpPr>
          <p:spPr>
            <a:xfrm>
              <a:off x="3896140" y="342652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ainwater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626DB841-8413-B249-A985-397E6F8C5918}"/>
              </a:ext>
            </a:extLst>
          </p:cNvPr>
          <p:cNvGrpSpPr/>
          <p:nvPr userDrawn="1"/>
        </p:nvGrpSpPr>
        <p:grpSpPr>
          <a:xfrm>
            <a:off x="364907" y="3334873"/>
            <a:ext cx="1580322" cy="1702577"/>
            <a:chOff x="9480376" y="2169250"/>
            <a:chExt cx="1580322" cy="1702577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B90CF042-2A6F-0A42-BD3F-CEAE17D81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27D6A808-E45D-154E-8799-26F7374C48C8}"/>
                </a:ext>
              </a:extLst>
            </p:cNvPr>
            <p:cNvSpPr txBox="1"/>
            <p:nvPr/>
          </p:nvSpPr>
          <p:spPr>
            <a:xfrm>
              <a:off x="9480376" y="34101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gulations Compliant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0723FB96-6C9E-AD4E-9E0B-0C9080331A47}"/>
              </a:ext>
            </a:extLst>
          </p:cNvPr>
          <p:cNvGrpSpPr/>
          <p:nvPr userDrawn="1"/>
        </p:nvGrpSpPr>
        <p:grpSpPr>
          <a:xfrm>
            <a:off x="1694588" y="3335589"/>
            <a:ext cx="1580322" cy="1537586"/>
            <a:chOff x="7667309" y="3968613"/>
            <a:chExt cx="1580322" cy="1537586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B2590BB-C06E-0247-B2BF-98D76BA90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1D1B94C6-3AA0-414C-BE2C-D42D7D0E737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aves Money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822D493-F8E1-F347-8D07-88EA0FA4A027}"/>
              </a:ext>
            </a:extLst>
          </p:cNvPr>
          <p:cNvGrpSpPr/>
          <p:nvPr userDrawn="1"/>
        </p:nvGrpSpPr>
        <p:grpSpPr>
          <a:xfrm>
            <a:off x="9940811" y="3331694"/>
            <a:ext cx="1580322" cy="1537449"/>
            <a:chOff x="9480376" y="3968750"/>
            <a:chExt cx="1580322" cy="1537449"/>
          </a:xfrm>
        </p:grpSpPr>
        <p:pic>
          <p:nvPicPr>
            <p:cNvPr id="201" name="Picture 200" descr="A close up of a sign&#10;&#10;Description automatically generated">
              <a:extLst>
                <a:ext uri="{FF2B5EF4-FFF2-40B4-BE49-F238E27FC236}">
                  <a16:creationId xmlns:a16="http://schemas.microsoft.com/office/drawing/2014/main" id="{D8D500D4-2091-D141-82C4-58D2928E9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E61E58B-2A00-5A4D-821E-7A7F9A895651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utions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43B416DE-BA12-4B44-8994-2A96850E7344}"/>
              </a:ext>
            </a:extLst>
          </p:cNvPr>
          <p:cNvGrpSpPr/>
          <p:nvPr userDrawn="1"/>
        </p:nvGrpSpPr>
        <p:grpSpPr>
          <a:xfrm>
            <a:off x="348263" y="5007655"/>
            <a:ext cx="1580322" cy="1537586"/>
            <a:chOff x="2063552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DDCA9CEF-8587-B841-896C-91455A6CE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2774260C-04D7-EF4E-BCE3-C29A5358D0B2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mall Footprint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B9B2FDF0-C1D7-6442-B9CC-BF01348A9D2A}"/>
              </a:ext>
            </a:extLst>
          </p:cNvPr>
          <p:cNvGrpSpPr/>
          <p:nvPr userDrawn="1"/>
        </p:nvGrpSpPr>
        <p:grpSpPr>
          <a:xfrm>
            <a:off x="8538251" y="3338690"/>
            <a:ext cx="1580322" cy="1530453"/>
            <a:chOff x="3896140" y="405538"/>
            <a:chExt cx="1580322" cy="1530453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C028BE95-2B6D-714B-8F76-039F58A76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AA82EC1F-5879-054A-9B10-84D405848878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hallow Dig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17D212F4-38F1-904F-9465-CFE2BA9A864E}"/>
              </a:ext>
            </a:extLst>
          </p:cNvPr>
          <p:cNvGrpSpPr/>
          <p:nvPr userDrawn="1"/>
        </p:nvGrpSpPr>
        <p:grpSpPr>
          <a:xfrm>
            <a:off x="4381418" y="3331694"/>
            <a:ext cx="1580322" cy="1537449"/>
            <a:chOff x="2063552" y="3968750"/>
            <a:chExt cx="1580322" cy="1537449"/>
          </a:xfrm>
        </p:grpSpPr>
        <p:pic>
          <p:nvPicPr>
            <p:cNvPr id="210" name="Picture 20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5C86CA9-BD63-F041-90F5-2B9F44622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133713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40DE84B5-0AD6-3C4E-9262-045C36511B3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9B01FA4-39B4-F14E-B2AF-41D44DD00344}"/>
              </a:ext>
            </a:extLst>
          </p:cNvPr>
          <p:cNvGrpSpPr/>
          <p:nvPr userDrawn="1"/>
        </p:nvGrpSpPr>
        <p:grpSpPr>
          <a:xfrm>
            <a:off x="5780961" y="3331694"/>
            <a:ext cx="1580322" cy="1530453"/>
            <a:chOff x="2063552" y="405538"/>
            <a:chExt cx="1580322" cy="1530453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05123355-5585-C44D-8DD2-355D8A788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F5C72FF9-43EC-C645-9BCB-796FCA96B54B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0CDC5290-D307-224D-B1BD-859A0685A92B}"/>
              </a:ext>
            </a:extLst>
          </p:cNvPr>
          <p:cNvGrpSpPr/>
          <p:nvPr userDrawn="1"/>
        </p:nvGrpSpPr>
        <p:grpSpPr>
          <a:xfrm>
            <a:off x="7139575" y="3331694"/>
            <a:ext cx="1580322" cy="1533162"/>
            <a:chOff x="7667309" y="2169250"/>
            <a:chExt cx="1580322" cy="1533162"/>
          </a:xfrm>
        </p:grpSpPr>
        <p:pic>
          <p:nvPicPr>
            <p:cNvPr id="216" name="Picture 21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8007F9AE-54C8-6046-8B24-86DB14EED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A8C2A97D-4925-6F4D-B883-11C673198F20}"/>
                </a:ext>
              </a:extLst>
            </p:cNvPr>
            <p:cNvSpPr txBox="1"/>
            <p:nvPr/>
          </p:nvSpPr>
          <p:spPr>
            <a:xfrm>
              <a:off x="7667309" y="342541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cure Login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38E2671E-0AC0-F64A-916E-7168528EB017}"/>
              </a:ext>
            </a:extLst>
          </p:cNvPr>
          <p:cNvGrpSpPr/>
          <p:nvPr userDrawn="1"/>
        </p:nvGrpSpPr>
        <p:grpSpPr>
          <a:xfrm>
            <a:off x="3011106" y="3338345"/>
            <a:ext cx="1580322" cy="1722115"/>
            <a:chOff x="367748" y="3968750"/>
            <a:chExt cx="1580322" cy="1722115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2DAC62A9-89E8-9D42-8FEA-1A0D5E2C4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52932A-4C25-FF40-A317-8F0F82775CE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rvice &amp; Mainten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283C09C6-E58E-1B4B-AE0E-250F7BA6013E}"/>
              </a:ext>
            </a:extLst>
          </p:cNvPr>
          <p:cNvGrpSpPr/>
          <p:nvPr userDrawn="1"/>
        </p:nvGrpSpPr>
        <p:grpSpPr>
          <a:xfrm>
            <a:off x="1636940" y="5011222"/>
            <a:ext cx="1580322" cy="1530453"/>
            <a:chOff x="5750970" y="405538"/>
            <a:chExt cx="1580322" cy="1530453"/>
          </a:xfrm>
        </p:grpSpPr>
        <p:pic>
          <p:nvPicPr>
            <p:cNvPr id="222" name="Picture 221" descr="A picture containing clock, drawing&#10;&#10;Description automatically generated">
              <a:extLst>
                <a:ext uri="{FF2B5EF4-FFF2-40B4-BE49-F238E27FC236}">
                  <a16:creationId xmlns:a16="http://schemas.microsoft.com/office/drawing/2014/main" id="{092E7878-B49C-E442-AC66-75B1B2A83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C2B30F84-6783-254E-BA7B-4F65CC1A13EE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cial Offer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AA8DBC51-2D8C-F041-98FE-A6C3C2CAD5A2}"/>
              </a:ext>
            </a:extLst>
          </p:cNvPr>
          <p:cNvGrpSpPr/>
          <p:nvPr userDrawn="1"/>
        </p:nvGrpSpPr>
        <p:grpSpPr>
          <a:xfrm>
            <a:off x="5768685" y="5007655"/>
            <a:ext cx="1580322" cy="1537586"/>
            <a:chOff x="9480376" y="3968613"/>
            <a:chExt cx="1580322" cy="1537586"/>
          </a:xfrm>
        </p:grpSpPr>
        <p:pic>
          <p:nvPicPr>
            <p:cNvPr id="225" name="Picture 224" descr="A close up of a sign&#10;&#10;Description automatically generated">
              <a:extLst>
                <a:ext uri="{FF2B5EF4-FFF2-40B4-BE49-F238E27FC236}">
                  <a16:creationId xmlns:a16="http://schemas.microsoft.com/office/drawing/2014/main" id="{ED0835FD-FFC1-764A-9945-99103A8F9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550537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C7DBCD7C-2EA8-DF4B-9FF4-034C4D4CE8BD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te Visit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F8677F9F-1009-1C47-BFDC-4A288375C333}"/>
              </a:ext>
            </a:extLst>
          </p:cNvPr>
          <p:cNvGrpSpPr/>
          <p:nvPr userDrawn="1"/>
        </p:nvGrpSpPr>
        <p:grpSpPr>
          <a:xfrm>
            <a:off x="8543219" y="5011222"/>
            <a:ext cx="1580322" cy="1530453"/>
            <a:chOff x="9480376" y="405538"/>
            <a:chExt cx="1580322" cy="1530453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6BC42775-981F-E244-A04C-7F84D3509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C70A05B1-78E9-6E4A-BDFC-728EF7BDE40F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trength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E5501891-2A00-2748-9864-8C1FDE7676CE}"/>
              </a:ext>
            </a:extLst>
          </p:cNvPr>
          <p:cNvGrpSpPr/>
          <p:nvPr userDrawn="1"/>
        </p:nvGrpSpPr>
        <p:grpSpPr>
          <a:xfrm>
            <a:off x="4367367" y="5008814"/>
            <a:ext cx="1580322" cy="1535268"/>
            <a:chOff x="3896140" y="2169250"/>
            <a:chExt cx="1580322" cy="1535268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B9A467E9-44FF-8B47-BFEF-C83E4B84E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7F018EDF-9D26-DB4E-92AE-DB0377544BF3}"/>
                </a:ext>
              </a:extLst>
            </p:cNvPr>
            <p:cNvSpPr txBox="1"/>
            <p:nvPr/>
          </p:nvSpPr>
          <p:spPr>
            <a:xfrm>
              <a:off x="3896140" y="342751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ar Powered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8AC17010-A3BD-784A-AAFE-2DB0F00957E5}"/>
              </a:ext>
            </a:extLst>
          </p:cNvPr>
          <p:cNvGrpSpPr/>
          <p:nvPr userDrawn="1"/>
        </p:nvGrpSpPr>
        <p:grpSpPr>
          <a:xfrm>
            <a:off x="7125524" y="5028537"/>
            <a:ext cx="1580322" cy="1704771"/>
            <a:chOff x="7667309" y="2169250"/>
            <a:chExt cx="1580322" cy="170477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5B873053-38F6-474E-930F-327E70A53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FF696787-2BE6-974F-836C-75EE5D892D89}"/>
                </a:ext>
              </a:extLst>
            </p:cNvPr>
            <p:cNvSpPr txBox="1"/>
            <p:nvPr/>
          </p:nvSpPr>
          <p:spPr>
            <a:xfrm>
              <a:off x="7667309" y="341235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ngle Piece System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1DCDABB0-46F8-0C4E-9E5B-987D611089FD}"/>
              </a:ext>
            </a:extLst>
          </p:cNvPr>
          <p:cNvGrpSpPr/>
          <p:nvPr userDrawn="1"/>
        </p:nvGrpSpPr>
        <p:grpSpPr>
          <a:xfrm>
            <a:off x="3081267" y="5002145"/>
            <a:ext cx="1440000" cy="1548606"/>
            <a:chOff x="447469" y="435355"/>
            <a:chExt cx="1440000" cy="1548606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120CE43A-E423-CD4D-A369-014543A1F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47469" y="435355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31917F9E-AF1F-6143-B212-E2D90BC72999}"/>
                </a:ext>
              </a:extLst>
            </p:cNvPr>
            <p:cNvSpPr txBox="1"/>
            <p:nvPr/>
          </p:nvSpPr>
          <p:spPr>
            <a:xfrm>
              <a:off x="623888" y="1706962"/>
              <a:ext cx="10933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ed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E428DF4-B435-C54D-A86C-981018C62D88}"/>
              </a:ext>
            </a:extLst>
          </p:cNvPr>
          <p:cNvGrpSpPr/>
          <p:nvPr userDrawn="1"/>
        </p:nvGrpSpPr>
        <p:grpSpPr>
          <a:xfrm>
            <a:off x="9935378" y="4912057"/>
            <a:ext cx="1580322" cy="1728783"/>
            <a:chOff x="2980152" y="439844"/>
            <a:chExt cx="1580322" cy="1728783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DBBD4DFA-1A7C-C04D-8851-983348BB9835}"/>
                </a:ext>
              </a:extLst>
            </p:cNvPr>
            <p:cNvSpPr txBox="1"/>
            <p:nvPr/>
          </p:nvSpPr>
          <p:spPr>
            <a:xfrm>
              <a:off x="2980152" y="17069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241" name="Picture 24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36CB3935-6F60-AA44-B73D-49F280D85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1607" y="439844"/>
              <a:ext cx="1440001" cy="1440001"/>
            </a:xfrm>
            <a:prstGeom prst="rect">
              <a:avLst/>
            </a:prstGeom>
          </p:spPr>
        </p:pic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4E0594-3FC5-284C-8CA8-142703B2E5C8}"/>
              </a:ext>
            </a:extLst>
          </p:cNvPr>
          <p:cNvGrpSpPr/>
          <p:nvPr userDrawn="1"/>
        </p:nvGrpSpPr>
        <p:grpSpPr>
          <a:xfrm>
            <a:off x="2988608" y="32068"/>
            <a:ext cx="1580322" cy="1530453"/>
            <a:chOff x="9480376" y="405538"/>
            <a:chExt cx="1580322" cy="1530453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71AE286F-954F-4A43-AE0F-7D522CDF4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07592D84-2A7D-5A41-B872-17BC093CFDFB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ur Values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9D662942-B567-8D4C-982A-9B579FA1D5C2}"/>
              </a:ext>
            </a:extLst>
          </p:cNvPr>
          <p:cNvGrpSpPr/>
          <p:nvPr userDrawn="1"/>
        </p:nvGrpSpPr>
        <p:grpSpPr>
          <a:xfrm>
            <a:off x="367748" y="32068"/>
            <a:ext cx="1580322" cy="1530453"/>
            <a:chOff x="7667309" y="405538"/>
            <a:chExt cx="1580322" cy="1530453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28C6A8B0-0869-5D4B-88AB-B1C66AD22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396C7199-7469-024C-8A76-CDCB271DBA0D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Odour</a:t>
              </a:r>
              <a:r>
                <a:rPr lang="en-US" sz="1200" dirty="0"/>
                <a:t> Free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0E488593-FAD3-8F44-8F34-07D25BED6DBB}"/>
              </a:ext>
            </a:extLst>
          </p:cNvPr>
          <p:cNvGrpSpPr/>
          <p:nvPr userDrawn="1"/>
        </p:nvGrpSpPr>
        <p:grpSpPr>
          <a:xfrm>
            <a:off x="1622444" y="33832"/>
            <a:ext cx="1580322" cy="1531754"/>
            <a:chOff x="7667309" y="2169250"/>
            <a:chExt cx="1580322" cy="1531754"/>
          </a:xfrm>
        </p:grpSpPr>
        <p:pic>
          <p:nvPicPr>
            <p:cNvPr id="249" name="Picture 248" descr="A close up of a logo&#10;&#10;Description automatically generated">
              <a:extLst>
                <a:ext uri="{FF2B5EF4-FFF2-40B4-BE49-F238E27FC236}">
                  <a16:creationId xmlns:a16="http://schemas.microsoft.com/office/drawing/2014/main" id="{4C160267-0103-8843-AECF-D6336149C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CA58BF1D-0A20-2A4F-8307-1F2613CB743B}"/>
                </a:ext>
              </a:extLst>
            </p:cNvPr>
            <p:cNvSpPr txBox="1"/>
            <p:nvPr/>
          </p:nvSpPr>
          <p:spPr>
            <a:xfrm>
              <a:off x="7667309" y="34240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ffic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C2A1B2BB-A4DA-6048-81B4-ADF88CCE01F5}"/>
              </a:ext>
            </a:extLst>
          </p:cNvPr>
          <p:cNvGrpSpPr/>
          <p:nvPr userDrawn="1"/>
        </p:nvGrpSpPr>
        <p:grpSpPr>
          <a:xfrm>
            <a:off x="8533073" y="32068"/>
            <a:ext cx="1580322" cy="1530453"/>
            <a:chOff x="2063552" y="405538"/>
            <a:chExt cx="1580322" cy="1530453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F3C3B792-8EB9-0141-9595-2247AE002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0681653-5B27-2743-9DCD-810057A26B41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hon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E226A9B4-8892-DE46-86E7-4A69C0FE21EF}"/>
              </a:ext>
            </a:extLst>
          </p:cNvPr>
          <p:cNvGrpSpPr/>
          <p:nvPr userDrawn="1"/>
        </p:nvGrpSpPr>
        <p:grpSpPr>
          <a:xfrm>
            <a:off x="9976412" y="33982"/>
            <a:ext cx="1580322" cy="1522052"/>
            <a:chOff x="9480376" y="2169250"/>
            <a:chExt cx="1580322" cy="1522052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B207A063-F812-314B-9FDF-09F49A4E3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9A94FDB4-6307-E441-8D4A-86777CB963BF}"/>
                </a:ext>
              </a:extLst>
            </p:cNvPr>
            <p:cNvSpPr txBox="1"/>
            <p:nvPr/>
          </p:nvSpPr>
          <p:spPr>
            <a:xfrm>
              <a:off x="9480376" y="341430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lastic Bottle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C63AFDD5-CE96-3D48-A605-D5B370572B40}"/>
              </a:ext>
            </a:extLst>
          </p:cNvPr>
          <p:cNvGrpSpPr/>
          <p:nvPr userDrawn="1"/>
        </p:nvGrpSpPr>
        <p:grpSpPr>
          <a:xfrm>
            <a:off x="4368417" y="32068"/>
            <a:ext cx="1580322" cy="1522478"/>
            <a:chOff x="2063552" y="2169250"/>
            <a:chExt cx="1580322" cy="1522478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8A5A345F-615C-7F48-BFF3-A4B0C04977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A0E364DB-97AF-BB45-AA03-22E802AC1877}"/>
                </a:ext>
              </a:extLst>
            </p:cNvPr>
            <p:cNvSpPr txBox="1"/>
            <p:nvPr/>
          </p:nvSpPr>
          <p:spPr>
            <a:xfrm>
              <a:off x="2063552" y="341472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artnerships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E289086-3E8C-764E-AB0A-BC7D77A51BE2}"/>
              </a:ext>
            </a:extLst>
          </p:cNvPr>
          <p:cNvGrpSpPr/>
          <p:nvPr userDrawn="1"/>
        </p:nvGrpSpPr>
        <p:grpSpPr>
          <a:xfrm>
            <a:off x="7156962" y="29028"/>
            <a:ext cx="1580322" cy="1537449"/>
            <a:chOff x="9480376" y="3968750"/>
            <a:chExt cx="1580322" cy="1537449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092241A2-D0FC-5544-8D04-B17D89817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E8ADB606-7C54-8C42-BE14-8B1EC8A3AC95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ace of Mind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02530772-90EE-7C4B-9564-3CD7B6036C55}"/>
              </a:ext>
            </a:extLst>
          </p:cNvPr>
          <p:cNvGrpSpPr/>
          <p:nvPr userDrawn="1"/>
        </p:nvGrpSpPr>
        <p:grpSpPr>
          <a:xfrm>
            <a:off x="5733766" y="32068"/>
            <a:ext cx="1580322" cy="1530453"/>
            <a:chOff x="3896140" y="405538"/>
            <a:chExt cx="1580322" cy="153045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7C029809-6AC7-F347-A4BC-A64858600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789C6533-C103-6F46-9A12-42288513CF2B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destri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2579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4570AEBB-C30B-E44D-9111-0AE6C330D3A1}"/>
              </a:ext>
            </a:extLst>
          </p:cNvPr>
          <p:cNvGrpSpPr/>
          <p:nvPr userDrawn="1"/>
        </p:nvGrpSpPr>
        <p:grpSpPr>
          <a:xfrm>
            <a:off x="9944851" y="1769165"/>
            <a:ext cx="1580322" cy="1515700"/>
            <a:chOff x="3896140" y="2169250"/>
            <a:chExt cx="1580322" cy="1515700"/>
          </a:xfrm>
        </p:grpSpPr>
        <p:pic>
          <p:nvPicPr>
            <p:cNvPr id="36" name="Picture 35" descr="A picture containing drawing, clock&#10;&#10;Description automatically generated">
              <a:extLst>
                <a:ext uri="{FF2B5EF4-FFF2-40B4-BE49-F238E27FC236}">
                  <a16:creationId xmlns:a16="http://schemas.microsoft.com/office/drawing/2014/main" id="{9B4BEC6F-AA4F-A545-8C87-99FC179FE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2EA73C-C1ED-5045-B0FB-E4EC61EF34B3}"/>
                </a:ext>
              </a:extLst>
            </p:cNvPr>
            <p:cNvSpPr txBox="1"/>
            <p:nvPr/>
          </p:nvSpPr>
          <p:spPr>
            <a:xfrm>
              <a:off x="3896140" y="340795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ndow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79E4E6E-41B0-9446-BB0C-E30038A9309E}"/>
              </a:ext>
            </a:extLst>
          </p:cNvPr>
          <p:cNvGrpSpPr/>
          <p:nvPr userDrawn="1"/>
        </p:nvGrpSpPr>
        <p:grpSpPr>
          <a:xfrm>
            <a:off x="8598934" y="1775549"/>
            <a:ext cx="1580322" cy="1533056"/>
            <a:chOff x="9480376" y="2169250"/>
            <a:chExt cx="1580322" cy="1533056"/>
          </a:xfrm>
        </p:grpSpPr>
        <p:pic>
          <p:nvPicPr>
            <p:cNvPr id="39" name="Picture 38" descr="A close up of a logo&#10;&#10;Description automatically generated">
              <a:extLst>
                <a:ext uri="{FF2B5EF4-FFF2-40B4-BE49-F238E27FC236}">
                  <a16:creationId xmlns:a16="http://schemas.microsoft.com/office/drawing/2014/main" id="{03BB665C-F40D-8243-9AB6-4B3C48B35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3309480-8DC9-B248-B035-23DB4C3CC6C1}"/>
                </a:ext>
              </a:extLst>
            </p:cNvPr>
            <p:cNvSpPr txBox="1"/>
            <p:nvPr/>
          </p:nvSpPr>
          <p:spPr>
            <a:xfrm>
              <a:off x="9480376" y="3425307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eather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84A8CE6-D7F9-0C41-825A-3122941CC914}"/>
              </a:ext>
            </a:extLst>
          </p:cNvPr>
          <p:cNvGrpSpPr/>
          <p:nvPr userDrawn="1"/>
        </p:nvGrpSpPr>
        <p:grpSpPr>
          <a:xfrm>
            <a:off x="5819456" y="1775053"/>
            <a:ext cx="1580322" cy="1530453"/>
            <a:chOff x="7667309" y="405538"/>
            <a:chExt cx="1580322" cy="1530453"/>
          </a:xfrm>
        </p:grpSpPr>
        <p:pic>
          <p:nvPicPr>
            <p:cNvPr id="42" name="Picture 4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1D98900-CCDA-0446-B28C-EEB537139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C9FAB1A-EDF7-414E-BF78-85CCF32BBEB0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rning/Alert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F5734D8-F6F6-3F4B-85FA-5E4D75B1CA78}"/>
              </a:ext>
            </a:extLst>
          </p:cNvPr>
          <p:cNvGrpSpPr/>
          <p:nvPr userDrawn="1"/>
        </p:nvGrpSpPr>
        <p:grpSpPr>
          <a:xfrm>
            <a:off x="4438655" y="1775549"/>
            <a:ext cx="1580322" cy="1533019"/>
            <a:chOff x="2063552" y="2169250"/>
            <a:chExt cx="1580322" cy="1533019"/>
          </a:xfrm>
        </p:grpSpPr>
        <p:pic>
          <p:nvPicPr>
            <p:cNvPr id="45" name="Picture 44" descr="A close up of a logo&#10;&#10;Description automatically generated">
              <a:extLst>
                <a:ext uri="{FF2B5EF4-FFF2-40B4-BE49-F238E27FC236}">
                  <a16:creationId xmlns:a16="http://schemas.microsoft.com/office/drawing/2014/main" id="{3979F712-4AE5-E949-8186-E7C0E850A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82D9F6E-808A-7246-8A5A-53E0CE58A2A2}"/>
                </a:ext>
              </a:extLst>
            </p:cNvPr>
            <p:cNvSpPr txBox="1"/>
            <p:nvPr/>
          </p:nvSpPr>
          <p:spPr>
            <a:xfrm>
              <a:off x="2063552" y="342527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&amp; Energy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B4F476E-2BA4-1E42-B910-5C33EE507D8D}"/>
              </a:ext>
            </a:extLst>
          </p:cNvPr>
          <p:cNvGrpSpPr/>
          <p:nvPr userDrawn="1"/>
        </p:nvGrpSpPr>
        <p:grpSpPr>
          <a:xfrm>
            <a:off x="7204917" y="1775053"/>
            <a:ext cx="1580322" cy="1906781"/>
            <a:chOff x="367748" y="3968750"/>
            <a:chExt cx="1580322" cy="1906781"/>
          </a:xfrm>
        </p:grpSpPr>
        <p:pic>
          <p:nvPicPr>
            <p:cNvPr id="48" name="Picture 4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13E6C-A104-D643-98BD-2DD1F33BC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9CC41FE-F107-FF4F-A8E7-3565BC178BD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Management Solutions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6B109DB-4D5A-C34E-A718-8FCB29DE4150}"/>
              </a:ext>
            </a:extLst>
          </p:cNvPr>
          <p:cNvGrpSpPr/>
          <p:nvPr userDrawn="1"/>
        </p:nvGrpSpPr>
        <p:grpSpPr>
          <a:xfrm>
            <a:off x="312763" y="3548264"/>
            <a:ext cx="1580322" cy="1518425"/>
            <a:chOff x="367748" y="2169250"/>
            <a:chExt cx="1580322" cy="1518425"/>
          </a:xfrm>
        </p:grpSpPr>
        <p:pic>
          <p:nvPicPr>
            <p:cNvPr id="51" name="Picture 50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412C461-D680-D741-AE16-55D5F4E81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717BF53-325B-2944-A211-D3A206BB23FB}"/>
                </a:ext>
              </a:extLst>
            </p:cNvPr>
            <p:cNvSpPr txBox="1"/>
            <p:nvPr/>
          </p:nvSpPr>
          <p:spPr>
            <a:xfrm>
              <a:off x="367748" y="34106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reles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1D43B28-E605-0544-A061-94103551D3D1}"/>
              </a:ext>
            </a:extLst>
          </p:cNvPr>
          <p:cNvGrpSpPr/>
          <p:nvPr userDrawn="1"/>
        </p:nvGrpSpPr>
        <p:grpSpPr>
          <a:xfrm>
            <a:off x="1679887" y="3544218"/>
            <a:ext cx="1580322" cy="1530453"/>
            <a:chOff x="7667309" y="405538"/>
            <a:chExt cx="1580322" cy="1530453"/>
          </a:xfrm>
        </p:grpSpPr>
        <p:pic>
          <p:nvPicPr>
            <p:cNvPr id="54" name="Picture 5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AECA182-8441-FC4F-B691-A4C74ABFE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5B7E7D3-FF4E-BA4D-A5CD-308BCDC14E8A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C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FEDC0B3-04D1-BF44-B969-DA25682FD9F3}"/>
              </a:ext>
            </a:extLst>
          </p:cNvPr>
          <p:cNvGrpSpPr/>
          <p:nvPr userDrawn="1"/>
        </p:nvGrpSpPr>
        <p:grpSpPr>
          <a:xfrm>
            <a:off x="5855089" y="3524350"/>
            <a:ext cx="1580322" cy="1715118"/>
            <a:chOff x="9480376" y="2169250"/>
            <a:chExt cx="1580322" cy="1715118"/>
          </a:xfrm>
        </p:grpSpPr>
        <p:pic>
          <p:nvPicPr>
            <p:cNvPr id="57" name="Picture 56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2AF0BEC-24E7-DB41-B840-6DFD23E22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8A03034-D395-EF45-89D8-8D2B795E39D0}"/>
                </a:ext>
              </a:extLst>
            </p:cNvPr>
            <p:cNvSpPr txBox="1"/>
            <p:nvPr/>
          </p:nvSpPr>
          <p:spPr>
            <a:xfrm>
              <a:off x="9480376" y="342270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10 Year Guarantee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C0E630D-6D57-2E47-A620-08F55FBA8DDE}"/>
              </a:ext>
            </a:extLst>
          </p:cNvPr>
          <p:cNvGrpSpPr/>
          <p:nvPr userDrawn="1"/>
        </p:nvGrpSpPr>
        <p:grpSpPr>
          <a:xfrm>
            <a:off x="3088827" y="3524350"/>
            <a:ext cx="1580322" cy="1715119"/>
            <a:chOff x="367748" y="405538"/>
            <a:chExt cx="1580322" cy="1715119"/>
          </a:xfrm>
        </p:grpSpPr>
        <p:pic>
          <p:nvPicPr>
            <p:cNvPr id="60" name="Picture 59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31C3E95A-31BC-7842-9595-6F21301F3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F8DD463-B058-E44A-A31A-97584612D06D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60 Years Experience</a:t>
              </a:r>
              <a:endParaRPr lang="en-US" sz="1200" dirty="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534A86F-6563-3E4F-95F3-C2B67DD91F4F}"/>
              </a:ext>
            </a:extLst>
          </p:cNvPr>
          <p:cNvGrpSpPr/>
          <p:nvPr userDrawn="1"/>
        </p:nvGrpSpPr>
        <p:grpSpPr>
          <a:xfrm>
            <a:off x="4469628" y="3514411"/>
            <a:ext cx="1580322" cy="1715119"/>
            <a:chOff x="367748" y="405538"/>
            <a:chExt cx="1580322" cy="1715119"/>
          </a:xfrm>
        </p:grpSpPr>
        <p:pic>
          <p:nvPicPr>
            <p:cNvPr id="63" name="Picture 62" descr="A close up of a logo&#10;&#10;Description automatically generated">
              <a:extLst>
                <a:ext uri="{FF2B5EF4-FFF2-40B4-BE49-F238E27FC236}">
                  <a16:creationId xmlns:a16="http://schemas.microsoft.com/office/drawing/2014/main" id="{781CD0E7-DCB1-C743-8C05-526044B2E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523E7290-B2D2-5E49-874A-9E3DB1AE76A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5 Year</a:t>
              </a:r>
              <a:br>
                <a:rPr lang="en-US" sz="1200" dirty="0"/>
              </a:br>
              <a:r>
                <a:rPr lang="en-US" sz="1200" dirty="0"/>
                <a:t>Guarantee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C21E6CA-E0FC-AC4F-9C44-985FF310F44D}"/>
              </a:ext>
            </a:extLst>
          </p:cNvPr>
          <p:cNvGrpSpPr/>
          <p:nvPr userDrawn="1"/>
        </p:nvGrpSpPr>
        <p:grpSpPr>
          <a:xfrm>
            <a:off x="425327" y="1785108"/>
            <a:ext cx="1439941" cy="1698626"/>
            <a:chOff x="425327" y="14365"/>
            <a:chExt cx="1439941" cy="1698626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17BE41B-859D-1F4E-BAE0-77DC661C0ED1}"/>
                </a:ext>
              </a:extLst>
            </p:cNvPr>
            <p:cNvSpPr txBox="1"/>
            <p:nvPr/>
          </p:nvSpPr>
          <p:spPr>
            <a:xfrm>
              <a:off x="617127" y="1251326"/>
              <a:ext cx="10933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Value of Space</a:t>
              </a:r>
            </a:p>
          </p:txBody>
        </p:sp>
        <p:pic>
          <p:nvPicPr>
            <p:cNvPr id="67" name="Picture 66" descr="A close up of a logo&#10;&#10;Description automatically generated">
              <a:extLst>
                <a:ext uri="{FF2B5EF4-FFF2-40B4-BE49-F238E27FC236}">
                  <a16:creationId xmlns:a16="http://schemas.microsoft.com/office/drawing/2014/main" id="{A7B9F8DA-DE54-5244-88F4-F73738E7E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25327" y="14365"/>
              <a:ext cx="1439941" cy="1439941"/>
            </a:xfrm>
            <a:prstGeom prst="rect">
              <a:avLst/>
            </a:prstGeom>
          </p:spPr>
        </p:pic>
      </p:grpSp>
      <p:pic>
        <p:nvPicPr>
          <p:cNvPr id="68" name="Picture 67" descr="A close up of a logo&#10;&#10;Description automatically generated">
            <a:extLst>
              <a:ext uri="{FF2B5EF4-FFF2-40B4-BE49-F238E27FC236}">
                <a16:creationId xmlns:a16="http://schemas.microsoft.com/office/drawing/2014/main" id="{1C1C2472-D34D-D743-83E9-472FDDE9ACD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093720" y="1770743"/>
            <a:ext cx="1440000" cy="1440000"/>
          </a:xfrm>
          <a:prstGeom prst="rect">
            <a:avLst/>
          </a:prstGeom>
        </p:spPr>
      </p:pic>
      <p:pic>
        <p:nvPicPr>
          <p:cNvPr id="69" name="Picture 68" descr="A close up of a logo&#10;&#10;Description automatically generated">
            <a:extLst>
              <a:ext uri="{FF2B5EF4-FFF2-40B4-BE49-F238E27FC236}">
                <a16:creationId xmlns:a16="http://schemas.microsoft.com/office/drawing/2014/main" id="{1A8D4D40-5926-7E4E-9409-346D94F9A48B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767840" y="1770743"/>
            <a:ext cx="1440000" cy="14400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501BCBFB-16E0-674E-8BFA-C2B8B84A3463}"/>
              </a:ext>
            </a:extLst>
          </p:cNvPr>
          <p:cNvSpPr txBox="1"/>
          <p:nvPr userDrawn="1"/>
        </p:nvSpPr>
        <p:spPr>
          <a:xfrm>
            <a:off x="194118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DCBDD38-CEDC-4C45-9F16-63397D74B2D5}"/>
              </a:ext>
            </a:extLst>
          </p:cNvPr>
          <p:cNvSpPr txBox="1"/>
          <p:nvPr userDrawn="1"/>
        </p:nvSpPr>
        <p:spPr>
          <a:xfrm>
            <a:off x="326706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A73E3EA-1058-0945-B47B-B01E5F27DF8C}"/>
              </a:ext>
            </a:extLst>
          </p:cNvPr>
          <p:cNvGrpSpPr/>
          <p:nvPr userDrawn="1"/>
        </p:nvGrpSpPr>
        <p:grpSpPr>
          <a:xfrm>
            <a:off x="418424" y="9898"/>
            <a:ext cx="1440001" cy="1717254"/>
            <a:chOff x="4441292" y="451373"/>
            <a:chExt cx="1440001" cy="1717254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9029692-0A8B-9946-AE15-00C1B5C63887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107" name="Picture 106" descr="A picture containing object, clock&#10;&#10;Description automatically generated">
              <a:extLst>
                <a:ext uri="{FF2B5EF4-FFF2-40B4-BE49-F238E27FC236}">
                  <a16:creationId xmlns:a16="http://schemas.microsoft.com/office/drawing/2014/main" id="{7A1BE080-7C5A-CD46-A875-A8840BBA2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441292" y="451373"/>
              <a:ext cx="1440001" cy="1440001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CD871D3-5D9B-C445-B58A-3F400D10C036}"/>
              </a:ext>
            </a:extLst>
          </p:cNvPr>
          <p:cNvGrpSpPr/>
          <p:nvPr userDrawn="1"/>
        </p:nvGrpSpPr>
        <p:grpSpPr>
          <a:xfrm>
            <a:off x="3015807" y="0"/>
            <a:ext cx="1580322" cy="1530453"/>
            <a:chOff x="2063552" y="405538"/>
            <a:chExt cx="1580322" cy="1530453"/>
          </a:xfrm>
        </p:grpSpPr>
        <p:pic>
          <p:nvPicPr>
            <p:cNvPr id="109" name="Picture 10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5E5B0A6-749C-B448-A592-2864D8A39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E521F28-9561-AD44-B722-533CBBE7DDCF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chnology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BB9F985-9B0F-E047-B510-1BB9EF36F33E}"/>
              </a:ext>
            </a:extLst>
          </p:cNvPr>
          <p:cNvGrpSpPr/>
          <p:nvPr userDrawn="1"/>
        </p:nvGrpSpPr>
        <p:grpSpPr>
          <a:xfrm>
            <a:off x="8563826" y="20904"/>
            <a:ext cx="1580322" cy="1501025"/>
            <a:chOff x="5750970" y="2169250"/>
            <a:chExt cx="1580322" cy="1501025"/>
          </a:xfrm>
        </p:grpSpPr>
        <p:pic>
          <p:nvPicPr>
            <p:cNvPr id="112" name="Picture 111" descr="A close up of a logo&#10;&#10;Description automatically generated">
              <a:extLst>
                <a:ext uri="{FF2B5EF4-FFF2-40B4-BE49-F238E27FC236}">
                  <a16:creationId xmlns:a16="http://schemas.microsoft.com/office/drawing/2014/main" id="{83428831-0B07-C443-A5D9-527124647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FB0C301-92BC-E541-B57F-525F1CEE2CEA}"/>
                </a:ext>
              </a:extLst>
            </p:cNvPr>
            <p:cNvSpPr txBox="1"/>
            <p:nvPr/>
          </p:nvSpPr>
          <p:spPr>
            <a:xfrm>
              <a:off x="5750970" y="33932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rusted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A064281-FE15-D047-AB93-75FFD984539C}"/>
              </a:ext>
            </a:extLst>
          </p:cNvPr>
          <p:cNvGrpSpPr/>
          <p:nvPr userDrawn="1"/>
        </p:nvGrpSpPr>
        <p:grpSpPr>
          <a:xfrm>
            <a:off x="4381418" y="1961"/>
            <a:ext cx="1580322" cy="1537449"/>
            <a:chOff x="3896140" y="3968750"/>
            <a:chExt cx="1580322" cy="1537449"/>
          </a:xfrm>
        </p:grpSpPr>
        <p:pic>
          <p:nvPicPr>
            <p:cNvPr id="115" name="Picture 114" descr="A close up of a logo&#10;&#10;Description automatically generated">
              <a:extLst>
                <a:ext uri="{FF2B5EF4-FFF2-40B4-BE49-F238E27FC236}">
                  <a16:creationId xmlns:a16="http://schemas.microsoft.com/office/drawing/2014/main" id="{7A4E366A-C689-9F45-9BE2-7565B861A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3E2AF2E-D974-BC44-82F4-AAA15C760FD0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lemetry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F05FAF8-30CF-B54D-A9D8-9AD47435166B}"/>
              </a:ext>
            </a:extLst>
          </p:cNvPr>
          <p:cNvGrpSpPr/>
          <p:nvPr userDrawn="1"/>
        </p:nvGrpSpPr>
        <p:grpSpPr>
          <a:xfrm>
            <a:off x="5774501" y="0"/>
            <a:ext cx="1580322" cy="1555646"/>
            <a:chOff x="1638370" y="428315"/>
            <a:chExt cx="1580322" cy="1555646"/>
          </a:xfrm>
        </p:grpSpPr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60DA4B5-6EAA-E84C-AD7B-B149EBD9CD91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in</a:t>
              </a:r>
            </a:p>
          </p:txBody>
        </p:sp>
        <p:pic>
          <p:nvPicPr>
            <p:cNvPr id="119" name="Picture 11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A2C1789-8CA5-0B48-A125-F634DA7011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701611" y="428315"/>
              <a:ext cx="1441450" cy="1441450"/>
            </a:xfrm>
            <a:prstGeom prst="rect">
              <a:avLst/>
            </a:prstGeom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52128973-2794-CD4A-967B-7EA3F6DA1F82}"/>
              </a:ext>
            </a:extLst>
          </p:cNvPr>
          <p:cNvGrpSpPr/>
          <p:nvPr userDrawn="1"/>
        </p:nvGrpSpPr>
        <p:grpSpPr>
          <a:xfrm>
            <a:off x="1699390" y="0"/>
            <a:ext cx="1440000" cy="1738862"/>
            <a:chOff x="5837032" y="429765"/>
            <a:chExt cx="1440000" cy="1738862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1E22EBBD-946D-EE4B-A99A-9BC7B6497A4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Saving</a:t>
              </a:r>
            </a:p>
          </p:txBody>
        </p:sp>
        <p:pic>
          <p:nvPicPr>
            <p:cNvPr id="122" name="Picture 121" descr="A close up of a sign&#10;&#10;Description automatically generated">
              <a:extLst>
                <a:ext uri="{FF2B5EF4-FFF2-40B4-BE49-F238E27FC236}">
                  <a16:creationId xmlns:a16="http://schemas.microsoft.com/office/drawing/2014/main" id="{8C332DCE-70D7-B94D-A86F-41FCCE60F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0E466CF5-77E6-2849-825F-BCE63DDCA0FC}"/>
              </a:ext>
            </a:extLst>
          </p:cNvPr>
          <p:cNvGrpSpPr/>
          <p:nvPr userDrawn="1"/>
        </p:nvGrpSpPr>
        <p:grpSpPr>
          <a:xfrm>
            <a:off x="7139575" y="9709"/>
            <a:ext cx="1580322" cy="1548606"/>
            <a:chOff x="1638370" y="435355"/>
            <a:chExt cx="1580322" cy="1548606"/>
          </a:xfrm>
        </p:grpSpPr>
        <p:pic>
          <p:nvPicPr>
            <p:cNvPr id="124" name="Picture 123" descr="A close up of a logo&#10;&#10;Description automatically generated">
              <a:extLst>
                <a:ext uri="{FF2B5EF4-FFF2-40B4-BE49-F238E27FC236}">
                  <a16:creationId xmlns:a16="http://schemas.microsoft.com/office/drawing/2014/main" id="{29C8F395-99FF-CB41-9A35-870DA67F2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753119" y="435355"/>
              <a:ext cx="1440000" cy="1440000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11004237-79D8-FF41-BB20-F72958AB83CA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ermal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132D0852-F109-4840-8B7D-22633932F88B}"/>
              </a:ext>
            </a:extLst>
          </p:cNvPr>
          <p:cNvGrpSpPr/>
          <p:nvPr userDrawn="1"/>
        </p:nvGrpSpPr>
        <p:grpSpPr>
          <a:xfrm>
            <a:off x="9951586" y="0"/>
            <a:ext cx="1580322" cy="1530453"/>
            <a:chOff x="3896140" y="405538"/>
            <a:chExt cx="1580322" cy="1530453"/>
          </a:xfrm>
        </p:grpSpPr>
        <p:pic>
          <p:nvPicPr>
            <p:cNvPr id="127" name="Picture 126" descr="A close up of a sign&#10;&#10;Description automatically generated">
              <a:extLst>
                <a:ext uri="{FF2B5EF4-FFF2-40B4-BE49-F238E27FC236}">
                  <a16:creationId xmlns:a16="http://schemas.microsoft.com/office/drawing/2014/main" id="{F253349E-D85B-1A40-A086-F689B655B8B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8875A09-5C32-D144-B13C-55E5EB13EEC9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User interfa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9071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7E0ADF6-E402-3146-B6DE-495BAF74F338}"/>
              </a:ext>
            </a:extLst>
          </p:cNvPr>
          <p:cNvGrpSpPr/>
          <p:nvPr userDrawn="1"/>
        </p:nvGrpSpPr>
        <p:grpSpPr>
          <a:xfrm>
            <a:off x="2060687" y="1219765"/>
            <a:ext cx="1580322" cy="1823574"/>
            <a:chOff x="2060687" y="335183"/>
            <a:chExt cx="1580322" cy="182357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7080020-DBD7-7D4A-A601-0D373779B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70415" y="335183"/>
              <a:ext cx="1560866" cy="1560866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4B66BA5-5251-7D4A-ADB0-F06CA12C04E2}"/>
                </a:ext>
              </a:extLst>
            </p:cNvPr>
            <p:cNvSpPr txBox="1"/>
            <p:nvPr/>
          </p:nvSpPr>
          <p:spPr>
            <a:xfrm>
              <a:off x="2060687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 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311CBF-35F9-7B42-AFD0-7388FA15E194}"/>
              </a:ext>
            </a:extLst>
          </p:cNvPr>
          <p:cNvGrpSpPr/>
          <p:nvPr userDrawn="1"/>
        </p:nvGrpSpPr>
        <p:grpSpPr>
          <a:xfrm>
            <a:off x="3896140" y="1219765"/>
            <a:ext cx="1580322" cy="1823574"/>
            <a:chOff x="3896140" y="335183"/>
            <a:chExt cx="1580322" cy="1823574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3C9B6E8E-D382-C54D-B03F-EC03B231D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05868" y="335183"/>
              <a:ext cx="1560866" cy="1560866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7E95FD9-B3BE-3946-88C9-18D9AF591AE3}"/>
                </a:ext>
              </a:extLst>
            </p:cNvPr>
            <p:cNvSpPr txBox="1"/>
            <p:nvPr/>
          </p:nvSpPr>
          <p:spPr>
            <a:xfrm>
              <a:off x="389614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Harvested Rainwater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7A2DF56-7F4E-B74F-9EF8-22EB940B3D8F}"/>
              </a:ext>
            </a:extLst>
          </p:cNvPr>
          <p:cNvGrpSpPr/>
          <p:nvPr userDrawn="1"/>
        </p:nvGrpSpPr>
        <p:grpSpPr>
          <a:xfrm>
            <a:off x="5750970" y="1219765"/>
            <a:ext cx="1580322" cy="1823574"/>
            <a:chOff x="5750970" y="335183"/>
            <a:chExt cx="1580322" cy="182357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397EC76-47B1-5F40-8B0A-CCCC7E2D7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60698" y="335183"/>
              <a:ext cx="1560866" cy="1560866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AC4E3AF-BD61-5C4F-A121-07463167A4A2}"/>
                </a:ext>
              </a:extLst>
            </p:cNvPr>
            <p:cNvSpPr txBox="1"/>
            <p:nvPr/>
          </p:nvSpPr>
          <p:spPr>
            <a:xfrm>
              <a:off x="575097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 (PETS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A3D937-5DA9-6540-A3B4-35AB5AD80573}"/>
              </a:ext>
            </a:extLst>
          </p:cNvPr>
          <p:cNvGrpSpPr/>
          <p:nvPr userDrawn="1"/>
        </p:nvGrpSpPr>
        <p:grpSpPr>
          <a:xfrm>
            <a:off x="7667309" y="1219765"/>
            <a:ext cx="1580322" cy="1823574"/>
            <a:chOff x="7667309" y="335183"/>
            <a:chExt cx="1580322" cy="1823574"/>
          </a:xfrm>
        </p:grpSpPr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4199837F-648B-3E49-8C70-6CCBA8CB9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677037" y="335183"/>
              <a:ext cx="1560866" cy="1560866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3DD6A3E-810A-E149-B8DC-16C65669000C}"/>
                </a:ext>
              </a:extLst>
            </p:cNvPr>
            <p:cNvSpPr txBox="1"/>
            <p:nvPr/>
          </p:nvSpPr>
          <p:spPr>
            <a:xfrm>
              <a:off x="7667309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ustainable Disposabl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A435C9-18ED-7C47-B379-E289CBD0D831}"/>
              </a:ext>
            </a:extLst>
          </p:cNvPr>
          <p:cNvGrpSpPr/>
          <p:nvPr userDrawn="1"/>
        </p:nvGrpSpPr>
        <p:grpSpPr>
          <a:xfrm>
            <a:off x="9480376" y="1219765"/>
            <a:ext cx="1580322" cy="1823574"/>
            <a:chOff x="9480376" y="335183"/>
            <a:chExt cx="1580322" cy="1823574"/>
          </a:xfrm>
        </p:grpSpPr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B2DFCE71-6805-1940-98AC-BE0857ADF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490104" y="335183"/>
              <a:ext cx="1560866" cy="1560866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D4A8CB-B54E-F342-AD99-33B14AF80D1A}"/>
                </a:ext>
              </a:extLst>
            </p:cNvPr>
            <p:cNvSpPr txBox="1"/>
            <p:nvPr/>
          </p:nvSpPr>
          <p:spPr>
            <a:xfrm>
              <a:off x="9480376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ldlife Conserv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C275B83-58F3-4C41-A29B-A8449C9A03FC}"/>
              </a:ext>
            </a:extLst>
          </p:cNvPr>
          <p:cNvGrpSpPr/>
          <p:nvPr userDrawn="1"/>
        </p:nvGrpSpPr>
        <p:grpSpPr>
          <a:xfrm>
            <a:off x="366479" y="2970743"/>
            <a:ext cx="1580322" cy="1876512"/>
            <a:chOff x="366479" y="2086161"/>
            <a:chExt cx="1580322" cy="187651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D0B128-566C-9946-8291-F34F48BC9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76207" y="2086161"/>
              <a:ext cx="1560866" cy="156086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A6ED507-A5BD-5E41-A120-C59F75E0D899}"/>
                </a:ext>
              </a:extLst>
            </p:cNvPr>
            <p:cNvSpPr txBox="1"/>
            <p:nvPr/>
          </p:nvSpPr>
          <p:spPr>
            <a:xfrm>
              <a:off x="36647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Waste to Landfill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88C6F2-E90C-9D4F-BB44-9C228DB01E7B}"/>
              </a:ext>
            </a:extLst>
          </p:cNvPr>
          <p:cNvGrpSpPr/>
          <p:nvPr userDrawn="1"/>
        </p:nvGrpSpPr>
        <p:grpSpPr>
          <a:xfrm>
            <a:off x="5750970" y="2970743"/>
            <a:ext cx="1580322" cy="1876512"/>
            <a:chOff x="5750970" y="2086161"/>
            <a:chExt cx="1580322" cy="1876512"/>
          </a:xfrm>
        </p:grpSpPr>
        <p:pic>
          <p:nvPicPr>
            <p:cNvPr id="21" name="Picture 20" descr="A close up of a logo&#10;&#10;Description automatically generated">
              <a:extLst>
                <a:ext uri="{FF2B5EF4-FFF2-40B4-BE49-F238E27FC236}">
                  <a16:creationId xmlns:a16="http://schemas.microsoft.com/office/drawing/2014/main" id="{40AF79D2-ABB6-6249-AB90-819D80E27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60698" y="2086161"/>
              <a:ext cx="1560866" cy="1560866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6D520A-1850-6240-AF9C-C53B4319489F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erve Precious Water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E86519-8C0E-7E4A-B35D-EA1C68D21516}"/>
              </a:ext>
            </a:extLst>
          </p:cNvPr>
          <p:cNvGrpSpPr/>
          <p:nvPr userDrawn="1"/>
        </p:nvGrpSpPr>
        <p:grpSpPr>
          <a:xfrm>
            <a:off x="366479" y="4789815"/>
            <a:ext cx="1580322" cy="1823732"/>
            <a:chOff x="366479" y="3905233"/>
            <a:chExt cx="1580322" cy="182373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4DD2E8F-EA5D-BE4D-9771-D7938B9CF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76207" y="3905233"/>
              <a:ext cx="1560866" cy="1560866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FCDF5E6-CEA8-974B-9E45-8BA498AE4982}"/>
                </a:ext>
              </a:extLst>
            </p:cNvPr>
            <p:cNvSpPr txBox="1"/>
            <p:nvPr/>
          </p:nvSpPr>
          <p:spPr>
            <a:xfrm>
              <a:off x="366479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ivert Waste </a:t>
              </a:r>
              <a:br>
                <a:rPr lang="en-US" sz="1200" dirty="0"/>
              </a:br>
              <a:r>
                <a:rPr lang="en-US" sz="1200" dirty="0"/>
                <a:t>From Landfill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6554505-D36A-6B4A-B149-925F6F387039}"/>
              </a:ext>
            </a:extLst>
          </p:cNvPr>
          <p:cNvGrpSpPr/>
          <p:nvPr userDrawn="1"/>
        </p:nvGrpSpPr>
        <p:grpSpPr>
          <a:xfrm>
            <a:off x="2060687" y="4789815"/>
            <a:ext cx="1580322" cy="1639066"/>
            <a:chOff x="2060687" y="3905233"/>
            <a:chExt cx="1580322" cy="1639066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A87986D-6D26-B049-ACB6-D09710666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070415" y="3905233"/>
              <a:ext cx="1560866" cy="156086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A0E7E4B-4EED-EF45-AD38-AB6BBD575001}"/>
                </a:ext>
              </a:extLst>
            </p:cNvPr>
            <p:cNvSpPr txBox="1"/>
            <p:nvPr/>
          </p:nvSpPr>
          <p:spPr>
            <a:xfrm>
              <a:off x="2060687" y="52673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Car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59AC5-5161-3542-A44B-87C140EF1AD7}"/>
              </a:ext>
            </a:extLst>
          </p:cNvPr>
          <p:cNvGrpSpPr/>
          <p:nvPr userDrawn="1"/>
        </p:nvGrpSpPr>
        <p:grpSpPr>
          <a:xfrm>
            <a:off x="3896140" y="4789815"/>
            <a:ext cx="1580322" cy="1823732"/>
            <a:chOff x="3896140" y="3905233"/>
            <a:chExt cx="1580322" cy="1823732"/>
          </a:xfrm>
        </p:grpSpPr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3118C172-C374-7148-8AF8-91DA1163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905868" y="3905233"/>
              <a:ext cx="1560866" cy="1560866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8D30B9-2D0D-5447-B451-99762172B567}"/>
                </a:ext>
              </a:extLst>
            </p:cNvPr>
            <p:cNvSpPr txBox="1"/>
            <p:nvPr/>
          </p:nvSpPr>
          <p:spPr>
            <a:xfrm>
              <a:off x="3896140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FE88D3-964D-F04D-982F-D50679D1A931}"/>
              </a:ext>
            </a:extLst>
          </p:cNvPr>
          <p:cNvGrpSpPr/>
          <p:nvPr userDrawn="1"/>
        </p:nvGrpSpPr>
        <p:grpSpPr>
          <a:xfrm>
            <a:off x="9480376" y="2970743"/>
            <a:ext cx="1580322" cy="1876512"/>
            <a:chOff x="9480376" y="2086161"/>
            <a:chExt cx="1580322" cy="1876512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B81C42D-1A62-0E42-9368-8AB6785A055B}"/>
                </a:ext>
              </a:extLst>
            </p:cNvPr>
            <p:cNvSpPr txBox="1"/>
            <p:nvPr/>
          </p:nvSpPr>
          <p:spPr>
            <a:xfrm>
              <a:off x="9480376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duce Carbon Emissions</a:t>
              </a:r>
            </a:p>
          </p:txBody>
        </p: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8C3D0B-F69D-584A-B789-F78D1EE92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490104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34229A7-5746-1545-9D95-5DB5D524B8B6}"/>
              </a:ext>
            </a:extLst>
          </p:cNvPr>
          <p:cNvGrpSpPr/>
          <p:nvPr userDrawn="1"/>
        </p:nvGrpSpPr>
        <p:grpSpPr>
          <a:xfrm>
            <a:off x="7667309" y="2970743"/>
            <a:ext cx="1580322" cy="1876512"/>
            <a:chOff x="7667309" y="2086161"/>
            <a:chExt cx="1580322" cy="187651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FCA6388-B3D7-E04A-9FFD-911C1AD95D4E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Upcycling Solutions</a:t>
              </a:r>
            </a:p>
          </p:txBody>
        </p:sp>
        <p:pic>
          <p:nvPicPr>
            <p:cNvPr id="37" name="Picture 36" descr="A close up of a logo&#10;&#10;Description automatically generated">
              <a:extLst>
                <a:ext uri="{FF2B5EF4-FFF2-40B4-BE49-F238E27FC236}">
                  <a16:creationId xmlns:a16="http://schemas.microsoft.com/office/drawing/2014/main" id="{87D98C90-3A4F-924E-866C-A3BD078DC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677037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5319109-DF02-FB4B-A59E-90747F79DBD5}"/>
              </a:ext>
            </a:extLst>
          </p:cNvPr>
          <p:cNvGrpSpPr/>
          <p:nvPr userDrawn="1"/>
        </p:nvGrpSpPr>
        <p:grpSpPr>
          <a:xfrm>
            <a:off x="3896140" y="2970743"/>
            <a:ext cx="1580322" cy="1691846"/>
            <a:chOff x="3896140" y="2086161"/>
            <a:chExt cx="1580322" cy="169184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69ACBB5-7413-064B-976E-6770C7943827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458CDF8-B795-7B49-9715-EAF36754E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05868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B72E4C2-6ABB-FC4C-ABD8-C3F418B7756B}"/>
              </a:ext>
            </a:extLst>
          </p:cNvPr>
          <p:cNvGrpSpPr/>
          <p:nvPr userDrawn="1"/>
        </p:nvGrpSpPr>
        <p:grpSpPr>
          <a:xfrm>
            <a:off x="2060687" y="2970743"/>
            <a:ext cx="1580322" cy="1876512"/>
            <a:chOff x="2060687" y="2086161"/>
            <a:chExt cx="1580322" cy="187651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7521234-615B-9B46-946E-CCDAC01ACD92}"/>
                </a:ext>
              </a:extLst>
            </p:cNvPr>
            <p:cNvSpPr txBox="1"/>
            <p:nvPr/>
          </p:nvSpPr>
          <p:spPr>
            <a:xfrm>
              <a:off x="2060687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Vehicles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8AC1DD03-B1F9-6B4C-AA85-870734290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070415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48BFC73-B6AF-004C-B3A9-6E0BA209E43D}"/>
              </a:ext>
            </a:extLst>
          </p:cNvPr>
          <p:cNvGrpSpPr/>
          <p:nvPr userDrawn="1"/>
        </p:nvGrpSpPr>
        <p:grpSpPr>
          <a:xfrm>
            <a:off x="366479" y="1219765"/>
            <a:ext cx="1580322" cy="1638908"/>
            <a:chOff x="366479" y="1219765"/>
            <a:chExt cx="1580322" cy="1638908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6E7A0CA-1D4D-C14A-847A-285EFAADE9AA}"/>
                </a:ext>
              </a:extLst>
            </p:cNvPr>
            <p:cNvSpPr txBox="1"/>
            <p:nvPr/>
          </p:nvSpPr>
          <p:spPr>
            <a:xfrm>
              <a:off x="366479" y="258167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T Plastic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AA491AB-E6B6-604B-BC91-441D57CCB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76207" y="1219765"/>
              <a:ext cx="1560866" cy="1560866"/>
            </a:xfrm>
            <a:prstGeom prst="rect">
              <a:avLst/>
            </a:prstGeom>
          </p:spPr>
        </p:pic>
      </p:grpSp>
      <p:sp>
        <p:nvSpPr>
          <p:cNvPr id="47" name="Title 4">
            <a:extLst>
              <a:ext uri="{FF2B5EF4-FFF2-40B4-BE49-F238E27FC236}">
                <a16:creationId xmlns:a16="http://schemas.microsoft.com/office/drawing/2014/main" id="{77074F7F-7772-E54E-8E65-51F80B009F05}"/>
              </a:ext>
            </a:extLst>
          </p:cNvPr>
          <p:cNvSpPr txBox="1">
            <a:spLocks/>
          </p:cNvSpPr>
          <p:nvPr userDrawn="1"/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net Passionate Icons</a:t>
            </a:r>
            <a:br>
              <a:rPr lang="en-I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550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6271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4DB3BC1-51BC-FA4C-B894-20464786F5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uideline Slide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5058055-1CEA-8F4A-B28D-6EBF057B1F66}"/>
              </a:ext>
            </a:extLst>
          </p:cNvPr>
          <p:cNvSpPr txBox="1"/>
          <p:nvPr userDrawn="1"/>
        </p:nvSpPr>
        <p:spPr>
          <a:xfrm>
            <a:off x="4198976" y="1454019"/>
            <a:ext cx="3609474" cy="51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3200" dirty="0">
                <a:latin typeface="Century Gothic" panose="020B0502020202020204" pitchFamily="34" charset="0"/>
              </a:rPr>
              <a:t>Title </a:t>
            </a:r>
            <a:r>
              <a:rPr lang="en-US" sz="3200" b="0" i="0" dirty="0">
                <a:latin typeface="Century Gothic" panose="020B0502020202020204" pitchFamily="34" charset="0"/>
              </a:rPr>
              <a:t>Size 3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latin typeface="Century Gothic" panose="020B0502020202020204" pitchFamily="34" charset="0"/>
              </a:rPr>
              <a:t>Title </a:t>
            </a:r>
            <a:r>
              <a:rPr lang="en-US" sz="4000" b="0" i="0" dirty="0">
                <a:latin typeface="Century Gothic" panose="020B0502020202020204" pitchFamily="34" charset="0"/>
              </a:rPr>
              <a:t>Size 4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latin typeface="Century Gothic" panose="020B0502020202020204" pitchFamily="34" charset="0"/>
              </a:rPr>
              <a:t>Title </a:t>
            </a:r>
            <a:r>
              <a:rPr lang="en-US" sz="4800" b="0" i="0" dirty="0">
                <a:latin typeface="Century Gothic" panose="020B0502020202020204" pitchFamily="34" charset="0"/>
              </a:rPr>
              <a:t>Size 4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Subtitle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i="0" dirty="0">
                <a:latin typeface="Century Gothic" panose="020B0502020202020204" pitchFamily="34" charset="0"/>
              </a:rPr>
              <a:t>Subtitle Size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i="0" dirty="0">
                <a:latin typeface="Century Gothic" panose="020B0502020202020204" pitchFamily="34" charset="0"/>
              </a:rPr>
              <a:t>Subtitle Size 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0" i="0" dirty="0">
                <a:latin typeface="Century Gothic" panose="020B0502020202020204" pitchFamily="34" charset="0"/>
              </a:rPr>
              <a:t>Subtitle Size 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latin typeface="Century Gothic" panose="020B0502020202020204" pitchFamily="34" charset="0"/>
              </a:rPr>
              <a:t>Body Copy Size 1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dirty="0">
                <a:latin typeface="Century Gothic" panose="020B0502020202020204" pitchFamily="34" charset="0"/>
              </a:rPr>
              <a:t>Body Copy Size 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0" i="0" dirty="0">
                <a:latin typeface="Century Gothic" panose="020B0502020202020204" pitchFamily="34" charset="0"/>
              </a:rPr>
              <a:t>Body Copy Size 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latin typeface="Century Gothic" panose="020B0502020202020204" pitchFamily="34" charset="0"/>
              </a:rPr>
              <a:t>Body Copy Size 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dirty="0">
              <a:latin typeface="Century Gothic" panose="020B0502020202020204" pitchFamily="34" charset="0"/>
            </a:endParaRPr>
          </a:p>
          <a:p>
            <a:endParaRPr lang="en-US" sz="3200" b="0" i="0" dirty="0">
              <a:latin typeface="Century Gothic" panose="020B0502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A9601FA-2C65-E743-B839-2BC0AA447EFA}"/>
              </a:ext>
            </a:extLst>
          </p:cNvPr>
          <p:cNvGrpSpPr/>
          <p:nvPr userDrawn="1"/>
        </p:nvGrpSpPr>
        <p:grpSpPr>
          <a:xfrm>
            <a:off x="623887" y="1457766"/>
            <a:ext cx="3625820" cy="4943755"/>
            <a:chOff x="-6257760" y="707017"/>
            <a:chExt cx="3625820" cy="494375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BD78F41-BB0F-F94F-B712-97D86AE976FB}"/>
                </a:ext>
              </a:extLst>
            </p:cNvPr>
            <p:cNvSpPr/>
            <p:nvPr/>
          </p:nvSpPr>
          <p:spPr>
            <a:xfrm>
              <a:off x="-6246609" y="707017"/>
              <a:ext cx="881743" cy="881743"/>
            </a:xfrm>
            <a:prstGeom prst="ellipse">
              <a:avLst/>
            </a:prstGeom>
            <a:solidFill>
              <a:srgbClr val="0941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BCF57C2-460B-E046-8C9E-C10EFA6D7193}"/>
                </a:ext>
              </a:extLst>
            </p:cNvPr>
            <p:cNvSpPr/>
            <p:nvPr/>
          </p:nvSpPr>
          <p:spPr>
            <a:xfrm>
              <a:off x="-6246609" y="1726714"/>
              <a:ext cx="881743" cy="881743"/>
            </a:xfrm>
            <a:prstGeom prst="ellipse">
              <a:avLst/>
            </a:prstGeom>
            <a:solidFill>
              <a:srgbClr val="2382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5F50ABA-AC03-BB42-A8AC-FAC93E74E2FA}"/>
                </a:ext>
              </a:extLst>
            </p:cNvPr>
            <p:cNvSpPr/>
            <p:nvPr/>
          </p:nvSpPr>
          <p:spPr>
            <a:xfrm>
              <a:off x="-6246609" y="2740819"/>
              <a:ext cx="881743" cy="881743"/>
            </a:xfrm>
            <a:prstGeom prst="ellipse">
              <a:avLst/>
            </a:prstGeom>
            <a:solidFill>
              <a:srgbClr val="F7A4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78521A9-75E7-4548-A46B-547A9ACB0A3D}"/>
                </a:ext>
              </a:extLst>
            </p:cNvPr>
            <p:cNvSpPr/>
            <p:nvPr/>
          </p:nvSpPr>
          <p:spPr>
            <a:xfrm>
              <a:off x="-6257760" y="3754924"/>
              <a:ext cx="881743" cy="881743"/>
            </a:xfrm>
            <a:prstGeom prst="ellipse">
              <a:avLst/>
            </a:prstGeom>
            <a:solidFill>
              <a:srgbClr val="0FA0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BF5A9BF-9E01-A946-A6D0-4A399D564919}"/>
                </a:ext>
              </a:extLst>
            </p:cNvPr>
            <p:cNvSpPr/>
            <p:nvPr/>
          </p:nvSpPr>
          <p:spPr>
            <a:xfrm>
              <a:off x="-6257760" y="4769029"/>
              <a:ext cx="881743" cy="881743"/>
            </a:xfrm>
            <a:prstGeom prst="ellipse">
              <a:avLst/>
            </a:prstGeom>
            <a:solidFill>
              <a:srgbClr val="C09A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474E757-2D7D-E84A-8F90-67963898E9A5}"/>
                </a:ext>
              </a:extLst>
            </p:cNvPr>
            <p:cNvSpPr txBox="1"/>
            <p:nvPr/>
          </p:nvSpPr>
          <p:spPr>
            <a:xfrm>
              <a:off x="-5235635" y="293357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Orang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0 / 42 / 87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247 / 164 / 45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FBDF904-4B20-C644-BF8D-76EF3776FFF5}"/>
                </a:ext>
              </a:extLst>
            </p:cNvPr>
            <p:cNvSpPr txBox="1"/>
            <p:nvPr/>
          </p:nvSpPr>
          <p:spPr>
            <a:xfrm>
              <a:off x="-5235635" y="191247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0 / 33 / 4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 / 141 / 198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8FEDB90-7B3E-404B-BEE7-B7222F3FF624}"/>
                </a:ext>
              </a:extLst>
            </p:cNvPr>
            <p:cNvSpPr txBox="1"/>
            <p:nvPr/>
          </p:nvSpPr>
          <p:spPr>
            <a:xfrm>
              <a:off x="-5235635" y="851395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Blue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100 / 72 / 0 / 18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0 / 66 / 137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2223326-CD12-D04E-AD0D-8F5551660336}"/>
                </a:ext>
              </a:extLst>
            </p:cNvPr>
            <p:cNvSpPr txBox="1"/>
            <p:nvPr/>
          </p:nvSpPr>
          <p:spPr>
            <a:xfrm>
              <a:off x="-5235635" y="3960094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Bright Green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81 / 5 / 95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5 / 160 / 66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42560D3-17B6-DD47-A272-449E80C687E5}"/>
                </a:ext>
              </a:extLst>
            </p:cNvPr>
            <p:cNvSpPr txBox="1"/>
            <p:nvPr/>
          </p:nvSpPr>
          <p:spPr>
            <a:xfrm>
              <a:off x="-5235635" y="4961789"/>
              <a:ext cx="2603695" cy="4962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Kingspan Gold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CYMK - 30 / 40 / 70 / 0</a:t>
              </a:r>
            </a:p>
            <a:p>
              <a:r>
                <a:rPr lang="en-GB" sz="1100" kern="1200" dirty="0">
                  <a:solidFill>
                    <a:schemeClr val="tx1"/>
                  </a:solidFill>
                  <a:effectLst/>
                  <a:latin typeface="Century Gothic" panose="020B0502020202020204" pitchFamily="34" charset="0"/>
                  <a:ea typeface="+mn-ea"/>
                  <a:cs typeface="+mn-cs"/>
                </a:rPr>
                <a:t>RGB - 192 / 154 / 9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93359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397300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0E04F-D46A-C744-A629-DAA67A0816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155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FF804A-9FCC-3D4F-8E5D-878EB0BC5C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18954" y="1397777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</p:spTree>
    <p:extLst>
      <p:ext uri="{BB962C8B-B14F-4D97-AF65-F5344CB8AC3E}">
        <p14:creationId xmlns:p14="http://schemas.microsoft.com/office/powerpoint/2010/main" val="2076311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4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747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582F58F-84F7-A348-85DD-03FEC9C57F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966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5" t="27833" r="42531" b="51236"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nsert backdrop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F7D7FD-2E4D-764B-8614-8BB948EDA1D8}"/>
              </a:ext>
            </a:extLst>
          </p:cNvPr>
          <p:cNvSpPr/>
          <p:nvPr userDrawn="1"/>
        </p:nvSpPr>
        <p:spPr>
          <a:xfrm>
            <a:off x="5562600" y="3456947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Right click and use the crop function to size your image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Scale and position your image to fit inside this area.</a:t>
            </a:r>
            <a:br>
              <a:rPr lang="en-US" sz="1400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04307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714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212656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5B61BF-F308-884F-835C-950D755857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44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71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</a:lstStyle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Right click and use the crop function to size your image box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Scale and position your image to fit inside this area.</a:t>
            </a:r>
            <a:br>
              <a:rPr lang="en-US" sz="2000" dirty="0"/>
            </a:br>
            <a:endParaRPr lang="en-US" sz="2000" dirty="0"/>
          </a:p>
          <a:p>
            <a:pPr lvl="0"/>
            <a:endParaRPr lang="en-US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408898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13559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35017B9-77BC-284B-A42C-A296E825A7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330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753015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532848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304061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29294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1193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831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4B06EC-548A-3A41-9515-77E050010F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523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62291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D2F7360-C85C-A545-9AC3-C8303F5241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084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160430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260227-57F8-2644-B85D-64F25A1789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142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A08F8D-242C-EC41-A05E-7744BFBBC7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39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01CB732-A621-8440-A42B-A3E72ABEF6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18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56A60E4-0332-914F-93F8-9A7AA9093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712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08C281-9C7A-294A-87E1-B2464303E763}"/>
              </a:ext>
            </a:extLst>
          </p:cNvPr>
          <p:cNvSpPr/>
          <p:nvPr userDrawn="1"/>
        </p:nvSpPr>
        <p:spPr>
          <a:xfrm>
            <a:off x="0" y="1"/>
            <a:ext cx="12181021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9" y="1745140"/>
            <a:ext cx="3527424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12113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8023"/>
            <a:ext cx="10934489" cy="54303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49577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E4BDEA-9ED9-9E4A-8299-1ED7EDA0B7BE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530DB3-6D36-8245-B9A4-DFAB045921B8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44A662-5109-9E46-BA25-7B6A075E7F85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C6B76F-1E4F-AC47-9415-689DE31A47F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168B1D-3168-D940-8927-A3A5BAAAFAF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Subtitle 2">
            <a:extLst>
              <a:ext uri="{FF2B5EF4-FFF2-40B4-BE49-F238E27FC236}">
                <a16:creationId xmlns:a16="http://schemas.microsoft.com/office/drawing/2014/main" id="{A69FF014-B939-B84A-B950-4DB7547889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B58088-83A5-AD46-ACC2-6FB2290F56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6346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B3BBCE2E-3119-F04F-B262-DE7256C2C7A1}"/>
              </a:ext>
            </a:extLst>
          </p:cNvPr>
          <p:cNvSpPr/>
          <p:nvPr userDrawn="1"/>
        </p:nvSpPr>
        <p:spPr>
          <a:xfrm>
            <a:off x="373198" y="0"/>
            <a:ext cx="11807823" cy="4530723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8" y="1745140"/>
            <a:ext cx="3527425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745140"/>
            <a:ext cx="3556001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01453" y="1745140"/>
            <a:ext cx="3556002" cy="254746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32288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E05B4EB-48E0-2742-B1AE-279309679E4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332288" y="4688681"/>
            <a:ext cx="3527425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CAB8C08-8214-6A4E-A4D8-C6B318A0AFD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3888" y="4688681"/>
            <a:ext cx="3556001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ECE91E5-64B2-9844-9A5C-E74D42AB53F9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8001453" y="4688681"/>
            <a:ext cx="3556002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06BC46-0E61-E540-B5BD-BCDF424A6C78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D66A452-9491-0747-91FC-E3C7677DDB5C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3775A9-4829-B74C-9440-0DEA4FFD7D3E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119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736726"/>
            <a:ext cx="261815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736726"/>
            <a:ext cx="2627312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736726"/>
            <a:ext cx="2592388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736726"/>
            <a:ext cx="2627313" cy="28746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B9EAB2A-56B1-E542-B42E-A1585F7F0D9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406405" y="1272949"/>
            <a:ext cx="2598735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0E97C0-517F-494A-9ECE-ABF5BF8D5F5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3888" y="1272949"/>
            <a:ext cx="2627311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6CB81E-2868-C24A-A2D5-F8A38CC80E0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6197605" y="1272949"/>
            <a:ext cx="259873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5484F9-15AE-E747-8437-F25FF8A7112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940800" y="1272949"/>
            <a:ext cx="2627313" cy="3478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8A60D2C3-77F9-EA4D-8FDD-D99DA6EE91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3623"/>
            <a:ext cx="10968449" cy="512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Main Titl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AC9DD0D-4687-204C-B610-9E8509660368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23888" y="4801560"/>
            <a:ext cx="10944223" cy="12492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50B2B7B-B299-584F-83B1-8A6E2DAD24C1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1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7E5DAF-191D-4648-A2A4-AC5ABD21B32D}"/>
              </a:ext>
            </a:extLst>
          </p:cNvPr>
          <p:cNvCxnSpPr>
            <a:cxnSpLocks/>
          </p:cNvCxnSpPr>
          <p:nvPr userDrawn="1"/>
        </p:nvCxnSpPr>
        <p:spPr>
          <a:xfrm>
            <a:off x="3406405" y="1125538"/>
            <a:ext cx="261815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3C4C2E8-8905-214A-A6DA-BC1350B2EC69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A5E08C-7312-384E-B73D-6651839252B3}"/>
              </a:ext>
            </a:extLst>
          </p:cNvPr>
          <p:cNvCxnSpPr>
            <a:cxnSpLocks/>
          </p:cNvCxnSpPr>
          <p:nvPr userDrawn="1"/>
        </p:nvCxnSpPr>
        <p:spPr>
          <a:xfrm>
            <a:off x="89408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838D76C-8F40-194F-A2DC-75834602A1A6}"/>
              </a:ext>
            </a:extLst>
          </p:cNvPr>
          <p:cNvCxnSpPr>
            <a:cxnSpLocks/>
          </p:cNvCxnSpPr>
          <p:nvPr userDrawn="1"/>
        </p:nvCxnSpPr>
        <p:spPr>
          <a:xfrm>
            <a:off x="629925" y="4944428"/>
            <a:ext cx="31156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94EDC1BE-5A2F-9141-AD5F-0F7879D6BE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232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3B371F-F73D-7848-955E-6F4A47C7D7A0}"/>
              </a:ext>
            </a:extLst>
          </p:cNvPr>
          <p:cNvSpPr/>
          <p:nvPr userDrawn="1"/>
        </p:nvSpPr>
        <p:spPr>
          <a:xfrm>
            <a:off x="5232400" y="512763"/>
            <a:ext cx="4500563" cy="271747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9BCB5-7570-8940-9AC8-67AF9BFB7BFC}"/>
              </a:ext>
            </a:extLst>
          </p:cNvPr>
          <p:cNvSpPr/>
          <p:nvPr userDrawn="1"/>
        </p:nvSpPr>
        <p:spPr>
          <a:xfrm>
            <a:off x="5228384" y="3362277"/>
            <a:ext cx="3567953" cy="237387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02A2A2-091B-3843-8E8D-C5130D918C0B}"/>
              </a:ext>
            </a:extLst>
          </p:cNvPr>
          <p:cNvSpPr/>
          <p:nvPr userDrawn="1"/>
        </p:nvSpPr>
        <p:spPr>
          <a:xfrm>
            <a:off x="8947152" y="3362277"/>
            <a:ext cx="3244848" cy="2376487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B59B44-4EB0-684F-AB52-741961638BCF}"/>
              </a:ext>
            </a:extLst>
          </p:cNvPr>
          <p:cNvSpPr/>
          <p:nvPr userDrawn="1"/>
        </p:nvSpPr>
        <p:spPr>
          <a:xfrm>
            <a:off x="9861552" y="501927"/>
            <a:ext cx="2330448" cy="272831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04AF4BF-EF8E-5246-A68A-86D5DCC9D8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10560844" y="1459681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0D1934E5-DFFE-D64A-AC88-7270E46A22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7306656" y="1513469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BE6F2F-98ED-E740-8C3A-11E55932FF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6021806" y="4122199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D554C6E-14A7-F240-A7FE-4B4921CCB3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9413" t="25347" r="41146" b="60000"/>
          <a:stretch/>
        </p:blipFill>
        <p:spPr>
          <a:xfrm>
            <a:off x="9955726" y="4108752"/>
            <a:ext cx="1150938" cy="1004936"/>
          </a:xfrm>
          <a:prstGeom prst="rect">
            <a:avLst/>
          </a:prstGeom>
        </p:spPr>
      </p:pic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D0040FA-429B-3340-98A6-8EDBE6F6C15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400" y="501926"/>
            <a:ext cx="4500563" cy="2714866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25E71D81-56C6-4741-8183-0B428AFAEF52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5838" y="499315"/>
            <a:ext cx="2316162" cy="2717477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663DCAF0-0A11-9744-996C-8D17C975A9D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1" y="3373115"/>
            <a:ext cx="3251200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BD990BB-3AB6-874E-8F35-63EA9033F064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5232400" y="3373116"/>
            <a:ext cx="3563937" cy="236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672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06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198804" y="0"/>
            <a:ext cx="798221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Imag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CD41DA-5299-F245-B635-25684774BD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883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 for any mention of Quadcor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 Select the logo and copy to clipboard.</a:t>
            </a:r>
            <a:br>
              <a:rPr lang="en-GB" dirty="0"/>
            </a:br>
            <a:r>
              <a:rPr lang="en-GB" dirty="0"/>
              <a:t>- Close master and place on a slide of your choosing.</a:t>
            </a:r>
            <a:endParaRPr lang="en-US" dirty="0"/>
          </a:p>
          <a:p>
            <a:pPr lvl="0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E78980-CB00-7148-8535-BC8EA3D80D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209547"/>
            <a:ext cx="825028" cy="303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780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4"/>
            <a:ext cx="10944226" cy="5576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-Brand Slide Tit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1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lace on a slide of your choosing.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B07D24-D394-6B43-9672-1B4A838AF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65975" y="6259606"/>
            <a:ext cx="1875066" cy="513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021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8FD18CE-A7CC-0342-99A8-D08B8CBC5F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88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D3A9F48F-DEB8-D54B-9A3F-D74D7B3BDB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E83591B-96D8-4D47-B22F-66A56E777A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2501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CB6B763-9BD5-DD42-876D-86BF240D60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C0519C4-C654-324F-A1C1-D78DB6CBA7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880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8693107-CCA3-A44F-A088-CA97182B2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E3C12AD-F3DE-8345-83C1-ED4A54A6FA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85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27396510-F944-4741-BA3C-017EE0787E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F86B7C-BE1A-8143-ADB4-6DDB056CB1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403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DB2AA5-3E93-5A4D-A394-DF91F1FFB3D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43B730B-3233-BD4D-AA66-21113C473B03}"/>
              </a:ext>
            </a:extLst>
          </p:cNvPr>
          <p:cNvCxnSpPr/>
          <p:nvPr userDrawn="1"/>
        </p:nvCxnSpPr>
        <p:spPr>
          <a:xfrm>
            <a:off x="192088" y="3678873"/>
            <a:ext cx="0" cy="2983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ubtitle 2">
            <a:extLst>
              <a:ext uri="{FF2B5EF4-FFF2-40B4-BE49-F238E27FC236}">
                <a16:creationId xmlns:a16="http://schemas.microsoft.com/office/drawing/2014/main" id="{D130C56E-38CA-F349-8888-1F27E87033B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4270B3F9-86D7-C949-8435-04D9B62A3D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44DA6B8-C25A-AE4C-8728-B2D0905C2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102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004AB388-D756-A24F-A1DD-F8134B91DB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28E617-A629-9444-BEB9-06AC835D6C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724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Light Blue">
    <p:bg>
      <p:bgPr>
        <a:solidFill>
          <a:srgbClr val="0F8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0D11904-EFB7-5F42-A75E-CEA3993C9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85126B2A-21C1-B843-B973-F8CD5363EB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9231C03-7741-E94C-A68A-77ABA0F6DD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103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Orange">
    <p:bg>
      <p:bgPr>
        <a:solidFill>
          <a:srgbClr val="F7A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DB7CCD0-1A25-FB4C-96FC-1F7ADEBA4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348A17DD-BEA2-8848-AA12-6063DC78CA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1E35709-C6B8-1846-9E42-6EBD70173E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802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818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reen">
    <p:bg>
      <p:bgPr>
        <a:solidFill>
          <a:srgbClr val="0FA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62BE0AE-1A84-7449-B7C2-870779ADC3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4213" y="6286500"/>
            <a:ext cx="902196" cy="440607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F34DB94D-7DB1-464A-90FB-C24B1FEAA0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528E442-F367-0A4F-90E7-9580D5CCF9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92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KS Gold">
    <p:bg>
      <p:bgPr>
        <a:solidFill>
          <a:srgbClr val="C09A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4A0FAA87-FE30-4B4E-A8CE-E9B4E043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899999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56D5E389-1BA3-8945-B943-A8A836E009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0B6B91-2D0D-3E40-9B08-7A2F43897A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06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BB4072D-3150-684F-96E4-3E2B94E27921}"/>
              </a:ext>
            </a:extLst>
          </p:cNvPr>
          <p:cNvGrpSpPr/>
          <p:nvPr userDrawn="1"/>
        </p:nvGrpSpPr>
        <p:grpSpPr>
          <a:xfrm>
            <a:off x="374053" y="-12529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0D6FCC16-AC36-7B41-9B9B-3B1A96FD6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4262DF0-E744-6041-AAE9-9D127B7A9AC3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lerts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D6B311C-FDD8-7A4A-9E1B-4E8579537454}"/>
              </a:ext>
            </a:extLst>
          </p:cNvPr>
          <p:cNvGrpSpPr/>
          <p:nvPr userDrawn="1"/>
        </p:nvGrpSpPr>
        <p:grpSpPr>
          <a:xfrm>
            <a:off x="8541224" y="3305151"/>
            <a:ext cx="1580322" cy="1608757"/>
            <a:chOff x="5750970" y="2169250"/>
            <a:chExt cx="1580322" cy="1608757"/>
          </a:xfrm>
        </p:grpSpPr>
        <p:pic>
          <p:nvPicPr>
            <p:cNvPr id="174" name="Picture 173" descr="A close up of a logo&#10;&#10;Description automatically generated">
              <a:extLst>
                <a:ext uri="{FF2B5EF4-FFF2-40B4-BE49-F238E27FC236}">
                  <a16:creationId xmlns:a16="http://schemas.microsoft.com/office/drawing/2014/main" id="{545988BF-965C-AA47-9425-0D6D6D39B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535BD7F4-24A1-0747-87AF-EF4D15762673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se Study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5088489E-7174-F243-A7AA-497CA2725050}"/>
              </a:ext>
            </a:extLst>
          </p:cNvPr>
          <p:cNvGrpSpPr/>
          <p:nvPr userDrawn="1"/>
        </p:nvGrpSpPr>
        <p:grpSpPr>
          <a:xfrm>
            <a:off x="5767441" y="1746216"/>
            <a:ext cx="1580322" cy="1715119"/>
            <a:chOff x="367748" y="405538"/>
            <a:chExt cx="1580322" cy="1715119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9684B06A-814D-4241-89C0-3A6DA490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93807C27-7A76-734F-9F6C-D956CCFA4A62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</a:t>
              </a:r>
            </a:p>
            <a:p>
              <a:pPr algn="ctr"/>
              <a:r>
                <a:rPr lang="en-US" sz="1200" dirty="0"/>
                <a:t>Service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064A34D-C51B-FA46-AAF8-C7D071096ECE}"/>
              </a:ext>
            </a:extLst>
          </p:cNvPr>
          <p:cNvGrpSpPr/>
          <p:nvPr userDrawn="1"/>
        </p:nvGrpSpPr>
        <p:grpSpPr>
          <a:xfrm>
            <a:off x="5773190" y="-28593"/>
            <a:ext cx="1580322" cy="1566045"/>
            <a:chOff x="367748" y="2169250"/>
            <a:chExt cx="1580322" cy="1566045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95E333A6-653E-F645-8071-A8B53C73A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E3DF9503-1188-EF42-874E-90566CC4A8DD}"/>
                </a:ext>
              </a:extLst>
            </p:cNvPr>
            <p:cNvSpPr txBox="1"/>
            <p:nvPr/>
          </p:nvSpPr>
          <p:spPr>
            <a:xfrm>
              <a:off x="367748" y="345829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rand DNA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89866316-E303-0344-BE71-8D9017A98606}"/>
              </a:ext>
            </a:extLst>
          </p:cNvPr>
          <p:cNvGrpSpPr/>
          <p:nvPr userDrawn="1"/>
        </p:nvGrpSpPr>
        <p:grpSpPr>
          <a:xfrm>
            <a:off x="7138849" y="1746216"/>
            <a:ext cx="1580322" cy="1553763"/>
            <a:chOff x="5750970" y="2169250"/>
            <a:chExt cx="1580322" cy="155376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E241773-9743-8D49-ACAA-E64CE7684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46513CAC-B56C-2E49-BFC1-44A1F6A2B074}"/>
                </a:ext>
              </a:extLst>
            </p:cNvPr>
            <p:cNvSpPr txBox="1"/>
            <p:nvPr/>
          </p:nvSpPr>
          <p:spPr>
            <a:xfrm>
              <a:off x="5750970" y="344601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llaboration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7AD6A17-ED90-6547-A570-1EAE684B017F}"/>
              </a:ext>
            </a:extLst>
          </p:cNvPr>
          <p:cNvGrpSpPr/>
          <p:nvPr userDrawn="1"/>
        </p:nvGrpSpPr>
        <p:grpSpPr>
          <a:xfrm>
            <a:off x="390557" y="3313364"/>
            <a:ext cx="1580322" cy="1537449"/>
            <a:chOff x="9480376" y="3968750"/>
            <a:chExt cx="1580322" cy="1537449"/>
          </a:xfrm>
        </p:grpSpPr>
        <p:pic>
          <p:nvPicPr>
            <p:cNvPr id="186" name="Picture 18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B6D36BF-1E77-B047-A477-9B1A19440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5CDFDBC-E158-B549-BB68-75DB5E0F1ED6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act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8D4F745E-0219-0346-8DD9-592D94CD0F1A}"/>
              </a:ext>
            </a:extLst>
          </p:cNvPr>
          <p:cNvGrpSpPr/>
          <p:nvPr userDrawn="1"/>
        </p:nvGrpSpPr>
        <p:grpSpPr>
          <a:xfrm>
            <a:off x="7155839" y="-23657"/>
            <a:ext cx="1580322" cy="1537586"/>
            <a:chOff x="5750970" y="3968613"/>
            <a:chExt cx="1580322" cy="1537586"/>
          </a:xfrm>
        </p:grpSpPr>
        <p:pic>
          <p:nvPicPr>
            <p:cNvPr id="189" name="Picture 188" descr="A close up of a logo&#10;&#10;Description automatically generated">
              <a:extLst>
                <a:ext uri="{FF2B5EF4-FFF2-40B4-BE49-F238E27FC236}">
                  <a16:creationId xmlns:a16="http://schemas.microsoft.com/office/drawing/2014/main" id="{5BEC7397-EA5B-8047-8142-35A4E2846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E0E91293-FA98-274D-A2CA-30660D44AC83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acteria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FF8C05F-938E-3540-AE08-1D6175D46C00}"/>
              </a:ext>
            </a:extLst>
          </p:cNvPr>
          <p:cNvGrpSpPr/>
          <p:nvPr userDrawn="1"/>
        </p:nvGrpSpPr>
        <p:grpSpPr>
          <a:xfrm>
            <a:off x="1627715" y="3302734"/>
            <a:ext cx="1580322" cy="1740157"/>
            <a:chOff x="7667309" y="2169250"/>
            <a:chExt cx="1580322" cy="1740157"/>
          </a:xfrm>
        </p:grpSpPr>
        <p:pic>
          <p:nvPicPr>
            <p:cNvPr id="192" name="Picture 191" descr="A close up of a sign&#10;&#10;Description automatically generated">
              <a:extLst>
                <a:ext uri="{FF2B5EF4-FFF2-40B4-BE49-F238E27FC236}">
                  <a16:creationId xmlns:a16="http://schemas.microsoft.com/office/drawing/2014/main" id="{2BE03BB0-45C2-824D-9534-7FAB7C4E66C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D4D9A9BA-AAC4-B544-A6DC-868CB55D999B}"/>
                </a:ext>
              </a:extLst>
            </p:cNvPr>
            <p:cNvSpPr txBox="1"/>
            <p:nvPr/>
          </p:nvSpPr>
          <p:spPr>
            <a:xfrm>
              <a:off x="7667309" y="344774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liant Solution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56138BC7-748A-D049-82ED-CAE61EC15437}"/>
              </a:ext>
            </a:extLst>
          </p:cNvPr>
          <p:cNvGrpSpPr/>
          <p:nvPr userDrawn="1"/>
        </p:nvGrpSpPr>
        <p:grpSpPr>
          <a:xfrm>
            <a:off x="374053" y="1763790"/>
            <a:ext cx="1580322" cy="1530453"/>
            <a:chOff x="367748" y="405538"/>
            <a:chExt cx="1580322" cy="1530453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64632124-D98E-4C47-B909-97AA1F99C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561DC6A-9438-874F-AA4C-5AEC225CF95B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lendar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588EF020-AE7A-2B48-9265-38C1075295F9}"/>
              </a:ext>
            </a:extLst>
          </p:cNvPr>
          <p:cNvGrpSpPr/>
          <p:nvPr userDrawn="1"/>
        </p:nvGrpSpPr>
        <p:grpSpPr>
          <a:xfrm>
            <a:off x="1637039" y="1750338"/>
            <a:ext cx="1580322" cy="1530453"/>
            <a:chOff x="2063552" y="405538"/>
            <a:chExt cx="1580322" cy="1530453"/>
          </a:xfrm>
        </p:grpSpPr>
        <p:pic>
          <p:nvPicPr>
            <p:cNvPr id="198" name="Picture 197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16375AE-E24C-3744-9A70-E2C84CEEB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35A4F2E9-4BE7-1E4B-B530-BC1CD4ADCE1C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art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910D802-A6C8-274C-9C65-47AFAC4CFE8B}"/>
              </a:ext>
            </a:extLst>
          </p:cNvPr>
          <p:cNvGrpSpPr/>
          <p:nvPr userDrawn="1"/>
        </p:nvGrpSpPr>
        <p:grpSpPr>
          <a:xfrm>
            <a:off x="1643847" y="-28593"/>
            <a:ext cx="1580322" cy="1722252"/>
            <a:chOff x="367748" y="3968613"/>
            <a:chExt cx="1580322" cy="1722252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2B8E77AE-2D9B-4A47-8684-1C0D40558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613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7C81AE6-3996-7647-A9B4-8438B7CFC46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ccredited Installer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08690EF9-DDDF-1F40-818B-75754B172961}"/>
              </a:ext>
            </a:extLst>
          </p:cNvPr>
          <p:cNvGrpSpPr/>
          <p:nvPr userDrawn="1"/>
        </p:nvGrpSpPr>
        <p:grpSpPr>
          <a:xfrm>
            <a:off x="3000586" y="1746216"/>
            <a:ext cx="1580322" cy="1537449"/>
            <a:chOff x="5750970" y="3968750"/>
            <a:chExt cx="1580322" cy="1537449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6594CE0C-26AF-A047-A3D6-A9C611F7E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1164C9F6-C764-5E40-B736-75839445A2D1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unication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FCA607D7-2C8C-3D4B-B351-BBA093EE00BE}"/>
              </a:ext>
            </a:extLst>
          </p:cNvPr>
          <p:cNvGrpSpPr/>
          <p:nvPr userDrawn="1"/>
        </p:nvGrpSpPr>
        <p:grpSpPr>
          <a:xfrm>
            <a:off x="4369981" y="1746216"/>
            <a:ext cx="1580322" cy="1537586"/>
            <a:chOff x="7667309" y="3968613"/>
            <a:chExt cx="1580322" cy="1537586"/>
          </a:xfrm>
        </p:grpSpPr>
        <p:pic>
          <p:nvPicPr>
            <p:cNvPr id="207" name="Picture 206" descr="A close up of a sign&#10;&#10;Description automatically generated">
              <a:extLst>
                <a:ext uri="{FF2B5EF4-FFF2-40B4-BE49-F238E27FC236}">
                  <a16:creationId xmlns:a16="http://schemas.microsoft.com/office/drawing/2014/main" id="{A290880F-F450-4B44-9E67-E63D21ABC8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4CE1E15B-D5EC-FB44-95DA-0FE4DCD2172E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ed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DA3EF250-8F71-4F44-B1B0-3FFF284AD16D}"/>
              </a:ext>
            </a:extLst>
          </p:cNvPr>
          <p:cNvGrpSpPr/>
          <p:nvPr userDrawn="1"/>
        </p:nvGrpSpPr>
        <p:grpSpPr>
          <a:xfrm>
            <a:off x="4378756" y="3320360"/>
            <a:ext cx="1580322" cy="1530453"/>
            <a:chOff x="5750970" y="405538"/>
            <a:chExt cx="1580322" cy="1530453"/>
          </a:xfrm>
        </p:grpSpPr>
        <p:pic>
          <p:nvPicPr>
            <p:cNvPr id="210" name="Picture 209" descr="A close up of a sign&#10;&#10;Description automatically generated">
              <a:extLst>
                <a:ext uri="{FF2B5EF4-FFF2-40B4-BE49-F238E27FC236}">
                  <a16:creationId xmlns:a16="http://schemas.microsoft.com/office/drawing/2014/main" id="{BBF960DB-5E07-EB4D-BC48-1A5EF2910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A6D742A9-6A61-054A-9CDC-5E9FA42210F8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cate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DFAEBC59-2894-9C47-8523-D8693974B992}"/>
              </a:ext>
            </a:extLst>
          </p:cNvPr>
          <p:cNvGrpSpPr/>
          <p:nvPr userDrawn="1"/>
        </p:nvGrpSpPr>
        <p:grpSpPr>
          <a:xfrm>
            <a:off x="8534296" y="1742769"/>
            <a:ext cx="1580322" cy="1564192"/>
            <a:chOff x="2063552" y="2169250"/>
            <a:chExt cx="1580322" cy="1564192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F922517B-CA2F-6346-B1BA-B6F47E903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5FE21AD-85C6-D345-9A10-7B46BEA32814}"/>
                </a:ext>
              </a:extLst>
            </p:cNvPr>
            <p:cNvSpPr txBox="1"/>
            <p:nvPr/>
          </p:nvSpPr>
          <p:spPr>
            <a:xfrm>
              <a:off x="2063552" y="345644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B8F8ED8-D362-9043-A3D6-7462ACC1CE05}"/>
              </a:ext>
            </a:extLst>
          </p:cNvPr>
          <p:cNvGrpSpPr/>
          <p:nvPr userDrawn="1"/>
        </p:nvGrpSpPr>
        <p:grpSpPr>
          <a:xfrm>
            <a:off x="3004181" y="-22880"/>
            <a:ext cx="1580322" cy="1544397"/>
            <a:chOff x="9480376" y="2169250"/>
            <a:chExt cx="1580322" cy="1544397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F1BAC1CF-C9BB-2D4F-9500-7BB40CF84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D6299A57-6EF6-664C-BE40-A9AACB5631BD}"/>
                </a:ext>
              </a:extLst>
            </p:cNvPr>
            <p:cNvSpPr txBox="1"/>
            <p:nvPr/>
          </p:nvSpPr>
          <p:spPr>
            <a:xfrm>
              <a:off x="9480376" y="343664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d Blu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A917B2A9-4483-0C4E-B212-56D00A07DDEC}"/>
              </a:ext>
            </a:extLst>
          </p:cNvPr>
          <p:cNvGrpSpPr/>
          <p:nvPr userDrawn="1"/>
        </p:nvGrpSpPr>
        <p:grpSpPr>
          <a:xfrm>
            <a:off x="3001276" y="3313364"/>
            <a:ext cx="1580322" cy="1537449"/>
            <a:chOff x="5750970" y="3968750"/>
            <a:chExt cx="1580322" cy="1537449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CBA9383E-7B9F-B647-A0C8-4D320BE8F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AC9539E8-2107-DC4D-9FEA-ED7CB940FDF8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ivils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57A30889-B007-AD40-85E4-F6F17A1F1D52}"/>
              </a:ext>
            </a:extLst>
          </p:cNvPr>
          <p:cNvGrpSpPr/>
          <p:nvPr userDrawn="1"/>
        </p:nvGrpSpPr>
        <p:grpSpPr>
          <a:xfrm>
            <a:off x="5767441" y="3302734"/>
            <a:ext cx="1580322" cy="1722252"/>
            <a:chOff x="7667309" y="3968613"/>
            <a:chExt cx="1580322" cy="1722252"/>
          </a:xfrm>
        </p:grpSpPr>
        <p:pic>
          <p:nvPicPr>
            <p:cNvPr id="222" name="Picture 221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8D68CAAC-0F8A-3248-B6FC-B6C507489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73A02D73-85E4-D54E-B75C-5B46FFAF3D1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 </a:t>
              </a:r>
              <a:br>
                <a:rPr lang="en-US" sz="1200" dirty="0"/>
              </a:br>
              <a:r>
                <a:rPr lang="en-US" sz="1200" dirty="0"/>
                <a:t>Focu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C6939DA3-B198-C44D-A756-96A1E60EB82A}"/>
              </a:ext>
            </a:extLst>
          </p:cNvPr>
          <p:cNvGrpSpPr/>
          <p:nvPr userDrawn="1"/>
        </p:nvGrpSpPr>
        <p:grpSpPr>
          <a:xfrm>
            <a:off x="7141403" y="3313364"/>
            <a:ext cx="1580322" cy="1746998"/>
            <a:chOff x="5750970" y="2169250"/>
            <a:chExt cx="1580322" cy="1746998"/>
          </a:xfrm>
        </p:grpSpPr>
        <p:pic>
          <p:nvPicPr>
            <p:cNvPr id="225" name="Picture 224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4708964-CE3F-9D48-8BBA-2CFD73C8D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B23F0FC8-6B3E-0944-9F32-860C86EFC6FA}"/>
                </a:ext>
              </a:extLst>
            </p:cNvPr>
            <p:cNvSpPr txBox="1"/>
            <p:nvPr/>
          </p:nvSpPr>
          <p:spPr>
            <a:xfrm>
              <a:off x="5750970" y="345458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Containerised</a:t>
              </a:r>
              <a:r>
                <a:rPr lang="en-US" sz="1200" dirty="0"/>
                <a:t> Design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D8D3B16F-07A5-B944-A6E5-5DC37CA04E3C}"/>
              </a:ext>
            </a:extLst>
          </p:cNvPr>
          <p:cNvGrpSpPr/>
          <p:nvPr userDrawn="1"/>
        </p:nvGrpSpPr>
        <p:grpSpPr>
          <a:xfrm>
            <a:off x="4369981" y="-14955"/>
            <a:ext cx="1580322" cy="1537586"/>
            <a:chOff x="2063552" y="3968613"/>
            <a:chExt cx="1580322" cy="1537586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2788A875-5726-6B42-B1D9-4DAF20BCC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28B723FF-C4D0-5245-B84D-8D72732425F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gricultur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5EFF25D9-F93F-7148-9B95-038D2822567D}"/>
              </a:ext>
            </a:extLst>
          </p:cNvPr>
          <p:cNvGrpSpPr/>
          <p:nvPr userDrawn="1"/>
        </p:nvGrpSpPr>
        <p:grpSpPr>
          <a:xfrm>
            <a:off x="8541224" y="-26646"/>
            <a:ext cx="1580322" cy="1565539"/>
            <a:chOff x="7667309" y="405538"/>
            <a:chExt cx="1580322" cy="1565539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E4A0CF04-4EC5-814B-9421-725F8B1E1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2E0C3064-CD98-1B45-A64E-168C14E6084B}"/>
                </a:ext>
              </a:extLst>
            </p:cNvPr>
            <p:cNvSpPr txBox="1"/>
            <p:nvPr/>
          </p:nvSpPr>
          <p:spPr>
            <a:xfrm>
              <a:off x="7667309" y="169407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us Stop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A640E644-110F-8C49-9371-6D9238ABE916}"/>
              </a:ext>
            </a:extLst>
          </p:cNvPr>
          <p:cNvGrpSpPr/>
          <p:nvPr userDrawn="1"/>
        </p:nvGrpSpPr>
        <p:grpSpPr>
          <a:xfrm>
            <a:off x="9960528" y="3320360"/>
            <a:ext cx="1580322" cy="1740001"/>
            <a:chOff x="2063552" y="2169250"/>
            <a:chExt cx="1580322" cy="174000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838E1618-59F8-FD4E-A284-7D0B04246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3EB45999-6401-CD4F-A88E-21C4FB74114C}"/>
                </a:ext>
              </a:extLst>
            </p:cNvPr>
            <p:cNvSpPr txBox="1"/>
            <p:nvPr/>
          </p:nvSpPr>
          <p:spPr>
            <a:xfrm>
              <a:off x="2063552" y="344758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centration Less Than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211471AA-4E2C-6045-8300-C5AAE621AEE5}"/>
              </a:ext>
            </a:extLst>
          </p:cNvPr>
          <p:cNvGrpSpPr/>
          <p:nvPr userDrawn="1"/>
        </p:nvGrpSpPr>
        <p:grpSpPr>
          <a:xfrm>
            <a:off x="9954108" y="1742769"/>
            <a:ext cx="1580322" cy="1537449"/>
            <a:chOff x="367748" y="3968750"/>
            <a:chExt cx="1580322" cy="1537449"/>
          </a:xfrm>
        </p:grpSpPr>
        <p:pic>
          <p:nvPicPr>
            <p:cNvPr id="237" name="Picture 236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22C9C45-18CD-7A42-922D-4ED8DAE8A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5500F41A-2337-484C-8F87-3EFC5157C48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rols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5E2A23B-F9F0-2249-A919-88854DE225BB}"/>
              </a:ext>
            </a:extLst>
          </p:cNvPr>
          <p:cNvGrpSpPr/>
          <p:nvPr userDrawn="1"/>
        </p:nvGrpSpPr>
        <p:grpSpPr>
          <a:xfrm>
            <a:off x="9954108" y="-24119"/>
            <a:ext cx="1580322" cy="1566138"/>
            <a:chOff x="367748" y="2169250"/>
            <a:chExt cx="1580322" cy="1566138"/>
          </a:xfrm>
        </p:grpSpPr>
        <p:pic>
          <p:nvPicPr>
            <p:cNvPr id="240" name="Picture 23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7790CCC-4BC9-994E-B5EC-2E60C341C7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C9E76F3C-BBAC-5845-B4C8-74EA95D89503}"/>
                </a:ext>
              </a:extLst>
            </p:cNvPr>
            <p:cNvSpPr txBox="1"/>
            <p:nvPr/>
          </p:nvSpPr>
          <p:spPr>
            <a:xfrm>
              <a:off x="367748" y="345838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A93816-B89C-4948-9307-37A1BA81EE01}"/>
              </a:ext>
            </a:extLst>
          </p:cNvPr>
          <p:cNvGrpSpPr/>
          <p:nvPr userDrawn="1"/>
        </p:nvGrpSpPr>
        <p:grpSpPr>
          <a:xfrm>
            <a:off x="7143380" y="5092727"/>
            <a:ext cx="1580322" cy="1806074"/>
            <a:chOff x="3896140" y="3968613"/>
            <a:chExt cx="1580322" cy="1806074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AAF03E1D-6D2B-CC42-810D-332EBE69A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3968613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B280E7F6-3DD1-DB4C-A9D3-245B50D94576}"/>
                </a:ext>
              </a:extLst>
            </p:cNvPr>
            <p:cNvSpPr txBox="1"/>
            <p:nvPr/>
          </p:nvSpPr>
          <p:spPr>
            <a:xfrm>
              <a:off x="3896140" y="531302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uble </a:t>
              </a:r>
              <a:br>
                <a:rPr lang="en-US" sz="1200" dirty="0"/>
              </a:br>
              <a:r>
                <a:rPr lang="en-US" sz="1200" dirty="0"/>
                <a:t>Bunded Tank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1160E0BC-312B-5749-8E2C-788C647D52D7}"/>
              </a:ext>
            </a:extLst>
          </p:cNvPr>
          <p:cNvGrpSpPr/>
          <p:nvPr userDrawn="1"/>
        </p:nvGrpSpPr>
        <p:grpSpPr>
          <a:xfrm>
            <a:off x="8535621" y="5084886"/>
            <a:ext cx="1580322" cy="1608757"/>
            <a:chOff x="7667309" y="2169250"/>
            <a:chExt cx="1580322" cy="1608757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4BEA655A-CE87-DB47-A33B-39D7B43F0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0189D3BC-84F9-1C43-AF9C-F6C71B68E32C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sign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6C2E3B41-B23F-1140-B5DE-19AE0335E465}"/>
              </a:ext>
            </a:extLst>
          </p:cNvPr>
          <p:cNvGrpSpPr/>
          <p:nvPr userDrawn="1"/>
        </p:nvGrpSpPr>
        <p:grpSpPr>
          <a:xfrm>
            <a:off x="367748" y="5076640"/>
            <a:ext cx="1580322" cy="1608757"/>
            <a:chOff x="367748" y="2169250"/>
            <a:chExt cx="1580322" cy="1608757"/>
          </a:xfrm>
        </p:grpSpPr>
        <p:pic>
          <p:nvPicPr>
            <p:cNvPr id="249" name="Picture 24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9CD3CFDD-9B01-1944-90CC-690882E16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B77E6B8C-3EEE-4A4C-B119-88D10C831E79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3080C162-9ACA-9649-AAA4-E3919FA0CE94}"/>
              </a:ext>
            </a:extLst>
          </p:cNvPr>
          <p:cNvGrpSpPr/>
          <p:nvPr userDrawn="1"/>
        </p:nvGrpSpPr>
        <p:grpSpPr>
          <a:xfrm>
            <a:off x="2989227" y="5076640"/>
            <a:ext cx="1580322" cy="1608757"/>
            <a:chOff x="3896140" y="2169250"/>
            <a:chExt cx="1580322" cy="1608757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BA99FADF-C9C2-744B-ABD7-2E0E24957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D9DEAC2-E13E-DB45-A6EF-B3096BAF7954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mpsit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4E0500C9-7689-B441-9E80-8B1C10481232}"/>
              </a:ext>
            </a:extLst>
          </p:cNvPr>
          <p:cNvGrpSpPr/>
          <p:nvPr userDrawn="1"/>
        </p:nvGrpSpPr>
        <p:grpSpPr>
          <a:xfrm>
            <a:off x="1625854" y="5080465"/>
            <a:ext cx="1580322" cy="1587504"/>
            <a:chOff x="3896140" y="3968750"/>
            <a:chExt cx="1580322" cy="1587504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A390A808-7B12-DD4F-A3E1-6CDEFC9DF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14D3C6B5-5606-3A4D-A141-6F4FD65FCFB9}"/>
                </a:ext>
              </a:extLst>
            </p:cNvPr>
            <p:cNvSpPr txBox="1"/>
            <p:nvPr/>
          </p:nvSpPr>
          <p:spPr>
            <a:xfrm>
              <a:off x="3896140" y="527925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truction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340B1088-F5C2-A94E-B775-3FF347DFDE02}"/>
              </a:ext>
            </a:extLst>
          </p:cNvPr>
          <p:cNvGrpSpPr/>
          <p:nvPr userDrawn="1"/>
        </p:nvGrpSpPr>
        <p:grpSpPr>
          <a:xfrm>
            <a:off x="5771791" y="5084886"/>
            <a:ext cx="1580322" cy="1608757"/>
            <a:chOff x="367748" y="2169250"/>
            <a:chExt cx="1580322" cy="1608757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F3160-7693-B647-AAD3-A5F94A711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0B8FD068-3704-A245-A241-3C8A27766E0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 Service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739299A-FCC2-C040-95C6-C2EC211988EB}"/>
              </a:ext>
            </a:extLst>
          </p:cNvPr>
          <p:cNvGrpSpPr/>
          <p:nvPr userDrawn="1"/>
        </p:nvGrpSpPr>
        <p:grpSpPr>
          <a:xfrm>
            <a:off x="4380509" y="5076640"/>
            <a:ext cx="1580322" cy="1608757"/>
            <a:chOff x="367748" y="2169250"/>
            <a:chExt cx="1580322" cy="1608757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8A7E159B-B9AF-4149-A50F-9D2CE9CF7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C576CB03-2114-7D4E-B4F0-4283DF40847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acts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CEBABC10-0D3B-3E4B-9843-901E63CE1B78}"/>
              </a:ext>
            </a:extLst>
          </p:cNvPr>
          <p:cNvGrpSpPr/>
          <p:nvPr userDrawn="1"/>
        </p:nvGrpSpPr>
        <p:grpSpPr>
          <a:xfrm>
            <a:off x="9976412" y="5084886"/>
            <a:ext cx="1580322" cy="1793423"/>
            <a:chOff x="3896140" y="405538"/>
            <a:chExt cx="1580322" cy="179342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1038D68E-F995-FD46-BFDA-8976A03C1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D1593DD-E3EB-7144-8247-78BA446326BD}"/>
                </a:ext>
              </a:extLst>
            </p:cNvPr>
            <p:cNvSpPr txBox="1"/>
            <p:nvPr/>
          </p:nvSpPr>
          <p:spPr>
            <a:xfrm>
              <a:off x="3896140" y="173729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Water 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33037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8F8528-A255-6045-B279-EFF4A71A06DD}"/>
              </a:ext>
            </a:extLst>
          </p:cNvPr>
          <p:cNvSpPr/>
          <p:nvPr userDrawn="1"/>
        </p:nvSpPr>
        <p:spPr>
          <a:xfrm>
            <a:off x="10979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0414" y="2432441"/>
            <a:ext cx="899998" cy="439534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2E7FB9-B022-AB4A-BAC0-F149A0629C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0413" y="2992990"/>
            <a:ext cx="899998" cy="4395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00D63A-3C2D-3140-BC56-D1370DC4894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413" y="4298362"/>
            <a:ext cx="899998" cy="43953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9E988D2-9BC7-BB40-B379-300A8F82E87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989441" y="2434511"/>
            <a:ext cx="899998" cy="28294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AA5258F-A7C4-504C-A201-2E2E3883AF7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989441" y="2744742"/>
            <a:ext cx="899998" cy="28294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514FBC5-ECB4-6E4B-918D-248C86BC33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989441" y="3621350"/>
            <a:ext cx="899998" cy="33076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Logo Asset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EEEF11F-B58A-FD47-AD30-84622B7E652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60413" y="3550163"/>
            <a:ext cx="899999" cy="4395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E37C99C-700A-5A47-8187-38196CD7BE7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35774" y="2452612"/>
            <a:ext cx="2184530" cy="52921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B8D4501-51DF-8449-83DA-B5724F011D8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35774" y="4190510"/>
            <a:ext cx="1998598" cy="547386"/>
          </a:xfrm>
          <a:prstGeom prst="rect">
            <a:avLst/>
          </a:prstGeom>
        </p:spPr>
      </p:pic>
      <p:pic>
        <p:nvPicPr>
          <p:cNvPr id="17" name="Picture 16" descr="A close up of a sign&#10;&#10;Description automatically generated">
            <a:extLst>
              <a:ext uri="{FF2B5EF4-FFF2-40B4-BE49-F238E27FC236}">
                <a16:creationId xmlns:a16="http://schemas.microsoft.com/office/drawing/2014/main" id="{D60CCDB2-0EE1-6543-84A2-4D6FAFFC9AC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969676" y="3220067"/>
            <a:ext cx="899998" cy="2113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AD87397-2A55-3448-9CF3-31235031B11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335774" y="3621350"/>
            <a:ext cx="2254404" cy="43650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881D252-0CE7-8149-AA1C-F3C162BA8436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361028" y="3050202"/>
            <a:ext cx="2261893" cy="43795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32639EA-3281-6442-A50C-851F285B3942}"/>
              </a:ext>
            </a:extLst>
          </p:cNvPr>
          <p:cNvSpPr txBox="1"/>
          <p:nvPr userDrawn="1"/>
        </p:nvSpPr>
        <p:spPr>
          <a:xfrm>
            <a:off x="7045693" y="1474269"/>
            <a:ext cx="22619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access logos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a logo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logos can then be pasted onto a slide of your choosing.</a:t>
            </a:r>
          </a:p>
        </p:txBody>
      </p:sp>
    </p:spTree>
    <p:extLst>
      <p:ext uri="{BB962C8B-B14F-4D97-AF65-F5344CB8AC3E}">
        <p14:creationId xmlns:p14="http://schemas.microsoft.com/office/powerpoint/2010/main" val="1146285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pic>
        <p:nvPicPr>
          <p:cNvPr id="187" name="Picture 186" descr="A group of people in a dark room&#10;&#10;Description automatically generated">
            <a:extLst>
              <a:ext uri="{FF2B5EF4-FFF2-40B4-BE49-F238E27FC236}">
                <a16:creationId xmlns:a16="http://schemas.microsoft.com/office/drawing/2014/main" id="{84355E12-4DC3-A24D-A7D7-89987EA9EB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82411" y="0"/>
            <a:ext cx="10609589" cy="6858000"/>
          </a:xfrm>
          <a:prstGeom prst="rect">
            <a:avLst/>
          </a:prstGeom>
        </p:spPr>
      </p:pic>
      <p:sp>
        <p:nvSpPr>
          <p:cNvPr id="188" name="Content Placeholder 2">
            <a:extLst>
              <a:ext uri="{FF2B5EF4-FFF2-40B4-BE49-F238E27FC236}">
                <a16:creationId xmlns:a16="http://schemas.microsoft.com/office/drawing/2014/main" id="{FF714AA7-CEE4-5F47-99FA-AE15DDF9FB8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24782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map&#10;&#10;Description automatically generated">
            <a:extLst>
              <a:ext uri="{FF2B5EF4-FFF2-40B4-BE49-F238E27FC236}">
                <a16:creationId xmlns:a16="http://schemas.microsoft.com/office/drawing/2014/main" id="{BD34BBF7-F237-CC4A-B3CD-B5C10BA9F6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6745" y="777711"/>
            <a:ext cx="10624276" cy="608028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7"/>
            <a:ext cx="3474280" cy="56932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382AA75-066C-E34D-8A15-BDC2DC6EFA78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7B7C0F3-36A5-E140-BA93-E244746A71D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ubtitle 2">
            <a:extLst>
              <a:ext uri="{FF2B5EF4-FFF2-40B4-BE49-F238E27FC236}">
                <a16:creationId xmlns:a16="http://schemas.microsoft.com/office/drawing/2014/main" id="{2E36063C-C7D8-BF44-9A04-EDB7F61422AA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5BAECDA-3C87-BF41-AD8F-C04F616F40D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125538"/>
            <a:ext cx="10944225" cy="4954751"/>
          </a:xfrm>
          <a:prstGeom prst="rect">
            <a:avLst/>
          </a:prstGeom>
        </p:spPr>
        <p:txBody>
          <a:bodyPr lIns="0" tIns="0" rIns="0" bIns="0" numCol="3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nter Text Here, If Required</a:t>
            </a:r>
          </a:p>
        </p:txBody>
      </p:sp>
    </p:spTree>
    <p:extLst>
      <p:ext uri="{BB962C8B-B14F-4D97-AF65-F5344CB8AC3E}">
        <p14:creationId xmlns:p14="http://schemas.microsoft.com/office/powerpoint/2010/main" val="757378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World Map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0D7B03-0C58-0644-9EC7-D53C1D3087E4}"/>
              </a:ext>
            </a:extLst>
          </p:cNvPr>
          <p:cNvGrpSpPr/>
          <p:nvPr userDrawn="1"/>
        </p:nvGrpSpPr>
        <p:grpSpPr>
          <a:xfrm>
            <a:off x="1254681" y="1287006"/>
            <a:ext cx="9682637" cy="5156348"/>
            <a:chOff x="837718" y="2166032"/>
            <a:chExt cx="7093287" cy="3777427"/>
          </a:xfrm>
          <a:solidFill>
            <a:srgbClr val="09417A"/>
          </a:solidFill>
        </p:grpSpPr>
        <p:sp>
          <p:nvSpPr>
            <p:cNvPr id="6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DAF49FA4-B6FB-0F46-A0BA-21C9F57D1D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7718" y="2418601"/>
              <a:ext cx="990263" cy="467668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640446B4-3040-1D4B-840B-0E361CC5EE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72923" y="4820778"/>
              <a:ext cx="177968" cy="194284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01A6F51-C84B-9F47-9EC2-7970EFACE1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1736" y="4608454"/>
              <a:ext cx="268222" cy="281712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5AA18849-39FE-9B41-9D26-DBDF9DB3B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266" y="3838259"/>
              <a:ext cx="236443" cy="176243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D07A088-BF3A-0F44-AC89-393767370D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594016"/>
              <a:ext cx="193222" cy="180406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DD9D767A-7288-1348-84A7-DFED66876D8C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58018"/>
              <a:ext cx="13983" cy="33306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4A198BF-2931-E64C-805B-C2052042E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71" y="3090267"/>
              <a:ext cx="381360" cy="234528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3F5C7D8D-54BB-6146-8610-67E6A95F95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9211" y="3714749"/>
              <a:ext cx="195765" cy="419097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27D2E16E-A5D5-B24D-A2E3-A55D1BD5D3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2902" y="4032542"/>
              <a:ext cx="307630" cy="327507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BDD54B73-5DEE-864C-B0CA-377024D2AF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86029" y="2982023"/>
              <a:ext cx="1262300" cy="682768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2986076-BC4B-B947-B867-E7D21C467CD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2228" y="5232936"/>
              <a:ext cx="119493" cy="134611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62380EB0-BAB6-B54C-AC02-1A836BC10A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80120" y="2678108"/>
              <a:ext cx="185595" cy="290038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1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71DA14FD-819A-9346-80DF-9C39A7306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8946" y="3625934"/>
              <a:ext cx="108051" cy="112407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2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21ED622D-F845-4A49-B303-2D39675ADCB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3770" y="2901534"/>
              <a:ext cx="359749" cy="22065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4D19FE5E-7193-F34E-9986-9D11AFB391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8433" y="4260131"/>
              <a:ext cx="125848" cy="16236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F0D3446-BF62-3A4A-AFBA-4C01FAB82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996" y="3166593"/>
              <a:ext cx="325427" cy="212325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5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BB07076-388E-A34F-A6CC-09DDD04CF9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47499" y="3183246"/>
              <a:ext cx="428393" cy="17763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6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95C5FB4E-E02F-4648-A39E-B7564C1606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5038" y="3320631"/>
              <a:ext cx="87712" cy="19983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7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1671B8CE-94A9-1D4F-98F0-02BCD8AD49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5799" y="4064460"/>
              <a:ext cx="45763" cy="141549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9EA8586-F1DD-0147-8BEA-63245D8588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5142" y="3799402"/>
              <a:ext cx="199578" cy="417710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2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FA18E-509B-6F4E-B1F6-83832338418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7161" y="4407232"/>
              <a:ext cx="247883" cy="305303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619D18B-1B62-1C4A-AF21-FECBE870D2F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6237" y="3216551"/>
              <a:ext cx="177968" cy="123509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1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923B25CB-9D3E-3945-BBEE-20C381783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2011" y="3660628"/>
              <a:ext cx="38136" cy="9436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2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CEC19507-D2E4-3D46-B0B7-BD5DEBF24E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317856"/>
              <a:ext cx="144917" cy="14571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9D78D97-75EA-1742-BDB4-A9E6A56343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3025043"/>
              <a:ext cx="92797" cy="55510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4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026FE73A-891F-D144-B368-53D5C2C5B6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52581" y="2471335"/>
              <a:ext cx="223731" cy="348323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5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1F8F3C2-9E49-D547-BB98-83EDD700C9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416" y="5106653"/>
              <a:ext cx="33051" cy="47183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6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90AD4590-428C-7845-881F-AD9A60FF4E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397" y="4208785"/>
              <a:ext cx="94069" cy="117958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968A0D37-FD84-814B-B9F3-FC60D033BFB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2512" y="4106092"/>
              <a:ext cx="54661" cy="106856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8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3F5F92B-7E04-904F-A705-6A334CD194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25458" y="3138838"/>
              <a:ext cx="282206" cy="216487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3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6081DFCA-3607-5F4B-A84F-853A57D02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0300" y="4036705"/>
              <a:ext cx="230087" cy="38995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85663" y="4568210"/>
              <a:ext cx="119493" cy="122121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1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3B0B63E-08BE-024E-8D98-7EAE9C7725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5802" y="3048634"/>
              <a:ext cx="67373" cy="43020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2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F4BDB682-36AD-FF49-9375-C22F06C516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4447" y="2977860"/>
              <a:ext cx="115679" cy="51347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3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10CFEAE4-D597-064F-AA2C-04C7326E18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7068" y="4092214"/>
              <a:ext cx="67373" cy="9436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4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FF44D0B-D47E-0F4D-BE0D-80079287A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9694" y="3900706"/>
              <a:ext cx="134747" cy="129060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5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A848B51-A257-B141-A263-BE224F057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6315" y="3466344"/>
              <a:ext cx="477971" cy="448240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DE846F17-9F01-EF48-962A-D0A9F82C6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365" y="4407232"/>
              <a:ext cx="48306" cy="5134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7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372E6C68-F958-F445-8B73-E7939351B5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33963" y="2716965"/>
              <a:ext cx="97882" cy="421873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F42B9E93-C135-AE4A-A75B-415E4E29E0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17837" y="2196562"/>
              <a:ext cx="2916129" cy="1013050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ED648A8-9E07-0949-9E20-4C80C17ADD1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3013941"/>
              <a:ext cx="198307" cy="12906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B02953AA-348B-2F4E-BD82-9FC16DCE81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2420" y="3634260"/>
              <a:ext cx="21610" cy="4995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2DFD4982-A5B9-4E4F-8E73-67E0780CD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4345" y="3856299"/>
              <a:ext cx="44492" cy="2081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BEA959A1-E334-C94B-8EE0-1F52439F8E2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4018" y="3186021"/>
              <a:ext cx="73730" cy="144325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EFEBD36-86E7-2A46-B431-7A131B104F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9785" y="2834922"/>
              <a:ext cx="200849" cy="158202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4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D605A7B9-5938-034F-BA38-0471753AA7E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80570" y="3846585"/>
              <a:ext cx="230087" cy="42326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1BAB6D50-490A-6047-9A62-6C0F2F27253B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4765" y="4376702"/>
              <a:ext cx="302545" cy="52456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6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5C147906-B4DE-0A4C-B4E8-22D5959DAC6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7481" y="4923471"/>
              <a:ext cx="193222" cy="23869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19558" y="4430823"/>
              <a:ext cx="350851" cy="255344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8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5FEAE546-523E-AC42-A6B1-19CA1E780CA9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1713" y="4106092"/>
              <a:ext cx="130933" cy="680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50BCDF8-3135-5248-93F6-AE4B61D5D3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2168" y="3328958"/>
              <a:ext cx="338139" cy="370527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BCF68BDE-2130-F843-B4A7-1E94A1A95C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4213" y="3888217"/>
              <a:ext cx="30509" cy="22204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6BFC5A4-5C32-5749-9975-344F30D10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8014" y="3667566"/>
              <a:ext cx="174154" cy="237304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2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BB354FDB-0A58-9F46-9FC3-6BA252ED1BF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39445" y="2222930"/>
              <a:ext cx="438563" cy="52595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3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AB4B013-C271-2B47-9FB4-4E78AE94D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3173" y="3983971"/>
              <a:ext cx="269494" cy="2719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4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B3E8443-69F6-7041-AD17-3D1DC6B9C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969" y="3711974"/>
              <a:ext cx="357206" cy="331670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5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3DECCEF-2270-784E-BCAF-F10E57D8B3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3832" y="3957604"/>
              <a:ext cx="105509" cy="116570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21679" y="5350895"/>
              <a:ext cx="409326" cy="34554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BF31AF5-9264-CD44-86C0-EBDC749118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6297" y="2925126"/>
              <a:ext cx="137289" cy="134611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0A28748-E3AD-BD4A-85B0-B8D548584FB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8597" y="2872392"/>
              <a:ext cx="87712" cy="7355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9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E76FF854-0325-AE44-9D8C-AAB4FE65959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8019" y="3513528"/>
              <a:ext cx="189408" cy="11657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AE04FF1B-7800-154B-94D8-D2E361BBBA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5293" y="4858247"/>
              <a:ext cx="307630" cy="342772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811D5E9C-14A7-3A40-8667-0C42E33A39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5480" y="3569037"/>
              <a:ext cx="204663" cy="52734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2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25240E4B-B718-7F43-898D-8636267733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4789" y="4675065"/>
              <a:ext cx="246612" cy="47044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F7E9F73A-3DBC-3A43-B6D7-A4584C9A4D0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593" y="3360876"/>
              <a:ext cx="273307" cy="23314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4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176C0E46-7111-3D41-BC06-D17DC19DB77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2583" y="3143001"/>
              <a:ext cx="36864" cy="4718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5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D797893-1110-BE47-837C-5D9227211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89460" y="2905698"/>
              <a:ext cx="676278" cy="292813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FFF037F-C801-AE4A-A50B-D97EC55A8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96" y="3008390"/>
              <a:ext cx="69916" cy="8326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7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59AA8A-CB58-F746-8029-88751D885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0860" y="3452467"/>
              <a:ext cx="600006" cy="513464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8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E8824692-E2E0-5547-AD8D-0E5BD8CC3AA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17413" y="3351162"/>
              <a:ext cx="10170" cy="9715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9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2171320-371D-9B4B-A33C-220B752FE4E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0796" y="3606506"/>
              <a:ext cx="277121" cy="353874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0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5219B2B8-0AB4-874F-8AEB-AA738990DB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2492" y="3667566"/>
              <a:ext cx="373732" cy="42326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D08ED4CE-9296-2C4B-9BE4-04F85D2B35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9041" y="4186581"/>
              <a:ext cx="99153" cy="154040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990497EC-2119-3B4A-9C01-FCF50F5A68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0399" y="4168541"/>
              <a:ext cx="221189" cy="185957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2E37103F-4E40-6D49-A1C0-07C4AA1E7C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4535" y="4644535"/>
              <a:ext cx="75000" cy="22065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DE19BEA9-2759-8944-BD58-5E193AC6E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4452" y="4726412"/>
              <a:ext cx="191951" cy="383016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5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AF9052D-38A6-BB49-BC34-33F4416CB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346" y="3176306"/>
              <a:ext cx="53390" cy="44408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6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95E272BC-A097-824E-861A-D3A5637968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1987" y="2962594"/>
              <a:ext cx="16525" cy="1526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7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4BF7B08-758B-5042-9A32-DC5C0BD7D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9448" y="2790515"/>
              <a:ext cx="109323" cy="6938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8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3E7960AF-38D7-9E49-B1FD-EC0C15E6E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4445" y="3038921"/>
              <a:ext cx="5085" cy="8326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927E917-C6EC-1F4A-80D6-7E5988E20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3435814"/>
              <a:ext cx="354664" cy="38995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D28C5CB-C809-4F49-87FB-592C56054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0119" y="4133847"/>
              <a:ext cx="99153" cy="122121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2B34936F-976E-5945-8C5F-5214E9E139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3432" y="5189917"/>
              <a:ext cx="53390" cy="5689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14DE609C-CC3F-2D44-8380-22A8EC6CD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9959" y="3395569"/>
              <a:ext cx="34322" cy="55510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3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3CAFEBC2-E7F5-9849-B0D5-18B1C15F69E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905" y="2747495"/>
              <a:ext cx="137289" cy="6383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2EB0F508-E6AA-F04B-82F6-8E7C7F7D25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7261" y="3739729"/>
              <a:ext cx="193222" cy="244242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5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5995702-DA7F-4B41-BB2D-A3AD2E217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3101" y="3155491"/>
              <a:ext cx="216104" cy="10963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440E35C6-8F30-F14A-B7B1-6C286308BC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6911" y="3526017"/>
              <a:ext cx="44492" cy="43020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7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9FC9D387-1716-764D-A419-8571984317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19978" y="3285938"/>
              <a:ext cx="87712" cy="14987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1C36E996-9AD7-5745-A5D8-0FF94C28B5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46248" y="3162429"/>
              <a:ext cx="105509" cy="14710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9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10D2CB17-EB05-C64B-9880-8096F1E8A3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4244866"/>
              <a:ext cx="180510" cy="26783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7A27997-3D41-CA49-9CEA-857713EFB7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2819658"/>
              <a:ext cx="811025" cy="40938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4F29EEC-989F-7449-BDA9-F5E9B2181E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0129" y="3434426"/>
              <a:ext cx="90255" cy="117958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2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82F50A72-6FFD-8C4A-975D-2CF4DE9BDD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291" y="3856299"/>
              <a:ext cx="50848" cy="1804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3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504A868F-9630-B647-ABBE-0395C868D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69554" y="3090267"/>
              <a:ext cx="282206" cy="60089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63A4F46-4B32-FD4C-8313-C85B87DCBC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57242" y="3044472"/>
              <a:ext cx="250426" cy="292813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DFE9D0B4-0AEF-AE43-A484-16F8863A49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1060" y="3430263"/>
              <a:ext cx="33051" cy="112407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6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C40B0C6-ABA4-1E40-AF04-AD7D0F94F34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8001" y="2822433"/>
              <a:ext cx="90255" cy="104081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375E5BA3-5F93-5342-A775-E6524381F3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5129" y="3320631"/>
              <a:ext cx="221189" cy="231753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8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C269DEC-7FEA-AC4E-8BB1-4A1DB5957B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9198" y="3249857"/>
              <a:ext cx="463987" cy="414935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0989" y="4217111"/>
              <a:ext cx="1052552" cy="457954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A53D257F-B7C2-FB42-ACA9-5F81B765DD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36492" y="3356713"/>
              <a:ext cx="629243" cy="829868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1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BEEC59A-C859-5F41-A790-C40C37A32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3508" y="2532395"/>
              <a:ext cx="184323" cy="77713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0DE3950-C8D1-AC49-BB7F-8E7082EEA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4277" y="3005615"/>
              <a:ext cx="137289" cy="7771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3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CA5F6AD-6B1B-B847-B0A5-B10A62834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9509" y="3924298"/>
              <a:ext cx="143645" cy="8604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4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4BDD70F8-F59A-194D-ACA9-35B086EE3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1631" y="3814667"/>
              <a:ext cx="63560" cy="54122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5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4A896B05-7090-ED49-89FC-3C32DBB7D11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940" y="4214336"/>
              <a:ext cx="66102" cy="104081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6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E15ED31E-A063-F749-8C3E-9DBE6BF3C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1125" y="4138010"/>
              <a:ext cx="105509" cy="20538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7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D3C30FB3-8756-D646-8F89-F128731296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8423" y="4015889"/>
              <a:ext cx="59746" cy="55510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8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D9AF898F-AB32-0B4B-9B68-8490A53965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60" y="4018665"/>
              <a:ext cx="167798" cy="155427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19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E8CEF630-CD55-CC40-99C6-BFFFB89428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136" y="3870176"/>
              <a:ext cx="95339" cy="117958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54B9099-7E7B-7443-88B7-E3F47D0E83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14434" y="2166032"/>
              <a:ext cx="902551" cy="537056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1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6D8E5FEE-4A9D-2241-96D8-E5910411B1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7075" y="3194347"/>
              <a:ext cx="171611" cy="194284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2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360C1EA2-A8C0-0B40-B87A-ADA32B43BBA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2070" y="4063072"/>
              <a:ext cx="105509" cy="181794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3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F171FAA-1AC8-6F42-B558-1ADF7502645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7072" y="2832147"/>
              <a:ext cx="181781" cy="206774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A732323D-F9C5-3A42-A22B-D99008E03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1316" y="3143001"/>
              <a:ext cx="148730" cy="7355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5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9C03-4491-9541-8611-3DE2526D62B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254" y="3986746"/>
              <a:ext cx="68645" cy="1804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6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B29C833E-78A1-3144-AE83-3685EFDC460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7920" y="4308702"/>
              <a:ext cx="134747" cy="180406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7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09A6D4BC-0CBA-1944-B8B0-BDCB5890BE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25884" y="2932064"/>
              <a:ext cx="293646" cy="27616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8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8FD2806-F4C2-BC4E-A283-7F5C4220F76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7667" y="2447744"/>
              <a:ext cx="203392" cy="252569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29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0327DD2A-68B7-684E-801A-1DC19D1D10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55976" y="3956216"/>
              <a:ext cx="340681" cy="32473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0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A2F3B1DF-EAE0-E346-B3A5-B5E2E210F9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346" y="2708639"/>
              <a:ext cx="111865" cy="54122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1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832A0616-B6C3-3142-94E2-F09D320E1A0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7163" y="3866013"/>
              <a:ext cx="155086" cy="16097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2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DF39F4F-EF0F-B64E-A406-70972C8CB50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903" y="4311477"/>
              <a:ext cx="47034" cy="38857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2C386AC4-3C1B-4D46-9A48-A3DE9F884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627" y="3968706"/>
              <a:ext cx="54661" cy="38857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C2C610D7-DD19-B147-9A77-39DCEA31B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313" y="3480222"/>
              <a:ext cx="254240" cy="283099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5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83D85B79-4B7A-9E43-B64E-A1A34F9C8D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38579" y="4332294"/>
              <a:ext cx="133475" cy="18595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35656" y="4611229"/>
              <a:ext cx="80085" cy="41632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7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C7FD8FF-083B-954C-A87E-E6863FCFDD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292" y="3814667"/>
              <a:ext cx="80085" cy="58285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8A8F7F21-18B6-C644-B3EE-228B6966FA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469" y="4018665"/>
              <a:ext cx="38136" cy="4857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F3EFAEAB-F135-F64F-94D1-82860E49B7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91564" y="2759985"/>
              <a:ext cx="88984" cy="83264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0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64F99F6-EC3C-3C4F-8DCB-C18A2DFF4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0378" y="2937615"/>
              <a:ext cx="136018" cy="680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1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CE846B08-B010-8540-A687-A13636C35D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670" y="3367814"/>
              <a:ext cx="48306" cy="30530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2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8E4C-3A8A-5746-B003-F1639CC13B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195358" y="3718913"/>
              <a:ext cx="237714" cy="9575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3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2EF9A2D4-36FF-8A4F-B138-7E7AB60CEF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3429" y="3062512"/>
              <a:ext cx="118221" cy="97142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4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05D78167-1A54-1D4A-9E20-B34CCF8E6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0035" y="4074174"/>
              <a:ext cx="141103" cy="181794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68C0568-35DB-C14D-B883-EC35C27CCC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35611" y="4060297"/>
              <a:ext cx="77543" cy="80489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6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8C0F3DB1-61AF-A742-9925-ACD308B9E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0548" y="4225437"/>
              <a:ext cx="434750" cy="53428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7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7605DDEA-60BD-DA43-A460-2E1C06BD57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2581" y="4272621"/>
              <a:ext cx="172883" cy="245630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8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5D5A8D6-264B-0342-A508-322110CB9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84342" y="4024216"/>
              <a:ext cx="279664" cy="47322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49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4A195178-707F-EA44-BDFC-6A2541D8C3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10615" y="4877675"/>
              <a:ext cx="372461" cy="106578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0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0319B322-D9B9-6248-867F-8D18BC0BBC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9712" y="2866841"/>
              <a:ext cx="1179672" cy="99362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F1B21333-AFF9-6746-804A-62D7F335F93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5971" y="3711974"/>
              <a:ext cx="238985" cy="45379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19C86435-F022-D445-AD83-576A5B8DE2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28853" y="4067235"/>
              <a:ext cx="294918" cy="245630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3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A28E9468-5E2A-0B46-B3D7-9AB65F3B1D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3402" y="2174358"/>
              <a:ext cx="1796203" cy="1014438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4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9746559D-C56A-3D42-BFC1-A5ACDDE6DA8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5378" y="4004787"/>
              <a:ext cx="175425" cy="326119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5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1E4A2EF-BD0B-EA49-A6F0-BCE0C0822F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2262" y="3965931"/>
              <a:ext cx="122035" cy="117958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5676EECF-3CD9-2D4D-A1D5-75A25C96944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79" y="4447476"/>
              <a:ext cx="43221" cy="58285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4D0E7A1-E73C-6241-8945-207006017BD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72493" y="3952053"/>
              <a:ext cx="184323" cy="158202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057A09AC-6876-F149-AD03-92551D0D49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6482" y="3127736"/>
              <a:ext cx="127120" cy="7910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5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9EDD2BF4-A4D8-0149-9A23-EFBEB04C4A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05105" y="4228213"/>
              <a:ext cx="897466" cy="110741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0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0EDA2F90-F4C0-8940-A03F-04E3C4578A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0888" y="4881839"/>
              <a:ext cx="208477" cy="256732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DC5CDCDB-9496-E042-B45B-274B38A2E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2837" y="3095817"/>
              <a:ext cx="85170" cy="8326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2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549DBB26-4102-8A4C-9E36-6524310DD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13157" y="4652861"/>
              <a:ext cx="287291" cy="373302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3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CDDAA2D9-E8A5-194E-8995-3C233B4BF0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8869" y="3574588"/>
              <a:ext cx="75000" cy="47183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4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FA3774AE-27A4-244E-B083-A8EDCA0EF6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410" y="4026991"/>
              <a:ext cx="71187" cy="174855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B6ED8C5F-70A3-E946-912C-AF64DA3A8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5865" y="3853523"/>
              <a:ext cx="34322" cy="7493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E06E570C-12DE-7149-8DEA-961D105725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4783" y="2926513"/>
              <a:ext cx="72458" cy="54122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7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182CE3BD-C442-7F45-B9CA-6FDE5314C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8699" y="3625934"/>
              <a:ext cx="120763" cy="14987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C0D8E9D-97C9-5741-9090-340132988C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7753" y="2798841"/>
              <a:ext cx="183053" cy="130448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6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BC42B544-8F2D-0846-96C3-0D1B5E39E9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2250" y="3627322"/>
              <a:ext cx="8898" cy="1942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C3A1C4F4-DDDB-E64E-9F8C-5D4166505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4452" y="3190184"/>
              <a:ext cx="116950" cy="102693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7949E105-52FD-5046-A31F-9BC1F196A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9530" y="2993125"/>
              <a:ext cx="147459" cy="7077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94975" y="4679229"/>
              <a:ext cx="915263" cy="936725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3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55469E7-E7D1-3348-A69B-4D2A653C613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2673" y="3205449"/>
              <a:ext cx="71187" cy="7493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4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B3DEFFCF-AAB1-3642-91C5-DE4810571B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58921" y="4998409"/>
              <a:ext cx="352122" cy="859011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7521A6CE-6F98-0B44-99C1-A63D4DE0F1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65293" y="4498823"/>
              <a:ext cx="286019" cy="389955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CB02392A-E2CE-3148-85AE-BCEA1D57B99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9189" y="3170755"/>
              <a:ext cx="10170" cy="5551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7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74D75732-6B7B-B545-80F9-EE99846E28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6221" y="3324795"/>
              <a:ext cx="476699" cy="513464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8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28186DFD-64FA-474B-8D41-2F04044AE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5295" y="3170755"/>
              <a:ext cx="47034" cy="8604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AA1E7552-2310-4D44-AD53-799CC30727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70803" y="5006735"/>
              <a:ext cx="366105" cy="359425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0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977D33B-3CDB-3345-B37D-D72D2A34168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2930" y="3285938"/>
              <a:ext cx="292376" cy="25950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181" name="Group 340">
              <a:extLst>
                <a:ext uri="{FF2B5EF4-FFF2-40B4-BE49-F238E27FC236}">
                  <a16:creationId xmlns:a16="http://schemas.microsoft.com/office/drawing/2014/main" id="{C58EA603-7266-DE48-8A2A-92C7FADF26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07667" y="3072226"/>
              <a:ext cx="88984" cy="119346"/>
              <a:chOff x="2184" y="1242"/>
              <a:chExt cx="257" cy="316"/>
            </a:xfrm>
            <a:grpFill/>
          </p:grpSpPr>
          <p:sp>
            <p:nvSpPr>
              <p:cNvPr id="18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69AE035-7B4F-164B-A9A9-E7FD0AFED4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A648D03-405F-FB4A-9FD3-D4DDC98B11C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2" name="Freeform 8">
              <a:extLst>
                <a:ext uri="{FF2B5EF4-FFF2-40B4-BE49-F238E27FC236}">
                  <a16:creationId xmlns:a16="http://schemas.microsoft.com/office/drawing/2014/main" id="{FD68E863-4757-814A-8DFE-A41707FF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042" y="3717611"/>
              <a:ext cx="388418" cy="415994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9">
              <a:extLst>
                <a:ext uri="{FF2B5EF4-FFF2-40B4-BE49-F238E27FC236}">
                  <a16:creationId xmlns:a16="http://schemas.microsoft.com/office/drawing/2014/main" id="{8B0634EF-FC5F-C744-8278-7C6F7A41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011" y="4027375"/>
              <a:ext cx="279661" cy="255310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560D582-DEA8-E74C-B2B7-4A0667BA1F5A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709858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641BAD7-DC23-684C-B0FC-95B0CA9B9E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B908-19FE-6348-962E-3705503E16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Europe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CD78BE-D550-3246-8FEB-D416FAC204D3}"/>
              </a:ext>
            </a:extLst>
          </p:cNvPr>
          <p:cNvGrpSpPr/>
          <p:nvPr userDrawn="1"/>
        </p:nvGrpSpPr>
        <p:grpSpPr>
          <a:xfrm>
            <a:off x="5188350" y="889056"/>
            <a:ext cx="7003650" cy="5968944"/>
            <a:chOff x="2140350" y="889056"/>
            <a:chExt cx="7003650" cy="5968944"/>
          </a:xfrm>
          <a:solidFill>
            <a:srgbClr val="09417A"/>
          </a:solidFill>
        </p:grpSpPr>
        <p:sp>
          <p:nvSpPr>
            <p:cNvPr id="24" name="Schweiz" descr="© INSCALE GmbH, 05.05.2010&#10;http://www.presentationload.com/">
              <a:extLst>
                <a:ext uri="{FF2B5EF4-FFF2-40B4-BE49-F238E27FC236}">
                  <a16:creationId xmlns:a16="http://schemas.microsoft.com/office/drawing/2014/main" id="{0535A40E-70FD-D749-B162-DC04351056F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795" y="4950314"/>
              <a:ext cx="496724" cy="308596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Niederlande" descr="© INSCALE GmbH, 05.05.2010&#10;http://www.presentationload.com/">
              <a:extLst>
                <a:ext uri="{FF2B5EF4-FFF2-40B4-BE49-F238E27FC236}">
                  <a16:creationId xmlns:a16="http://schemas.microsoft.com/office/drawing/2014/main" id="{0DCA152D-5DDD-B948-BCED-F5B1025605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99514" y="4054230"/>
              <a:ext cx="401010" cy="420814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Belgien" descr="© INSCALE GmbH, 05.05.2010&#10;http://www.presentationload.com/">
              <a:extLst>
                <a:ext uri="{FF2B5EF4-FFF2-40B4-BE49-F238E27FC236}">
                  <a16:creationId xmlns:a16="http://schemas.microsoft.com/office/drawing/2014/main" id="{2172DDBA-DAA5-E949-A629-02FCD0C8C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8652" y="4354575"/>
              <a:ext cx="384507" cy="316847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Luxemburg" descr="© INSCALE GmbH, 05.05.2010&#10;http://www.presentationload.com/">
              <a:extLst>
                <a:ext uri="{FF2B5EF4-FFF2-40B4-BE49-F238E27FC236}">
                  <a16:creationId xmlns:a16="http://schemas.microsoft.com/office/drawing/2014/main" id="{78A776CD-D227-524B-ADEE-E471815288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5598" y="4570757"/>
              <a:ext cx="84162" cy="118817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Däne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C6F5416-35DB-0D4D-A2D2-08A7E76DCB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539" y="3400732"/>
              <a:ext cx="640296" cy="488473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Öster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285B4E3B-DD89-CA4E-81BB-B697A13BA9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1953" y="4758886"/>
              <a:ext cx="820172" cy="407611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Vereinigtes König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C9A0A0F0-FBC1-DF4A-8C0E-F29B4DB0CB3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20917" y="2849549"/>
              <a:ext cx="853178" cy="1597439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I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3F1B05C-8F35-D049-B939-DC4F4DDD4F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94169" y="3570708"/>
              <a:ext cx="486822" cy="552833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51C3C924-F01B-9441-898E-A9937FDC4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350" y="5564207"/>
              <a:ext cx="483523" cy="802020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Zypern" descr="© INSCALE GmbH, 05.05.2010&#10;http://www.presentationload.com/">
              <a:extLst>
                <a:ext uri="{FF2B5EF4-FFF2-40B4-BE49-F238E27FC236}">
                  <a16:creationId xmlns:a16="http://schemas.microsoft.com/office/drawing/2014/main" id="{B4366EEE-FEB3-8048-B035-64847330C6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0649" y="6377778"/>
              <a:ext cx="267340" cy="255788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Bosnien und Herzegowina" descr="© INSCALE GmbH, 05.05.2010&#10;http://www.presentationload.com/">
              <a:extLst>
                <a:ext uri="{FF2B5EF4-FFF2-40B4-BE49-F238E27FC236}">
                  <a16:creationId xmlns:a16="http://schemas.microsoft.com/office/drawing/2014/main" id="{B471F671-CFAF-FF41-AAF4-11A16BD358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5156" y="5323271"/>
              <a:ext cx="473621" cy="405961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Alb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57A54FD-ABAE-6B45-8616-11F2359A57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3924" y="5696227"/>
              <a:ext cx="240936" cy="457119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Mazedonien" descr="© INSCALE GmbH, 05.05.2010&#10;http://www.presentationload.com/">
              <a:extLst>
                <a:ext uri="{FF2B5EF4-FFF2-40B4-BE49-F238E27FC236}">
                  <a16:creationId xmlns:a16="http://schemas.microsoft.com/office/drawing/2014/main" id="{020BD5DB-52E3-E246-A72E-7B5EEE4E1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4095" y="5706128"/>
              <a:ext cx="301996" cy="250837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Norwegen" descr="© INSCALE GmbH, 05.05.2010&#10;http://www.presentationload.com/">
              <a:extLst>
                <a:ext uri="{FF2B5EF4-FFF2-40B4-BE49-F238E27FC236}">
                  <a16:creationId xmlns:a16="http://schemas.microsoft.com/office/drawing/2014/main" id="{629EDFA3-5E72-A84A-A5CA-5AA9A68875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85008" y="1263662"/>
              <a:ext cx="1648597" cy="2099114"/>
            </a:xfrm>
            <a:custGeom>
              <a:avLst/>
              <a:gdLst/>
              <a:ahLst/>
              <a:cxnLst>
                <a:cxn ang="0">
                  <a:pos x="626" y="61"/>
                </a:cxn>
                <a:cxn ang="0">
                  <a:pos x="605" y="40"/>
                </a:cxn>
                <a:cxn ang="0">
                  <a:pos x="586" y="22"/>
                </a:cxn>
                <a:cxn ang="0">
                  <a:pos x="547" y="55"/>
                </a:cxn>
                <a:cxn ang="0">
                  <a:pos x="532" y="46"/>
                </a:cxn>
                <a:cxn ang="0">
                  <a:pos x="465" y="77"/>
                </a:cxn>
                <a:cxn ang="0">
                  <a:pos x="445" y="116"/>
                </a:cxn>
                <a:cxn ang="0">
                  <a:pos x="410" y="132"/>
                </a:cxn>
                <a:cxn ang="0">
                  <a:pos x="380" y="181"/>
                </a:cxn>
                <a:cxn ang="0">
                  <a:pos x="374" y="209"/>
                </a:cxn>
                <a:cxn ang="0">
                  <a:pos x="330" y="227"/>
                </a:cxn>
                <a:cxn ang="0">
                  <a:pos x="331" y="254"/>
                </a:cxn>
                <a:cxn ang="0">
                  <a:pos x="331" y="290"/>
                </a:cxn>
                <a:cxn ang="0">
                  <a:pos x="275" y="339"/>
                </a:cxn>
                <a:cxn ang="0">
                  <a:pos x="261" y="381"/>
                </a:cxn>
                <a:cxn ang="0">
                  <a:pos x="252" y="428"/>
                </a:cxn>
                <a:cxn ang="0">
                  <a:pos x="198" y="471"/>
                </a:cxn>
                <a:cxn ang="0">
                  <a:pos x="224" y="509"/>
                </a:cxn>
                <a:cxn ang="0">
                  <a:pos x="141" y="534"/>
                </a:cxn>
                <a:cxn ang="0">
                  <a:pos x="122" y="571"/>
                </a:cxn>
                <a:cxn ang="0">
                  <a:pos x="96" y="584"/>
                </a:cxn>
                <a:cxn ang="0">
                  <a:pos x="69" y="595"/>
                </a:cxn>
                <a:cxn ang="0">
                  <a:pos x="26" y="611"/>
                </a:cxn>
                <a:cxn ang="0">
                  <a:pos x="23" y="650"/>
                </a:cxn>
                <a:cxn ang="0">
                  <a:pos x="83" y="675"/>
                </a:cxn>
                <a:cxn ang="0">
                  <a:pos x="74" y="678"/>
                </a:cxn>
                <a:cxn ang="0">
                  <a:pos x="38" y="704"/>
                </a:cxn>
                <a:cxn ang="0">
                  <a:pos x="55" y="723"/>
                </a:cxn>
                <a:cxn ang="0">
                  <a:pos x="42" y="766"/>
                </a:cxn>
                <a:cxn ang="0">
                  <a:pos x="26" y="785"/>
                </a:cxn>
                <a:cxn ang="0">
                  <a:pos x="34" y="813"/>
                </a:cxn>
                <a:cxn ang="0">
                  <a:pos x="65" y="873"/>
                </a:cxn>
                <a:cxn ang="0">
                  <a:pos x="182" y="789"/>
                </a:cxn>
                <a:cxn ang="0">
                  <a:pos x="230" y="815"/>
                </a:cxn>
                <a:cxn ang="0">
                  <a:pos x="305" y="482"/>
                </a:cxn>
                <a:cxn ang="0">
                  <a:pos x="443" y="205"/>
                </a:cxn>
                <a:cxn ang="0">
                  <a:pos x="595" y="78"/>
                </a:cxn>
                <a:cxn ang="0">
                  <a:pos x="18" y="803"/>
                </a:cxn>
                <a:cxn ang="0">
                  <a:pos x="10" y="767"/>
                </a:cxn>
                <a:cxn ang="0">
                  <a:pos x="14" y="743"/>
                </a:cxn>
                <a:cxn ang="0">
                  <a:pos x="10" y="711"/>
                </a:cxn>
                <a:cxn ang="0">
                  <a:pos x="8" y="699"/>
                </a:cxn>
                <a:cxn ang="0">
                  <a:pos x="7" y="680"/>
                </a:cxn>
                <a:cxn ang="0">
                  <a:pos x="15" y="632"/>
                </a:cxn>
                <a:cxn ang="0">
                  <a:pos x="44" y="600"/>
                </a:cxn>
                <a:cxn ang="0">
                  <a:pos x="58" y="582"/>
                </a:cxn>
                <a:cxn ang="0">
                  <a:pos x="106" y="551"/>
                </a:cxn>
                <a:cxn ang="0">
                  <a:pos x="123" y="537"/>
                </a:cxn>
                <a:cxn ang="0">
                  <a:pos x="162" y="515"/>
                </a:cxn>
                <a:cxn ang="0">
                  <a:pos x="259" y="367"/>
                </a:cxn>
                <a:cxn ang="0">
                  <a:pos x="264" y="359"/>
                </a:cxn>
                <a:cxn ang="0">
                  <a:pos x="301" y="294"/>
                </a:cxn>
                <a:cxn ang="0">
                  <a:pos x="351" y="208"/>
                </a:cxn>
                <a:cxn ang="0">
                  <a:pos x="296" y="220"/>
                </a:cxn>
                <a:cxn ang="0">
                  <a:pos x="362" y="187"/>
                </a:cxn>
                <a:cxn ang="0">
                  <a:pos x="322" y="218"/>
                </a:cxn>
                <a:cxn ang="0">
                  <a:pos x="320" y="183"/>
                </a:cxn>
                <a:cxn ang="0">
                  <a:pos x="367" y="152"/>
                </a:cxn>
                <a:cxn ang="0">
                  <a:pos x="411" y="97"/>
                </a:cxn>
                <a:cxn ang="0">
                  <a:pos x="407" y="97"/>
                </a:cxn>
                <a:cxn ang="0">
                  <a:pos x="492" y="40"/>
                </a:cxn>
                <a:cxn ang="0">
                  <a:pos x="514" y="56"/>
                </a:cxn>
                <a:cxn ang="0">
                  <a:pos x="538" y="19"/>
                </a:cxn>
              </a:cxnLst>
              <a:rect l="0" t="0" r="r" b="b"/>
              <a:pathLst>
                <a:path w="690" h="880">
                  <a:moveTo>
                    <a:pt x="685" y="71"/>
                  </a:moveTo>
                  <a:cubicBezTo>
                    <a:pt x="685" y="68"/>
                    <a:pt x="685" y="68"/>
                    <a:pt x="685" y="68"/>
                  </a:cubicBezTo>
                  <a:cubicBezTo>
                    <a:pt x="681" y="68"/>
                    <a:pt x="681" y="68"/>
                    <a:pt x="681" y="68"/>
                  </a:cubicBezTo>
                  <a:cubicBezTo>
                    <a:pt x="681" y="68"/>
                    <a:pt x="681" y="66"/>
                    <a:pt x="678" y="66"/>
                  </a:cubicBezTo>
                  <a:cubicBezTo>
                    <a:pt x="673" y="66"/>
                    <a:pt x="673" y="66"/>
                    <a:pt x="673" y="66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3" y="76"/>
                    <a:pt x="673" y="76"/>
                    <a:pt x="673" y="76"/>
                  </a:cubicBezTo>
                  <a:cubicBezTo>
                    <a:pt x="673" y="72"/>
                    <a:pt x="673" y="72"/>
                    <a:pt x="673" y="72"/>
                  </a:cubicBezTo>
                  <a:cubicBezTo>
                    <a:pt x="668" y="64"/>
                    <a:pt x="668" y="64"/>
                    <a:pt x="668" y="64"/>
                  </a:cubicBezTo>
                  <a:cubicBezTo>
                    <a:pt x="666" y="64"/>
                    <a:pt x="666" y="64"/>
                    <a:pt x="666" y="64"/>
                  </a:cubicBezTo>
                  <a:cubicBezTo>
                    <a:pt x="668" y="72"/>
                    <a:pt x="668" y="72"/>
                    <a:pt x="668" y="72"/>
                  </a:cubicBezTo>
                  <a:cubicBezTo>
                    <a:pt x="666" y="76"/>
                    <a:pt x="666" y="76"/>
                    <a:pt x="666" y="76"/>
                  </a:cubicBezTo>
                  <a:cubicBezTo>
                    <a:pt x="664" y="73"/>
                    <a:pt x="664" y="73"/>
                    <a:pt x="664" y="73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59" y="77"/>
                    <a:pt x="659" y="77"/>
                    <a:pt x="659" y="77"/>
                  </a:cubicBezTo>
                  <a:cubicBezTo>
                    <a:pt x="659" y="77"/>
                    <a:pt x="656" y="81"/>
                    <a:pt x="655" y="81"/>
                  </a:cubicBezTo>
                  <a:cubicBezTo>
                    <a:pt x="654" y="80"/>
                    <a:pt x="655" y="77"/>
                    <a:pt x="656" y="75"/>
                  </a:cubicBezTo>
                  <a:cubicBezTo>
                    <a:pt x="657" y="74"/>
                    <a:pt x="657" y="67"/>
                    <a:pt x="654" y="66"/>
                  </a:cubicBezTo>
                  <a:cubicBezTo>
                    <a:pt x="652" y="64"/>
                    <a:pt x="649" y="71"/>
                    <a:pt x="649" y="71"/>
                  </a:cubicBezTo>
                  <a:cubicBezTo>
                    <a:pt x="647" y="71"/>
                    <a:pt x="647" y="71"/>
                    <a:pt x="647" y="71"/>
                  </a:cubicBezTo>
                  <a:cubicBezTo>
                    <a:pt x="647" y="71"/>
                    <a:pt x="653" y="64"/>
                    <a:pt x="649" y="62"/>
                  </a:cubicBezTo>
                  <a:cubicBezTo>
                    <a:pt x="645" y="59"/>
                    <a:pt x="641" y="62"/>
                    <a:pt x="641" y="62"/>
                  </a:cubicBezTo>
                  <a:cubicBezTo>
                    <a:pt x="637" y="59"/>
                    <a:pt x="637" y="59"/>
                    <a:pt x="637" y="59"/>
                  </a:cubicBezTo>
                  <a:cubicBezTo>
                    <a:pt x="633" y="61"/>
                    <a:pt x="633" y="61"/>
                    <a:pt x="633" y="61"/>
                  </a:cubicBezTo>
                  <a:cubicBezTo>
                    <a:pt x="632" y="59"/>
                    <a:pt x="632" y="59"/>
                    <a:pt x="632" y="59"/>
                  </a:cubicBezTo>
                  <a:cubicBezTo>
                    <a:pt x="632" y="59"/>
                    <a:pt x="629" y="62"/>
                    <a:pt x="626" y="61"/>
                  </a:cubicBezTo>
                  <a:cubicBezTo>
                    <a:pt x="624" y="60"/>
                    <a:pt x="626" y="58"/>
                    <a:pt x="626" y="58"/>
                  </a:cubicBezTo>
                  <a:cubicBezTo>
                    <a:pt x="626" y="57"/>
                    <a:pt x="624" y="56"/>
                    <a:pt x="625" y="53"/>
                  </a:cubicBezTo>
                  <a:cubicBezTo>
                    <a:pt x="625" y="51"/>
                    <a:pt x="646" y="57"/>
                    <a:pt x="646" y="57"/>
                  </a:cubicBezTo>
                  <a:cubicBezTo>
                    <a:pt x="646" y="57"/>
                    <a:pt x="655" y="57"/>
                    <a:pt x="662" y="52"/>
                  </a:cubicBezTo>
                  <a:cubicBezTo>
                    <a:pt x="668" y="47"/>
                    <a:pt x="666" y="41"/>
                    <a:pt x="666" y="41"/>
                  </a:cubicBezTo>
                  <a:cubicBezTo>
                    <a:pt x="666" y="41"/>
                    <a:pt x="678" y="35"/>
                    <a:pt x="677" y="30"/>
                  </a:cubicBezTo>
                  <a:cubicBezTo>
                    <a:pt x="675" y="26"/>
                    <a:pt x="667" y="28"/>
                    <a:pt x="667" y="28"/>
                  </a:cubicBezTo>
                  <a:cubicBezTo>
                    <a:pt x="667" y="28"/>
                    <a:pt x="664" y="24"/>
                    <a:pt x="661" y="24"/>
                  </a:cubicBezTo>
                  <a:cubicBezTo>
                    <a:pt x="656" y="24"/>
                    <a:pt x="652" y="27"/>
                    <a:pt x="652" y="27"/>
                  </a:cubicBezTo>
                  <a:cubicBezTo>
                    <a:pt x="655" y="19"/>
                    <a:pt x="655" y="19"/>
                    <a:pt x="655" y="19"/>
                  </a:cubicBezTo>
                  <a:cubicBezTo>
                    <a:pt x="651" y="19"/>
                    <a:pt x="651" y="19"/>
                    <a:pt x="651" y="19"/>
                  </a:cubicBezTo>
                  <a:cubicBezTo>
                    <a:pt x="651" y="19"/>
                    <a:pt x="652" y="16"/>
                    <a:pt x="648" y="16"/>
                  </a:cubicBezTo>
                  <a:cubicBezTo>
                    <a:pt x="644" y="15"/>
                    <a:pt x="645" y="21"/>
                    <a:pt x="642" y="21"/>
                  </a:cubicBezTo>
                  <a:cubicBezTo>
                    <a:pt x="640" y="22"/>
                    <a:pt x="642" y="16"/>
                    <a:pt x="640" y="16"/>
                  </a:cubicBezTo>
                  <a:cubicBezTo>
                    <a:pt x="639" y="16"/>
                    <a:pt x="632" y="22"/>
                    <a:pt x="632" y="22"/>
                  </a:cubicBezTo>
                  <a:cubicBezTo>
                    <a:pt x="632" y="15"/>
                    <a:pt x="632" y="15"/>
                    <a:pt x="632" y="15"/>
                  </a:cubicBezTo>
                  <a:cubicBezTo>
                    <a:pt x="632" y="15"/>
                    <a:pt x="629" y="10"/>
                    <a:pt x="622" y="11"/>
                  </a:cubicBezTo>
                  <a:cubicBezTo>
                    <a:pt x="615" y="11"/>
                    <a:pt x="616" y="22"/>
                    <a:pt x="616" y="22"/>
                  </a:cubicBezTo>
                  <a:cubicBezTo>
                    <a:pt x="617" y="25"/>
                    <a:pt x="617" y="25"/>
                    <a:pt x="617" y="25"/>
                  </a:cubicBezTo>
                  <a:cubicBezTo>
                    <a:pt x="616" y="36"/>
                    <a:pt x="616" y="36"/>
                    <a:pt x="616" y="36"/>
                  </a:cubicBezTo>
                  <a:cubicBezTo>
                    <a:pt x="619" y="36"/>
                    <a:pt x="619" y="36"/>
                    <a:pt x="619" y="36"/>
                  </a:cubicBezTo>
                  <a:cubicBezTo>
                    <a:pt x="619" y="39"/>
                    <a:pt x="619" y="39"/>
                    <a:pt x="619" y="39"/>
                  </a:cubicBezTo>
                  <a:cubicBezTo>
                    <a:pt x="614" y="39"/>
                    <a:pt x="614" y="39"/>
                    <a:pt x="614" y="39"/>
                  </a:cubicBezTo>
                  <a:cubicBezTo>
                    <a:pt x="613" y="35"/>
                    <a:pt x="613" y="35"/>
                    <a:pt x="613" y="35"/>
                  </a:cubicBezTo>
                  <a:cubicBezTo>
                    <a:pt x="608" y="40"/>
                    <a:pt x="608" y="40"/>
                    <a:pt x="608" y="40"/>
                  </a:cubicBezTo>
                  <a:cubicBezTo>
                    <a:pt x="605" y="40"/>
                    <a:pt x="605" y="40"/>
                    <a:pt x="605" y="40"/>
                  </a:cubicBezTo>
                  <a:cubicBezTo>
                    <a:pt x="605" y="42"/>
                    <a:pt x="605" y="42"/>
                    <a:pt x="605" y="42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603" y="37"/>
                    <a:pt x="606" y="34"/>
                    <a:pt x="608" y="33"/>
                  </a:cubicBezTo>
                  <a:cubicBezTo>
                    <a:pt x="610" y="31"/>
                    <a:pt x="612" y="25"/>
                    <a:pt x="610" y="22"/>
                  </a:cubicBezTo>
                  <a:cubicBezTo>
                    <a:pt x="609" y="21"/>
                    <a:pt x="605" y="26"/>
                    <a:pt x="604" y="28"/>
                  </a:cubicBezTo>
                  <a:cubicBezTo>
                    <a:pt x="604" y="30"/>
                    <a:pt x="599" y="32"/>
                    <a:pt x="599" y="32"/>
                  </a:cubicBezTo>
                  <a:cubicBezTo>
                    <a:pt x="599" y="32"/>
                    <a:pt x="601" y="29"/>
                    <a:pt x="602" y="28"/>
                  </a:cubicBezTo>
                  <a:cubicBezTo>
                    <a:pt x="603" y="27"/>
                    <a:pt x="606" y="21"/>
                    <a:pt x="606" y="21"/>
                  </a:cubicBezTo>
                  <a:cubicBezTo>
                    <a:pt x="602" y="21"/>
                    <a:pt x="602" y="21"/>
                    <a:pt x="602" y="21"/>
                  </a:cubicBezTo>
                  <a:cubicBezTo>
                    <a:pt x="601" y="21"/>
                    <a:pt x="598" y="25"/>
                    <a:pt x="598" y="25"/>
                  </a:cubicBezTo>
                  <a:cubicBezTo>
                    <a:pt x="598" y="25"/>
                    <a:pt x="598" y="22"/>
                    <a:pt x="599" y="21"/>
                  </a:cubicBezTo>
                  <a:cubicBezTo>
                    <a:pt x="599" y="19"/>
                    <a:pt x="604" y="19"/>
                    <a:pt x="608" y="18"/>
                  </a:cubicBezTo>
                  <a:cubicBezTo>
                    <a:pt x="613" y="17"/>
                    <a:pt x="612" y="5"/>
                    <a:pt x="612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5"/>
                    <a:pt x="604" y="8"/>
                    <a:pt x="603" y="6"/>
                  </a:cubicBezTo>
                  <a:cubicBezTo>
                    <a:pt x="601" y="6"/>
                    <a:pt x="604" y="2"/>
                    <a:pt x="602" y="1"/>
                  </a:cubicBezTo>
                  <a:cubicBezTo>
                    <a:pt x="600" y="0"/>
                    <a:pt x="598" y="5"/>
                    <a:pt x="596" y="5"/>
                  </a:cubicBezTo>
                  <a:cubicBezTo>
                    <a:pt x="593" y="6"/>
                    <a:pt x="591" y="1"/>
                    <a:pt x="587" y="2"/>
                  </a:cubicBezTo>
                  <a:cubicBezTo>
                    <a:pt x="584" y="4"/>
                    <a:pt x="591" y="11"/>
                    <a:pt x="589" y="11"/>
                  </a:cubicBezTo>
                  <a:cubicBezTo>
                    <a:pt x="587" y="12"/>
                    <a:pt x="585" y="9"/>
                    <a:pt x="581" y="8"/>
                  </a:cubicBezTo>
                  <a:cubicBezTo>
                    <a:pt x="577" y="8"/>
                    <a:pt x="584" y="13"/>
                    <a:pt x="584" y="13"/>
                  </a:cubicBezTo>
                  <a:cubicBezTo>
                    <a:pt x="581" y="14"/>
                    <a:pt x="581" y="14"/>
                    <a:pt x="581" y="14"/>
                  </a:cubicBezTo>
                  <a:cubicBezTo>
                    <a:pt x="583" y="17"/>
                    <a:pt x="583" y="17"/>
                    <a:pt x="583" y="17"/>
                  </a:cubicBezTo>
                  <a:cubicBezTo>
                    <a:pt x="586" y="17"/>
                    <a:pt x="586" y="17"/>
                    <a:pt x="586" y="17"/>
                  </a:cubicBezTo>
                  <a:cubicBezTo>
                    <a:pt x="593" y="21"/>
                    <a:pt x="593" y="21"/>
                    <a:pt x="593" y="21"/>
                  </a:cubicBezTo>
                  <a:cubicBezTo>
                    <a:pt x="586" y="22"/>
                    <a:pt x="586" y="22"/>
                    <a:pt x="586" y="22"/>
                  </a:cubicBezTo>
                  <a:cubicBezTo>
                    <a:pt x="587" y="27"/>
                    <a:pt x="587" y="27"/>
                    <a:pt x="587" y="27"/>
                  </a:cubicBezTo>
                  <a:cubicBezTo>
                    <a:pt x="583" y="27"/>
                    <a:pt x="583" y="27"/>
                    <a:pt x="583" y="27"/>
                  </a:cubicBezTo>
                  <a:cubicBezTo>
                    <a:pt x="583" y="30"/>
                    <a:pt x="583" y="30"/>
                    <a:pt x="583" y="30"/>
                  </a:cubicBezTo>
                  <a:cubicBezTo>
                    <a:pt x="585" y="31"/>
                    <a:pt x="585" y="31"/>
                    <a:pt x="585" y="31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7" y="36"/>
                    <a:pt x="587" y="36"/>
                    <a:pt x="587" y="36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87" y="45"/>
                    <a:pt x="587" y="45"/>
                    <a:pt x="587" y="45"/>
                  </a:cubicBezTo>
                  <a:cubicBezTo>
                    <a:pt x="580" y="45"/>
                    <a:pt x="580" y="45"/>
                    <a:pt x="580" y="45"/>
                  </a:cubicBezTo>
                  <a:cubicBezTo>
                    <a:pt x="576" y="55"/>
                    <a:pt x="576" y="55"/>
                    <a:pt x="576" y="55"/>
                  </a:cubicBezTo>
                  <a:cubicBezTo>
                    <a:pt x="574" y="35"/>
                    <a:pt x="574" y="35"/>
                    <a:pt x="574" y="35"/>
                  </a:cubicBezTo>
                  <a:cubicBezTo>
                    <a:pt x="569" y="37"/>
                    <a:pt x="569" y="37"/>
                    <a:pt x="569" y="37"/>
                  </a:cubicBezTo>
                  <a:cubicBezTo>
                    <a:pt x="575" y="26"/>
                    <a:pt x="575" y="26"/>
                    <a:pt x="575" y="26"/>
                  </a:cubicBezTo>
                  <a:cubicBezTo>
                    <a:pt x="573" y="24"/>
                    <a:pt x="573" y="24"/>
                    <a:pt x="573" y="24"/>
                  </a:cubicBezTo>
                  <a:cubicBezTo>
                    <a:pt x="573" y="24"/>
                    <a:pt x="574" y="17"/>
                    <a:pt x="569" y="17"/>
                  </a:cubicBezTo>
                  <a:cubicBezTo>
                    <a:pt x="564" y="18"/>
                    <a:pt x="564" y="32"/>
                    <a:pt x="564" y="32"/>
                  </a:cubicBezTo>
                  <a:cubicBezTo>
                    <a:pt x="560" y="33"/>
                    <a:pt x="560" y="33"/>
                    <a:pt x="560" y="33"/>
                  </a:cubicBezTo>
                  <a:cubicBezTo>
                    <a:pt x="560" y="33"/>
                    <a:pt x="561" y="41"/>
                    <a:pt x="558" y="45"/>
                  </a:cubicBezTo>
                  <a:cubicBezTo>
                    <a:pt x="556" y="50"/>
                    <a:pt x="550" y="60"/>
                    <a:pt x="550" y="60"/>
                  </a:cubicBezTo>
                  <a:cubicBezTo>
                    <a:pt x="550" y="60"/>
                    <a:pt x="555" y="62"/>
                    <a:pt x="554" y="65"/>
                  </a:cubicBezTo>
                  <a:cubicBezTo>
                    <a:pt x="553" y="68"/>
                    <a:pt x="551" y="73"/>
                    <a:pt x="551" y="73"/>
                  </a:cubicBezTo>
                  <a:cubicBezTo>
                    <a:pt x="549" y="78"/>
                    <a:pt x="549" y="78"/>
                    <a:pt x="549" y="78"/>
                  </a:cubicBezTo>
                  <a:cubicBezTo>
                    <a:pt x="546" y="74"/>
                    <a:pt x="546" y="74"/>
                    <a:pt x="546" y="74"/>
                  </a:cubicBezTo>
                  <a:cubicBezTo>
                    <a:pt x="544" y="77"/>
                    <a:pt x="544" y="77"/>
                    <a:pt x="544" y="77"/>
                  </a:cubicBezTo>
                  <a:cubicBezTo>
                    <a:pt x="541" y="71"/>
                    <a:pt x="541" y="71"/>
                    <a:pt x="541" y="71"/>
                  </a:cubicBezTo>
                  <a:cubicBezTo>
                    <a:pt x="547" y="55"/>
                    <a:pt x="547" y="55"/>
                    <a:pt x="547" y="55"/>
                  </a:cubicBezTo>
                  <a:cubicBezTo>
                    <a:pt x="542" y="55"/>
                    <a:pt x="542" y="55"/>
                    <a:pt x="542" y="55"/>
                  </a:cubicBezTo>
                  <a:cubicBezTo>
                    <a:pt x="541" y="52"/>
                    <a:pt x="541" y="52"/>
                    <a:pt x="541" y="52"/>
                  </a:cubicBezTo>
                  <a:cubicBezTo>
                    <a:pt x="553" y="34"/>
                    <a:pt x="553" y="34"/>
                    <a:pt x="553" y="34"/>
                  </a:cubicBezTo>
                  <a:cubicBezTo>
                    <a:pt x="551" y="32"/>
                    <a:pt x="551" y="32"/>
                    <a:pt x="551" y="32"/>
                  </a:cubicBezTo>
                  <a:cubicBezTo>
                    <a:pt x="551" y="32"/>
                    <a:pt x="556" y="25"/>
                    <a:pt x="554" y="24"/>
                  </a:cubicBezTo>
                  <a:cubicBezTo>
                    <a:pt x="552" y="22"/>
                    <a:pt x="546" y="29"/>
                    <a:pt x="546" y="29"/>
                  </a:cubicBezTo>
                  <a:cubicBezTo>
                    <a:pt x="546" y="22"/>
                    <a:pt x="546" y="22"/>
                    <a:pt x="546" y="22"/>
                  </a:cubicBezTo>
                  <a:cubicBezTo>
                    <a:pt x="540" y="22"/>
                    <a:pt x="540" y="22"/>
                    <a:pt x="540" y="22"/>
                  </a:cubicBezTo>
                  <a:cubicBezTo>
                    <a:pt x="542" y="26"/>
                    <a:pt x="542" y="26"/>
                    <a:pt x="542" y="26"/>
                  </a:cubicBezTo>
                  <a:cubicBezTo>
                    <a:pt x="541" y="31"/>
                    <a:pt x="541" y="31"/>
                    <a:pt x="541" y="31"/>
                  </a:cubicBezTo>
                  <a:cubicBezTo>
                    <a:pt x="537" y="26"/>
                    <a:pt x="537" y="26"/>
                    <a:pt x="537" y="26"/>
                  </a:cubicBezTo>
                  <a:cubicBezTo>
                    <a:pt x="534" y="29"/>
                    <a:pt x="534" y="29"/>
                    <a:pt x="534" y="29"/>
                  </a:cubicBezTo>
                  <a:cubicBezTo>
                    <a:pt x="535" y="24"/>
                    <a:pt x="535" y="24"/>
                    <a:pt x="535" y="24"/>
                  </a:cubicBezTo>
                  <a:cubicBezTo>
                    <a:pt x="534" y="22"/>
                    <a:pt x="534" y="22"/>
                    <a:pt x="534" y="22"/>
                  </a:cubicBezTo>
                  <a:cubicBezTo>
                    <a:pt x="532" y="26"/>
                    <a:pt x="532" y="26"/>
                    <a:pt x="532" y="26"/>
                  </a:cubicBezTo>
                  <a:cubicBezTo>
                    <a:pt x="525" y="21"/>
                    <a:pt x="525" y="21"/>
                    <a:pt x="525" y="21"/>
                  </a:cubicBezTo>
                  <a:cubicBezTo>
                    <a:pt x="523" y="27"/>
                    <a:pt x="523" y="27"/>
                    <a:pt x="523" y="27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6" y="31"/>
                    <a:pt x="526" y="31"/>
                    <a:pt x="526" y="31"/>
                  </a:cubicBezTo>
                  <a:cubicBezTo>
                    <a:pt x="526" y="35"/>
                    <a:pt x="526" y="35"/>
                    <a:pt x="526" y="35"/>
                  </a:cubicBezTo>
                  <a:cubicBezTo>
                    <a:pt x="523" y="34"/>
                    <a:pt x="523" y="34"/>
                    <a:pt x="523" y="3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9"/>
                    <a:pt x="519" y="39"/>
                    <a:pt x="519" y="39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46"/>
                    <a:pt x="532" y="46"/>
                    <a:pt x="532" y="46"/>
                  </a:cubicBezTo>
                  <a:cubicBezTo>
                    <a:pt x="532" y="48"/>
                    <a:pt x="532" y="48"/>
                    <a:pt x="532" y="48"/>
                  </a:cubicBezTo>
                  <a:cubicBezTo>
                    <a:pt x="532" y="48"/>
                    <a:pt x="530" y="46"/>
                    <a:pt x="527" y="45"/>
                  </a:cubicBezTo>
                  <a:cubicBezTo>
                    <a:pt x="525" y="43"/>
                    <a:pt x="521" y="43"/>
                    <a:pt x="521" y="43"/>
                  </a:cubicBezTo>
                  <a:cubicBezTo>
                    <a:pt x="520" y="53"/>
                    <a:pt x="520" y="53"/>
                    <a:pt x="520" y="53"/>
                  </a:cubicBezTo>
                  <a:cubicBezTo>
                    <a:pt x="522" y="52"/>
                    <a:pt x="522" y="52"/>
                    <a:pt x="522" y="52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25" y="58"/>
                    <a:pt x="522" y="57"/>
                    <a:pt x="519" y="56"/>
                  </a:cubicBezTo>
                  <a:cubicBezTo>
                    <a:pt x="515" y="56"/>
                    <a:pt x="514" y="59"/>
                    <a:pt x="514" y="59"/>
                  </a:cubicBezTo>
                  <a:cubicBezTo>
                    <a:pt x="505" y="75"/>
                    <a:pt x="505" y="75"/>
                    <a:pt x="505" y="75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4" y="78"/>
                    <a:pt x="504" y="78"/>
                    <a:pt x="504" y="78"/>
                  </a:cubicBezTo>
                  <a:cubicBezTo>
                    <a:pt x="508" y="83"/>
                    <a:pt x="508" y="83"/>
                    <a:pt x="508" y="83"/>
                  </a:cubicBezTo>
                  <a:cubicBezTo>
                    <a:pt x="505" y="85"/>
                    <a:pt x="505" y="85"/>
                    <a:pt x="505" y="85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04" y="92"/>
                    <a:pt x="504" y="92"/>
                    <a:pt x="504" y="92"/>
                  </a:cubicBezTo>
                  <a:cubicBezTo>
                    <a:pt x="499" y="83"/>
                    <a:pt x="499" y="83"/>
                    <a:pt x="499" y="83"/>
                  </a:cubicBezTo>
                  <a:cubicBezTo>
                    <a:pt x="486" y="91"/>
                    <a:pt x="486" y="91"/>
                    <a:pt x="486" y="91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6" y="89"/>
                    <a:pt x="497" y="83"/>
                    <a:pt x="498" y="79"/>
                  </a:cubicBezTo>
                  <a:cubicBezTo>
                    <a:pt x="499" y="76"/>
                    <a:pt x="489" y="78"/>
                    <a:pt x="489" y="78"/>
                  </a:cubicBezTo>
                  <a:cubicBezTo>
                    <a:pt x="489" y="78"/>
                    <a:pt x="486" y="75"/>
                    <a:pt x="484" y="78"/>
                  </a:cubicBezTo>
                  <a:cubicBezTo>
                    <a:pt x="481" y="81"/>
                    <a:pt x="487" y="84"/>
                    <a:pt x="487" y="84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1" y="76"/>
                    <a:pt x="476" y="76"/>
                  </a:cubicBezTo>
                  <a:cubicBezTo>
                    <a:pt x="472" y="76"/>
                    <a:pt x="472" y="82"/>
                    <a:pt x="472" y="82"/>
                  </a:cubicBezTo>
                  <a:cubicBezTo>
                    <a:pt x="465" y="77"/>
                    <a:pt x="465" y="77"/>
                    <a:pt x="465" y="77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464" y="80"/>
                    <a:pt x="460" y="79"/>
                    <a:pt x="458" y="82"/>
                  </a:cubicBezTo>
                  <a:cubicBezTo>
                    <a:pt x="456" y="87"/>
                    <a:pt x="465" y="87"/>
                    <a:pt x="465" y="87"/>
                  </a:cubicBezTo>
                  <a:cubicBezTo>
                    <a:pt x="462" y="90"/>
                    <a:pt x="462" y="90"/>
                    <a:pt x="462" y="90"/>
                  </a:cubicBezTo>
                  <a:cubicBezTo>
                    <a:pt x="472" y="92"/>
                    <a:pt x="472" y="92"/>
                    <a:pt x="472" y="92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3" y="94"/>
                    <a:pt x="473" y="94"/>
                    <a:pt x="473" y="94"/>
                  </a:cubicBezTo>
                  <a:cubicBezTo>
                    <a:pt x="474" y="95"/>
                    <a:pt x="474" y="95"/>
                    <a:pt x="474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7"/>
                    <a:pt x="478" y="97"/>
                    <a:pt x="478" y="97"/>
                  </a:cubicBezTo>
                  <a:cubicBezTo>
                    <a:pt x="475" y="97"/>
                    <a:pt x="475" y="97"/>
                    <a:pt x="475" y="97"/>
                  </a:cubicBezTo>
                  <a:cubicBezTo>
                    <a:pt x="478" y="103"/>
                    <a:pt x="478" y="103"/>
                    <a:pt x="478" y="103"/>
                  </a:cubicBezTo>
                  <a:cubicBezTo>
                    <a:pt x="478" y="106"/>
                    <a:pt x="478" y="106"/>
                    <a:pt x="478" y="106"/>
                  </a:cubicBezTo>
                  <a:cubicBezTo>
                    <a:pt x="478" y="106"/>
                    <a:pt x="484" y="110"/>
                    <a:pt x="482" y="111"/>
                  </a:cubicBezTo>
                  <a:cubicBezTo>
                    <a:pt x="479" y="112"/>
                    <a:pt x="474" y="103"/>
                    <a:pt x="474" y="103"/>
                  </a:cubicBezTo>
                  <a:cubicBezTo>
                    <a:pt x="469" y="100"/>
                    <a:pt x="469" y="100"/>
                    <a:pt x="469" y="100"/>
                  </a:cubicBezTo>
                  <a:cubicBezTo>
                    <a:pt x="469" y="100"/>
                    <a:pt x="465" y="94"/>
                    <a:pt x="460" y="94"/>
                  </a:cubicBezTo>
                  <a:cubicBezTo>
                    <a:pt x="457" y="94"/>
                    <a:pt x="459" y="100"/>
                    <a:pt x="459" y="100"/>
                  </a:cubicBezTo>
                  <a:cubicBezTo>
                    <a:pt x="461" y="104"/>
                    <a:pt x="461" y="104"/>
                    <a:pt x="461" y="104"/>
                  </a:cubicBezTo>
                  <a:cubicBezTo>
                    <a:pt x="458" y="106"/>
                    <a:pt x="458" y="106"/>
                    <a:pt x="458" y="106"/>
                  </a:cubicBezTo>
                  <a:cubicBezTo>
                    <a:pt x="456" y="111"/>
                    <a:pt x="456" y="111"/>
                    <a:pt x="456" y="111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57" y="102"/>
                    <a:pt x="457" y="102"/>
                    <a:pt x="457" y="102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1" y="106"/>
                    <a:pt x="451" y="106"/>
                    <a:pt x="451" y="106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448" y="124"/>
                    <a:pt x="448" y="124"/>
                    <a:pt x="448" y="124"/>
                  </a:cubicBezTo>
                  <a:cubicBezTo>
                    <a:pt x="452" y="129"/>
                    <a:pt x="452" y="129"/>
                    <a:pt x="452" y="129"/>
                  </a:cubicBezTo>
                  <a:cubicBezTo>
                    <a:pt x="444" y="126"/>
                    <a:pt x="444" y="126"/>
                    <a:pt x="444" y="126"/>
                  </a:cubicBezTo>
                  <a:cubicBezTo>
                    <a:pt x="442" y="140"/>
                    <a:pt x="442" y="140"/>
                    <a:pt x="442" y="140"/>
                  </a:cubicBezTo>
                  <a:cubicBezTo>
                    <a:pt x="440" y="140"/>
                    <a:pt x="440" y="140"/>
                    <a:pt x="440" y="140"/>
                  </a:cubicBezTo>
                  <a:cubicBezTo>
                    <a:pt x="436" y="147"/>
                    <a:pt x="436" y="147"/>
                    <a:pt x="436" y="147"/>
                  </a:cubicBezTo>
                  <a:cubicBezTo>
                    <a:pt x="434" y="144"/>
                    <a:pt x="434" y="144"/>
                    <a:pt x="434" y="144"/>
                  </a:cubicBezTo>
                  <a:cubicBezTo>
                    <a:pt x="439" y="138"/>
                    <a:pt x="439" y="138"/>
                    <a:pt x="439" y="138"/>
                  </a:cubicBezTo>
                  <a:cubicBezTo>
                    <a:pt x="441" y="129"/>
                    <a:pt x="441" y="129"/>
                    <a:pt x="441" y="129"/>
                  </a:cubicBezTo>
                  <a:cubicBezTo>
                    <a:pt x="440" y="128"/>
                    <a:pt x="440" y="128"/>
                    <a:pt x="440" y="128"/>
                  </a:cubicBezTo>
                  <a:cubicBezTo>
                    <a:pt x="443" y="125"/>
                    <a:pt x="443" y="125"/>
                    <a:pt x="443" y="125"/>
                  </a:cubicBezTo>
                  <a:cubicBezTo>
                    <a:pt x="441" y="120"/>
                    <a:pt x="441" y="120"/>
                    <a:pt x="441" y="120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09"/>
                    <a:pt x="439" y="102"/>
                    <a:pt x="439" y="102"/>
                  </a:cubicBezTo>
                  <a:cubicBezTo>
                    <a:pt x="434" y="106"/>
                    <a:pt x="434" y="106"/>
                    <a:pt x="434" y="106"/>
                  </a:cubicBezTo>
                  <a:cubicBezTo>
                    <a:pt x="434" y="106"/>
                    <a:pt x="435" y="112"/>
                    <a:pt x="432" y="115"/>
                  </a:cubicBezTo>
                  <a:cubicBezTo>
                    <a:pt x="428" y="118"/>
                    <a:pt x="431" y="124"/>
                    <a:pt x="431" y="124"/>
                  </a:cubicBezTo>
                  <a:cubicBezTo>
                    <a:pt x="434" y="126"/>
                    <a:pt x="434" y="126"/>
                    <a:pt x="434" y="126"/>
                  </a:cubicBezTo>
                  <a:cubicBezTo>
                    <a:pt x="429" y="128"/>
                    <a:pt x="429" y="128"/>
                    <a:pt x="429" y="128"/>
                  </a:cubicBezTo>
                  <a:cubicBezTo>
                    <a:pt x="429" y="137"/>
                    <a:pt x="429" y="137"/>
                    <a:pt x="429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7" y="124"/>
                    <a:pt x="427" y="124"/>
                    <a:pt x="427" y="124"/>
                  </a:cubicBezTo>
                  <a:cubicBezTo>
                    <a:pt x="426" y="124"/>
                    <a:pt x="426" y="124"/>
                    <a:pt x="426" y="124"/>
                  </a:cubicBezTo>
                  <a:cubicBezTo>
                    <a:pt x="426" y="113"/>
                    <a:pt x="426" y="113"/>
                    <a:pt x="426" y="113"/>
                  </a:cubicBezTo>
                  <a:cubicBezTo>
                    <a:pt x="426" y="113"/>
                    <a:pt x="421" y="115"/>
                    <a:pt x="413" y="119"/>
                  </a:cubicBezTo>
                  <a:cubicBezTo>
                    <a:pt x="405" y="121"/>
                    <a:pt x="410" y="132"/>
                    <a:pt x="410" y="132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3" y="132"/>
                    <a:pt x="413" y="134"/>
                    <a:pt x="412" y="137"/>
                  </a:cubicBezTo>
                  <a:cubicBezTo>
                    <a:pt x="411" y="139"/>
                    <a:pt x="416" y="142"/>
                    <a:pt x="420" y="142"/>
                  </a:cubicBezTo>
                  <a:cubicBezTo>
                    <a:pt x="424" y="143"/>
                    <a:pt x="424" y="150"/>
                    <a:pt x="424" y="150"/>
                  </a:cubicBezTo>
                  <a:cubicBezTo>
                    <a:pt x="427" y="151"/>
                    <a:pt x="427" y="151"/>
                    <a:pt x="427" y="151"/>
                  </a:cubicBezTo>
                  <a:cubicBezTo>
                    <a:pt x="425" y="152"/>
                    <a:pt x="425" y="152"/>
                    <a:pt x="425" y="152"/>
                  </a:cubicBezTo>
                  <a:cubicBezTo>
                    <a:pt x="425" y="152"/>
                    <a:pt x="421" y="150"/>
                    <a:pt x="421" y="147"/>
                  </a:cubicBezTo>
                  <a:cubicBezTo>
                    <a:pt x="421" y="144"/>
                    <a:pt x="416" y="144"/>
                    <a:pt x="412" y="143"/>
                  </a:cubicBezTo>
                  <a:cubicBezTo>
                    <a:pt x="410" y="143"/>
                    <a:pt x="407" y="134"/>
                    <a:pt x="407" y="134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9" y="136"/>
                    <a:pt x="400" y="140"/>
                    <a:pt x="402" y="143"/>
                  </a:cubicBezTo>
                  <a:cubicBezTo>
                    <a:pt x="405" y="146"/>
                    <a:pt x="409" y="147"/>
                    <a:pt x="409" y="147"/>
                  </a:cubicBezTo>
                  <a:cubicBezTo>
                    <a:pt x="409" y="147"/>
                    <a:pt x="405" y="148"/>
                    <a:pt x="402" y="146"/>
                  </a:cubicBezTo>
                  <a:cubicBezTo>
                    <a:pt x="399" y="145"/>
                    <a:pt x="394" y="138"/>
                    <a:pt x="394" y="138"/>
                  </a:cubicBezTo>
                  <a:cubicBezTo>
                    <a:pt x="390" y="139"/>
                    <a:pt x="390" y="139"/>
                    <a:pt x="390" y="139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92" y="159"/>
                    <a:pt x="392" y="159"/>
                    <a:pt x="392" y="159"/>
                  </a:cubicBezTo>
                  <a:cubicBezTo>
                    <a:pt x="380" y="160"/>
                    <a:pt x="380" y="160"/>
                    <a:pt x="380" y="160"/>
                  </a:cubicBezTo>
                  <a:cubicBezTo>
                    <a:pt x="384" y="165"/>
                    <a:pt x="384" y="165"/>
                    <a:pt x="384" y="165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84" y="174"/>
                    <a:pt x="384" y="174"/>
                    <a:pt x="384" y="174"/>
                  </a:cubicBezTo>
                  <a:cubicBezTo>
                    <a:pt x="387" y="176"/>
                    <a:pt x="387" y="176"/>
                    <a:pt x="387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0" y="181"/>
                    <a:pt x="380" y="181"/>
                    <a:pt x="380" y="181"/>
                  </a:cubicBezTo>
                  <a:cubicBezTo>
                    <a:pt x="385" y="183"/>
                    <a:pt x="385" y="183"/>
                    <a:pt x="385" y="183"/>
                  </a:cubicBezTo>
                  <a:cubicBezTo>
                    <a:pt x="377" y="183"/>
                    <a:pt x="377" y="183"/>
                    <a:pt x="377" y="183"/>
                  </a:cubicBezTo>
                  <a:cubicBezTo>
                    <a:pt x="371" y="184"/>
                    <a:pt x="377" y="187"/>
                    <a:pt x="377" y="187"/>
                  </a:cubicBezTo>
                  <a:cubicBezTo>
                    <a:pt x="382" y="189"/>
                    <a:pt x="382" y="189"/>
                    <a:pt x="382" y="189"/>
                  </a:cubicBezTo>
                  <a:cubicBezTo>
                    <a:pt x="382" y="189"/>
                    <a:pt x="375" y="187"/>
                    <a:pt x="372" y="188"/>
                  </a:cubicBezTo>
                  <a:cubicBezTo>
                    <a:pt x="370" y="188"/>
                    <a:pt x="371" y="190"/>
                    <a:pt x="371" y="190"/>
                  </a:cubicBezTo>
                  <a:cubicBezTo>
                    <a:pt x="375" y="191"/>
                    <a:pt x="375" y="191"/>
                    <a:pt x="375" y="191"/>
                  </a:cubicBezTo>
                  <a:cubicBezTo>
                    <a:pt x="374" y="195"/>
                    <a:pt x="374" y="195"/>
                    <a:pt x="374" y="195"/>
                  </a:cubicBezTo>
                  <a:cubicBezTo>
                    <a:pt x="374" y="192"/>
                    <a:pt x="374" y="192"/>
                    <a:pt x="374" y="192"/>
                  </a:cubicBezTo>
                  <a:cubicBezTo>
                    <a:pt x="370" y="191"/>
                    <a:pt x="370" y="191"/>
                    <a:pt x="370" y="191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91"/>
                    <a:pt x="367" y="191"/>
                    <a:pt x="367" y="191"/>
                  </a:cubicBezTo>
                  <a:cubicBezTo>
                    <a:pt x="367" y="191"/>
                    <a:pt x="366" y="192"/>
                    <a:pt x="361" y="192"/>
                  </a:cubicBezTo>
                  <a:cubicBezTo>
                    <a:pt x="357" y="192"/>
                    <a:pt x="357" y="200"/>
                    <a:pt x="357" y="200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68" y="203"/>
                    <a:pt x="369" y="205"/>
                    <a:pt x="372" y="205"/>
                  </a:cubicBezTo>
                  <a:cubicBezTo>
                    <a:pt x="375" y="205"/>
                    <a:pt x="382" y="199"/>
                    <a:pt x="382" y="199"/>
                  </a:cubicBezTo>
                  <a:cubicBezTo>
                    <a:pt x="380" y="203"/>
                    <a:pt x="380" y="203"/>
                    <a:pt x="380" y="203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76" y="207"/>
                    <a:pt x="376" y="207"/>
                    <a:pt x="376" y="207"/>
                  </a:cubicBezTo>
                  <a:cubicBezTo>
                    <a:pt x="376" y="213"/>
                    <a:pt x="376" y="213"/>
                    <a:pt x="376" y="213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4" y="209"/>
                    <a:pt x="374" y="209"/>
                    <a:pt x="374" y="209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211"/>
                    <a:pt x="364" y="208"/>
                    <a:pt x="361" y="208"/>
                  </a:cubicBezTo>
                  <a:cubicBezTo>
                    <a:pt x="358" y="207"/>
                    <a:pt x="353" y="209"/>
                    <a:pt x="351" y="213"/>
                  </a:cubicBezTo>
                  <a:cubicBezTo>
                    <a:pt x="348" y="215"/>
                    <a:pt x="355" y="215"/>
                    <a:pt x="358" y="216"/>
                  </a:cubicBezTo>
                  <a:cubicBezTo>
                    <a:pt x="362" y="217"/>
                    <a:pt x="361" y="221"/>
                    <a:pt x="361" y="221"/>
                  </a:cubicBezTo>
                  <a:cubicBezTo>
                    <a:pt x="364" y="223"/>
                    <a:pt x="364" y="223"/>
                    <a:pt x="364" y="223"/>
                  </a:cubicBezTo>
                  <a:cubicBezTo>
                    <a:pt x="363" y="224"/>
                    <a:pt x="363" y="224"/>
                    <a:pt x="363" y="224"/>
                  </a:cubicBezTo>
                  <a:cubicBezTo>
                    <a:pt x="363" y="224"/>
                    <a:pt x="359" y="221"/>
                    <a:pt x="357" y="219"/>
                  </a:cubicBezTo>
                  <a:cubicBezTo>
                    <a:pt x="355" y="217"/>
                    <a:pt x="348" y="216"/>
                    <a:pt x="348" y="216"/>
                  </a:cubicBezTo>
                  <a:cubicBezTo>
                    <a:pt x="347" y="218"/>
                    <a:pt x="347" y="218"/>
                    <a:pt x="347" y="218"/>
                  </a:cubicBezTo>
                  <a:cubicBezTo>
                    <a:pt x="353" y="219"/>
                    <a:pt x="353" y="219"/>
                    <a:pt x="353" y="219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52" y="223"/>
                    <a:pt x="352" y="223"/>
                    <a:pt x="352" y="223"/>
                  </a:cubicBezTo>
                  <a:cubicBezTo>
                    <a:pt x="355" y="222"/>
                    <a:pt x="355" y="222"/>
                    <a:pt x="355" y="222"/>
                  </a:cubicBezTo>
                  <a:cubicBezTo>
                    <a:pt x="358" y="223"/>
                    <a:pt x="358" y="223"/>
                    <a:pt x="358" y="223"/>
                  </a:cubicBezTo>
                  <a:cubicBezTo>
                    <a:pt x="351" y="226"/>
                    <a:pt x="351" y="226"/>
                    <a:pt x="351" y="226"/>
                  </a:cubicBezTo>
                  <a:cubicBezTo>
                    <a:pt x="352" y="230"/>
                    <a:pt x="352" y="230"/>
                    <a:pt x="352" y="230"/>
                  </a:cubicBezTo>
                  <a:cubicBezTo>
                    <a:pt x="352" y="230"/>
                    <a:pt x="354" y="229"/>
                    <a:pt x="356" y="231"/>
                  </a:cubicBezTo>
                  <a:cubicBezTo>
                    <a:pt x="357" y="233"/>
                    <a:pt x="352" y="236"/>
                    <a:pt x="348" y="235"/>
                  </a:cubicBezTo>
                  <a:cubicBezTo>
                    <a:pt x="345" y="233"/>
                    <a:pt x="346" y="221"/>
                    <a:pt x="346" y="221"/>
                  </a:cubicBezTo>
                  <a:cubicBezTo>
                    <a:pt x="343" y="221"/>
                    <a:pt x="343" y="221"/>
                    <a:pt x="343" y="221"/>
                  </a:cubicBezTo>
                  <a:cubicBezTo>
                    <a:pt x="338" y="230"/>
                    <a:pt x="338" y="230"/>
                    <a:pt x="338" y="230"/>
                  </a:cubicBezTo>
                  <a:cubicBezTo>
                    <a:pt x="337" y="224"/>
                    <a:pt x="337" y="224"/>
                    <a:pt x="337" y="224"/>
                  </a:cubicBezTo>
                  <a:cubicBezTo>
                    <a:pt x="335" y="224"/>
                    <a:pt x="335" y="224"/>
                    <a:pt x="335" y="224"/>
                  </a:cubicBezTo>
                  <a:cubicBezTo>
                    <a:pt x="334" y="229"/>
                    <a:pt x="334" y="229"/>
                    <a:pt x="334" y="229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27" y="235"/>
                    <a:pt x="327" y="235"/>
                    <a:pt x="327" y="235"/>
                  </a:cubicBezTo>
                  <a:cubicBezTo>
                    <a:pt x="329" y="238"/>
                    <a:pt x="329" y="238"/>
                    <a:pt x="329" y="238"/>
                  </a:cubicBezTo>
                  <a:cubicBezTo>
                    <a:pt x="331" y="237"/>
                    <a:pt x="331" y="237"/>
                    <a:pt x="331" y="237"/>
                  </a:cubicBezTo>
                  <a:cubicBezTo>
                    <a:pt x="331" y="234"/>
                    <a:pt x="331" y="234"/>
                    <a:pt x="331" y="234"/>
                  </a:cubicBezTo>
                  <a:cubicBezTo>
                    <a:pt x="335" y="232"/>
                    <a:pt x="335" y="232"/>
                    <a:pt x="335" y="232"/>
                  </a:cubicBezTo>
                  <a:cubicBezTo>
                    <a:pt x="337" y="234"/>
                    <a:pt x="337" y="234"/>
                    <a:pt x="337" y="234"/>
                  </a:cubicBezTo>
                  <a:cubicBezTo>
                    <a:pt x="333" y="237"/>
                    <a:pt x="333" y="237"/>
                    <a:pt x="333" y="237"/>
                  </a:cubicBezTo>
                  <a:cubicBezTo>
                    <a:pt x="335" y="238"/>
                    <a:pt x="335" y="238"/>
                    <a:pt x="335" y="238"/>
                  </a:cubicBezTo>
                  <a:cubicBezTo>
                    <a:pt x="335" y="238"/>
                    <a:pt x="339" y="238"/>
                    <a:pt x="341" y="239"/>
                  </a:cubicBezTo>
                  <a:cubicBezTo>
                    <a:pt x="343" y="239"/>
                    <a:pt x="340" y="236"/>
                    <a:pt x="340" y="234"/>
                  </a:cubicBezTo>
                  <a:cubicBezTo>
                    <a:pt x="340" y="233"/>
                    <a:pt x="344" y="234"/>
                    <a:pt x="345" y="236"/>
                  </a:cubicBezTo>
                  <a:cubicBezTo>
                    <a:pt x="346" y="238"/>
                    <a:pt x="344" y="242"/>
                    <a:pt x="343" y="242"/>
                  </a:cubicBezTo>
                  <a:cubicBezTo>
                    <a:pt x="341" y="244"/>
                    <a:pt x="342" y="242"/>
                    <a:pt x="339" y="240"/>
                  </a:cubicBezTo>
                  <a:cubicBezTo>
                    <a:pt x="336" y="239"/>
                    <a:pt x="334" y="244"/>
                    <a:pt x="330" y="244"/>
                  </a:cubicBezTo>
                  <a:cubicBezTo>
                    <a:pt x="327" y="244"/>
                    <a:pt x="322" y="245"/>
                    <a:pt x="322" y="245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2" y="248"/>
                    <a:pt x="322" y="248"/>
                    <a:pt x="322" y="248"/>
                  </a:cubicBezTo>
                  <a:cubicBezTo>
                    <a:pt x="318" y="248"/>
                    <a:pt x="318" y="248"/>
                    <a:pt x="318" y="248"/>
                  </a:cubicBezTo>
                  <a:cubicBezTo>
                    <a:pt x="315" y="252"/>
                    <a:pt x="315" y="252"/>
                    <a:pt x="315" y="252"/>
                  </a:cubicBezTo>
                  <a:cubicBezTo>
                    <a:pt x="321" y="253"/>
                    <a:pt x="321" y="253"/>
                    <a:pt x="321" y="253"/>
                  </a:cubicBezTo>
                  <a:cubicBezTo>
                    <a:pt x="315" y="256"/>
                    <a:pt x="315" y="256"/>
                    <a:pt x="315" y="256"/>
                  </a:cubicBezTo>
                  <a:cubicBezTo>
                    <a:pt x="315" y="256"/>
                    <a:pt x="318" y="260"/>
                    <a:pt x="322" y="258"/>
                  </a:cubicBezTo>
                  <a:cubicBezTo>
                    <a:pt x="327" y="256"/>
                    <a:pt x="331" y="249"/>
                    <a:pt x="331" y="249"/>
                  </a:cubicBezTo>
                  <a:cubicBezTo>
                    <a:pt x="342" y="256"/>
                    <a:pt x="342" y="256"/>
                    <a:pt x="342" y="256"/>
                  </a:cubicBezTo>
                  <a:cubicBezTo>
                    <a:pt x="334" y="253"/>
                    <a:pt x="334" y="253"/>
                    <a:pt x="334" y="253"/>
                  </a:cubicBezTo>
                  <a:cubicBezTo>
                    <a:pt x="331" y="254"/>
                    <a:pt x="331" y="254"/>
                    <a:pt x="331" y="254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29" y="256"/>
                    <a:pt x="329" y="256"/>
                    <a:pt x="329" y="256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0" y="263"/>
                    <a:pt x="330" y="263"/>
                    <a:pt x="330" y="263"/>
                  </a:cubicBezTo>
                  <a:cubicBezTo>
                    <a:pt x="328" y="267"/>
                    <a:pt x="328" y="267"/>
                    <a:pt x="328" y="267"/>
                  </a:cubicBezTo>
                  <a:cubicBezTo>
                    <a:pt x="329" y="269"/>
                    <a:pt x="335" y="267"/>
                    <a:pt x="335" y="267"/>
                  </a:cubicBezTo>
                  <a:cubicBezTo>
                    <a:pt x="339" y="265"/>
                    <a:pt x="339" y="265"/>
                    <a:pt x="339" y="265"/>
                  </a:cubicBezTo>
                  <a:cubicBezTo>
                    <a:pt x="336" y="274"/>
                    <a:pt x="336" y="274"/>
                    <a:pt x="336" y="274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7" y="278"/>
                    <a:pt x="337" y="278"/>
                    <a:pt x="337" y="278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1"/>
                    <a:pt x="339" y="281"/>
                    <a:pt x="337" y="280"/>
                  </a:cubicBezTo>
                  <a:cubicBezTo>
                    <a:pt x="335" y="280"/>
                    <a:pt x="333" y="271"/>
                    <a:pt x="331" y="270"/>
                  </a:cubicBezTo>
                  <a:cubicBezTo>
                    <a:pt x="329" y="270"/>
                    <a:pt x="327" y="271"/>
                    <a:pt x="327" y="271"/>
                  </a:cubicBezTo>
                  <a:cubicBezTo>
                    <a:pt x="327" y="271"/>
                    <a:pt x="325" y="267"/>
                    <a:pt x="322" y="266"/>
                  </a:cubicBezTo>
                  <a:cubicBezTo>
                    <a:pt x="319" y="266"/>
                    <a:pt x="313" y="273"/>
                    <a:pt x="313" y="273"/>
                  </a:cubicBezTo>
                  <a:cubicBezTo>
                    <a:pt x="321" y="274"/>
                    <a:pt x="321" y="274"/>
                    <a:pt x="321" y="274"/>
                  </a:cubicBezTo>
                  <a:cubicBezTo>
                    <a:pt x="321" y="274"/>
                    <a:pt x="318" y="276"/>
                    <a:pt x="314" y="276"/>
                  </a:cubicBezTo>
                  <a:cubicBezTo>
                    <a:pt x="312" y="276"/>
                    <a:pt x="313" y="279"/>
                    <a:pt x="312" y="281"/>
                  </a:cubicBezTo>
                  <a:cubicBezTo>
                    <a:pt x="310" y="283"/>
                    <a:pt x="306" y="285"/>
                    <a:pt x="306" y="285"/>
                  </a:cubicBezTo>
                  <a:cubicBezTo>
                    <a:pt x="317" y="285"/>
                    <a:pt x="317" y="285"/>
                    <a:pt x="317" y="285"/>
                  </a:cubicBezTo>
                  <a:cubicBezTo>
                    <a:pt x="322" y="285"/>
                    <a:pt x="327" y="282"/>
                    <a:pt x="327" y="282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35" y="285"/>
                    <a:pt x="335" y="285"/>
                    <a:pt x="335" y="285"/>
                  </a:cubicBezTo>
                  <a:cubicBezTo>
                    <a:pt x="334" y="295"/>
                    <a:pt x="334" y="295"/>
                    <a:pt x="334" y="295"/>
                  </a:cubicBezTo>
                  <a:cubicBezTo>
                    <a:pt x="331" y="290"/>
                    <a:pt x="331" y="290"/>
                    <a:pt x="331" y="290"/>
                  </a:cubicBezTo>
                  <a:cubicBezTo>
                    <a:pt x="323" y="287"/>
                    <a:pt x="323" y="287"/>
                    <a:pt x="323" y="287"/>
                  </a:cubicBezTo>
                  <a:cubicBezTo>
                    <a:pt x="318" y="294"/>
                    <a:pt x="318" y="294"/>
                    <a:pt x="318" y="294"/>
                  </a:cubicBezTo>
                  <a:cubicBezTo>
                    <a:pt x="321" y="287"/>
                    <a:pt x="321" y="287"/>
                    <a:pt x="321" y="287"/>
                  </a:cubicBezTo>
                  <a:cubicBezTo>
                    <a:pt x="308" y="288"/>
                    <a:pt x="308" y="288"/>
                    <a:pt x="308" y="288"/>
                  </a:cubicBezTo>
                  <a:cubicBezTo>
                    <a:pt x="303" y="302"/>
                    <a:pt x="303" y="302"/>
                    <a:pt x="303" y="302"/>
                  </a:cubicBezTo>
                  <a:cubicBezTo>
                    <a:pt x="297" y="301"/>
                    <a:pt x="297" y="301"/>
                    <a:pt x="297" y="301"/>
                  </a:cubicBezTo>
                  <a:cubicBezTo>
                    <a:pt x="296" y="304"/>
                    <a:pt x="296" y="304"/>
                    <a:pt x="296" y="304"/>
                  </a:cubicBezTo>
                  <a:cubicBezTo>
                    <a:pt x="296" y="304"/>
                    <a:pt x="295" y="303"/>
                    <a:pt x="290" y="305"/>
                  </a:cubicBezTo>
                  <a:cubicBezTo>
                    <a:pt x="284" y="308"/>
                    <a:pt x="284" y="311"/>
                    <a:pt x="284" y="311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286" y="316"/>
                    <a:pt x="286" y="316"/>
                    <a:pt x="286" y="316"/>
                  </a:cubicBezTo>
                  <a:cubicBezTo>
                    <a:pt x="281" y="317"/>
                    <a:pt x="281" y="317"/>
                    <a:pt x="281" y="317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79" y="321"/>
                    <a:pt x="279" y="321"/>
                    <a:pt x="279" y="321"/>
                  </a:cubicBezTo>
                  <a:cubicBezTo>
                    <a:pt x="276" y="321"/>
                    <a:pt x="276" y="321"/>
                    <a:pt x="276" y="321"/>
                  </a:cubicBezTo>
                  <a:cubicBezTo>
                    <a:pt x="282" y="327"/>
                    <a:pt x="282" y="327"/>
                    <a:pt x="282" y="327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75" y="331"/>
                    <a:pt x="275" y="331"/>
                    <a:pt x="275" y="331"/>
                  </a:cubicBezTo>
                  <a:cubicBezTo>
                    <a:pt x="277" y="333"/>
                    <a:pt x="277" y="333"/>
                    <a:pt x="277" y="333"/>
                  </a:cubicBezTo>
                  <a:cubicBezTo>
                    <a:pt x="281" y="332"/>
                    <a:pt x="281" y="332"/>
                    <a:pt x="281" y="332"/>
                  </a:cubicBezTo>
                  <a:cubicBezTo>
                    <a:pt x="287" y="335"/>
                    <a:pt x="287" y="335"/>
                    <a:pt x="287" y="335"/>
                  </a:cubicBezTo>
                  <a:cubicBezTo>
                    <a:pt x="287" y="335"/>
                    <a:pt x="282" y="334"/>
                    <a:pt x="279" y="335"/>
                  </a:cubicBezTo>
                  <a:cubicBezTo>
                    <a:pt x="276" y="336"/>
                    <a:pt x="278" y="339"/>
                    <a:pt x="278" y="339"/>
                  </a:cubicBezTo>
                  <a:cubicBezTo>
                    <a:pt x="275" y="339"/>
                    <a:pt x="275" y="339"/>
                    <a:pt x="275" y="339"/>
                  </a:cubicBezTo>
                  <a:cubicBezTo>
                    <a:pt x="275" y="335"/>
                    <a:pt x="275" y="335"/>
                    <a:pt x="275" y="335"/>
                  </a:cubicBezTo>
                  <a:cubicBezTo>
                    <a:pt x="271" y="334"/>
                    <a:pt x="271" y="334"/>
                    <a:pt x="271" y="334"/>
                  </a:cubicBezTo>
                  <a:cubicBezTo>
                    <a:pt x="270" y="336"/>
                    <a:pt x="270" y="336"/>
                    <a:pt x="270" y="336"/>
                  </a:cubicBezTo>
                  <a:cubicBezTo>
                    <a:pt x="273" y="340"/>
                    <a:pt x="273" y="340"/>
                    <a:pt x="273" y="340"/>
                  </a:cubicBezTo>
                  <a:cubicBezTo>
                    <a:pt x="273" y="340"/>
                    <a:pt x="270" y="346"/>
                    <a:pt x="272" y="348"/>
                  </a:cubicBezTo>
                  <a:cubicBezTo>
                    <a:pt x="275" y="350"/>
                    <a:pt x="284" y="347"/>
                    <a:pt x="284" y="348"/>
                  </a:cubicBezTo>
                  <a:cubicBezTo>
                    <a:pt x="284" y="349"/>
                    <a:pt x="275" y="350"/>
                    <a:pt x="275" y="350"/>
                  </a:cubicBezTo>
                  <a:cubicBezTo>
                    <a:pt x="271" y="356"/>
                    <a:pt x="271" y="356"/>
                    <a:pt x="271" y="35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85" y="351"/>
                    <a:pt x="285" y="351"/>
                    <a:pt x="285" y="351"/>
                  </a:cubicBezTo>
                  <a:cubicBezTo>
                    <a:pt x="287" y="351"/>
                    <a:pt x="287" y="351"/>
                    <a:pt x="287" y="351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0" y="353"/>
                    <a:pt x="290" y="353"/>
                    <a:pt x="290" y="353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285" y="360"/>
                    <a:pt x="285" y="360"/>
                    <a:pt x="285" y="360"/>
                  </a:cubicBezTo>
                  <a:cubicBezTo>
                    <a:pt x="285" y="360"/>
                    <a:pt x="286" y="355"/>
                    <a:pt x="285" y="353"/>
                  </a:cubicBezTo>
                  <a:cubicBezTo>
                    <a:pt x="282" y="351"/>
                    <a:pt x="277" y="356"/>
                    <a:pt x="275" y="357"/>
                  </a:cubicBezTo>
                  <a:cubicBezTo>
                    <a:pt x="273" y="359"/>
                    <a:pt x="263" y="360"/>
                    <a:pt x="262" y="363"/>
                  </a:cubicBezTo>
                  <a:cubicBezTo>
                    <a:pt x="260" y="366"/>
                    <a:pt x="269" y="364"/>
                    <a:pt x="269" y="364"/>
                  </a:cubicBezTo>
                  <a:cubicBezTo>
                    <a:pt x="268" y="371"/>
                    <a:pt x="268" y="371"/>
                    <a:pt x="268" y="371"/>
                  </a:cubicBezTo>
                  <a:cubicBezTo>
                    <a:pt x="274" y="375"/>
                    <a:pt x="274" y="375"/>
                    <a:pt x="274" y="375"/>
                  </a:cubicBezTo>
                  <a:cubicBezTo>
                    <a:pt x="274" y="375"/>
                    <a:pt x="262" y="372"/>
                    <a:pt x="261" y="375"/>
                  </a:cubicBezTo>
                  <a:cubicBezTo>
                    <a:pt x="259" y="378"/>
                    <a:pt x="261" y="381"/>
                    <a:pt x="261" y="381"/>
                  </a:cubicBezTo>
                  <a:cubicBezTo>
                    <a:pt x="259" y="381"/>
                    <a:pt x="259" y="381"/>
                    <a:pt x="259" y="381"/>
                  </a:cubicBezTo>
                  <a:cubicBezTo>
                    <a:pt x="257" y="383"/>
                    <a:pt x="257" y="383"/>
                    <a:pt x="257" y="383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7"/>
                    <a:pt x="256" y="386"/>
                    <a:pt x="253" y="389"/>
                  </a:cubicBezTo>
                  <a:cubicBezTo>
                    <a:pt x="249" y="391"/>
                    <a:pt x="254" y="398"/>
                    <a:pt x="254" y="398"/>
                  </a:cubicBezTo>
                  <a:cubicBezTo>
                    <a:pt x="258" y="399"/>
                    <a:pt x="258" y="399"/>
                    <a:pt x="258" y="399"/>
                  </a:cubicBezTo>
                  <a:cubicBezTo>
                    <a:pt x="259" y="405"/>
                    <a:pt x="259" y="405"/>
                    <a:pt x="259" y="405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49" y="396"/>
                    <a:pt x="249" y="396"/>
                    <a:pt x="249" y="396"/>
                  </a:cubicBezTo>
                  <a:cubicBezTo>
                    <a:pt x="247" y="404"/>
                    <a:pt x="247" y="404"/>
                    <a:pt x="247" y="404"/>
                  </a:cubicBezTo>
                  <a:cubicBezTo>
                    <a:pt x="252" y="404"/>
                    <a:pt x="252" y="404"/>
                    <a:pt x="252" y="404"/>
                  </a:cubicBezTo>
                  <a:cubicBezTo>
                    <a:pt x="252" y="404"/>
                    <a:pt x="248" y="406"/>
                    <a:pt x="246" y="409"/>
                  </a:cubicBezTo>
                  <a:cubicBezTo>
                    <a:pt x="244" y="411"/>
                    <a:pt x="246" y="416"/>
                    <a:pt x="246" y="416"/>
                  </a:cubicBezTo>
                  <a:cubicBezTo>
                    <a:pt x="241" y="418"/>
                    <a:pt x="241" y="418"/>
                    <a:pt x="241" y="418"/>
                  </a:cubicBezTo>
                  <a:cubicBezTo>
                    <a:pt x="243" y="420"/>
                    <a:pt x="243" y="420"/>
                    <a:pt x="243" y="420"/>
                  </a:cubicBezTo>
                  <a:cubicBezTo>
                    <a:pt x="248" y="416"/>
                    <a:pt x="248" y="416"/>
                    <a:pt x="248" y="416"/>
                  </a:cubicBezTo>
                  <a:cubicBezTo>
                    <a:pt x="248" y="413"/>
                    <a:pt x="248" y="413"/>
                    <a:pt x="248" y="413"/>
                  </a:cubicBezTo>
                  <a:cubicBezTo>
                    <a:pt x="253" y="411"/>
                    <a:pt x="253" y="411"/>
                    <a:pt x="253" y="411"/>
                  </a:cubicBezTo>
                  <a:cubicBezTo>
                    <a:pt x="249" y="415"/>
                    <a:pt x="249" y="415"/>
                    <a:pt x="249" y="415"/>
                  </a:cubicBezTo>
                  <a:cubicBezTo>
                    <a:pt x="254" y="419"/>
                    <a:pt x="254" y="419"/>
                    <a:pt x="254" y="419"/>
                  </a:cubicBezTo>
                  <a:cubicBezTo>
                    <a:pt x="253" y="423"/>
                    <a:pt x="253" y="423"/>
                    <a:pt x="253" y="423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1" y="414"/>
                    <a:pt x="271" y="414"/>
                    <a:pt x="271" y="414"/>
                  </a:cubicBezTo>
                  <a:cubicBezTo>
                    <a:pt x="256" y="427"/>
                    <a:pt x="256" y="427"/>
                    <a:pt x="256" y="427"/>
                  </a:cubicBezTo>
                  <a:cubicBezTo>
                    <a:pt x="252" y="428"/>
                    <a:pt x="252" y="428"/>
                    <a:pt x="252" y="428"/>
                  </a:cubicBezTo>
                  <a:cubicBezTo>
                    <a:pt x="249" y="421"/>
                    <a:pt x="249" y="421"/>
                    <a:pt x="249" y="421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43" y="424"/>
                    <a:pt x="243" y="424"/>
                    <a:pt x="243" y="424"/>
                  </a:cubicBezTo>
                  <a:cubicBezTo>
                    <a:pt x="243" y="424"/>
                    <a:pt x="239" y="424"/>
                    <a:pt x="239" y="426"/>
                  </a:cubicBezTo>
                  <a:cubicBezTo>
                    <a:pt x="239" y="427"/>
                    <a:pt x="235" y="435"/>
                    <a:pt x="231" y="435"/>
                  </a:cubicBezTo>
                  <a:cubicBezTo>
                    <a:pt x="228" y="436"/>
                    <a:pt x="222" y="440"/>
                    <a:pt x="222" y="440"/>
                  </a:cubicBezTo>
                  <a:cubicBezTo>
                    <a:pt x="224" y="442"/>
                    <a:pt x="224" y="442"/>
                    <a:pt x="224" y="442"/>
                  </a:cubicBezTo>
                  <a:cubicBezTo>
                    <a:pt x="224" y="442"/>
                    <a:pt x="216" y="446"/>
                    <a:pt x="221" y="450"/>
                  </a:cubicBezTo>
                  <a:cubicBezTo>
                    <a:pt x="224" y="452"/>
                    <a:pt x="231" y="441"/>
                    <a:pt x="231" y="441"/>
                  </a:cubicBezTo>
                  <a:cubicBezTo>
                    <a:pt x="242" y="436"/>
                    <a:pt x="242" y="436"/>
                    <a:pt x="242" y="436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8" y="446"/>
                    <a:pt x="232" y="447"/>
                    <a:pt x="228" y="450"/>
                  </a:cubicBezTo>
                  <a:cubicBezTo>
                    <a:pt x="223" y="452"/>
                    <a:pt x="226" y="457"/>
                    <a:pt x="226" y="457"/>
                  </a:cubicBezTo>
                  <a:cubicBezTo>
                    <a:pt x="223" y="458"/>
                    <a:pt x="223" y="458"/>
                    <a:pt x="223" y="458"/>
                  </a:cubicBezTo>
                  <a:cubicBezTo>
                    <a:pt x="219" y="455"/>
                    <a:pt x="219" y="455"/>
                    <a:pt x="219" y="455"/>
                  </a:cubicBezTo>
                  <a:cubicBezTo>
                    <a:pt x="215" y="457"/>
                    <a:pt x="215" y="457"/>
                    <a:pt x="215" y="457"/>
                  </a:cubicBezTo>
                  <a:cubicBezTo>
                    <a:pt x="215" y="457"/>
                    <a:pt x="219" y="463"/>
                    <a:pt x="221" y="465"/>
                  </a:cubicBezTo>
                  <a:cubicBezTo>
                    <a:pt x="222" y="467"/>
                    <a:pt x="231" y="459"/>
                    <a:pt x="231" y="459"/>
                  </a:cubicBezTo>
                  <a:cubicBezTo>
                    <a:pt x="226" y="468"/>
                    <a:pt x="226" y="468"/>
                    <a:pt x="226" y="468"/>
                  </a:cubicBezTo>
                  <a:cubicBezTo>
                    <a:pt x="221" y="471"/>
                    <a:pt x="221" y="471"/>
                    <a:pt x="221" y="471"/>
                  </a:cubicBezTo>
                  <a:cubicBezTo>
                    <a:pt x="213" y="459"/>
                    <a:pt x="213" y="459"/>
                    <a:pt x="213" y="459"/>
                  </a:cubicBezTo>
                  <a:cubicBezTo>
                    <a:pt x="204" y="467"/>
                    <a:pt x="204" y="467"/>
                    <a:pt x="204" y="467"/>
                  </a:cubicBezTo>
                  <a:cubicBezTo>
                    <a:pt x="207" y="470"/>
                    <a:pt x="207" y="470"/>
                    <a:pt x="207" y="470"/>
                  </a:cubicBezTo>
                  <a:cubicBezTo>
                    <a:pt x="200" y="468"/>
                    <a:pt x="200" y="468"/>
                    <a:pt x="200" y="468"/>
                  </a:cubicBezTo>
                  <a:cubicBezTo>
                    <a:pt x="198" y="471"/>
                    <a:pt x="198" y="471"/>
                    <a:pt x="198" y="471"/>
                  </a:cubicBezTo>
                  <a:cubicBezTo>
                    <a:pt x="203" y="474"/>
                    <a:pt x="203" y="474"/>
                    <a:pt x="203" y="474"/>
                  </a:cubicBezTo>
                  <a:cubicBezTo>
                    <a:pt x="198" y="475"/>
                    <a:pt x="198" y="475"/>
                    <a:pt x="198" y="475"/>
                  </a:cubicBezTo>
                  <a:cubicBezTo>
                    <a:pt x="198" y="475"/>
                    <a:pt x="189" y="485"/>
                    <a:pt x="188" y="486"/>
                  </a:cubicBezTo>
                  <a:cubicBezTo>
                    <a:pt x="188" y="487"/>
                    <a:pt x="191" y="490"/>
                    <a:pt x="191" y="490"/>
                  </a:cubicBezTo>
                  <a:cubicBezTo>
                    <a:pt x="184" y="489"/>
                    <a:pt x="184" y="489"/>
                    <a:pt x="184" y="489"/>
                  </a:cubicBezTo>
                  <a:cubicBezTo>
                    <a:pt x="182" y="498"/>
                    <a:pt x="182" y="498"/>
                    <a:pt x="182" y="498"/>
                  </a:cubicBezTo>
                  <a:cubicBezTo>
                    <a:pt x="182" y="498"/>
                    <a:pt x="188" y="498"/>
                    <a:pt x="188" y="500"/>
                  </a:cubicBezTo>
                  <a:cubicBezTo>
                    <a:pt x="188" y="502"/>
                    <a:pt x="179" y="504"/>
                    <a:pt x="174" y="505"/>
                  </a:cubicBezTo>
                  <a:cubicBezTo>
                    <a:pt x="169" y="507"/>
                    <a:pt x="169" y="517"/>
                    <a:pt x="169" y="517"/>
                  </a:cubicBezTo>
                  <a:cubicBezTo>
                    <a:pt x="169" y="517"/>
                    <a:pt x="184" y="509"/>
                    <a:pt x="183" y="514"/>
                  </a:cubicBezTo>
                  <a:cubicBezTo>
                    <a:pt x="183" y="518"/>
                    <a:pt x="176" y="517"/>
                    <a:pt x="176" y="517"/>
                  </a:cubicBezTo>
                  <a:cubicBezTo>
                    <a:pt x="177" y="520"/>
                    <a:pt x="177" y="520"/>
                    <a:pt x="177" y="520"/>
                  </a:cubicBezTo>
                  <a:cubicBezTo>
                    <a:pt x="182" y="522"/>
                    <a:pt x="182" y="522"/>
                    <a:pt x="182" y="52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181" y="529"/>
                    <a:pt x="181" y="529"/>
                    <a:pt x="181" y="529"/>
                  </a:cubicBezTo>
                  <a:cubicBezTo>
                    <a:pt x="198" y="520"/>
                    <a:pt x="198" y="520"/>
                    <a:pt x="198" y="520"/>
                  </a:cubicBezTo>
                  <a:cubicBezTo>
                    <a:pt x="198" y="520"/>
                    <a:pt x="202" y="517"/>
                    <a:pt x="203" y="516"/>
                  </a:cubicBezTo>
                  <a:cubicBezTo>
                    <a:pt x="205" y="515"/>
                    <a:pt x="206" y="513"/>
                    <a:pt x="209" y="512"/>
                  </a:cubicBezTo>
                  <a:cubicBezTo>
                    <a:pt x="211" y="512"/>
                    <a:pt x="213" y="508"/>
                    <a:pt x="213" y="505"/>
                  </a:cubicBezTo>
                  <a:cubicBezTo>
                    <a:pt x="213" y="502"/>
                    <a:pt x="202" y="507"/>
                    <a:pt x="202" y="507"/>
                  </a:cubicBezTo>
                  <a:cubicBezTo>
                    <a:pt x="202" y="507"/>
                    <a:pt x="209" y="502"/>
                    <a:pt x="212" y="500"/>
                  </a:cubicBezTo>
                  <a:cubicBezTo>
                    <a:pt x="214" y="499"/>
                    <a:pt x="215" y="494"/>
                    <a:pt x="221" y="494"/>
                  </a:cubicBezTo>
                  <a:cubicBezTo>
                    <a:pt x="225" y="494"/>
                    <a:pt x="226" y="498"/>
                    <a:pt x="226" y="498"/>
                  </a:cubicBezTo>
                  <a:cubicBezTo>
                    <a:pt x="215" y="503"/>
                    <a:pt x="215" y="503"/>
                    <a:pt x="215" y="503"/>
                  </a:cubicBezTo>
                  <a:cubicBezTo>
                    <a:pt x="214" y="506"/>
                    <a:pt x="214" y="506"/>
                    <a:pt x="214" y="506"/>
                  </a:cubicBezTo>
                  <a:cubicBezTo>
                    <a:pt x="214" y="506"/>
                    <a:pt x="223" y="506"/>
                    <a:pt x="224" y="509"/>
                  </a:cubicBezTo>
                  <a:cubicBezTo>
                    <a:pt x="224" y="513"/>
                    <a:pt x="214" y="515"/>
                    <a:pt x="211" y="516"/>
                  </a:cubicBezTo>
                  <a:cubicBezTo>
                    <a:pt x="208" y="516"/>
                    <a:pt x="203" y="521"/>
                    <a:pt x="202" y="524"/>
                  </a:cubicBezTo>
                  <a:cubicBezTo>
                    <a:pt x="202" y="528"/>
                    <a:pt x="206" y="522"/>
                    <a:pt x="208" y="523"/>
                  </a:cubicBezTo>
                  <a:cubicBezTo>
                    <a:pt x="209" y="525"/>
                    <a:pt x="206" y="526"/>
                    <a:pt x="205" y="528"/>
                  </a:cubicBezTo>
                  <a:cubicBezTo>
                    <a:pt x="203" y="530"/>
                    <a:pt x="208" y="531"/>
                    <a:pt x="208" y="531"/>
                  </a:cubicBezTo>
                  <a:cubicBezTo>
                    <a:pt x="205" y="533"/>
                    <a:pt x="205" y="533"/>
                    <a:pt x="205" y="533"/>
                  </a:cubicBezTo>
                  <a:cubicBezTo>
                    <a:pt x="205" y="533"/>
                    <a:pt x="194" y="530"/>
                    <a:pt x="188" y="532"/>
                  </a:cubicBezTo>
                  <a:cubicBezTo>
                    <a:pt x="181" y="534"/>
                    <a:pt x="187" y="539"/>
                    <a:pt x="187" y="539"/>
                  </a:cubicBezTo>
                  <a:cubicBezTo>
                    <a:pt x="180" y="538"/>
                    <a:pt x="180" y="538"/>
                    <a:pt x="180" y="538"/>
                  </a:cubicBezTo>
                  <a:cubicBezTo>
                    <a:pt x="175" y="540"/>
                    <a:pt x="175" y="540"/>
                    <a:pt x="175" y="540"/>
                  </a:cubicBezTo>
                  <a:cubicBezTo>
                    <a:pt x="180" y="532"/>
                    <a:pt x="180" y="532"/>
                    <a:pt x="180" y="532"/>
                  </a:cubicBezTo>
                  <a:cubicBezTo>
                    <a:pt x="175" y="518"/>
                    <a:pt x="175" y="518"/>
                    <a:pt x="175" y="518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6" y="523"/>
                    <a:pt x="166" y="523"/>
                    <a:pt x="166" y="523"/>
                  </a:cubicBezTo>
                  <a:cubicBezTo>
                    <a:pt x="158" y="526"/>
                    <a:pt x="158" y="526"/>
                    <a:pt x="158" y="526"/>
                  </a:cubicBezTo>
                  <a:cubicBezTo>
                    <a:pt x="157" y="530"/>
                    <a:pt x="157" y="530"/>
                    <a:pt x="157" y="530"/>
                  </a:cubicBezTo>
                  <a:cubicBezTo>
                    <a:pt x="164" y="531"/>
                    <a:pt x="164" y="531"/>
                    <a:pt x="164" y="531"/>
                  </a:cubicBezTo>
                  <a:cubicBezTo>
                    <a:pt x="157" y="532"/>
                    <a:pt x="157" y="532"/>
                    <a:pt x="157" y="532"/>
                  </a:cubicBezTo>
                  <a:cubicBezTo>
                    <a:pt x="156" y="536"/>
                    <a:pt x="156" y="536"/>
                    <a:pt x="156" y="536"/>
                  </a:cubicBezTo>
                  <a:cubicBezTo>
                    <a:pt x="162" y="537"/>
                    <a:pt x="162" y="537"/>
                    <a:pt x="162" y="537"/>
                  </a:cubicBezTo>
                  <a:cubicBezTo>
                    <a:pt x="150" y="539"/>
                    <a:pt x="150" y="539"/>
                    <a:pt x="150" y="539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47" y="534"/>
                    <a:pt x="147" y="534"/>
                    <a:pt x="147" y="534"/>
                  </a:cubicBezTo>
                  <a:cubicBezTo>
                    <a:pt x="145" y="532"/>
                    <a:pt x="145" y="532"/>
                    <a:pt x="145" y="532"/>
                  </a:cubicBezTo>
                  <a:cubicBezTo>
                    <a:pt x="141" y="534"/>
                    <a:pt x="141" y="534"/>
                    <a:pt x="141" y="534"/>
                  </a:cubicBezTo>
                  <a:cubicBezTo>
                    <a:pt x="145" y="538"/>
                    <a:pt x="145" y="538"/>
                    <a:pt x="145" y="538"/>
                  </a:cubicBezTo>
                  <a:cubicBezTo>
                    <a:pt x="138" y="538"/>
                    <a:pt x="138" y="538"/>
                    <a:pt x="138" y="538"/>
                  </a:cubicBezTo>
                  <a:cubicBezTo>
                    <a:pt x="134" y="541"/>
                    <a:pt x="134" y="541"/>
                    <a:pt x="134" y="541"/>
                  </a:cubicBezTo>
                  <a:cubicBezTo>
                    <a:pt x="139" y="547"/>
                    <a:pt x="139" y="547"/>
                    <a:pt x="139" y="547"/>
                  </a:cubicBezTo>
                  <a:cubicBezTo>
                    <a:pt x="143" y="548"/>
                    <a:pt x="143" y="548"/>
                    <a:pt x="143" y="548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5" y="552"/>
                    <a:pt x="135" y="552"/>
                    <a:pt x="135" y="552"/>
                  </a:cubicBezTo>
                  <a:cubicBezTo>
                    <a:pt x="126" y="551"/>
                    <a:pt x="126" y="551"/>
                    <a:pt x="126" y="551"/>
                  </a:cubicBezTo>
                  <a:cubicBezTo>
                    <a:pt x="126" y="555"/>
                    <a:pt x="126" y="555"/>
                    <a:pt x="126" y="555"/>
                  </a:cubicBezTo>
                  <a:cubicBezTo>
                    <a:pt x="132" y="563"/>
                    <a:pt x="132" y="563"/>
                    <a:pt x="132" y="563"/>
                  </a:cubicBezTo>
                  <a:cubicBezTo>
                    <a:pt x="138" y="561"/>
                    <a:pt x="138" y="561"/>
                    <a:pt x="138" y="561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2" y="566"/>
                    <a:pt x="132" y="566"/>
                    <a:pt x="132" y="566"/>
                  </a:cubicBezTo>
                  <a:cubicBezTo>
                    <a:pt x="137" y="568"/>
                    <a:pt x="137" y="568"/>
                    <a:pt x="137" y="568"/>
                  </a:cubicBezTo>
                  <a:cubicBezTo>
                    <a:pt x="135" y="569"/>
                    <a:pt x="135" y="569"/>
                    <a:pt x="135" y="569"/>
                  </a:cubicBezTo>
                  <a:cubicBezTo>
                    <a:pt x="130" y="567"/>
                    <a:pt x="130" y="567"/>
                    <a:pt x="130" y="567"/>
                  </a:cubicBezTo>
                  <a:cubicBezTo>
                    <a:pt x="129" y="561"/>
                    <a:pt x="129" y="561"/>
                    <a:pt x="129" y="561"/>
                  </a:cubicBezTo>
                  <a:cubicBezTo>
                    <a:pt x="123" y="552"/>
                    <a:pt x="123" y="552"/>
                    <a:pt x="123" y="552"/>
                  </a:cubicBezTo>
                  <a:cubicBezTo>
                    <a:pt x="114" y="557"/>
                    <a:pt x="114" y="557"/>
                    <a:pt x="114" y="557"/>
                  </a:cubicBezTo>
                  <a:cubicBezTo>
                    <a:pt x="116" y="558"/>
                    <a:pt x="116" y="558"/>
                    <a:pt x="116" y="558"/>
                  </a:cubicBezTo>
                  <a:cubicBezTo>
                    <a:pt x="118" y="558"/>
                    <a:pt x="118" y="558"/>
                    <a:pt x="118" y="558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32" y="577"/>
                    <a:pt x="132" y="577"/>
                    <a:pt x="132" y="577"/>
                  </a:cubicBezTo>
                  <a:cubicBezTo>
                    <a:pt x="133" y="579"/>
                    <a:pt x="133" y="579"/>
                    <a:pt x="133" y="579"/>
                  </a:cubicBezTo>
                  <a:cubicBezTo>
                    <a:pt x="122" y="571"/>
                    <a:pt x="122" y="571"/>
                    <a:pt x="122" y="571"/>
                  </a:cubicBezTo>
                  <a:cubicBezTo>
                    <a:pt x="122" y="562"/>
                    <a:pt x="122" y="562"/>
                    <a:pt x="122" y="562"/>
                  </a:cubicBezTo>
                  <a:cubicBezTo>
                    <a:pt x="113" y="562"/>
                    <a:pt x="113" y="562"/>
                    <a:pt x="113" y="562"/>
                  </a:cubicBezTo>
                  <a:cubicBezTo>
                    <a:pt x="111" y="565"/>
                    <a:pt x="111" y="565"/>
                    <a:pt x="111" y="565"/>
                  </a:cubicBezTo>
                  <a:cubicBezTo>
                    <a:pt x="112" y="560"/>
                    <a:pt x="112" y="560"/>
                    <a:pt x="112" y="560"/>
                  </a:cubicBezTo>
                  <a:cubicBezTo>
                    <a:pt x="108" y="560"/>
                    <a:pt x="108" y="560"/>
                    <a:pt x="108" y="560"/>
                  </a:cubicBezTo>
                  <a:cubicBezTo>
                    <a:pt x="107" y="563"/>
                    <a:pt x="107" y="563"/>
                    <a:pt x="107" y="563"/>
                  </a:cubicBezTo>
                  <a:cubicBezTo>
                    <a:pt x="101" y="564"/>
                    <a:pt x="101" y="564"/>
                    <a:pt x="101" y="564"/>
                  </a:cubicBezTo>
                  <a:cubicBezTo>
                    <a:pt x="96" y="557"/>
                    <a:pt x="96" y="557"/>
                    <a:pt x="96" y="557"/>
                  </a:cubicBezTo>
                  <a:cubicBezTo>
                    <a:pt x="96" y="557"/>
                    <a:pt x="92" y="557"/>
                    <a:pt x="85" y="562"/>
                  </a:cubicBezTo>
                  <a:cubicBezTo>
                    <a:pt x="80" y="567"/>
                    <a:pt x="93" y="567"/>
                    <a:pt x="94" y="569"/>
                  </a:cubicBezTo>
                  <a:cubicBezTo>
                    <a:pt x="94" y="571"/>
                    <a:pt x="91" y="570"/>
                    <a:pt x="88" y="570"/>
                  </a:cubicBezTo>
                  <a:cubicBezTo>
                    <a:pt x="83" y="571"/>
                    <a:pt x="87" y="577"/>
                    <a:pt x="87" y="577"/>
                  </a:cubicBezTo>
                  <a:cubicBezTo>
                    <a:pt x="87" y="577"/>
                    <a:pt x="104" y="571"/>
                    <a:pt x="105" y="573"/>
                  </a:cubicBezTo>
                  <a:cubicBezTo>
                    <a:pt x="106" y="575"/>
                    <a:pt x="99" y="575"/>
                    <a:pt x="99" y="575"/>
                  </a:cubicBezTo>
                  <a:cubicBezTo>
                    <a:pt x="99" y="578"/>
                    <a:pt x="99" y="578"/>
                    <a:pt x="99" y="578"/>
                  </a:cubicBezTo>
                  <a:cubicBezTo>
                    <a:pt x="99" y="578"/>
                    <a:pt x="108" y="575"/>
                    <a:pt x="113" y="573"/>
                  </a:cubicBezTo>
                  <a:cubicBezTo>
                    <a:pt x="118" y="573"/>
                    <a:pt x="122" y="579"/>
                    <a:pt x="122" y="579"/>
                  </a:cubicBezTo>
                  <a:cubicBezTo>
                    <a:pt x="122" y="579"/>
                    <a:pt x="117" y="576"/>
                    <a:pt x="114" y="575"/>
                  </a:cubicBezTo>
                  <a:cubicBezTo>
                    <a:pt x="112" y="575"/>
                    <a:pt x="104" y="578"/>
                    <a:pt x="104" y="578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2" y="581"/>
                    <a:pt x="102" y="581"/>
                    <a:pt x="102" y="581"/>
                  </a:cubicBezTo>
                  <a:cubicBezTo>
                    <a:pt x="100" y="582"/>
                    <a:pt x="100" y="582"/>
                    <a:pt x="100" y="582"/>
                  </a:cubicBezTo>
                  <a:cubicBezTo>
                    <a:pt x="102" y="586"/>
                    <a:pt x="102" y="586"/>
                    <a:pt x="102" y="586"/>
                  </a:cubicBezTo>
                  <a:cubicBezTo>
                    <a:pt x="108" y="586"/>
                    <a:pt x="108" y="586"/>
                    <a:pt x="108" y="586"/>
                  </a:cubicBezTo>
                  <a:cubicBezTo>
                    <a:pt x="104" y="591"/>
                    <a:pt x="104" y="591"/>
                    <a:pt x="104" y="591"/>
                  </a:cubicBezTo>
                  <a:cubicBezTo>
                    <a:pt x="96" y="584"/>
                    <a:pt x="96" y="584"/>
                    <a:pt x="96" y="584"/>
                  </a:cubicBezTo>
                  <a:cubicBezTo>
                    <a:pt x="92" y="582"/>
                    <a:pt x="92" y="582"/>
                    <a:pt x="92" y="582"/>
                  </a:cubicBezTo>
                  <a:cubicBezTo>
                    <a:pt x="92" y="585"/>
                    <a:pt x="92" y="585"/>
                    <a:pt x="92" y="585"/>
                  </a:cubicBezTo>
                  <a:cubicBezTo>
                    <a:pt x="92" y="585"/>
                    <a:pt x="90" y="581"/>
                    <a:pt x="87" y="580"/>
                  </a:cubicBezTo>
                  <a:cubicBezTo>
                    <a:pt x="83" y="579"/>
                    <a:pt x="83" y="583"/>
                    <a:pt x="83" y="583"/>
                  </a:cubicBezTo>
                  <a:cubicBezTo>
                    <a:pt x="83" y="583"/>
                    <a:pt x="81" y="581"/>
                    <a:pt x="80" y="580"/>
                  </a:cubicBezTo>
                  <a:cubicBezTo>
                    <a:pt x="78" y="580"/>
                    <a:pt x="74" y="583"/>
                    <a:pt x="74" y="583"/>
                  </a:cubicBezTo>
                  <a:cubicBezTo>
                    <a:pt x="74" y="583"/>
                    <a:pt x="72" y="582"/>
                    <a:pt x="69" y="581"/>
                  </a:cubicBezTo>
                  <a:cubicBezTo>
                    <a:pt x="66" y="581"/>
                    <a:pt x="65" y="584"/>
                    <a:pt x="63" y="587"/>
                  </a:cubicBezTo>
                  <a:cubicBezTo>
                    <a:pt x="62" y="589"/>
                    <a:pt x="74" y="586"/>
                    <a:pt x="74" y="586"/>
                  </a:cubicBezTo>
                  <a:cubicBezTo>
                    <a:pt x="74" y="586"/>
                    <a:pt x="82" y="592"/>
                    <a:pt x="84" y="594"/>
                  </a:cubicBezTo>
                  <a:cubicBezTo>
                    <a:pt x="85" y="595"/>
                    <a:pt x="84" y="600"/>
                    <a:pt x="84" y="600"/>
                  </a:cubicBezTo>
                  <a:cubicBezTo>
                    <a:pt x="87" y="603"/>
                    <a:pt x="87" y="603"/>
                    <a:pt x="87" y="603"/>
                  </a:cubicBezTo>
                  <a:cubicBezTo>
                    <a:pt x="92" y="604"/>
                    <a:pt x="92" y="604"/>
                    <a:pt x="92" y="604"/>
                  </a:cubicBezTo>
                  <a:cubicBezTo>
                    <a:pt x="94" y="603"/>
                    <a:pt x="94" y="603"/>
                    <a:pt x="94" y="603"/>
                  </a:cubicBezTo>
                  <a:cubicBezTo>
                    <a:pt x="93" y="605"/>
                    <a:pt x="93" y="605"/>
                    <a:pt x="93" y="605"/>
                  </a:cubicBezTo>
                  <a:cubicBezTo>
                    <a:pt x="85" y="605"/>
                    <a:pt x="85" y="605"/>
                    <a:pt x="85" y="605"/>
                  </a:cubicBezTo>
                  <a:cubicBezTo>
                    <a:pt x="87" y="608"/>
                    <a:pt x="87" y="608"/>
                    <a:pt x="87" y="608"/>
                  </a:cubicBezTo>
                  <a:cubicBezTo>
                    <a:pt x="83" y="614"/>
                    <a:pt x="83" y="614"/>
                    <a:pt x="83" y="614"/>
                  </a:cubicBezTo>
                  <a:cubicBezTo>
                    <a:pt x="85" y="616"/>
                    <a:pt x="85" y="616"/>
                    <a:pt x="85" y="616"/>
                  </a:cubicBezTo>
                  <a:cubicBezTo>
                    <a:pt x="80" y="615"/>
                    <a:pt x="80" y="615"/>
                    <a:pt x="80" y="615"/>
                  </a:cubicBezTo>
                  <a:cubicBezTo>
                    <a:pt x="84" y="607"/>
                    <a:pt x="84" y="607"/>
                    <a:pt x="84" y="607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82" y="594"/>
                    <a:pt x="82" y="594"/>
                    <a:pt x="82" y="594"/>
                  </a:cubicBezTo>
                  <a:cubicBezTo>
                    <a:pt x="73" y="593"/>
                    <a:pt x="73" y="593"/>
                    <a:pt x="73" y="593"/>
                  </a:cubicBezTo>
                  <a:cubicBezTo>
                    <a:pt x="73" y="597"/>
                    <a:pt x="73" y="597"/>
                    <a:pt x="73" y="597"/>
                  </a:cubicBezTo>
                  <a:cubicBezTo>
                    <a:pt x="69" y="595"/>
                    <a:pt x="69" y="595"/>
                    <a:pt x="69" y="595"/>
                  </a:cubicBezTo>
                  <a:cubicBezTo>
                    <a:pt x="66" y="595"/>
                    <a:pt x="66" y="595"/>
                    <a:pt x="66" y="595"/>
                  </a:cubicBezTo>
                  <a:cubicBezTo>
                    <a:pt x="72" y="611"/>
                    <a:pt x="72" y="611"/>
                    <a:pt x="72" y="611"/>
                  </a:cubicBezTo>
                  <a:cubicBezTo>
                    <a:pt x="71" y="613"/>
                    <a:pt x="71" y="613"/>
                    <a:pt x="71" y="613"/>
                  </a:cubicBezTo>
                  <a:cubicBezTo>
                    <a:pt x="68" y="607"/>
                    <a:pt x="68" y="607"/>
                    <a:pt x="68" y="607"/>
                  </a:cubicBezTo>
                  <a:cubicBezTo>
                    <a:pt x="65" y="602"/>
                    <a:pt x="65" y="602"/>
                    <a:pt x="65" y="602"/>
                  </a:cubicBezTo>
                  <a:cubicBezTo>
                    <a:pt x="65" y="602"/>
                    <a:pt x="66" y="598"/>
                    <a:pt x="63" y="597"/>
                  </a:cubicBezTo>
                  <a:cubicBezTo>
                    <a:pt x="61" y="596"/>
                    <a:pt x="52" y="603"/>
                    <a:pt x="52" y="603"/>
                  </a:cubicBezTo>
                  <a:cubicBezTo>
                    <a:pt x="56" y="607"/>
                    <a:pt x="56" y="607"/>
                    <a:pt x="56" y="607"/>
                  </a:cubicBezTo>
                  <a:cubicBezTo>
                    <a:pt x="50" y="607"/>
                    <a:pt x="50" y="607"/>
                    <a:pt x="50" y="607"/>
                  </a:cubicBezTo>
                  <a:cubicBezTo>
                    <a:pt x="50" y="607"/>
                    <a:pt x="52" y="608"/>
                    <a:pt x="55" y="610"/>
                  </a:cubicBezTo>
                  <a:cubicBezTo>
                    <a:pt x="57" y="613"/>
                    <a:pt x="61" y="616"/>
                    <a:pt x="61" y="616"/>
                  </a:cubicBezTo>
                  <a:cubicBezTo>
                    <a:pt x="55" y="615"/>
                    <a:pt x="55" y="615"/>
                    <a:pt x="55" y="615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8" y="617"/>
                    <a:pt x="48" y="617"/>
                    <a:pt x="48" y="617"/>
                  </a:cubicBezTo>
                  <a:cubicBezTo>
                    <a:pt x="51" y="610"/>
                    <a:pt x="51" y="610"/>
                    <a:pt x="51" y="610"/>
                  </a:cubicBezTo>
                  <a:cubicBezTo>
                    <a:pt x="51" y="610"/>
                    <a:pt x="50" y="608"/>
                    <a:pt x="46" y="608"/>
                  </a:cubicBezTo>
                  <a:cubicBezTo>
                    <a:pt x="42" y="608"/>
                    <a:pt x="43" y="612"/>
                    <a:pt x="43" y="612"/>
                  </a:cubicBezTo>
                  <a:cubicBezTo>
                    <a:pt x="43" y="612"/>
                    <a:pt x="40" y="608"/>
                    <a:pt x="38" y="608"/>
                  </a:cubicBezTo>
                  <a:cubicBezTo>
                    <a:pt x="34" y="608"/>
                    <a:pt x="33" y="612"/>
                    <a:pt x="33" y="612"/>
                  </a:cubicBezTo>
                  <a:cubicBezTo>
                    <a:pt x="39" y="615"/>
                    <a:pt x="39" y="615"/>
                    <a:pt x="39" y="615"/>
                  </a:cubicBezTo>
                  <a:cubicBezTo>
                    <a:pt x="38" y="616"/>
                    <a:pt x="38" y="616"/>
                    <a:pt x="38" y="616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32" y="609"/>
                    <a:pt x="32" y="609"/>
                    <a:pt x="32" y="609"/>
                  </a:cubicBezTo>
                  <a:cubicBezTo>
                    <a:pt x="28" y="605"/>
                    <a:pt x="28" y="605"/>
                    <a:pt x="28" y="605"/>
                  </a:cubicBezTo>
                  <a:cubicBezTo>
                    <a:pt x="25" y="609"/>
                    <a:pt x="25" y="609"/>
                    <a:pt x="25" y="609"/>
                  </a:cubicBezTo>
                  <a:cubicBezTo>
                    <a:pt x="26" y="611"/>
                    <a:pt x="26" y="611"/>
                    <a:pt x="26" y="611"/>
                  </a:cubicBezTo>
                  <a:cubicBezTo>
                    <a:pt x="26" y="611"/>
                    <a:pt x="32" y="616"/>
                    <a:pt x="32" y="618"/>
                  </a:cubicBezTo>
                  <a:cubicBezTo>
                    <a:pt x="31" y="621"/>
                    <a:pt x="25" y="620"/>
                    <a:pt x="25" y="624"/>
                  </a:cubicBezTo>
                  <a:cubicBezTo>
                    <a:pt x="25" y="627"/>
                    <a:pt x="34" y="623"/>
                    <a:pt x="34" y="623"/>
                  </a:cubicBezTo>
                  <a:cubicBezTo>
                    <a:pt x="50" y="627"/>
                    <a:pt x="50" y="627"/>
                    <a:pt x="50" y="627"/>
                  </a:cubicBezTo>
                  <a:cubicBezTo>
                    <a:pt x="49" y="628"/>
                    <a:pt x="49" y="628"/>
                    <a:pt x="49" y="628"/>
                  </a:cubicBezTo>
                  <a:cubicBezTo>
                    <a:pt x="64" y="632"/>
                    <a:pt x="64" y="632"/>
                    <a:pt x="64" y="632"/>
                  </a:cubicBezTo>
                  <a:cubicBezTo>
                    <a:pt x="71" y="629"/>
                    <a:pt x="71" y="629"/>
                    <a:pt x="71" y="629"/>
                  </a:cubicBezTo>
                  <a:cubicBezTo>
                    <a:pt x="78" y="631"/>
                    <a:pt x="78" y="631"/>
                    <a:pt x="78" y="631"/>
                  </a:cubicBezTo>
                  <a:cubicBezTo>
                    <a:pt x="78" y="632"/>
                    <a:pt x="78" y="632"/>
                    <a:pt x="78" y="632"/>
                  </a:cubicBezTo>
                  <a:cubicBezTo>
                    <a:pt x="72" y="631"/>
                    <a:pt x="72" y="631"/>
                    <a:pt x="72" y="631"/>
                  </a:cubicBezTo>
                  <a:cubicBezTo>
                    <a:pt x="65" y="633"/>
                    <a:pt x="65" y="633"/>
                    <a:pt x="65" y="633"/>
                  </a:cubicBezTo>
                  <a:cubicBezTo>
                    <a:pt x="56" y="631"/>
                    <a:pt x="56" y="631"/>
                    <a:pt x="56" y="631"/>
                  </a:cubicBezTo>
                  <a:cubicBezTo>
                    <a:pt x="55" y="633"/>
                    <a:pt x="55" y="633"/>
                    <a:pt x="55" y="633"/>
                  </a:cubicBezTo>
                  <a:cubicBezTo>
                    <a:pt x="55" y="633"/>
                    <a:pt x="42" y="626"/>
                    <a:pt x="35" y="626"/>
                  </a:cubicBezTo>
                  <a:cubicBezTo>
                    <a:pt x="28" y="626"/>
                    <a:pt x="29" y="629"/>
                    <a:pt x="29" y="629"/>
                  </a:cubicBezTo>
                  <a:cubicBezTo>
                    <a:pt x="29" y="629"/>
                    <a:pt x="28" y="629"/>
                    <a:pt x="25" y="631"/>
                  </a:cubicBezTo>
                  <a:cubicBezTo>
                    <a:pt x="23" y="632"/>
                    <a:pt x="25" y="635"/>
                    <a:pt x="25" y="635"/>
                  </a:cubicBezTo>
                  <a:cubicBezTo>
                    <a:pt x="25" y="635"/>
                    <a:pt x="19" y="634"/>
                    <a:pt x="17" y="638"/>
                  </a:cubicBezTo>
                  <a:cubicBezTo>
                    <a:pt x="16" y="641"/>
                    <a:pt x="19" y="642"/>
                    <a:pt x="19" y="642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2" y="646"/>
                    <a:pt x="32" y="646"/>
                    <a:pt x="32" y="646"/>
                  </a:cubicBezTo>
                  <a:cubicBezTo>
                    <a:pt x="26" y="644"/>
                    <a:pt x="26" y="644"/>
                    <a:pt x="26" y="644"/>
                  </a:cubicBezTo>
                  <a:cubicBezTo>
                    <a:pt x="24" y="646"/>
                    <a:pt x="24" y="646"/>
                    <a:pt x="24" y="646"/>
                  </a:cubicBezTo>
                  <a:cubicBezTo>
                    <a:pt x="28" y="648"/>
                    <a:pt x="28" y="648"/>
                    <a:pt x="28" y="648"/>
                  </a:cubicBezTo>
                  <a:cubicBezTo>
                    <a:pt x="23" y="648"/>
                    <a:pt x="23" y="648"/>
                    <a:pt x="23" y="648"/>
                  </a:cubicBezTo>
                  <a:cubicBezTo>
                    <a:pt x="23" y="650"/>
                    <a:pt x="23" y="650"/>
                    <a:pt x="23" y="650"/>
                  </a:cubicBezTo>
                  <a:cubicBezTo>
                    <a:pt x="32" y="652"/>
                    <a:pt x="32" y="652"/>
                    <a:pt x="32" y="652"/>
                  </a:cubicBezTo>
                  <a:cubicBezTo>
                    <a:pt x="17" y="655"/>
                    <a:pt x="17" y="655"/>
                    <a:pt x="17" y="655"/>
                  </a:cubicBezTo>
                  <a:cubicBezTo>
                    <a:pt x="17" y="657"/>
                    <a:pt x="17" y="657"/>
                    <a:pt x="17" y="657"/>
                  </a:cubicBezTo>
                  <a:cubicBezTo>
                    <a:pt x="20" y="657"/>
                    <a:pt x="20" y="657"/>
                    <a:pt x="20" y="657"/>
                  </a:cubicBezTo>
                  <a:cubicBezTo>
                    <a:pt x="20" y="660"/>
                    <a:pt x="20" y="660"/>
                    <a:pt x="20" y="660"/>
                  </a:cubicBezTo>
                  <a:cubicBezTo>
                    <a:pt x="30" y="660"/>
                    <a:pt x="30" y="660"/>
                    <a:pt x="30" y="660"/>
                  </a:cubicBezTo>
                  <a:cubicBezTo>
                    <a:pt x="17" y="663"/>
                    <a:pt x="17" y="663"/>
                    <a:pt x="17" y="663"/>
                  </a:cubicBezTo>
                  <a:cubicBezTo>
                    <a:pt x="15" y="667"/>
                    <a:pt x="15" y="667"/>
                    <a:pt x="15" y="667"/>
                  </a:cubicBezTo>
                  <a:cubicBezTo>
                    <a:pt x="22" y="670"/>
                    <a:pt x="22" y="670"/>
                    <a:pt x="22" y="670"/>
                  </a:cubicBezTo>
                  <a:cubicBezTo>
                    <a:pt x="18" y="670"/>
                    <a:pt x="18" y="670"/>
                    <a:pt x="18" y="670"/>
                  </a:cubicBezTo>
                  <a:cubicBezTo>
                    <a:pt x="23" y="675"/>
                    <a:pt x="23" y="675"/>
                    <a:pt x="23" y="675"/>
                  </a:cubicBezTo>
                  <a:cubicBezTo>
                    <a:pt x="26" y="675"/>
                    <a:pt x="26" y="675"/>
                    <a:pt x="26" y="675"/>
                  </a:cubicBezTo>
                  <a:cubicBezTo>
                    <a:pt x="28" y="677"/>
                    <a:pt x="28" y="677"/>
                    <a:pt x="28" y="677"/>
                  </a:cubicBezTo>
                  <a:cubicBezTo>
                    <a:pt x="48" y="672"/>
                    <a:pt x="48" y="672"/>
                    <a:pt x="48" y="672"/>
                  </a:cubicBezTo>
                  <a:cubicBezTo>
                    <a:pt x="46" y="675"/>
                    <a:pt x="46" y="675"/>
                    <a:pt x="46" y="675"/>
                  </a:cubicBezTo>
                  <a:cubicBezTo>
                    <a:pt x="55" y="674"/>
                    <a:pt x="55" y="674"/>
                    <a:pt x="55" y="674"/>
                  </a:cubicBezTo>
                  <a:cubicBezTo>
                    <a:pt x="55" y="674"/>
                    <a:pt x="56" y="677"/>
                    <a:pt x="61" y="677"/>
                  </a:cubicBezTo>
                  <a:cubicBezTo>
                    <a:pt x="65" y="677"/>
                    <a:pt x="63" y="668"/>
                    <a:pt x="63" y="668"/>
                  </a:cubicBezTo>
                  <a:cubicBezTo>
                    <a:pt x="66" y="667"/>
                    <a:pt x="66" y="667"/>
                    <a:pt x="66" y="667"/>
                  </a:cubicBezTo>
                  <a:cubicBezTo>
                    <a:pt x="71" y="661"/>
                    <a:pt x="71" y="661"/>
                    <a:pt x="71" y="661"/>
                  </a:cubicBezTo>
                  <a:cubicBezTo>
                    <a:pt x="72" y="662"/>
                    <a:pt x="72" y="662"/>
                    <a:pt x="72" y="662"/>
                  </a:cubicBezTo>
                  <a:cubicBezTo>
                    <a:pt x="67" y="670"/>
                    <a:pt x="67" y="670"/>
                    <a:pt x="67" y="670"/>
                  </a:cubicBezTo>
                  <a:cubicBezTo>
                    <a:pt x="69" y="674"/>
                    <a:pt x="69" y="674"/>
                    <a:pt x="69" y="674"/>
                  </a:cubicBezTo>
                  <a:cubicBezTo>
                    <a:pt x="79" y="675"/>
                    <a:pt x="79" y="675"/>
                    <a:pt x="79" y="675"/>
                  </a:cubicBezTo>
                  <a:cubicBezTo>
                    <a:pt x="83" y="671"/>
                    <a:pt x="83" y="671"/>
                    <a:pt x="83" y="671"/>
                  </a:cubicBezTo>
                  <a:cubicBezTo>
                    <a:pt x="83" y="675"/>
                    <a:pt x="83" y="675"/>
                    <a:pt x="83" y="675"/>
                  </a:cubicBezTo>
                  <a:cubicBezTo>
                    <a:pt x="76" y="677"/>
                    <a:pt x="76" y="677"/>
                    <a:pt x="76" y="677"/>
                  </a:cubicBezTo>
                  <a:cubicBezTo>
                    <a:pt x="78" y="679"/>
                    <a:pt x="78" y="679"/>
                    <a:pt x="78" y="679"/>
                  </a:cubicBezTo>
                  <a:cubicBezTo>
                    <a:pt x="90" y="675"/>
                    <a:pt x="90" y="675"/>
                    <a:pt x="90" y="675"/>
                  </a:cubicBezTo>
                  <a:cubicBezTo>
                    <a:pt x="89" y="668"/>
                    <a:pt x="89" y="668"/>
                    <a:pt x="89" y="668"/>
                  </a:cubicBezTo>
                  <a:cubicBezTo>
                    <a:pt x="89" y="668"/>
                    <a:pt x="91" y="664"/>
                    <a:pt x="93" y="661"/>
                  </a:cubicBezTo>
                  <a:cubicBezTo>
                    <a:pt x="94" y="659"/>
                    <a:pt x="98" y="656"/>
                    <a:pt x="98" y="656"/>
                  </a:cubicBezTo>
                  <a:cubicBezTo>
                    <a:pt x="99" y="658"/>
                    <a:pt x="99" y="658"/>
                    <a:pt x="99" y="658"/>
                  </a:cubicBezTo>
                  <a:cubicBezTo>
                    <a:pt x="99" y="658"/>
                    <a:pt x="97" y="660"/>
                    <a:pt x="95" y="662"/>
                  </a:cubicBezTo>
                  <a:cubicBezTo>
                    <a:pt x="93" y="663"/>
                    <a:pt x="90" y="668"/>
                    <a:pt x="90" y="668"/>
                  </a:cubicBezTo>
                  <a:cubicBezTo>
                    <a:pt x="92" y="671"/>
                    <a:pt x="92" y="671"/>
                    <a:pt x="92" y="671"/>
                  </a:cubicBezTo>
                  <a:cubicBezTo>
                    <a:pt x="93" y="675"/>
                    <a:pt x="93" y="675"/>
                    <a:pt x="93" y="675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98" y="676"/>
                    <a:pt x="98" y="676"/>
                    <a:pt x="98" y="676"/>
                  </a:cubicBezTo>
                  <a:cubicBezTo>
                    <a:pt x="96" y="676"/>
                    <a:pt x="96" y="676"/>
                    <a:pt x="96" y="676"/>
                  </a:cubicBezTo>
                  <a:cubicBezTo>
                    <a:pt x="92" y="677"/>
                    <a:pt x="92" y="677"/>
                    <a:pt x="92" y="677"/>
                  </a:cubicBezTo>
                  <a:cubicBezTo>
                    <a:pt x="92" y="680"/>
                    <a:pt x="92" y="680"/>
                    <a:pt x="92" y="680"/>
                  </a:cubicBezTo>
                  <a:cubicBezTo>
                    <a:pt x="88" y="678"/>
                    <a:pt x="88" y="678"/>
                    <a:pt x="88" y="678"/>
                  </a:cubicBezTo>
                  <a:cubicBezTo>
                    <a:pt x="80" y="680"/>
                    <a:pt x="80" y="680"/>
                    <a:pt x="80" y="680"/>
                  </a:cubicBezTo>
                  <a:cubicBezTo>
                    <a:pt x="80" y="686"/>
                    <a:pt x="80" y="686"/>
                    <a:pt x="80" y="686"/>
                  </a:cubicBezTo>
                  <a:cubicBezTo>
                    <a:pt x="82" y="691"/>
                    <a:pt x="82" y="691"/>
                    <a:pt x="82" y="691"/>
                  </a:cubicBezTo>
                  <a:cubicBezTo>
                    <a:pt x="79" y="688"/>
                    <a:pt x="79" y="688"/>
                    <a:pt x="79" y="688"/>
                  </a:cubicBezTo>
                  <a:cubicBezTo>
                    <a:pt x="76" y="690"/>
                    <a:pt x="76" y="690"/>
                    <a:pt x="76" y="690"/>
                  </a:cubicBezTo>
                  <a:cubicBezTo>
                    <a:pt x="78" y="686"/>
                    <a:pt x="78" y="686"/>
                    <a:pt x="78" y="686"/>
                  </a:cubicBezTo>
                  <a:cubicBezTo>
                    <a:pt x="77" y="681"/>
                    <a:pt x="77" y="681"/>
                    <a:pt x="77" y="68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4" y="678"/>
                    <a:pt x="74" y="678"/>
                    <a:pt x="74" y="678"/>
                  </a:cubicBezTo>
                  <a:cubicBezTo>
                    <a:pt x="74" y="678"/>
                    <a:pt x="67" y="676"/>
                    <a:pt x="66" y="675"/>
                  </a:cubicBezTo>
                  <a:cubicBezTo>
                    <a:pt x="65" y="675"/>
                    <a:pt x="64" y="679"/>
                    <a:pt x="64" y="679"/>
                  </a:cubicBezTo>
                  <a:cubicBezTo>
                    <a:pt x="56" y="680"/>
                    <a:pt x="56" y="680"/>
                    <a:pt x="56" y="680"/>
                  </a:cubicBezTo>
                  <a:cubicBezTo>
                    <a:pt x="56" y="678"/>
                    <a:pt x="56" y="678"/>
                    <a:pt x="56" y="678"/>
                  </a:cubicBezTo>
                  <a:cubicBezTo>
                    <a:pt x="42" y="676"/>
                    <a:pt x="42" y="676"/>
                    <a:pt x="42" y="676"/>
                  </a:cubicBezTo>
                  <a:cubicBezTo>
                    <a:pt x="41" y="678"/>
                    <a:pt x="41" y="678"/>
                    <a:pt x="41" y="678"/>
                  </a:cubicBezTo>
                  <a:cubicBezTo>
                    <a:pt x="39" y="676"/>
                    <a:pt x="39" y="676"/>
                    <a:pt x="39" y="676"/>
                  </a:cubicBezTo>
                  <a:cubicBezTo>
                    <a:pt x="33" y="678"/>
                    <a:pt x="33" y="678"/>
                    <a:pt x="33" y="678"/>
                  </a:cubicBezTo>
                  <a:cubicBezTo>
                    <a:pt x="31" y="681"/>
                    <a:pt x="31" y="681"/>
                    <a:pt x="31" y="681"/>
                  </a:cubicBezTo>
                  <a:cubicBezTo>
                    <a:pt x="24" y="680"/>
                    <a:pt x="24" y="680"/>
                    <a:pt x="24" y="680"/>
                  </a:cubicBezTo>
                  <a:cubicBezTo>
                    <a:pt x="24" y="680"/>
                    <a:pt x="23" y="678"/>
                    <a:pt x="19" y="678"/>
                  </a:cubicBezTo>
                  <a:cubicBezTo>
                    <a:pt x="16" y="678"/>
                    <a:pt x="15" y="682"/>
                    <a:pt x="15" y="682"/>
                  </a:cubicBezTo>
                  <a:cubicBezTo>
                    <a:pt x="18" y="686"/>
                    <a:pt x="18" y="686"/>
                    <a:pt x="18" y="686"/>
                  </a:cubicBezTo>
                  <a:cubicBezTo>
                    <a:pt x="14" y="687"/>
                    <a:pt x="14" y="687"/>
                    <a:pt x="14" y="687"/>
                  </a:cubicBezTo>
                  <a:cubicBezTo>
                    <a:pt x="14" y="687"/>
                    <a:pt x="14" y="692"/>
                    <a:pt x="18" y="693"/>
                  </a:cubicBezTo>
                  <a:cubicBezTo>
                    <a:pt x="22" y="695"/>
                    <a:pt x="24" y="691"/>
                    <a:pt x="24" y="691"/>
                  </a:cubicBezTo>
                  <a:cubicBezTo>
                    <a:pt x="28" y="691"/>
                    <a:pt x="28" y="691"/>
                    <a:pt x="28" y="691"/>
                  </a:cubicBezTo>
                  <a:cubicBezTo>
                    <a:pt x="27" y="692"/>
                    <a:pt x="27" y="692"/>
                    <a:pt x="27" y="692"/>
                  </a:cubicBezTo>
                  <a:cubicBezTo>
                    <a:pt x="27" y="692"/>
                    <a:pt x="23" y="692"/>
                    <a:pt x="22" y="697"/>
                  </a:cubicBezTo>
                  <a:cubicBezTo>
                    <a:pt x="20" y="703"/>
                    <a:pt x="27" y="704"/>
                    <a:pt x="27" y="704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7" y="707"/>
                    <a:pt x="27" y="707"/>
                    <a:pt x="27" y="707"/>
                  </a:cubicBezTo>
                  <a:cubicBezTo>
                    <a:pt x="30" y="707"/>
                    <a:pt x="30" y="707"/>
                    <a:pt x="30" y="707"/>
                  </a:cubicBezTo>
                  <a:cubicBezTo>
                    <a:pt x="30" y="707"/>
                    <a:pt x="29" y="705"/>
                    <a:pt x="29" y="703"/>
                  </a:cubicBezTo>
                  <a:cubicBezTo>
                    <a:pt x="29" y="702"/>
                    <a:pt x="32" y="701"/>
                    <a:pt x="32" y="701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8" y="704"/>
                    <a:pt x="36" y="708"/>
                    <a:pt x="35" y="711"/>
                  </a:cubicBezTo>
                  <a:cubicBezTo>
                    <a:pt x="34" y="714"/>
                    <a:pt x="34" y="719"/>
                    <a:pt x="34" y="719"/>
                  </a:cubicBezTo>
                  <a:cubicBezTo>
                    <a:pt x="25" y="720"/>
                    <a:pt x="25" y="720"/>
                    <a:pt x="25" y="720"/>
                  </a:cubicBezTo>
                  <a:cubicBezTo>
                    <a:pt x="25" y="720"/>
                    <a:pt x="24" y="713"/>
                    <a:pt x="19" y="714"/>
                  </a:cubicBezTo>
                  <a:cubicBezTo>
                    <a:pt x="15" y="715"/>
                    <a:pt x="19" y="723"/>
                    <a:pt x="19" y="723"/>
                  </a:cubicBezTo>
                  <a:cubicBezTo>
                    <a:pt x="19" y="723"/>
                    <a:pt x="15" y="723"/>
                    <a:pt x="15" y="727"/>
                  </a:cubicBezTo>
                  <a:cubicBezTo>
                    <a:pt x="15" y="731"/>
                    <a:pt x="18" y="730"/>
                    <a:pt x="18" y="730"/>
                  </a:cubicBezTo>
                  <a:cubicBezTo>
                    <a:pt x="17" y="733"/>
                    <a:pt x="17" y="733"/>
                    <a:pt x="17" y="733"/>
                  </a:cubicBezTo>
                  <a:cubicBezTo>
                    <a:pt x="22" y="738"/>
                    <a:pt x="22" y="738"/>
                    <a:pt x="22" y="738"/>
                  </a:cubicBezTo>
                  <a:cubicBezTo>
                    <a:pt x="26" y="735"/>
                    <a:pt x="26" y="735"/>
                    <a:pt x="26" y="735"/>
                  </a:cubicBezTo>
                  <a:cubicBezTo>
                    <a:pt x="29" y="727"/>
                    <a:pt x="29" y="727"/>
                    <a:pt x="29" y="727"/>
                  </a:cubicBezTo>
                  <a:cubicBezTo>
                    <a:pt x="27" y="734"/>
                    <a:pt x="27" y="734"/>
                    <a:pt x="27" y="734"/>
                  </a:cubicBezTo>
                  <a:cubicBezTo>
                    <a:pt x="27" y="738"/>
                    <a:pt x="27" y="738"/>
                    <a:pt x="27" y="738"/>
                  </a:cubicBezTo>
                  <a:cubicBezTo>
                    <a:pt x="32" y="738"/>
                    <a:pt x="32" y="738"/>
                    <a:pt x="32" y="738"/>
                  </a:cubicBezTo>
                  <a:cubicBezTo>
                    <a:pt x="33" y="739"/>
                    <a:pt x="31" y="743"/>
                    <a:pt x="31" y="743"/>
                  </a:cubicBezTo>
                  <a:cubicBezTo>
                    <a:pt x="32" y="744"/>
                    <a:pt x="32" y="744"/>
                    <a:pt x="32" y="744"/>
                  </a:cubicBezTo>
                  <a:cubicBezTo>
                    <a:pt x="30" y="744"/>
                    <a:pt x="30" y="744"/>
                    <a:pt x="30" y="744"/>
                  </a:cubicBezTo>
                  <a:cubicBezTo>
                    <a:pt x="30" y="746"/>
                    <a:pt x="30" y="746"/>
                    <a:pt x="30" y="746"/>
                  </a:cubicBezTo>
                  <a:cubicBezTo>
                    <a:pt x="34" y="750"/>
                    <a:pt x="34" y="750"/>
                    <a:pt x="34" y="750"/>
                  </a:cubicBezTo>
                  <a:cubicBezTo>
                    <a:pt x="38" y="745"/>
                    <a:pt x="38" y="745"/>
                    <a:pt x="38" y="745"/>
                  </a:cubicBezTo>
                  <a:cubicBezTo>
                    <a:pt x="38" y="738"/>
                    <a:pt x="38" y="738"/>
                    <a:pt x="38" y="738"/>
                  </a:cubicBezTo>
                  <a:cubicBezTo>
                    <a:pt x="40" y="737"/>
                    <a:pt x="40" y="737"/>
                    <a:pt x="40" y="737"/>
                  </a:cubicBezTo>
                  <a:cubicBezTo>
                    <a:pt x="42" y="731"/>
                    <a:pt x="42" y="731"/>
                    <a:pt x="42" y="731"/>
                  </a:cubicBezTo>
                  <a:cubicBezTo>
                    <a:pt x="42" y="731"/>
                    <a:pt x="45" y="734"/>
                    <a:pt x="47" y="731"/>
                  </a:cubicBezTo>
                  <a:cubicBezTo>
                    <a:pt x="48" y="730"/>
                    <a:pt x="47" y="726"/>
                    <a:pt x="47" y="726"/>
                  </a:cubicBezTo>
                  <a:cubicBezTo>
                    <a:pt x="47" y="726"/>
                    <a:pt x="49" y="725"/>
                    <a:pt x="55" y="723"/>
                  </a:cubicBezTo>
                  <a:cubicBezTo>
                    <a:pt x="59" y="720"/>
                    <a:pt x="64" y="720"/>
                    <a:pt x="64" y="720"/>
                  </a:cubicBezTo>
                  <a:cubicBezTo>
                    <a:pt x="64" y="722"/>
                    <a:pt x="64" y="722"/>
                    <a:pt x="64" y="722"/>
                  </a:cubicBezTo>
                  <a:cubicBezTo>
                    <a:pt x="71" y="719"/>
                    <a:pt x="71" y="719"/>
                    <a:pt x="71" y="719"/>
                  </a:cubicBezTo>
                  <a:cubicBezTo>
                    <a:pt x="72" y="715"/>
                    <a:pt x="72" y="715"/>
                    <a:pt x="72" y="715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3" y="719"/>
                    <a:pt x="73" y="719"/>
                    <a:pt x="73" y="719"/>
                  </a:cubicBezTo>
                  <a:cubicBezTo>
                    <a:pt x="77" y="720"/>
                    <a:pt x="77" y="720"/>
                    <a:pt x="77" y="720"/>
                  </a:cubicBezTo>
                  <a:cubicBezTo>
                    <a:pt x="77" y="720"/>
                    <a:pt x="68" y="721"/>
                    <a:pt x="65" y="726"/>
                  </a:cubicBezTo>
                  <a:cubicBezTo>
                    <a:pt x="62" y="731"/>
                    <a:pt x="63" y="735"/>
                    <a:pt x="62" y="738"/>
                  </a:cubicBezTo>
                  <a:cubicBezTo>
                    <a:pt x="62" y="740"/>
                    <a:pt x="58" y="743"/>
                    <a:pt x="58" y="743"/>
                  </a:cubicBezTo>
                  <a:cubicBezTo>
                    <a:pt x="62" y="726"/>
                    <a:pt x="62" y="726"/>
                    <a:pt x="62" y="726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62" y="723"/>
                    <a:pt x="58" y="724"/>
                    <a:pt x="56" y="726"/>
                  </a:cubicBezTo>
                  <a:cubicBezTo>
                    <a:pt x="52" y="727"/>
                    <a:pt x="47" y="735"/>
                    <a:pt x="47" y="735"/>
                  </a:cubicBezTo>
                  <a:cubicBezTo>
                    <a:pt x="47" y="735"/>
                    <a:pt x="44" y="736"/>
                    <a:pt x="44" y="739"/>
                  </a:cubicBezTo>
                  <a:cubicBezTo>
                    <a:pt x="45" y="742"/>
                    <a:pt x="50" y="740"/>
                    <a:pt x="48" y="742"/>
                  </a:cubicBezTo>
                  <a:cubicBezTo>
                    <a:pt x="47" y="743"/>
                    <a:pt x="43" y="743"/>
                    <a:pt x="41" y="745"/>
                  </a:cubicBezTo>
                  <a:cubicBezTo>
                    <a:pt x="39" y="747"/>
                    <a:pt x="39" y="752"/>
                    <a:pt x="39" y="752"/>
                  </a:cubicBezTo>
                  <a:cubicBezTo>
                    <a:pt x="32" y="752"/>
                    <a:pt x="32" y="752"/>
                    <a:pt x="32" y="752"/>
                  </a:cubicBezTo>
                  <a:cubicBezTo>
                    <a:pt x="28" y="757"/>
                    <a:pt x="28" y="757"/>
                    <a:pt x="28" y="757"/>
                  </a:cubicBezTo>
                  <a:cubicBezTo>
                    <a:pt x="33" y="762"/>
                    <a:pt x="33" y="762"/>
                    <a:pt x="33" y="762"/>
                  </a:cubicBezTo>
                  <a:cubicBezTo>
                    <a:pt x="39" y="759"/>
                    <a:pt x="39" y="759"/>
                    <a:pt x="39" y="759"/>
                  </a:cubicBezTo>
                  <a:cubicBezTo>
                    <a:pt x="38" y="764"/>
                    <a:pt x="38" y="764"/>
                    <a:pt x="38" y="764"/>
                  </a:cubicBezTo>
                  <a:cubicBezTo>
                    <a:pt x="40" y="765"/>
                    <a:pt x="40" y="765"/>
                    <a:pt x="40" y="765"/>
                  </a:cubicBezTo>
                  <a:cubicBezTo>
                    <a:pt x="46" y="760"/>
                    <a:pt x="46" y="760"/>
                    <a:pt x="46" y="760"/>
                  </a:cubicBezTo>
                  <a:cubicBezTo>
                    <a:pt x="42" y="766"/>
                    <a:pt x="42" y="766"/>
                    <a:pt x="42" y="766"/>
                  </a:cubicBezTo>
                  <a:cubicBezTo>
                    <a:pt x="44" y="768"/>
                    <a:pt x="44" y="768"/>
                    <a:pt x="44" y="768"/>
                  </a:cubicBezTo>
                  <a:cubicBezTo>
                    <a:pt x="34" y="765"/>
                    <a:pt x="34" y="765"/>
                    <a:pt x="34" y="765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72"/>
                    <a:pt x="34" y="772"/>
                    <a:pt x="34" y="772"/>
                  </a:cubicBezTo>
                  <a:cubicBezTo>
                    <a:pt x="26" y="768"/>
                    <a:pt x="26" y="768"/>
                    <a:pt x="26" y="768"/>
                  </a:cubicBezTo>
                  <a:cubicBezTo>
                    <a:pt x="23" y="770"/>
                    <a:pt x="23" y="770"/>
                    <a:pt x="23" y="770"/>
                  </a:cubicBezTo>
                  <a:cubicBezTo>
                    <a:pt x="20" y="778"/>
                    <a:pt x="20" y="778"/>
                    <a:pt x="20" y="778"/>
                  </a:cubicBezTo>
                  <a:cubicBezTo>
                    <a:pt x="18" y="780"/>
                    <a:pt x="18" y="780"/>
                    <a:pt x="18" y="780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9" y="767"/>
                    <a:pt x="19" y="767"/>
                    <a:pt x="19" y="767"/>
                  </a:cubicBezTo>
                  <a:cubicBezTo>
                    <a:pt x="18" y="771"/>
                    <a:pt x="18" y="771"/>
                    <a:pt x="18" y="771"/>
                  </a:cubicBezTo>
                  <a:cubicBezTo>
                    <a:pt x="15" y="771"/>
                    <a:pt x="15" y="771"/>
                    <a:pt x="15" y="771"/>
                  </a:cubicBezTo>
                  <a:cubicBezTo>
                    <a:pt x="10" y="780"/>
                    <a:pt x="10" y="780"/>
                    <a:pt x="10" y="780"/>
                  </a:cubicBezTo>
                  <a:cubicBezTo>
                    <a:pt x="13" y="793"/>
                    <a:pt x="13" y="793"/>
                    <a:pt x="13" y="793"/>
                  </a:cubicBezTo>
                  <a:cubicBezTo>
                    <a:pt x="14" y="792"/>
                    <a:pt x="14" y="792"/>
                    <a:pt x="14" y="792"/>
                  </a:cubicBezTo>
                  <a:cubicBezTo>
                    <a:pt x="14" y="800"/>
                    <a:pt x="14" y="800"/>
                    <a:pt x="14" y="800"/>
                  </a:cubicBezTo>
                  <a:cubicBezTo>
                    <a:pt x="17" y="800"/>
                    <a:pt x="17" y="800"/>
                    <a:pt x="17" y="800"/>
                  </a:cubicBezTo>
                  <a:cubicBezTo>
                    <a:pt x="17" y="793"/>
                    <a:pt x="17" y="793"/>
                    <a:pt x="17" y="793"/>
                  </a:cubicBezTo>
                  <a:cubicBezTo>
                    <a:pt x="22" y="792"/>
                    <a:pt x="22" y="792"/>
                    <a:pt x="22" y="792"/>
                  </a:cubicBezTo>
                  <a:cubicBezTo>
                    <a:pt x="22" y="789"/>
                    <a:pt x="22" y="789"/>
                    <a:pt x="22" y="789"/>
                  </a:cubicBezTo>
                  <a:cubicBezTo>
                    <a:pt x="25" y="791"/>
                    <a:pt x="25" y="791"/>
                    <a:pt x="25" y="791"/>
                  </a:cubicBezTo>
                  <a:cubicBezTo>
                    <a:pt x="23" y="794"/>
                    <a:pt x="23" y="794"/>
                    <a:pt x="23" y="794"/>
                  </a:cubicBezTo>
                  <a:cubicBezTo>
                    <a:pt x="24" y="796"/>
                    <a:pt x="24" y="796"/>
                    <a:pt x="24" y="796"/>
                  </a:cubicBezTo>
                  <a:cubicBezTo>
                    <a:pt x="32" y="788"/>
                    <a:pt x="32" y="788"/>
                    <a:pt x="32" y="788"/>
                  </a:cubicBezTo>
                  <a:cubicBezTo>
                    <a:pt x="30" y="784"/>
                    <a:pt x="30" y="784"/>
                    <a:pt x="30" y="784"/>
                  </a:cubicBezTo>
                  <a:cubicBezTo>
                    <a:pt x="26" y="785"/>
                    <a:pt x="26" y="785"/>
                    <a:pt x="26" y="785"/>
                  </a:cubicBezTo>
                  <a:cubicBezTo>
                    <a:pt x="31" y="782"/>
                    <a:pt x="31" y="782"/>
                    <a:pt x="31" y="782"/>
                  </a:cubicBezTo>
                  <a:cubicBezTo>
                    <a:pt x="32" y="778"/>
                    <a:pt x="32" y="778"/>
                    <a:pt x="32" y="778"/>
                  </a:cubicBezTo>
                  <a:cubicBezTo>
                    <a:pt x="34" y="783"/>
                    <a:pt x="34" y="783"/>
                    <a:pt x="34" y="783"/>
                  </a:cubicBezTo>
                  <a:cubicBezTo>
                    <a:pt x="39" y="784"/>
                    <a:pt x="39" y="784"/>
                    <a:pt x="39" y="784"/>
                  </a:cubicBezTo>
                  <a:cubicBezTo>
                    <a:pt x="35" y="785"/>
                    <a:pt x="35" y="785"/>
                    <a:pt x="35" y="785"/>
                  </a:cubicBezTo>
                  <a:cubicBezTo>
                    <a:pt x="36" y="788"/>
                    <a:pt x="36" y="788"/>
                    <a:pt x="36" y="788"/>
                  </a:cubicBezTo>
                  <a:cubicBezTo>
                    <a:pt x="41" y="786"/>
                    <a:pt x="41" y="786"/>
                    <a:pt x="41" y="786"/>
                  </a:cubicBezTo>
                  <a:cubicBezTo>
                    <a:pt x="43" y="780"/>
                    <a:pt x="43" y="780"/>
                    <a:pt x="43" y="780"/>
                  </a:cubicBezTo>
                  <a:cubicBezTo>
                    <a:pt x="45" y="778"/>
                    <a:pt x="45" y="778"/>
                    <a:pt x="45" y="778"/>
                  </a:cubicBezTo>
                  <a:cubicBezTo>
                    <a:pt x="47" y="773"/>
                    <a:pt x="47" y="773"/>
                    <a:pt x="47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7" y="780"/>
                    <a:pt x="47" y="780"/>
                    <a:pt x="47" y="780"/>
                  </a:cubicBezTo>
                  <a:cubicBezTo>
                    <a:pt x="52" y="777"/>
                    <a:pt x="52" y="777"/>
                    <a:pt x="52" y="777"/>
                  </a:cubicBezTo>
                  <a:cubicBezTo>
                    <a:pt x="52" y="778"/>
                    <a:pt x="52" y="778"/>
                    <a:pt x="52" y="778"/>
                  </a:cubicBezTo>
                  <a:cubicBezTo>
                    <a:pt x="45" y="782"/>
                    <a:pt x="45" y="782"/>
                    <a:pt x="45" y="782"/>
                  </a:cubicBezTo>
                  <a:cubicBezTo>
                    <a:pt x="44" y="788"/>
                    <a:pt x="44" y="788"/>
                    <a:pt x="44" y="788"/>
                  </a:cubicBezTo>
                  <a:cubicBezTo>
                    <a:pt x="38" y="790"/>
                    <a:pt x="38" y="790"/>
                    <a:pt x="38" y="790"/>
                  </a:cubicBezTo>
                  <a:cubicBezTo>
                    <a:pt x="40" y="792"/>
                    <a:pt x="40" y="792"/>
                    <a:pt x="40" y="792"/>
                  </a:cubicBezTo>
                  <a:cubicBezTo>
                    <a:pt x="40" y="792"/>
                    <a:pt x="41" y="790"/>
                    <a:pt x="44" y="791"/>
                  </a:cubicBezTo>
                  <a:cubicBezTo>
                    <a:pt x="46" y="792"/>
                    <a:pt x="41" y="796"/>
                    <a:pt x="41" y="796"/>
                  </a:cubicBezTo>
                  <a:cubicBezTo>
                    <a:pt x="49" y="793"/>
                    <a:pt x="49" y="793"/>
                    <a:pt x="49" y="793"/>
                  </a:cubicBezTo>
                  <a:cubicBezTo>
                    <a:pt x="49" y="793"/>
                    <a:pt x="42" y="797"/>
                    <a:pt x="41" y="798"/>
                  </a:cubicBezTo>
                  <a:cubicBezTo>
                    <a:pt x="39" y="799"/>
                    <a:pt x="36" y="803"/>
                    <a:pt x="36" y="803"/>
                  </a:cubicBezTo>
                  <a:cubicBezTo>
                    <a:pt x="38" y="805"/>
                    <a:pt x="38" y="805"/>
                    <a:pt x="38" y="805"/>
                  </a:cubicBezTo>
                  <a:cubicBezTo>
                    <a:pt x="31" y="807"/>
                    <a:pt x="31" y="807"/>
                    <a:pt x="31" y="807"/>
                  </a:cubicBezTo>
                  <a:cubicBezTo>
                    <a:pt x="34" y="813"/>
                    <a:pt x="34" y="813"/>
                    <a:pt x="34" y="813"/>
                  </a:cubicBezTo>
                  <a:cubicBezTo>
                    <a:pt x="35" y="817"/>
                    <a:pt x="35" y="817"/>
                    <a:pt x="35" y="817"/>
                  </a:cubicBezTo>
                  <a:cubicBezTo>
                    <a:pt x="43" y="813"/>
                    <a:pt x="43" y="813"/>
                    <a:pt x="43" y="813"/>
                  </a:cubicBezTo>
                  <a:cubicBezTo>
                    <a:pt x="50" y="814"/>
                    <a:pt x="50" y="814"/>
                    <a:pt x="50" y="814"/>
                  </a:cubicBezTo>
                  <a:cubicBezTo>
                    <a:pt x="44" y="815"/>
                    <a:pt x="44" y="815"/>
                    <a:pt x="44" y="815"/>
                  </a:cubicBezTo>
                  <a:cubicBezTo>
                    <a:pt x="38" y="819"/>
                    <a:pt x="38" y="819"/>
                    <a:pt x="38" y="819"/>
                  </a:cubicBezTo>
                  <a:cubicBezTo>
                    <a:pt x="38" y="822"/>
                    <a:pt x="38" y="822"/>
                    <a:pt x="38" y="822"/>
                  </a:cubicBezTo>
                  <a:cubicBezTo>
                    <a:pt x="30" y="816"/>
                    <a:pt x="30" y="816"/>
                    <a:pt x="30" y="816"/>
                  </a:cubicBezTo>
                  <a:cubicBezTo>
                    <a:pt x="25" y="820"/>
                    <a:pt x="25" y="820"/>
                    <a:pt x="25" y="820"/>
                  </a:cubicBezTo>
                  <a:cubicBezTo>
                    <a:pt x="25" y="814"/>
                    <a:pt x="25" y="814"/>
                    <a:pt x="25" y="814"/>
                  </a:cubicBezTo>
                  <a:cubicBezTo>
                    <a:pt x="19" y="812"/>
                    <a:pt x="19" y="812"/>
                    <a:pt x="19" y="812"/>
                  </a:cubicBezTo>
                  <a:cubicBezTo>
                    <a:pt x="20" y="820"/>
                    <a:pt x="20" y="820"/>
                    <a:pt x="20" y="820"/>
                  </a:cubicBezTo>
                  <a:cubicBezTo>
                    <a:pt x="18" y="821"/>
                    <a:pt x="18" y="821"/>
                    <a:pt x="18" y="821"/>
                  </a:cubicBezTo>
                  <a:cubicBezTo>
                    <a:pt x="17" y="824"/>
                    <a:pt x="17" y="824"/>
                    <a:pt x="17" y="824"/>
                  </a:cubicBezTo>
                  <a:cubicBezTo>
                    <a:pt x="14" y="829"/>
                    <a:pt x="14" y="829"/>
                    <a:pt x="14" y="829"/>
                  </a:cubicBezTo>
                  <a:cubicBezTo>
                    <a:pt x="14" y="829"/>
                    <a:pt x="18" y="841"/>
                    <a:pt x="23" y="844"/>
                  </a:cubicBezTo>
                  <a:cubicBezTo>
                    <a:pt x="26" y="847"/>
                    <a:pt x="29" y="849"/>
                    <a:pt x="31" y="853"/>
                  </a:cubicBezTo>
                  <a:cubicBezTo>
                    <a:pt x="33" y="857"/>
                    <a:pt x="49" y="863"/>
                    <a:pt x="49" y="863"/>
                  </a:cubicBezTo>
                  <a:cubicBezTo>
                    <a:pt x="50" y="866"/>
                    <a:pt x="50" y="866"/>
                    <a:pt x="50" y="866"/>
                  </a:cubicBezTo>
                  <a:cubicBezTo>
                    <a:pt x="53" y="862"/>
                    <a:pt x="53" y="862"/>
                    <a:pt x="53" y="862"/>
                  </a:cubicBezTo>
                  <a:cubicBezTo>
                    <a:pt x="58" y="865"/>
                    <a:pt x="58" y="865"/>
                    <a:pt x="58" y="865"/>
                  </a:cubicBezTo>
                  <a:cubicBezTo>
                    <a:pt x="48" y="872"/>
                    <a:pt x="48" y="872"/>
                    <a:pt x="48" y="872"/>
                  </a:cubicBezTo>
                  <a:cubicBezTo>
                    <a:pt x="50" y="876"/>
                    <a:pt x="50" y="876"/>
                    <a:pt x="50" y="876"/>
                  </a:cubicBezTo>
                  <a:cubicBezTo>
                    <a:pt x="58" y="876"/>
                    <a:pt x="58" y="876"/>
                    <a:pt x="58" y="876"/>
                  </a:cubicBezTo>
                  <a:cubicBezTo>
                    <a:pt x="56" y="873"/>
                    <a:pt x="56" y="873"/>
                    <a:pt x="56" y="873"/>
                  </a:cubicBezTo>
                  <a:cubicBezTo>
                    <a:pt x="60" y="871"/>
                    <a:pt x="60" y="871"/>
                    <a:pt x="60" y="871"/>
                  </a:cubicBezTo>
                  <a:cubicBezTo>
                    <a:pt x="65" y="873"/>
                    <a:pt x="65" y="873"/>
                    <a:pt x="65" y="873"/>
                  </a:cubicBezTo>
                  <a:cubicBezTo>
                    <a:pt x="60" y="875"/>
                    <a:pt x="60" y="875"/>
                    <a:pt x="60" y="875"/>
                  </a:cubicBezTo>
                  <a:cubicBezTo>
                    <a:pt x="64" y="879"/>
                    <a:pt x="64" y="879"/>
                    <a:pt x="64" y="879"/>
                  </a:cubicBezTo>
                  <a:cubicBezTo>
                    <a:pt x="68" y="877"/>
                    <a:pt x="68" y="877"/>
                    <a:pt x="68" y="877"/>
                  </a:cubicBezTo>
                  <a:cubicBezTo>
                    <a:pt x="68" y="877"/>
                    <a:pt x="74" y="880"/>
                    <a:pt x="80" y="880"/>
                  </a:cubicBezTo>
                  <a:cubicBezTo>
                    <a:pt x="85" y="880"/>
                    <a:pt x="88" y="878"/>
                    <a:pt x="92" y="877"/>
                  </a:cubicBezTo>
                  <a:cubicBezTo>
                    <a:pt x="96" y="876"/>
                    <a:pt x="101" y="870"/>
                    <a:pt x="101" y="870"/>
                  </a:cubicBezTo>
                  <a:cubicBezTo>
                    <a:pt x="101" y="877"/>
                    <a:pt x="101" y="877"/>
                    <a:pt x="101" y="877"/>
                  </a:cubicBezTo>
                  <a:cubicBezTo>
                    <a:pt x="124" y="857"/>
                    <a:pt x="124" y="857"/>
                    <a:pt x="124" y="857"/>
                  </a:cubicBezTo>
                  <a:cubicBezTo>
                    <a:pt x="124" y="853"/>
                    <a:pt x="124" y="853"/>
                    <a:pt x="124" y="853"/>
                  </a:cubicBezTo>
                  <a:cubicBezTo>
                    <a:pt x="142" y="839"/>
                    <a:pt x="142" y="839"/>
                    <a:pt x="142" y="839"/>
                  </a:cubicBezTo>
                  <a:cubicBezTo>
                    <a:pt x="141" y="835"/>
                    <a:pt x="141" y="835"/>
                    <a:pt x="141" y="835"/>
                  </a:cubicBezTo>
                  <a:cubicBezTo>
                    <a:pt x="145" y="836"/>
                    <a:pt x="145" y="836"/>
                    <a:pt x="145" y="836"/>
                  </a:cubicBezTo>
                  <a:cubicBezTo>
                    <a:pt x="150" y="830"/>
                    <a:pt x="150" y="830"/>
                    <a:pt x="150" y="830"/>
                  </a:cubicBezTo>
                  <a:cubicBezTo>
                    <a:pt x="146" y="828"/>
                    <a:pt x="146" y="828"/>
                    <a:pt x="146" y="828"/>
                  </a:cubicBezTo>
                  <a:cubicBezTo>
                    <a:pt x="161" y="817"/>
                    <a:pt x="161" y="817"/>
                    <a:pt x="161" y="817"/>
                  </a:cubicBezTo>
                  <a:cubicBezTo>
                    <a:pt x="156" y="810"/>
                    <a:pt x="156" y="810"/>
                    <a:pt x="156" y="810"/>
                  </a:cubicBezTo>
                  <a:cubicBezTo>
                    <a:pt x="159" y="812"/>
                    <a:pt x="159" y="812"/>
                    <a:pt x="159" y="812"/>
                  </a:cubicBezTo>
                  <a:cubicBezTo>
                    <a:pt x="167" y="821"/>
                    <a:pt x="167" y="821"/>
                    <a:pt x="167" y="821"/>
                  </a:cubicBezTo>
                  <a:cubicBezTo>
                    <a:pt x="180" y="817"/>
                    <a:pt x="180" y="817"/>
                    <a:pt x="180" y="817"/>
                  </a:cubicBezTo>
                  <a:cubicBezTo>
                    <a:pt x="181" y="805"/>
                    <a:pt x="181" y="805"/>
                    <a:pt x="181" y="805"/>
                  </a:cubicBezTo>
                  <a:cubicBezTo>
                    <a:pt x="184" y="808"/>
                    <a:pt x="184" y="808"/>
                    <a:pt x="184" y="808"/>
                  </a:cubicBezTo>
                  <a:cubicBezTo>
                    <a:pt x="188" y="806"/>
                    <a:pt x="188" y="806"/>
                    <a:pt x="188" y="806"/>
                  </a:cubicBezTo>
                  <a:cubicBezTo>
                    <a:pt x="186" y="803"/>
                    <a:pt x="186" y="803"/>
                    <a:pt x="186" y="803"/>
                  </a:cubicBezTo>
                  <a:cubicBezTo>
                    <a:pt x="189" y="803"/>
                    <a:pt x="189" y="803"/>
                    <a:pt x="189" y="803"/>
                  </a:cubicBezTo>
                  <a:cubicBezTo>
                    <a:pt x="188" y="791"/>
                    <a:pt x="188" y="791"/>
                    <a:pt x="188" y="791"/>
                  </a:cubicBezTo>
                  <a:cubicBezTo>
                    <a:pt x="182" y="789"/>
                    <a:pt x="182" y="789"/>
                    <a:pt x="182" y="789"/>
                  </a:cubicBezTo>
                  <a:cubicBezTo>
                    <a:pt x="179" y="782"/>
                    <a:pt x="179" y="782"/>
                    <a:pt x="179" y="782"/>
                  </a:cubicBezTo>
                  <a:cubicBezTo>
                    <a:pt x="183" y="785"/>
                    <a:pt x="183" y="785"/>
                    <a:pt x="183" y="785"/>
                  </a:cubicBezTo>
                  <a:cubicBezTo>
                    <a:pt x="183" y="776"/>
                    <a:pt x="183" y="776"/>
                    <a:pt x="183" y="776"/>
                  </a:cubicBezTo>
                  <a:cubicBezTo>
                    <a:pt x="178" y="771"/>
                    <a:pt x="178" y="771"/>
                    <a:pt x="178" y="771"/>
                  </a:cubicBezTo>
                  <a:cubicBezTo>
                    <a:pt x="181" y="770"/>
                    <a:pt x="181" y="770"/>
                    <a:pt x="181" y="770"/>
                  </a:cubicBezTo>
                  <a:cubicBezTo>
                    <a:pt x="186" y="773"/>
                    <a:pt x="186" y="773"/>
                    <a:pt x="186" y="773"/>
                  </a:cubicBezTo>
                  <a:cubicBezTo>
                    <a:pt x="186" y="785"/>
                    <a:pt x="186" y="785"/>
                    <a:pt x="186" y="785"/>
                  </a:cubicBezTo>
                  <a:cubicBezTo>
                    <a:pt x="186" y="785"/>
                    <a:pt x="191" y="784"/>
                    <a:pt x="192" y="781"/>
                  </a:cubicBezTo>
                  <a:cubicBezTo>
                    <a:pt x="192" y="776"/>
                    <a:pt x="189" y="773"/>
                    <a:pt x="189" y="773"/>
                  </a:cubicBezTo>
                  <a:cubicBezTo>
                    <a:pt x="189" y="773"/>
                    <a:pt x="189" y="767"/>
                    <a:pt x="190" y="762"/>
                  </a:cubicBezTo>
                  <a:cubicBezTo>
                    <a:pt x="190" y="758"/>
                    <a:pt x="197" y="759"/>
                    <a:pt x="199" y="762"/>
                  </a:cubicBezTo>
                  <a:cubicBezTo>
                    <a:pt x="200" y="765"/>
                    <a:pt x="197" y="769"/>
                    <a:pt x="197" y="769"/>
                  </a:cubicBezTo>
                  <a:cubicBezTo>
                    <a:pt x="195" y="764"/>
                    <a:pt x="195" y="764"/>
                    <a:pt x="195" y="764"/>
                  </a:cubicBezTo>
                  <a:cubicBezTo>
                    <a:pt x="193" y="769"/>
                    <a:pt x="193" y="769"/>
                    <a:pt x="193" y="769"/>
                  </a:cubicBezTo>
                  <a:cubicBezTo>
                    <a:pt x="194" y="776"/>
                    <a:pt x="194" y="776"/>
                    <a:pt x="194" y="776"/>
                  </a:cubicBezTo>
                  <a:cubicBezTo>
                    <a:pt x="194" y="788"/>
                    <a:pt x="194" y="788"/>
                    <a:pt x="194" y="788"/>
                  </a:cubicBezTo>
                  <a:cubicBezTo>
                    <a:pt x="192" y="789"/>
                    <a:pt x="192" y="789"/>
                    <a:pt x="192" y="789"/>
                  </a:cubicBezTo>
                  <a:cubicBezTo>
                    <a:pt x="195" y="800"/>
                    <a:pt x="195" y="800"/>
                    <a:pt x="195" y="800"/>
                  </a:cubicBezTo>
                  <a:cubicBezTo>
                    <a:pt x="198" y="798"/>
                    <a:pt x="198" y="798"/>
                    <a:pt x="198" y="798"/>
                  </a:cubicBezTo>
                  <a:cubicBezTo>
                    <a:pt x="199" y="809"/>
                    <a:pt x="199" y="809"/>
                    <a:pt x="199" y="809"/>
                  </a:cubicBezTo>
                  <a:cubicBezTo>
                    <a:pt x="208" y="810"/>
                    <a:pt x="208" y="810"/>
                    <a:pt x="208" y="810"/>
                  </a:cubicBezTo>
                  <a:cubicBezTo>
                    <a:pt x="211" y="808"/>
                    <a:pt x="211" y="808"/>
                    <a:pt x="211" y="808"/>
                  </a:cubicBezTo>
                  <a:cubicBezTo>
                    <a:pt x="212" y="814"/>
                    <a:pt x="212" y="814"/>
                    <a:pt x="212" y="814"/>
                  </a:cubicBezTo>
                  <a:cubicBezTo>
                    <a:pt x="212" y="814"/>
                    <a:pt x="220" y="809"/>
                    <a:pt x="221" y="814"/>
                  </a:cubicBezTo>
                  <a:cubicBezTo>
                    <a:pt x="222" y="819"/>
                    <a:pt x="219" y="828"/>
                    <a:pt x="223" y="828"/>
                  </a:cubicBezTo>
                  <a:cubicBezTo>
                    <a:pt x="227" y="828"/>
                    <a:pt x="228" y="822"/>
                    <a:pt x="230" y="815"/>
                  </a:cubicBezTo>
                  <a:cubicBezTo>
                    <a:pt x="232" y="808"/>
                    <a:pt x="236" y="800"/>
                    <a:pt x="236" y="800"/>
                  </a:cubicBezTo>
                  <a:cubicBezTo>
                    <a:pt x="236" y="800"/>
                    <a:pt x="227" y="782"/>
                    <a:pt x="230" y="780"/>
                  </a:cubicBezTo>
                  <a:cubicBezTo>
                    <a:pt x="232" y="776"/>
                    <a:pt x="238" y="777"/>
                    <a:pt x="238" y="773"/>
                  </a:cubicBezTo>
                  <a:cubicBezTo>
                    <a:pt x="239" y="768"/>
                    <a:pt x="232" y="767"/>
                    <a:pt x="237" y="764"/>
                  </a:cubicBezTo>
                  <a:cubicBezTo>
                    <a:pt x="241" y="760"/>
                    <a:pt x="252" y="766"/>
                    <a:pt x="256" y="754"/>
                  </a:cubicBezTo>
                  <a:cubicBezTo>
                    <a:pt x="259" y="741"/>
                    <a:pt x="255" y="738"/>
                    <a:pt x="256" y="734"/>
                  </a:cubicBezTo>
                  <a:cubicBezTo>
                    <a:pt x="257" y="729"/>
                    <a:pt x="265" y="733"/>
                    <a:pt x="262" y="725"/>
                  </a:cubicBezTo>
                  <a:cubicBezTo>
                    <a:pt x="260" y="718"/>
                    <a:pt x="254" y="704"/>
                    <a:pt x="254" y="704"/>
                  </a:cubicBezTo>
                  <a:cubicBezTo>
                    <a:pt x="252" y="695"/>
                    <a:pt x="252" y="695"/>
                    <a:pt x="252" y="695"/>
                  </a:cubicBezTo>
                  <a:cubicBezTo>
                    <a:pt x="247" y="689"/>
                    <a:pt x="247" y="689"/>
                    <a:pt x="247" y="689"/>
                  </a:cubicBezTo>
                  <a:cubicBezTo>
                    <a:pt x="256" y="686"/>
                    <a:pt x="256" y="686"/>
                    <a:pt x="256" y="686"/>
                  </a:cubicBezTo>
                  <a:cubicBezTo>
                    <a:pt x="256" y="686"/>
                    <a:pt x="264" y="692"/>
                    <a:pt x="266" y="680"/>
                  </a:cubicBezTo>
                  <a:cubicBezTo>
                    <a:pt x="270" y="668"/>
                    <a:pt x="269" y="664"/>
                    <a:pt x="265" y="660"/>
                  </a:cubicBezTo>
                  <a:cubicBezTo>
                    <a:pt x="261" y="657"/>
                    <a:pt x="256" y="654"/>
                    <a:pt x="256" y="654"/>
                  </a:cubicBezTo>
                  <a:cubicBezTo>
                    <a:pt x="246" y="644"/>
                    <a:pt x="246" y="644"/>
                    <a:pt x="246" y="644"/>
                  </a:cubicBezTo>
                  <a:cubicBezTo>
                    <a:pt x="252" y="609"/>
                    <a:pt x="252" y="609"/>
                    <a:pt x="252" y="609"/>
                  </a:cubicBezTo>
                  <a:cubicBezTo>
                    <a:pt x="244" y="586"/>
                    <a:pt x="244" y="586"/>
                    <a:pt x="244" y="586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4" y="567"/>
                    <a:pt x="244" y="567"/>
                    <a:pt x="244" y="567"/>
                  </a:cubicBezTo>
                  <a:cubicBezTo>
                    <a:pt x="248" y="561"/>
                    <a:pt x="248" y="561"/>
                    <a:pt x="248" y="561"/>
                  </a:cubicBezTo>
                  <a:cubicBezTo>
                    <a:pt x="241" y="542"/>
                    <a:pt x="241" y="542"/>
                    <a:pt x="241" y="542"/>
                  </a:cubicBezTo>
                  <a:cubicBezTo>
                    <a:pt x="249" y="531"/>
                    <a:pt x="249" y="531"/>
                    <a:pt x="249" y="531"/>
                  </a:cubicBezTo>
                  <a:cubicBezTo>
                    <a:pt x="246" y="522"/>
                    <a:pt x="246" y="522"/>
                    <a:pt x="246" y="522"/>
                  </a:cubicBezTo>
                  <a:cubicBezTo>
                    <a:pt x="246" y="522"/>
                    <a:pt x="258" y="494"/>
                    <a:pt x="270" y="491"/>
                  </a:cubicBezTo>
                  <a:cubicBezTo>
                    <a:pt x="280" y="488"/>
                    <a:pt x="300" y="494"/>
                    <a:pt x="300" y="494"/>
                  </a:cubicBezTo>
                  <a:cubicBezTo>
                    <a:pt x="305" y="482"/>
                    <a:pt x="305" y="482"/>
                    <a:pt x="305" y="48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309" y="425"/>
                    <a:pt x="309" y="425"/>
                    <a:pt x="309" y="425"/>
                  </a:cubicBezTo>
                  <a:cubicBezTo>
                    <a:pt x="310" y="415"/>
                    <a:pt x="310" y="415"/>
                    <a:pt x="310" y="415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3" y="390"/>
                    <a:pt x="313" y="390"/>
                    <a:pt x="313" y="390"/>
                  </a:cubicBezTo>
                  <a:cubicBezTo>
                    <a:pt x="315" y="378"/>
                    <a:pt x="315" y="378"/>
                    <a:pt x="315" y="378"/>
                  </a:cubicBezTo>
                  <a:cubicBezTo>
                    <a:pt x="311" y="358"/>
                    <a:pt x="311" y="358"/>
                    <a:pt x="311" y="358"/>
                  </a:cubicBezTo>
                  <a:cubicBezTo>
                    <a:pt x="324" y="356"/>
                    <a:pt x="324" y="356"/>
                    <a:pt x="324" y="356"/>
                  </a:cubicBezTo>
                  <a:cubicBezTo>
                    <a:pt x="337" y="346"/>
                    <a:pt x="337" y="346"/>
                    <a:pt x="337" y="346"/>
                  </a:cubicBezTo>
                  <a:cubicBezTo>
                    <a:pt x="334" y="333"/>
                    <a:pt x="334" y="333"/>
                    <a:pt x="334" y="333"/>
                  </a:cubicBezTo>
                  <a:cubicBezTo>
                    <a:pt x="334" y="333"/>
                    <a:pt x="339" y="332"/>
                    <a:pt x="341" y="326"/>
                  </a:cubicBezTo>
                  <a:cubicBezTo>
                    <a:pt x="343" y="319"/>
                    <a:pt x="341" y="314"/>
                    <a:pt x="347" y="308"/>
                  </a:cubicBezTo>
                  <a:cubicBezTo>
                    <a:pt x="355" y="300"/>
                    <a:pt x="361" y="298"/>
                    <a:pt x="359" y="292"/>
                  </a:cubicBezTo>
                  <a:cubicBezTo>
                    <a:pt x="358" y="284"/>
                    <a:pt x="351" y="273"/>
                    <a:pt x="351" y="273"/>
                  </a:cubicBezTo>
                  <a:cubicBezTo>
                    <a:pt x="351" y="266"/>
                    <a:pt x="351" y="266"/>
                    <a:pt x="351" y="266"/>
                  </a:cubicBezTo>
                  <a:cubicBezTo>
                    <a:pt x="351" y="266"/>
                    <a:pt x="359" y="268"/>
                    <a:pt x="360" y="263"/>
                  </a:cubicBezTo>
                  <a:cubicBezTo>
                    <a:pt x="360" y="258"/>
                    <a:pt x="364" y="241"/>
                    <a:pt x="364" y="241"/>
                  </a:cubicBezTo>
                  <a:cubicBezTo>
                    <a:pt x="378" y="226"/>
                    <a:pt x="378" y="226"/>
                    <a:pt x="378" y="226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4" y="234"/>
                    <a:pt x="397" y="223"/>
                    <a:pt x="399" y="218"/>
                  </a:cubicBezTo>
                  <a:cubicBezTo>
                    <a:pt x="400" y="213"/>
                    <a:pt x="397" y="198"/>
                    <a:pt x="397" y="198"/>
                  </a:cubicBezTo>
                  <a:cubicBezTo>
                    <a:pt x="405" y="193"/>
                    <a:pt x="405" y="193"/>
                    <a:pt x="405" y="193"/>
                  </a:cubicBezTo>
                  <a:cubicBezTo>
                    <a:pt x="409" y="198"/>
                    <a:pt x="409" y="198"/>
                    <a:pt x="409" y="198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43" y="205"/>
                    <a:pt x="443" y="205"/>
                    <a:pt x="443" y="205"/>
                  </a:cubicBezTo>
                  <a:cubicBezTo>
                    <a:pt x="450" y="195"/>
                    <a:pt x="450" y="195"/>
                    <a:pt x="450" y="195"/>
                  </a:cubicBezTo>
                  <a:cubicBezTo>
                    <a:pt x="442" y="191"/>
                    <a:pt x="442" y="191"/>
                    <a:pt x="442" y="191"/>
                  </a:cubicBezTo>
                  <a:cubicBezTo>
                    <a:pt x="442" y="191"/>
                    <a:pt x="450" y="182"/>
                    <a:pt x="449" y="174"/>
                  </a:cubicBezTo>
                  <a:cubicBezTo>
                    <a:pt x="448" y="168"/>
                    <a:pt x="441" y="159"/>
                    <a:pt x="441" y="159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5" y="154"/>
                    <a:pt x="455" y="154"/>
                    <a:pt x="455" y="154"/>
                  </a:cubicBezTo>
                  <a:cubicBezTo>
                    <a:pt x="455" y="154"/>
                    <a:pt x="464" y="159"/>
                    <a:pt x="466" y="157"/>
                  </a:cubicBezTo>
                  <a:cubicBezTo>
                    <a:pt x="467" y="155"/>
                    <a:pt x="459" y="148"/>
                    <a:pt x="465" y="144"/>
                  </a:cubicBezTo>
                  <a:cubicBezTo>
                    <a:pt x="469" y="139"/>
                    <a:pt x="478" y="142"/>
                    <a:pt x="478" y="142"/>
                  </a:cubicBezTo>
                  <a:cubicBezTo>
                    <a:pt x="478" y="142"/>
                    <a:pt x="485" y="152"/>
                    <a:pt x="490" y="157"/>
                  </a:cubicBezTo>
                  <a:cubicBezTo>
                    <a:pt x="497" y="163"/>
                    <a:pt x="499" y="172"/>
                    <a:pt x="499" y="172"/>
                  </a:cubicBezTo>
                  <a:cubicBezTo>
                    <a:pt x="504" y="171"/>
                    <a:pt x="504" y="171"/>
                    <a:pt x="504" y="171"/>
                  </a:cubicBezTo>
                  <a:cubicBezTo>
                    <a:pt x="515" y="171"/>
                    <a:pt x="515" y="171"/>
                    <a:pt x="515" y="171"/>
                  </a:cubicBezTo>
                  <a:cubicBezTo>
                    <a:pt x="522" y="175"/>
                    <a:pt x="522" y="175"/>
                    <a:pt x="522" y="175"/>
                  </a:cubicBezTo>
                  <a:cubicBezTo>
                    <a:pt x="531" y="169"/>
                    <a:pt x="531" y="169"/>
                    <a:pt x="531" y="169"/>
                  </a:cubicBezTo>
                  <a:cubicBezTo>
                    <a:pt x="531" y="169"/>
                    <a:pt x="533" y="161"/>
                    <a:pt x="539" y="161"/>
                  </a:cubicBezTo>
                  <a:cubicBezTo>
                    <a:pt x="544" y="161"/>
                    <a:pt x="546" y="166"/>
                    <a:pt x="546" y="166"/>
                  </a:cubicBezTo>
                  <a:cubicBezTo>
                    <a:pt x="558" y="167"/>
                    <a:pt x="558" y="167"/>
                    <a:pt x="558" y="167"/>
                  </a:cubicBezTo>
                  <a:cubicBezTo>
                    <a:pt x="565" y="174"/>
                    <a:pt x="565" y="174"/>
                    <a:pt x="565" y="174"/>
                  </a:cubicBezTo>
                  <a:cubicBezTo>
                    <a:pt x="565" y="174"/>
                    <a:pt x="567" y="161"/>
                    <a:pt x="570" y="157"/>
                  </a:cubicBezTo>
                  <a:cubicBezTo>
                    <a:pt x="572" y="154"/>
                    <a:pt x="575" y="150"/>
                    <a:pt x="575" y="144"/>
                  </a:cubicBezTo>
                  <a:cubicBezTo>
                    <a:pt x="574" y="139"/>
                    <a:pt x="572" y="130"/>
                    <a:pt x="572" y="130"/>
                  </a:cubicBezTo>
                  <a:cubicBezTo>
                    <a:pt x="574" y="97"/>
                    <a:pt x="574" y="97"/>
                    <a:pt x="574" y="97"/>
                  </a:cubicBezTo>
                  <a:cubicBezTo>
                    <a:pt x="577" y="93"/>
                    <a:pt x="577" y="93"/>
                    <a:pt x="577" y="93"/>
                  </a:cubicBezTo>
                  <a:cubicBezTo>
                    <a:pt x="577" y="93"/>
                    <a:pt x="576" y="81"/>
                    <a:pt x="582" y="79"/>
                  </a:cubicBezTo>
                  <a:cubicBezTo>
                    <a:pt x="588" y="76"/>
                    <a:pt x="595" y="78"/>
                    <a:pt x="595" y="78"/>
                  </a:cubicBezTo>
                  <a:cubicBezTo>
                    <a:pt x="595" y="78"/>
                    <a:pt x="604" y="66"/>
                    <a:pt x="610" y="65"/>
                  </a:cubicBezTo>
                  <a:cubicBezTo>
                    <a:pt x="616" y="64"/>
                    <a:pt x="625" y="77"/>
                    <a:pt x="625" y="77"/>
                  </a:cubicBezTo>
                  <a:cubicBezTo>
                    <a:pt x="648" y="80"/>
                    <a:pt x="648" y="80"/>
                    <a:pt x="648" y="80"/>
                  </a:cubicBezTo>
                  <a:cubicBezTo>
                    <a:pt x="655" y="91"/>
                    <a:pt x="655" y="91"/>
                    <a:pt x="655" y="91"/>
                  </a:cubicBezTo>
                  <a:cubicBezTo>
                    <a:pt x="655" y="91"/>
                    <a:pt x="647" y="105"/>
                    <a:pt x="647" y="110"/>
                  </a:cubicBezTo>
                  <a:cubicBezTo>
                    <a:pt x="647" y="116"/>
                    <a:pt x="650" y="121"/>
                    <a:pt x="650" y="121"/>
                  </a:cubicBezTo>
                  <a:cubicBezTo>
                    <a:pt x="650" y="121"/>
                    <a:pt x="654" y="125"/>
                    <a:pt x="656" y="123"/>
                  </a:cubicBezTo>
                  <a:cubicBezTo>
                    <a:pt x="659" y="121"/>
                    <a:pt x="658" y="107"/>
                    <a:pt x="658" y="107"/>
                  </a:cubicBezTo>
                  <a:cubicBezTo>
                    <a:pt x="658" y="107"/>
                    <a:pt x="655" y="108"/>
                    <a:pt x="656" y="105"/>
                  </a:cubicBezTo>
                  <a:cubicBezTo>
                    <a:pt x="657" y="102"/>
                    <a:pt x="661" y="102"/>
                    <a:pt x="663" y="100"/>
                  </a:cubicBezTo>
                  <a:cubicBezTo>
                    <a:pt x="666" y="98"/>
                    <a:pt x="665" y="93"/>
                    <a:pt x="666" y="93"/>
                  </a:cubicBezTo>
                  <a:cubicBezTo>
                    <a:pt x="668" y="92"/>
                    <a:pt x="674" y="94"/>
                    <a:pt x="674" y="90"/>
                  </a:cubicBezTo>
                  <a:cubicBezTo>
                    <a:pt x="674" y="85"/>
                    <a:pt x="669" y="78"/>
                    <a:pt x="669" y="78"/>
                  </a:cubicBezTo>
                  <a:cubicBezTo>
                    <a:pt x="669" y="78"/>
                    <a:pt x="673" y="78"/>
                    <a:pt x="675" y="79"/>
                  </a:cubicBezTo>
                  <a:cubicBezTo>
                    <a:pt x="678" y="79"/>
                    <a:pt x="685" y="87"/>
                    <a:pt x="687" y="80"/>
                  </a:cubicBezTo>
                  <a:cubicBezTo>
                    <a:pt x="690" y="74"/>
                    <a:pt x="685" y="71"/>
                    <a:pt x="685" y="71"/>
                  </a:cubicBezTo>
                  <a:close/>
                  <a:moveTo>
                    <a:pt x="8" y="787"/>
                  </a:moveTo>
                  <a:cubicBezTo>
                    <a:pt x="8" y="787"/>
                    <a:pt x="7" y="793"/>
                    <a:pt x="8" y="794"/>
                  </a:cubicBezTo>
                  <a:cubicBezTo>
                    <a:pt x="9" y="796"/>
                    <a:pt x="6" y="800"/>
                    <a:pt x="6" y="800"/>
                  </a:cubicBezTo>
                  <a:cubicBezTo>
                    <a:pt x="9" y="800"/>
                    <a:pt x="9" y="800"/>
                    <a:pt x="9" y="800"/>
                  </a:cubicBezTo>
                  <a:cubicBezTo>
                    <a:pt x="11" y="798"/>
                    <a:pt x="11" y="798"/>
                    <a:pt x="11" y="798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0" y="785"/>
                    <a:pt x="10" y="785"/>
                    <a:pt x="10" y="785"/>
                  </a:cubicBezTo>
                  <a:lnTo>
                    <a:pt x="8" y="787"/>
                  </a:lnTo>
                  <a:close/>
                  <a:moveTo>
                    <a:pt x="27" y="805"/>
                  </a:moveTo>
                  <a:cubicBezTo>
                    <a:pt x="18" y="803"/>
                    <a:pt x="18" y="803"/>
                    <a:pt x="18" y="803"/>
                  </a:cubicBezTo>
                  <a:cubicBezTo>
                    <a:pt x="26" y="808"/>
                    <a:pt x="26" y="808"/>
                    <a:pt x="26" y="808"/>
                  </a:cubicBezTo>
                  <a:lnTo>
                    <a:pt x="27" y="805"/>
                  </a:lnTo>
                  <a:close/>
                  <a:moveTo>
                    <a:pt x="36" y="794"/>
                  </a:moveTo>
                  <a:cubicBezTo>
                    <a:pt x="32" y="794"/>
                    <a:pt x="32" y="794"/>
                    <a:pt x="32" y="794"/>
                  </a:cubicBezTo>
                  <a:cubicBezTo>
                    <a:pt x="30" y="799"/>
                    <a:pt x="30" y="799"/>
                    <a:pt x="30" y="799"/>
                  </a:cubicBezTo>
                  <a:cubicBezTo>
                    <a:pt x="38" y="798"/>
                    <a:pt x="38" y="798"/>
                    <a:pt x="38" y="798"/>
                  </a:cubicBezTo>
                  <a:lnTo>
                    <a:pt x="36" y="794"/>
                  </a:lnTo>
                  <a:close/>
                  <a:moveTo>
                    <a:pt x="16" y="750"/>
                  </a:moveTo>
                  <a:cubicBezTo>
                    <a:pt x="16" y="753"/>
                    <a:pt x="16" y="753"/>
                    <a:pt x="16" y="753"/>
                  </a:cubicBezTo>
                  <a:cubicBezTo>
                    <a:pt x="14" y="754"/>
                    <a:pt x="14" y="754"/>
                    <a:pt x="14" y="754"/>
                  </a:cubicBezTo>
                  <a:cubicBezTo>
                    <a:pt x="14" y="754"/>
                    <a:pt x="16" y="762"/>
                    <a:pt x="20" y="762"/>
                  </a:cubicBezTo>
                  <a:cubicBezTo>
                    <a:pt x="26" y="762"/>
                    <a:pt x="22" y="753"/>
                    <a:pt x="22" y="753"/>
                  </a:cubicBezTo>
                  <a:cubicBezTo>
                    <a:pt x="17" y="750"/>
                    <a:pt x="17" y="750"/>
                    <a:pt x="17" y="750"/>
                  </a:cubicBezTo>
                  <a:lnTo>
                    <a:pt x="16" y="750"/>
                  </a:lnTo>
                  <a:close/>
                  <a:moveTo>
                    <a:pt x="15" y="768"/>
                  </a:moveTo>
                  <a:cubicBezTo>
                    <a:pt x="17" y="766"/>
                    <a:pt x="17" y="766"/>
                    <a:pt x="17" y="766"/>
                  </a:cubicBezTo>
                  <a:cubicBezTo>
                    <a:pt x="15" y="762"/>
                    <a:pt x="15" y="762"/>
                    <a:pt x="15" y="762"/>
                  </a:cubicBezTo>
                  <a:cubicBezTo>
                    <a:pt x="15" y="758"/>
                    <a:pt x="15" y="758"/>
                    <a:pt x="15" y="758"/>
                  </a:cubicBezTo>
                  <a:cubicBezTo>
                    <a:pt x="11" y="756"/>
                    <a:pt x="11" y="756"/>
                    <a:pt x="11" y="756"/>
                  </a:cubicBezTo>
                  <a:cubicBezTo>
                    <a:pt x="11" y="757"/>
                    <a:pt x="11" y="757"/>
                    <a:pt x="11" y="757"/>
                  </a:cubicBezTo>
                  <a:cubicBezTo>
                    <a:pt x="11" y="757"/>
                    <a:pt x="10" y="758"/>
                    <a:pt x="9" y="760"/>
                  </a:cubicBezTo>
                  <a:cubicBezTo>
                    <a:pt x="8" y="762"/>
                    <a:pt x="12" y="764"/>
                    <a:pt x="12" y="764"/>
                  </a:cubicBezTo>
                  <a:cubicBezTo>
                    <a:pt x="9" y="767"/>
                    <a:pt x="9" y="767"/>
                    <a:pt x="9" y="767"/>
                  </a:cubicBezTo>
                  <a:cubicBezTo>
                    <a:pt x="9" y="773"/>
                    <a:pt x="9" y="773"/>
                    <a:pt x="9" y="773"/>
                  </a:cubicBezTo>
                  <a:cubicBezTo>
                    <a:pt x="13" y="772"/>
                    <a:pt x="13" y="772"/>
                    <a:pt x="13" y="772"/>
                  </a:cubicBezTo>
                  <a:cubicBezTo>
                    <a:pt x="10" y="767"/>
                    <a:pt x="10" y="767"/>
                    <a:pt x="10" y="767"/>
                  </a:cubicBezTo>
                  <a:cubicBezTo>
                    <a:pt x="14" y="764"/>
                    <a:pt x="14" y="764"/>
                    <a:pt x="14" y="764"/>
                  </a:cubicBezTo>
                  <a:cubicBezTo>
                    <a:pt x="15" y="764"/>
                    <a:pt x="15" y="764"/>
                    <a:pt x="15" y="764"/>
                  </a:cubicBezTo>
                  <a:cubicBezTo>
                    <a:pt x="14" y="766"/>
                    <a:pt x="14" y="766"/>
                    <a:pt x="14" y="766"/>
                  </a:cubicBezTo>
                  <a:lnTo>
                    <a:pt x="15" y="768"/>
                  </a:lnTo>
                  <a:close/>
                  <a:moveTo>
                    <a:pt x="29" y="766"/>
                  </a:moveTo>
                  <a:cubicBezTo>
                    <a:pt x="33" y="764"/>
                    <a:pt x="33" y="764"/>
                    <a:pt x="33" y="764"/>
                  </a:cubicBezTo>
                  <a:cubicBezTo>
                    <a:pt x="27" y="759"/>
                    <a:pt x="27" y="759"/>
                    <a:pt x="27" y="759"/>
                  </a:cubicBezTo>
                  <a:cubicBezTo>
                    <a:pt x="25" y="761"/>
                    <a:pt x="25" y="761"/>
                    <a:pt x="25" y="761"/>
                  </a:cubicBezTo>
                  <a:lnTo>
                    <a:pt x="29" y="766"/>
                  </a:lnTo>
                  <a:close/>
                  <a:moveTo>
                    <a:pt x="28" y="743"/>
                  </a:moveTo>
                  <a:cubicBezTo>
                    <a:pt x="23" y="744"/>
                    <a:pt x="23" y="744"/>
                    <a:pt x="23" y="744"/>
                  </a:cubicBezTo>
                  <a:cubicBezTo>
                    <a:pt x="23" y="747"/>
                    <a:pt x="23" y="747"/>
                    <a:pt x="23" y="747"/>
                  </a:cubicBezTo>
                  <a:cubicBezTo>
                    <a:pt x="20" y="749"/>
                    <a:pt x="20" y="749"/>
                    <a:pt x="20" y="749"/>
                  </a:cubicBezTo>
                  <a:cubicBezTo>
                    <a:pt x="23" y="751"/>
                    <a:pt x="23" y="751"/>
                    <a:pt x="23" y="751"/>
                  </a:cubicBezTo>
                  <a:cubicBezTo>
                    <a:pt x="25" y="754"/>
                    <a:pt x="25" y="754"/>
                    <a:pt x="25" y="754"/>
                  </a:cubicBezTo>
                  <a:cubicBezTo>
                    <a:pt x="27" y="754"/>
                    <a:pt x="27" y="754"/>
                    <a:pt x="27" y="754"/>
                  </a:cubicBezTo>
                  <a:cubicBezTo>
                    <a:pt x="27" y="751"/>
                    <a:pt x="27" y="751"/>
                    <a:pt x="27" y="751"/>
                  </a:cubicBezTo>
                  <a:cubicBezTo>
                    <a:pt x="29" y="749"/>
                    <a:pt x="29" y="749"/>
                    <a:pt x="29" y="749"/>
                  </a:cubicBezTo>
                  <a:lnTo>
                    <a:pt x="28" y="743"/>
                  </a:lnTo>
                  <a:close/>
                  <a:moveTo>
                    <a:pt x="19" y="743"/>
                  </a:moveTo>
                  <a:cubicBezTo>
                    <a:pt x="16" y="746"/>
                    <a:pt x="19" y="747"/>
                    <a:pt x="20" y="746"/>
                  </a:cubicBezTo>
                  <a:cubicBezTo>
                    <a:pt x="23" y="744"/>
                    <a:pt x="22" y="740"/>
                    <a:pt x="19" y="743"/>
                  </a:cubicBezTo>
                  <a:close/>
                  <a:moveTo>
                    <a:pt x="10" y="738"/>
                  </a:moveTo>
                  <a:cubicBezTo>
                    <a:pt x="11" y="740"/>
                    <a:pt x="11" y="740"/>
                    <a:pt x="11" y="740"/>
                  </a:cubicBezTo>
                  <a:cubicBezTo>
                    <a:pt x="12" y="740"/>
                    <a:pt x="12" y="740"/>
                    <a:pt x="12" y="740"/>
                  </a:cubicBezTo>
                  <a:cubicBezTo>
                    <a:pt x="14" y="743"/>
                    <a:pt x="14" y="743"/>
                    <a:pt x="14" y="743"/>
                  </a:cubicBezTo>
                  <a:cubicBezTo>
                    <a:pt x="12" y="745"/>
                    <a:pt x="12" y="745"/>
                    <a:pt x="12" y="745"/>
                  </a:cubicBezTo>
                  <a:cubicBezTo>
                    <a:pt x="15" y="746"/>
                    <a:pt x="15" y="746"/>
                    <a:pt x="15" y="746"/>
                  </a:cubicBezTo>
                  <a:cubicBezTo>
                    <a:pt x="16" y="742"/>
                    <a:pt x="16" y="742"/>
                    <a:pt x="16" y="742"/>
                  </a:cubicBezTo>
                  <a:cubicBezTo>
                    <a:pt x="12" y="737"/>
                    <a:pt x="12" y="737"/>
                    <a:pt x="12" y="737"/>
                  </a:cubicBezTo>
                  <a:lnTo>
                    <a:pt x="10" y="738"/>
                  </a:lnTo>
                  <a:close/>
                  <a:moveTo>
                    <a:pt x="13" y="749"/>
                  </a:moveTo>
                  <a:cubicBezTo>
                    <a:pt x="11" y="746"/>
                    <a:pt x="11" y="746"/>
                    <a:pt x="11" y="746"/>
                  </a:cubicBezTo>
                  <a:cubicBezTo>
                    <a:pt x="8" y="749"/>
                    <a:pt x="8" y="749"/>
                    <a:pt x="8" y="749"/>
                  </a:cubicBezTo>
                  <a:cubicBezTo>
                    <a:pt x="9" y="751"/>
                    <a:pt x="9" y="751"/>
                    <a:pt x="9" y="751"/>
                  </a:cubicBezTo>
                  <a:lnTo>
                    <a:pt x="13" y="749"/>
                  </a:lnTo>
                  <a:close/>
                  <a:moveTo>
                    <a:pt x="41" y="738"/>
                  </a:moveTo>
                  <a:cubicBezTo>
                    <a:pt x="39" y="740"/>
                    <a:pt x="39" y="740"/>
                    <a:pt x="39" y="740"/>
                  </a:cubicBezTo>
                  <a:cubicBezTo>
                    <a:pt x="40" y="744"/>
                    <a:pt x="40" y="744"/>
                    <a:pt x="40" y="744"/>
                  </a:cubicBezTo>
                  <a:cubicBezTo>
                    <a:pt x="43" y="741"/>
                    <a:pt x="43" y="741"/>
                    <a:pt x="43" y="741"/>
                  </a:cubicBezTo>
                  <a:lnTo>
                    <a:pt x="41" y="738"/>
                  </a:lnTo>
                  <a:close/>
                  <a:moveTo>
                    <a:pt x="9" y="733"/>
                  </a:moveTo>
                  <a:cubicBezTo>
                    <a:pt x="11" y="734"/>
                    <a:pt x="13" y="734"/>
                    <a:pt x="13" y="734"/>
                  </a:cubicBezTo>
                  <a:cubicBezTo>
                    <a:pt x="11" y="729"/>
                    <a:pt x="11" y="729"/>
                    <a:pt x="11" y="729"/>
                  </a:cubicBezTo>
                  <a:cubicBezTo>
                    <a:pt x="13" y="727"/>
                    <a:pt x="13" y="727"/>
                    <a:pt x="13" y="727"/>
                  </a:cubicBezTo>
                  <a:cubicBezTo>
                    <a:pt x="10" y="719"/>
                    <a:pt x="10" y="719"/>
                    <a:pt x="10" y="719"/>
                  </a:cubicBezTo>
                  <a:cubicBezTo>
                    <a:pt x="9" y="722"/>
                    <a:pt x="9" y="722"/>
                    <a:pt x="9" y="722"/>
                  </a:cubicBezTo>
                  <a:cubicBezTo>
                    <a:pt x="11" y="726"/>
                    <a:pt x="11" y="726"/>
                    <a:pt x="11" y="726"/>
                  </a:cubicBezTo>
                  <a:cubicBezTo>
                    <a:pt x="7" y="727"/>
                    <a:pt x="7" y="727"/>
                    <a:pt x="7" y="727"/>
                  </a:cubicBezTo>
                  <a:cubicBezTo>
                    <a:pt x="7" y="727"/>
                    <a:pt x="7" y="731"/>
                    <a:pt x="9" y="733"/>
                  </a:cubicBezTo>
                  <a:close/>
                  <a:moveTo>
                    <a:pt x="16" y="715"/>
                  </a:moveTo>
                  <a:cubicBezTo>
                    <a:pt x="10" y="711"/>
                    <a:pt x="10" y="711"/>
                    <a:pt x="10" y="711"/>
                  </a:cubicBezTo>
                  <a:cubicBezTo>
                    <a:pt x="9" y="712"/>
                    <a:pt x="9" y="712"/>
                    <a:pt x="9" y="712"/>
                  </a:cubicBezTo>
                  <a:cubicBezTo>
                    <a:pt x="12" y="714"/>
                    <a:pt x="12" y="714"/>
                    <a:pt x="12" y="714"/>
                  </a:cubicBezTo>
                  <a:cubicBezTo>
                    <a:pt x="12" y="718"/>
                    <a:pt x="12" y="718"/>
                    <a:pt x="12" y="718"/>
                  </a:cubicBezTo>
                  <a:cubicBezTo>
                    <a:pt x="14" y="721"/>
                    <a:pt x="14" y="721"/>
                    <a:pt x="14" y="721"/>
                  </a:cubicBezTo>
                  <a:cubicBezTo>
                    <a:pt x="17" y="721"/>
                    <a:pt x="17" y="721"/>
                    <a:pt x="17" y="721"/>
                  </a:cubicBezTo>
                  <a:lnTo>
                    <a:pt x="16" y="715"/>
                  </a:lnTo>
                  <a:close/>
                  <a:moveTo>
                    <a:pt x="24" y="713"/>
                  </a:moveTo>
                  <a:cubicBezTo>
                    <a:pt x="28" y="719"/>
                    <a:pt x="28" y="719"/>
                    <a:pt x="28" y="719"/>
                  </a:cubicBezTo>
                  <a:cubicBezTo>
                    <a:pt x="32" y="717"/>
                    <a:pt x="32" y="717"/>
                    <a:pt x="32" y="717"/>
                  </a:cubicBezTo>
                  <a:cubicBezTo>
                    <a:pt x="34" y="706"/>
                    <a:pt x="34" y="706"/>
                    <a:pt x="34" y="706"/>
                  </a:cubicBezTo>
                  <a:cubicBezTo>
                    <a:pt x="33" y="705"/>
                    <a:pt x="33" y="705"/>
                    <a:pt x="33" y="705"/>
                  </a:cubicBezTo>
                  <a:cubicBezTo>
                    <a:pt x="29" y="710"/>
                    <a:pt x="29" y="710"/>
                    <a:pt x="29" y="710"/>
                  </a:cubicBezTo>
                  <a:cubicBezTo>
                    <a:pt x="29" y="710"/>
                    <a:pt x="28" y="710"/>
                    <a:pt x="26" y="711"/>
                  </a:cubicBezTo>
                  <a:cubicBezTo>
                    <a:pt x="24" y="711"/>
                    <a:pt x="24" y="713"/>
                    <a:pt x="24" y="713"/>
                  </a:cubicBezTo>
                  <a:close/>
                  <a:moveTo>
                    <a:pt x="22" y="703"/>
                  </a:moveTo>
                  <a:cubicBezTo>
                    <a:pt x="13" y="694"/>
                    <a:pt x="13" y="694"/>
                    <a:pt x="13" y="694"/>
                  </a:cubicBezTo>
                  <a:cubicBezTo>
                    <a:pt x="12" y="695"/>
                    <a:pt x="12" y="695"/>
                    <a:pt x="12" y="695"/>
                  </a:cubicBezTo>
                  <a:cubicBezTo>
                    <a:pt x="18" y="703"/>
                    <a:pt x="18" y="703"/>
                    <a:pt x="18" y="703"/>
                  </a:cubicBezTo>
                  <a:cubicBezTo>
                    <a:pt x="17" y="705"/>
                    <a:pt x="17" y="705"/>
                    <a:pt x="17" y="705"/>
                  </a:cubicBezTo>
                  <a:cubicBezTo>
                    <a:pt x="15" y="704"/>
                    <a:pt x="15" y="704"/>
                    <a:pt x="15" y="704"/>
                  </a:cubicBezTo>
                  <a:cubicBezTo>
                    <a:pt x="20" y="711"/>
                    <a:pt x="20" y="711"/>
                    <a:pt x="20" y="711"/>
                  </a:cubicBezTo>
                  <a:cubicBezTo>
                    <a:pt x="23" y="711"/>
                    <a:pt x="25" y="708"/>
                    <a:pt x="25" y="708"/>
                  </a:cubicBezTo>
                  <a:cubicBezTo>
                    <a:pt x="23" y="705"/>
                    <a:pt x="23" y="705"/>
                    <a:pt x="23" y="705"/>
                  </a:cubicBezTo>
                  <a:lnTo>
                    <a:pt x="22" y="703"/>
                  </a:lnTo>
                  <a:close/>
                  <a:moveTo>
                    <a:pt x="9" y="699"/>
                  </a:moveTo>
                  <a:cubicBezTo>
                    <a:pt x="8" y="699"/>
                    <a:pt x="8" y="699"/>
                    <a:pt x="8" y="699"/>
                  </a:cubicBezTo>
                  <a:cubicBezTo>
                    <a:pt x="8" y="699"/>
                    <a:pt x="10" y="703"/>
                    <a:pt x="11" y="704"/>
                  </a:cubicBezTo>
                  <a:cubicBezTo>
                    <a:pt x="12" y="705"/>
                    <a:pt x="14" y="707"/>
                    <a:pt x="14" y="707"/>
                  </a:cubicBezTo>
                  <a:cubicBezTo>
                    <a:pt x="14" y="707"/>
                    <a:pt x="15" y="705"/>
                    <a:pt x="13" y="703"/>
                  </a:cubicBezTo>
                  <a:cubicBezTo>
                    <a:pt x="12" y="701"/>
                    <a:pt x="9" y="699"/>
                    <a:pt x="9" y="699"/>
                  </a:cubicBezTo>
                  <a:close/>
                  <a:moveTo>
                    <a:pt x="10" y="707"/>
                  </a:moveTo>
                  <a:cubicBezTo>
                    <a:pt x="9" y="707"/>
                    <a:pt x="10" y="709"/>
                    <a:pt x="11" y="710"/>
                  </a:cubicBezTo>
                  <a:cubicBezTo>
                    <a:pt x="12" y="710"/>
                    <a:pt x="16" y="712"/>
                    <a:pt x="16" y="712"/>
                  </a:cubicBezTo>
                  <a:cubicBezTo>
                    <a:pt x="16" y="710"/>
                    <a:pt x="16" y="710"/>
                    <a:pt x="16" y="710"/>
                  </a:cubicBezTo>
                  <a:cubicBezTo>
                    <a:pt x="16" y="710"/>
                    <a:pt x="11" y="707"/>
                    <a:pt x="10" y="707"/>
                  </a:cubicBezTo>
                  <a:close/>
                  <a:moveTo>
                    <a:pt x="9" y="693"/>
                  </a:moveTo>
                  <a:cubicBezTo>
                    <a:pt x="7" y="695"/>
                    <a:pt x="7" y="695"/>
                    <a:pt x="7" y="695"/>
                  </a:cubicBezTo>
                  <a:cubicBezTo>
                    <a:pt x="11" y="698"/>
                    <a:pt x="11" y="698"/>
                    <a:pt x="11" y="698"/>
                  </a:cubicBezTo>
                  <a:lnTo>
                    <a:pt x="9" y="693"/>
                  </a:lnTo>
                  <a:close/>
                  <a:moveTo>
                    <a:pt x="10" y="692"/>
                  </a:moveTo>
                  <a:cubicBezTo>
                    <a:pt x="9" y="687"/>
                    <a:pt x="9" y="687"/>
                    <a:pt x="9" y="687"/>
                  </a:cubicBezTo>
                  <a:cubicBezTo>
                    <a:pt x="7" y="689"/>
                    <a:pt x="7" y="689"/>
                    <a:pt x="7" y="689"/>
                  </a:cubicBezTo>
                  <a:lnTo>
                    <a:pt x="10" y="692"/>
                  </a:lnTo>
                  <a:close/>
                  <a:moveTo>
                    <a:pt x="9" y="678"/>
                  </a:moveTo>
                  <a:cubicBezTo>
                    <a:pt x="11" y="676"/>
                    <a:pt x="11" y="676"/>
                    <a:pt x="11" y="676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15" y="676"/>
                    <a:pt x="15" y="674"/>
                  </a:cubicBezTo>
                  <a:cubicBezTo>
                    <a:pt x="15" y="671"/>
                    <a:pt x="12" y="670"/>
                    <a:pt x="12" y="670"/>
                  </a:cubicBezTo>
                  <a:cubicBezTo>
                    <a:pt x="10" y="671"/>
                    <a:pt x="10" y="671"/>
                    <a:pt x="10" y="671"/>
                  </a:cubicBezTo>
                  <a:cubicBezTo>
                    <a:pt x="10" y="671"/>
                    <a:pt x="8" y="675"/>
                    <a:pt x="9" y="678"/>
                  </a:cubicBezTo>
                  <a:close/>
                  <a:moveTo>
                    <a:pt x="6" y="680"/>
                  </a:moveTo>
                  <a:cubicBezTo>
                    <a:pt x="7" y="680"/>
                    <a:pt x="7" y="680"/>
                    <a:pt x="7" y="680"/>
                  </a:cubicBezTo>
                  <a:cubicBezTo>
                    <a:pt x="8" y="676"/>
                    <a:pt x="8" y="676"/>
                    <a:pt x="8" y="676"/>
                  </a:cubicBezTo>
                  <a:cubicBezTo>
                    <a:pt x="7" y="676"/>
                    <a:pt x="7" y="676"/>
                    <a:pt x="7" y="676"/>
                  </a:cubicBezTo>
                  <a:lnTo>
                    <a:pt x="6" y="680"/>
                  </a:lnTo>
                  <a:close/>
                  <a:moveTo>
                    <a:pt x="3" y="678"/>
                  </a:moveTo>
                  <a:cubicBezTo>
                    <a:pt x="0" y="678"/>
                    <a:pt x="1" y="681"/>
                    <a:pt x="2" y="681"/>
                  </a:cubicBezTo>
                  <a:cubicBezTo>
                    <a:pt x="4" y="682"/>
                    <a:pt x="7" y="677"/>
                    <a:pt x="3" y="678"/>
                  </a:cubicBezTo>
                  <a:close/>
                  <a:moveTo>
                    <a:pt x="7" y="661"/>
                  </a:moveTo>
                  <a:cubicBezTo>
                    <a:pt x="3" y="661"/>
                    <a:pt x="4" y="663"/>
                    <a:pt x="6" y="663"/>
                  </a:cubicBezTo>
                  <a:cubicBezTo>
                    <a:pt x="9" y="663"/>
                    <a:pt x="10" y="662"/>
                    <a:pt x="7" y="661"/>
                  </a:cubicBezTo>
                  <a:close/>
                  <a:moveTo>
                    <a:pt x="17" y="658"/>
                  </a:moveTo>
                  <a:cubicBezTo>
                    <a:pt x="14" y="657"/>
                    <a:pt x="14" y="657"/>
                    <a:pt x="14" y="657"/>
                  </a:cubicBezTo>
                  <a:cubicBezTo>
                    <a:pt x="11" y="660"/>
                    <a:pt x="11" y="660"/>
                    <a:pt x="11" y="660"/>
                  </a:cubicBezTo>
                  <a:cubicBezTo>
                    <a:pt x="13" y="662"/>
                    <a:pt x="13" y="662"/>
                    <a:pt x="13" y="662"/>
                  </a:cubicBezTo>
                  <a:lnTo>
                    <a:pt x="17" y="658"/>
                  </a:lnTo>
                  <a:close/>
                  <a:moveTo>
                    <a:pt x="18" y="649"/>
                  </a:moveTo>
                  <a:cubicBezTo>
                    <a:pt x="14" y="646"/>
                    <a:pt x="14" y="646"/>
                    <a:pt x="14" y="646"/>
                  </a:cubicBezTo>
                  <a:cubicBezTo>
                    <a:pt x="15" y="650"/>
                    <a:pt x="15" y="650"/>
                    <a:pt x="15" y="650"/>
                  </a:cubicBezTo>
                  <a:lnTo>
                    <a:pt x="18" y="649"/>
                  </a:lnTo>
                  <a:close/>
                  <a:moveTo>
                    <a:pt x="22" y="643"/>
                  </a:moveTo>
                  <a:cubicBezTo>
                    <a:pt x="17" y="645"/>
                    <a:pt x="17" y="645"/>
                    <a:pt x="17" y="645"/>
                  </a:cubicBezTo>
                  <a:cubicBezTo>
                    <a:pt x="22" y="647"/>
                    <a:pt x="22" y="647"/>
                    <a:pt x="22" y="647"/>
                  </a:cubicBezTo>
                  <a:lnTo>
                    <a:pt x="22" y="643"/>
                  </a:lnTo>
                  <a:close/>
                  <a:moveTo>
                    <a:pt x="14" y="639"/>
                  </a:moveTo>
                  <a:cubicBezTo>
                    <a:pt x="14" y="635"/>
                    <a:pt x="11" y="635"/>
                    <a:pt x="12" y="638"/>
                  </a:cubicBezTo>
                  <a:cubicBezTo>
                    <a:pt x="12" y="641"/>
                    <a:pt x="14" y="641"/>
                    <a:pt x="14" y="639"/>
                  </a:cubicBezTo>
                  <a:close/>
                  <a:moveTo>
                    <a:pt x="15" y="632"/>
                  </a:moveTo>
                  <a:cubicBezTo>
                    <a:pt x="24" y="629"/>
                    <a:pt x="24" y="629"/>
                    <a:pt x="24" y="629"/>
                  </a:cubicBezTo>
                  <a:cubicBezTo>
                    <a:pt x="25" y="626"/>
                    <a:pt x="25" y="626"/>
                    <a:pt x="25" y="626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15" y="623"/>
                    <a:pt x="15" y="623"/>
                    <a:pt x="15" y="623"/>
                  </a:cubicBezTo>
                  <a:cubicBezTo>
                    <a:pt x="15" y="626"/>
                    <a:pt x="15" y="626"/>
                    <a:pt x="15" y="626"/>
                  </a:cubicBezTo>
                  <a:cubicBezTo>
                    <a:pt x="12" y="627"/>
                    <a:pt x="12" y="627"/>
                    <a:pt x="12" y="627"/>
                  </a:cubicBezTo>
                  <a:cubicBezTo>
                    <a:pt x="16" y="628"/>
                    <a:pt x="16" y="628"/>
                    <a:pt x="16" y="628"/>
                  </a:cubicBezTo>
                  <a:lnTo>
                    <a:pt x="15" y="632"/>
                  </a:lnTo>
                  <a:close/>
                  <a:moveTo>
                    <a:pt x="12" y="630"/>
                  </a:moveTo>
                  <a:cubicBezTo>
                    <a:pt x="13" y="632"/>
                    <a:pt x="13" y="632"/>
                    <a:pt x="13" y="632"/>
                  </a:cubicBezTo>
                  <a:cubicBezTo>
                    <a:pt x="14" y="633"/>
                    <a:pt x="14" y="633"/>
                    <a:pt x="14" y="633"/>
                  </a:cubicBezTo>
                  <a:cubicBezTo>
                    <a:pt x="14" y="629"/>
                    <a:pt x="14" y="629"/>
                    <a:pt x="14" y="629"/>
                  </a:cubicBezTo>
                  <a:lnTo>
                    <a:pt x="12" y="630"/>
                  </a:lnTo>
                  <a:close/>
                  <a:moveTo>
                    <a:pt x="20" y="618"/>
                  </a:moveTo>
                  <a:cubicBezTo>
                    <a:pt x="22" y="619"/>
                    <a:pt x="22" y="623"/>
                    <a:pt x="22" y="623"/>
                  </a:cubicBezTo>
                  <a:cubicBezTo>
                    <a:pt x="25" y="623"/>
                    <a:pt x="25" y="623"/>
                    <a:pt x="25" y="623"/>
                  </a:cubicBezTo>
                  <a:cubicBezTo>
                    <a:pt x="25" y="616"/>
                    <a:pt x="25" y="616"/>
                    <a:pt x="25" y="616"/>
                  </a:cubicBezTo>
                  <a:cubicBezTo>
                    <a:pt x="20" y="615"/>
                    <a:pt x="20" y="615"/>
                    <a:pt x="20" y="615"/>
                  </a:cubicBezTo>
                  <a:cubicBezTo>
                    <a:pt x="20" y="615"/>
                    <a:pt x="18" y="617"/>
                    <a:pt x="20" y="618"/>
                  </a:cubicBezTo>
                  <a:close/>
                  <a:moveTo>
                    <a:pt x="36" y="604"/>
                  </a:moveTo>
                  <a:cubicBezTo>
                    <a:pt x="36" y="601"/>
                    <a:pt x="36" y="601"/>
                    <a:pt x="36" y="601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4"/>
                    <a:pt x="34" y="604"/>
                    <a:pt x="34" y="604"/>
                  </a:cubicBezTo>
                  <a:lnTo>
                    <a:pt x="36" y="604"/>
                  </a:lnTo>
                  <a:close/>
                  <a:moveTo>
                    <a:pt x="45" y="607"/>
                  </a:moveTo>
                  <a:cubicBezTo>
                    <a:pt x="48" y="605"/>
                    <a:pt x="48" y="601"/>
                    <a:pt x="44" y="600"/>
                  </a:cubicBezTo>
                  <a:cubicBezTo>
                    <a:pt x="40" y="598"/>
                    <a:pt x="40" y="603"/>
                    <a:pt x="40" y="603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7"/>
                    <a:pt x="42" y="608"/>
                    <a:pt x="45" y="607"/>
                  </a:cubicBezTo>
                  <a:close/>
                  <a:moveTo>
                    <a:pt x="42" y="598"/>
                  </a:moveTo>
                  <a:cubicBezTo>
                    <a:pt x="45" y="598"/>
                    <a:pt x="45" y="598"/>
                    <a:pt x="45" y="598"/>
                  </a:cubicBezTo>
                  <a:cubicBezTo>
                    <a:pt x="46" y="596"/>
                    <a:pt x="46" y="596"/>
                    <a:pt x="46" y="596"/>
                  </a:cubicBezTo>
                  <a:cubicBezTo>
                    <a:pt x="43" y="593"/>
                    <a:pt x="43" y="593"/>
                    <a:pt x="43" y="593"/>
                  </a:cubicBezTo>
                  <a:cubicBezTo>
                    <a:pt x="41" y="593"/>
                    <a:pt x="41" y="593"/>
                    <a:pt x="41" y="593"/>
                  </a:cubicBezTo>
                  <a:cubicBezTo>
                    <a:pt x="42" y="596"/>
                    <a:pt x="42" y="596"/>
                    <a:pt x="42" y="596"/>
                  </a:cubicBezTo>
                  <a:lnTo>
                    <a:pt x="42" y="598"/>
                  </a:lnTo>
                  <a:close/>
                  <a:moveTo>
                    <a:pt x="53" y="593"/>
                  </a:moveTo>
                  <a:cubicBezTo>
                    <a:pt x="49" y="594"/>
                    <a:pt x="49" y="594"/>
                    <a:pt x="49" y="594"/>
                  </a:cubicBezTo>
                  <a:cubicBezTo>
                    <a:pt x="49" y="603"/>
                    <a:pt x="49" y="603"/>
                    <a:pt x="49" y="603"/>
                  </a:cubicBezTo>
                  <a:cubicBezTo>
                    <a:pt x="57" y="598"/>
                    <a:pt x="57" y="598"/>
                    <a:pt x="57" y="598"/>
                  </a:cubicBezTo>
                  <a:lnTo>
                    <a:pt x="53" y="593"/>
                  </a:lnTo>
                  <a:close/>
                  <a:moveTo>
                    <a:pt x="57" y="593"/>
                  </a:moveTo>
                  <a:cubicBezTo>
                    <a:pt x="60" y="596"/>
                    <a:pt x="60" y="596"/>
                    <a:pt x="60" y="596"/>
                  </a:cubicBezTo>
                  <a:cubicBezTo>
                    <a:pt x="65" y="594"/>
                    <a:pt x="65" y="594"/>
                    <a:pt x="65" y="594"/>
                  </a:cubicBezTo>
                  <a:cubicBezTo>
                    <a:pt x="61" y="592"/>
                    <a:pt x="61" y="592"/>
                    <a:pt x="61" y="592"/>
                  </a:cubicBezTo>
                  <a:lnTo>
                    <a:pt x="57" y="593"/>
                  </a:lnTo>
                  <a:close/>
                  <a:moveTo>
                    <a:pt x="55" y="587"/>
                  </a:moveTo>
                  <a:cubicBezTo>
                    <a:pt x="51" y="591"/>
                    <a:pt x="51" y="591"/>
                    <a:pt x="51" y="591"/>
                  </a:cubicBezTo>
                  <a:cubicBezTo>
                    <a:pt x="58" y="591"/>
                    <a:pt x="58" y="591"/>
                    <a:pt x="58" y="591"/>
                  </a:cubicBezTo>
                  <a:lnTo>
                    <a:pt x="55" y="587"/>
                  </a:lnTo>
                  <a:close/>
                  <a:moveTo>
                    <a:pt x="57" y="586"/>
                  </a:moveTo>
                  <a:cubicBezTo>
                    <a:pt x="59" y="586"/>
                    <a:pt x="61" y="581"/>
                    <a:pt x="58" y="582"/>
                  </a:cubicBezTo>
                  <a:cubicBezTo>
                    <a:pt x="55" y="583"/>
                    <a:pt x="56" y="586"/>
                    <a:pt x="57" y="586"/>
                  </a:cubicBezTo>
                  <a:close/>
                  <a:moveTo>
                    <a:pt x="63" y="580"/>
                  </a:moveTo>
                  <a:cubicBezTo>
                    <a:pt x="59" y="579"/>
                    <a:pt x="59" y="579"/>
                    <a:pt x="59" y="579"/>
                  </a:cubicBezTo>
                  <a:cubicBezTo>
                    <a:pt x="62" y="582"/>
                    <a:pt x="62" y="582"/>
                    <a:pt x="62" y="582"/>
                  </a:cubicBezTo>
                  <a:lnTo>
                    <a:pt x="63" y="580"/>
                  </a:lnTo>
                  <a:close/>
                  <a:moveTo>
                    <a:pt x="63" y="577"/>
                  </a:moveTo>
                  <a:cubicBezTo>
                    <a:pt x="62" y="578"/>
                    <a:pt x="62" y="578"/>
                    <a:pt x="62" y="578"/>
                  </a:cubicBezTo>
                  <a:cubicBezTo>
                    <a:pt x="65" y="580"/>
                    <a:pt x="65" y="580"/>
                    <a:pt x="65" y="580"/>
                  </a:cubicBezTo>
                  <a:lnTo>
                    <a:pt x="63" y="577"/>
                  </a:lnTo>
                  <a:close/>
                  <a:moveTo>
                    <a:pt x="71" y="575"/>
                  </a:moveTo>
                  <a:cubicBezTo>
                    <a:pt x="71" y="571"/>
                    <a:pt x="71" y="571"/>
                    <a:pt x="71" y="571"/>
                  </a:cubicBezTo>
                  <a:cubicBezTo>
                    <a:pt x="69" y="571"/>
                    <a:pt x="69" y="571"/>
                    <a:pt x="69" y="571"/>
                  </a:cubicBezTo>
                  <a:cubicBezTo>
                    <a:pt x="69" y="575"/>
                    <a:pt x="69" y="575"/>
                    <a:pt x="69" y="575"/>
                  </a:cubicBezTo>
                  <a:lnTo>
                    <a:pt x="71" y="575"/>
                  </a:lnTo>
                  <a:close/>
                  <a:moveTo>
                    <a:pt x="80" y="578"/>
                  </a:moveTo>
                  <a:cubicBezTo>
                    <a:pt x="85" y="576"/>
                    <a:pt x="85" y="575"/>
                    <a:pt x="82" y="575"/>
                  </a:cubicBezTo>
                  <a:cubicBezTo>
                    <a:pt x="78" y="573"/>
                    <a:pt x="77" y="576"/>
                    <a:pt x="77" y="577"/>
                  </a:cubicBezTo>
                  <a:cubicBezTo>
                    <a:pt x="77" y="578"/>
                    <a:pt x="80" y="578"/>
                    <a:pt x="80" y="578"/>
                  </a:cubicBezTo>
                  <a:close/>
                  <a:moveTo>
                    <a:pt x="87" y="568"/>
                  </a:moveTo>
                  <a:cubicBezTo>
                    <a:pt x="82" y="567"/>
                    <a:pt x="82" y="567"/>
                    <a:pt x="82" y="567"/>
                  </a:cubicBezTo>
                  <a:cubicBezTo>
                    <a:pt x="80" y="568"/>
                    <a:pt x="80" y="568"/>
                    <a:pt x="80" y="568"/>
                  </a:cubicBezTo>
                  <a:cubicBezTo>
                    <a:pt x="83" y="571"/>
                    <a:pt x="83" y="571"/>
                    <a:pt x="83" y="571"/>
                  </a:cubicBezTo>
                  <a:lnTo>
                    <a:pt x="87" y="568"/>
                  </a:lnTo>
                  <a:close/>
                  <a:moveTo>
                    <a:pt x="110" y="557"/>
                  </a:moveTo>
                  <a:cubicBezTo>
                    <a:pt x="109" y="551"/>
                    <a:pt x="109" y="551"/>
                    <a:pt x="109" y="551"/>
                  </a:cubicBezTo>
                  <a:cubicBezTo>
                    <a:pt x="106" y="551"/>
                    <a:pt x="106" y="551"/>
                    <a:pt x="106" y="551"/>
                  </a:cubicBezTo>
                  <a:cubicBezTo>
                    <a:pt x="107" y="554"/>
                    <a:pt x="107" y="554"/>
                    <a:pt x="107" y="554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0" y="558"/>
                    <a:pt x="100" y="558"/>
                    <a:pt x="100" y="558"/>
                  </a:cubicBezTo>
                  <a:cubicBezTo>
                    <a:pt x="105" y="562"/>
                    <a:pt x="105" y="562"/>
                    <a:pt x="105" y="562"/>
                  </a:cubicBezTo>
                  <a:lnTo>
                    <a:pt x="110" y="557"/>
                  </a:lnTo>
                  <a:close/>
                  <a:moveTo>
                    <a:pt x="116" y="555"/>
                  </a:moveTo>
                  <a:cubicBezTo>
                    <a:pt x="116" y="552"/>
                    <a:pt x="116" y="552"/>
                    <a:pt x="116" y="552"/>
                  </a:cubicBezTo>
                  <a:cubicBezTo>
                    <a:pt x="111" y="553"/>
                    <a:pt x="111" y="553"/>
                    <a:pt x="111" y="553"/>
                  </a:cubicBezTo>
                  <a:cubicBezTo>
                    <a:pt x="112" y="557"/>
                    <a:pt x="112" y="557"/>
                    <a:pt x="112" y="557"/>
                  </a:cubicBezTo>
                  <a:lnTo>
                    <a:pt x="116" y="555"/>
                  </a:lnTo>
                  <a:close/>
                  <a:moveTo>
                    <a:pt x="113" y="548"/>
                  </a:moveTo>
                  <a:cubicBezTo>
                    <a:pt x="111" y="552"/>
                    <a:pt x="111" y="552"/>
                    <a:pt x="111" y="552"/>
                  </a:cubicBezTo>
                  <a:cubicBezTo>
                    <a:pt x="115" y="551"/>
                    <a:pt x="115" y="551"/>
                    <a:pt x="115" y="551"/>
                  </a:cubicBezTo>
                  <a:lnTo>
                    <a:pt x="113" y="548"/>
                  </a:lnTo>
                  <a:close/>
                  <a:moveTo>
                    <a:pt x="124" y="545"/>
                  </a:moveTo>
                  <a:cubicBezTo>
                    <a:pt x="117" y="545"/>
                    <a:pt x="121" y="549"/>
                    <a:pt x="123" y="549"/>
                  </a:cubicBezTo>
                  <a:cubicBezTo>
                    <a:pt x="126" y="550"/>
                    <a:pt x="130" y="545"/>
                    <a:pt x="124" y="545"/>
                  </a:cubicBezTo>
                  <a:close/>
                  <a:moveTo>
                    <a:pt x="135" y="547"/>
                  </a:moveTo>
                  <a:cubicBezTo>
                    <a:pt x="133" y="542"/>
                    <a:pt x="133" y="542"/>
                    <a:pt x="133" y="542"/>
                  </a:cubicBezTo>
                  <a:cubicBezTo>
                    <a:pt x="132" y="544"/>
                    <a:pt x="132" y="544"/>
                    <a:pt x="132" y="544"/>
                  </a:cubicBezTo>
                  <a:cubicBezTo>
                    <a:pt x="129" y="541"/>
                    <a:pt x="129" y="541"/>
                    <a:pt x="129" y="541"/>
                  </a:cubicBezTo>
                  <a:cubicBezTo>
                    <a:pt x="127" y="542"/>
                    <a:pt x="127" y="542"/>
                    <a:pt x="127" y="542"/>
                  </a:cubicBezTo>
                  <a:cubicBezTo>
                    <a:pt x="132" y="549"/>
                    <a:pt x="132" y="549"/>
                    <a:pt x="132" y="549"/>
                  </a:cubicBezTo>
                  <a:lnTo>
                    <a:pt x="135" y="547"/>
                  </a:lnTo>
                  <a:close/>
                  <a:moveTo>
                    <a:pt x="118" y="535"/>
                  </a:moveTo>
                  <a:cubicBezTo>
                    <a:pt x="123" y="537"/>
                    <a:pt x="123" y="537"/>
                    <a:pt x="123" y="537"/>
                  </a:cubicBezTo>
                  <a:cubicBezTo>
                    <a:pt x="127" y="536"/>
                    <a:pt x="127" y="536"/>
                    <a:pt x="127" y="536"/>
                  </a:cubicBezTo>
                  <a:cubicBezTo>
                    <a:pt x="127" y="536"/>
                    <a:pt x="127" y="529"/>
                    <a:pt x="123" y="530"/>
                  </a:cubicBezTo>
                  <a:cubicBezTo>
                    <a:pt x="117" y="530"/>
                    <a:pt x="115" y="531"/>
                    <a:pt x="115" y="531"/>
                  </a:cubicBezTo>
                  <a:cubicBezTo>
                    <a:pt x="116" y="535"/>
                    <a:pt x="116" y="535"/>
                    <a:pt x="116" y="535"/>
                  </a:cubicBezTo>
                  <a:lnTo>
                    <a:pt x="118" y="535"/>
                  </a:lnTo>
                  <a:close/>
                  <a:moveTo>
                    <a:pt x="138" y="522"/>
                  </a:moveTo>
                  <a:cubicBezTo>
                    <a:pt x="138" y="522"/>
                    <a:pt x="131" y="524"/>
                    <a:pt x="131" y="528"/>
                  </a:cubicBezTo>
                  <a:cubicBezTo>
                    <a:pt x="131" y="533"/>
                    <a:pt x="138" y="530"/>
                    <a:pt x="145" y="529"/>
                  </a:cubicBezTo>
                  <a:cubicBezTo>
                    <a:pt x="154" y="526"/>
                    <a:pt x="158" y="523"/>
                    <a:pt x="156" y="522"/>
                  </a:cubicBezTo>
                  <a:cubicBezTo>
                    <a:pt x="154" y="521"/>
                    <a:pt x="150" y="521"/>
                    <a:pt x="150" y="521"/>
                  </a:cubicBezTo>
                  <a:cubicBezTo>
                    <a:pt x="150" y="518"/>
                    <a:pt x="150" y="518"/>
                    <a:pt x="150" y="518"/>
                  </a:cubicBezTo>
                  <a:cubicBezTo>
                    <a:pt x="150" y="518"/>
                    <a:pt x="147" y="518"/>
                    <a:pt x="143" y="519"/>
                  </a:cubicBezTo>
                  <a:cubicBezTo>
                    <a:pt x="139" y="519"/>
                    <a:pt x="138" y="522"/>
                    <a:pt x="138" y="522"/>
                  </a:cubicBezTo>
                  <a:close/>
                  <a:moveTo>
                    <a:pt x="139" y="516"/>
                  </a:moveTo>
                  <a:cubicBezTo>
                    <a:pt x="147" y="514"/>
                    <a:pt x="147" y="514"/>
                    <a:pt x="147" y="514"/>
                  </a:cubicBezTo>
                  <a:cubicBezTo>
                    <a:pt x="146" y="508"/>
                    <a:pt x="146" y="508"/>
                    <a:pt x="146" y="508"/>
                  </a:cubicBezTo>
                  <a:cubicBezTo>
                    <a:pt x="146" y="508"/>
                    <a:pt x="142" y="513"/>
                    <a:pt x="139" y="513"/>
                  </a:cubicBezTo>
                  <a:cubicBezTo>
                    <a:pt x="137" y="514"/>
                    <a:pt x="131" y="515"/>
                    <a:pt x="131" y="515"/>
                  </a:cubicBezTo>
                  <a:cubicBezTo>
                    <a:pt x="132" y="516"/>
                    <a:pt x="132" y="516"/>
                    <a:pt x="132" y="516"/>
                  </a:cubicBezTo>
                  <a:lnTo>
                    <a:pt x="139" y="516"/>
                  </a:lnTo>
                  <a:close/>
                  <a:moveTo>
                    <a:pt x="159" y="517"/>
                  </a:moveTo>
                  <a:cubicBezTo>
                    <a:pt x="154" y="518"/>
                    <a:pt x="154" y="518"/>
                    <a:pt x="154" y="518"/>
                  </a:cubicBezTo>
                  <a:cubicBezTo>
                    <a:pt x="153" y="519"/>
                    <a:pt x="153" y="519"/>
                    <a:pt x="153" y="519"/>
                  </a:cubicBezTo>
                  <a:cubicBezTo>
                    <a:pt x="159" y="519"/>
                    <a:pt x="159" y="519"/>
                    <a:pt x="159" y="519"/>
                  </a:cubicBezTo>
                  <a:lnTo>
                    <a:pt x="159" y="517"/>
                  </a:lnTo>
                  <a:close/>
                  <a:moveTo>
                    <a:pt x="162" y="515"/>
                  </a:moveTo>
                  <a:cubicBezTo>
                    <a:pt x="162" y="521"/>
                    <a:pt x="162" y="521"/>
                    <a:pt x="162" y="521"/>
                  </a:cubicBezTo>
                  <a:cubicBezTo>
                    <a:pt x="166" y="519"/>
                    <a:pt x="166" y="519"/>
                    <a:pt x="166" y="519"/>
                  </a:cubicBezTo>
                  <a:lnTo>
                    <a:pt x="162" y="515"/>
                  </a:lnTo>
                  <a:close/>
                  <a:moveTo>
                    <a:pt x="235" y="425"/>
                  </a:moveTo>
                  <a:cubicBezTo>
                    <a:pt x="235" y="425"/>
                    <a:pt x="232" y="424"/>
                    <a:pt x="230" y="425"/>
                  </a:cubicBezTo>
                  <a:cubicBezTo>
                    <a:pt x="227" y="427"/>
                    <a:pt x="229" y="430"/>
                    <a:pt x="229" y="430"/>
                  </a:cubicBezTo>
                  <a:lnTo>
                    <a:pt x="235" y="425"/>
                  </a:lnTo>
                  <a:close/>
                  <a:moveTo>
                    <a:pt x="215" y="439"/>
                  </a:moveTo>
                  <a:cubicBezTo>
                    <a:pt x="216" y="439"/>
                    <a:pt x="214" y="441"/>
                    <a:pt x="214" y="441"/>
                  </a:cubicBezTo>
                  <a:cubicBezTo>
                    <a:pt x="216" y="443"/>
                    <a:pt x="216" y="443"/>
                    <a:pt x="216" y="443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9"/>
                    <a:pt x="220" y="434"/>
                    <a:pt x="214" y="435"/>
                  </a:cubicBezTo>
                  <a:cubicBezTo>
                    <a:pt x="210" y="436"/>
                    <a:pt x="207" y="440"/>
                    <a:pt x="207" y="440"/>
                  </a:cubicBezTo>
                  <a:cubicBezTo>
                    <a:pt x="210" y="442"/>
                    <a:pt x="210" y="442"/>
                    <a:pt x="210" y="442"/>
                  </a:cubicBezTo>
                  <a:cubicBezTo>
                    <a:pt x="210" y="442"/>
                    <a:pt x="214" y="438"/>
                    <a:pt x="215" y="439"/>
                  </a:cubicBezTo>
                  <a:close/>
                  <a:moveTo>
                    <a:pt x="239" y="396"/>
                  </a:moveTo>
                  <a:cubicBezTo>
                    <a:pt x="244" y="390"/>
                    <a:pt x="244" y="390"/>
                    <a:pt x="244" y="390"/>
                  </a:cubicBezTo>
                  <a:cubicBezTo>
                    <a:pt x="242" y="387"/>
                    <a:pt x="242" y="387"/>
                    <a:pt x="242" y="387"/>
                  </a:cubicBezTo>
                  <a:cubicBezTo>
                    <a:pt x="242" y="387"/>
                    <a:pt x="236" y="386"/>
                    <a:pt x="237" y="391"/>
                  </a:cubicBezTo>
                  <a:cubicBezTo>
                    <a:pt x="237" y="396"/>
                    <a:pt x="239" y="396"/>
                    <a:pt x="239" y="396"/>
                  </a:cubicBezTo>
                  <a:close/>
                  <a:moveTo>
                    <a:pt x="242" y="408"/>
                  </a:moveTo>
                  <a:cubicBezTo>
                    <a:pt x="244" y="408"/>
                    <a:pt x="244" y="408"/>
                    <a:pt x="244" y="408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4" y="402"/>
                    <a:pt x="244" y="402"/>
                    <a:pt x="244" y="402"/>
                  </a:cubicBezTo>
                  <a:lnTo>
                    <a:pt x="242" y="408"/>
                  </a:lnTo>
                  <a:close/>
                  <a:moveTo>
                    <a:pt x="259" y="367"/>
                  </a:moveTo>
                  <a:cubicBezTo>
                    <a:pt x="259" y="367"/>
                    <a:pt x="254" y="371"/>
                    <a:pt x="253" y="373"/>
                  </a:cubicBezTo>
                  <a:cubicBezTo>
                    <a:pt x="252" y="374"/>
                    <a:pt x="255" y="378"/>
                    <a:pt x="255" y="378"/>
                  </a:cubicBezTo>
                  <a:cubicBezTo>
                    <a:pt x="260" y="373"/>
                    <a:pt x="260" y="373"/>
                    <a:pt x="260" y="373"/>
                  </a:cubicBezTo>
                  <a:cubicBezTo>
                    <a:pt x="265" y="370"/>
                    <a:pt x="265" y="370"/>
                    <a:pt x="265" y="370"/>
                  </a:cubicBezTo>
                  <a:cubicBezTo>
                    <a:pt x="266" y="367"/>
                    <a:pt x="266" y="367"/>
                    <a:pt x="266" y="367"/>
                  </a:cubicBezTo>
                  <a:cubicBezTo>
                    <a:pt x="260" y="370"/>
                    <a:pt x="260" y="370"/>
                    <a:pt x="260" y="370"/>
                  </a:cubicBezTo>
                  <a:lnTo>
                    <a:pt x="259" y="367"/>
                  </a:lnTo>
                  <a:close/>
                  <a:moveTo>
                    <a:pt x="253" y="366"/>
                  </a:moveTo>
                  <a:cubicBezTo>
                    <a:pt x="259" y="363"/>
                    <a:pt x="259" y="363"/>
                    <a:pt x="259" y="363"/>
                  </a:cubicBezTo>
                  <a:cubicBezTo>
                    <a:pt x="260" y="360"/>
                    <a:pt x="260" y="360"/>
                    <a:pt x="260" y="360"/>
                  </a:cubicBezTo>
                  <a:cubicBezTo>
                    <a:pt x="258" y="359"/>
                    <a:pt x="258" y="359"/>
                    <a:pt x="258" y="359"/>
                  </a:cubicBezTo>
                  <a:cubicBezTo>
                    <a:pt x="260" y="357"/>
                    <a:pt x="260" y="357"/>
                    <a:pt x="260" y="357"/>
                  </a:cubicBezTo>
                  <a:cubicBezTo>
                    <a:pt x="259" y="353"/>
                    <a:pt x="259" y="353"/>
                    <a:pt x="259" y="353"/>
                  </a:cubicBezTo>
                  <a:cubicBezTo>
                    <a:pt x="255" y="356"/>
                    <a:pt x="255" y="356"/>
                    <a:pt x="255" y="356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2" y="363"/>
                    <a:pt x="252" y="363"/>
                    <a:pt x="252" y="363"/>
                  </a:cubicBezTo>
                  <a:lnTo>
                    <a:pt x="253" y="366"/>
                  </a:lnTo>
                  <a:close/>
                  <a:moveTo>
                    <a:pt x="263" y="349"/>
                  </a:moveTo>
                  <a:cubicBezTo>
                    <a:pt x="262" y="352"/>
                    <a:pt x="262" y="352"/>
                    <a:pt x="262" y="352"/>
                  </a:cubicBezTo>
                  <a:cubicBezTo>
                    <a:pt x="264" y="355"/>
                    <a:pt x="264" y="355"/>
                    <a:pt x="264" y="355"/>
                  </a:cubicBezTo>
                  <a:cubicBezTo>
                    <a:pt x="268" y="350"/>
                    <a:pt x="268" y="350"/>
                    <a:pt x="268" y="350"/>
                  </a:cubicBezTo>
                  <a:lnTo>
                    <a:pt x="263" y="349"/>
                  </a:lnTo>
                  <a:close/>
                  <a:moveTo>
                    <a:pt x="264" y="359"/>
                  </a:moveTo>
                  <a:cubicBezTo>
                    <a:pt x="265" y="357"/>
                    <a:pt x="265" y="357"/>
                    <a:pt x="265" y="357"/>
                  </a:cubicBezTo>
                  <a:cubicBezTo>
                    <a:pt x="262" y="357"/>
                    <a:pt x="262" y="357"/>
                    <a:pt x="262" y="357"/>
                  </a:cubicBezTo>
                  <a:lnTo>
                    <a:pt x="264" y="359"/>
                  </a:lnTo>
                  <a:close/>
                  <a:moveTo>
                    <a:pt x="266" y="343"/>
                  </a:moveTo>
                  <a:cubicBezTo>
                    <a:pt x="269" y="340"/>
                    <a:pt x="269" y="340"/>
                    <a:pt x="269" y="340"/>
                  </a:cubicBezTo>
                  <a:cubicBezTo>
                    <a:pt x="265" y="339"/>
                    <a:pt x="265" y="339"/>
                    <a:pt x="265" y="339"/>
                  </a:cubicBezTo>
                  <a:lnTo>
                    <a:pt x="266" y="343"/>
                  </a:lnTo>
                  <a:close/>
                  <a:moveTo>
                    <a:pt x="261" y="330"/>
                  </a:moveTo>
                  <a:cubicBezTo>
                    <a:pt x="258" y="329"/>
                    <a:pt x="258" y="329"/>
                    <a:pt x="258" y="329"/>
                  </a:cubicBezTo>
                  <a:cubicBezTo>
                    <a:pt x="257" y="333"/>
                    <a:pt x="257" y="333"/>
                    <a:pt x="257" y="333"/>
                  </a:cubicBezTo>
                  <a:cubicBezTo>
                    <a:pt x="260" y="332"/>
                    <a:pt x="260" y="332"/>
                    <a:pt x="260" y="332"/>
                  </a:cubicBezTo>
                  <a:lnTo>
                    <a:pt x="261" y="330"/>
                  </a:lnTo>
                  <a:close/>
                  <a:moveTo>
                    <a:pt x="272" y="351"/>
                  </a:moveTo>
                  <a:cubicBezTo>
                    <a:pt x="269" y="350"/>
                    <a:pt x="269" y="350"/>
                    <a:pt x="269" y="350"/>
                  </a:cubicBezTo>
                  <a:cubicBezTo>
                    <a:pt x="268" y="356"/>
                    <a:pt x="268" y="356"/>
                    <a:pt x="268" y="356"/>
                  </a:cubicBezTo>
                  <a:lnTo>
                    <a:pt x="272" y="351"/>
                  </a:lnTo>
                  <a:close/>
                  <a:moveTo>
                    <a:pt x="280" y="319"/>
                  </a:moveTo>
                  <a:cubicBezTo>
                    <a:pt x="278" y="317"/>
                    <a:pt x="278" y="317"/>
                    <a:pt x="278" y="317"/>
                  </a:cubicBezTo>
                  <a:cubicBezTo>
                    <a:pt x="276" y="320"/>
                    <a:pt x="276" y="320"/>
                    <a:pt x="276" y="320"/>
                  </a:cubicBezTo>
                  <a:lnTo>
                    <a:pt x="280" y="319"/>
                  </a:lnTo>
                  <a:close/>
                  <a:moveTo>
                    <a:pt x="284" y="313"/>
                  </a:moveTo>
                  <a:cubicBezTo>
                    <a:pt x="279" y="312"/>
                    <a:pt x="279" y="312"/>
                    <a:pt x="279" y="312"/>
                  </a:cubicBezTo>
                  <a:cubicBezTo>
                    <a:pt x="276" y="315"/>
                    <a:pt x="276" y="315"/>
                    <a:pt x="276" y="315"/>
                  </a:cubicBezTo>
                  <a:cubicBezTo>
                    <a:pt x="284" y="315"/>
                    <a:pt x="284" y="315"/>
                    <a:pt x="284" y="315"/>
                  </a:cubicBezTo>
                  <a:lnTo>
                    <a:pt x="284" y="313"/>
                  </a:lnTo>
                  <a:close/>
                  <a:moveTo>
                    <a:pt x="301" y="300"/>
                  </a:moveTo>
                  <a:cubicBezTo>
                    <a:pt x="304" y="290"/>
                    <a:pt x="304" y="290"/>
                    <a:pt x="304" y="290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1" y="294"/>
                    <a:pt x="301" y="294"/>
                    <a:pt x="301" y="294"/>
                  </a:cubicBezTo>
                  <a:cubicBezTo>
                    <a:pt x="297" y="292"/>
                    <a:pt x="297" y="292"/>
                    <a:pt x="297" y="292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300" y="298"/>
                    <a:pt x="300" y="298"/>
                    <a:pt x="300" y="298"/>
                  </a:cubicBezTo>
                  <a:cubicBezTo>
                    <a:pt x="300" y="300"/>
                    <a:pt x="300" y="300"/>
                    <a:pt x="300" y="300"/>
                  </a:cubicBezTo>
                  <a:lnTo>
                    <a:pt x="301" y="300"/>
                  </a:lnTo>
                  <a:close/>
                  <a:moveTo>
                    <a:pt x="305" y="276"/>
                  </a:moveTo>
                  <a:cubicBezTo>
                    <a:pt x="298" y="279"/>
                    <a:pt x="304" y="279"/>
                    <a:pt x="306" y="278"/>
                  </a:cubicBezTo>
                  <a:cubicBezTo>
                    <a:pt x="311" y="276"/>
                    <a:pt x="310" y="273"/>
                    <a:pt x="305" y="276"/>
                  </a:cubicBezTo>
                  <a:close/>
                  <a:moveTo>
                    <a:pt x="262" y="260"/>
                  </a:moveTo>
                  <a:cubicBezTo>
                    <a:pt x="260" y="266"/>
                    <a:pt x="260" y="266"/>
                    <a:pt x="260" y="266"/>
                  </a:cubicBezTo>
                  <a:cubicBezTo>
                    <a:pt x="265" y="263"/>
                    <a:pt x="265" y="263"/>
                    <a:pt x="265" y="263"/>
                  </a:cubicBezTo>
                  <a:lnTo>
                    <a:pt x="262" y="260"/>
                  </a:lnTo>
                  <a:close/>
                  <a:moveTo>
                    <a:pt x="320" y="244"/>
                  </a:moveTo>
                  <a:cubicBezTo>
                    <a:pt x="327" y="242"/>
                    <a:pt x="327" y="242"/>
                    <a:pt x="327" y="242"/>
                  </a:cubicBezTo>
                  <a:cubicBezTo>
                    <a:pt x="327" y="241"/>
                    <a:pt x="327" y="241"/>
                    <a:pt x="327" y="241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44"/>
                  </a:lnTo>
                  <a:close/>
                  <a:moveTo>
                    <a:pt x="323" y="236"/>
                  </a:moveTo>
                  <a:cubicBezTo>
                    <a:pt x="327" y="239"/>
                    <a:pt x="327" y="239"/>
                    <a:pt x="327" y="239"/>
                  </a:cubicBezTo>
                  <a:cubicBezTo>
                    <a:pt x="327" y="238"/>
                    <a:pt x="324" y="234"/>
                    <a:pt x="324" y="234"/>
                  </a:cubicBezTo>
                  <a:lnTo>
                    <a:pt x="323" y="236"/>
                  </a:lnTo>
                  <a:close/>
                  <a:moveTo>
                    <a:pt x="353" y="201"/>
                  </a:moveTo>
                  <a:cubicBezTo>
                    <a:pt x="346" y="195"/>
                    <a:pt x="347" y="207"/>
                    <a:pt x="347" y="207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45" y="210"/>
                    <a:pt x="345" y="210"/>
                    <a:pt x="345" y="210"/>
                  </a:cubicBezTo>
                  <a:cubicBezTo>
                    <a:pt x="351" y="208"/>
                    <a:pt x="351" y="208"/>
                    <a:pt x="351" y="208"/>
                  </a:cubicBezTo>
                  <a:cubicBezTo>
                    <a:pt x="351" y="208"/>
                    <a:pt x="358" y="206"/>
                    <a:pt x="353" y="201"/>
                  </a:cubicBezTo>
                  <a:close/>
                  <a:moveTo>
                    <a:pt x="343" y="217"/>
                  </a:moveTo>
                  <a:cubicBezTo>
                    <a:pt x="348" y="213"/>
                    <a:pt x="348" y="213"/>
                    <a:pt x="348" y="213"/>
                  </a:cubicBezTo>
                  <a:cubicBezTo>
                    <a:pt x="343" y="214"/>
                    <a:pt x="343" y="214"/>
                    <a:pt x="343" y="214"/>
                  </a:cubicBezTo>
                  <a:lnTo>
                    <a:pt x="343" y="217"/>
                  </a:lnTo>
                  <a:close/>
                  <a:moveTo>
                    <a:pt x="350" y="229"/>
                  </a:moveTo>
                  <a:cubicBezTo>
                    <a:pt x="348" y="232"/>
                    <a:pt x="348" y="232"/>
                    <a:pt x="348" y="232"/>
                  </a:cubicBezTo>
                  <a:cubicBezTo>
                    <a:pt x="354" y="232"/>
                    <a:pt x="354" y="232"/>
                    <a:pt x="354" y="232"/>
                  </a:cubicBezTo>
                  <a:lnTo>
                    <a:pt x="350" y="229"/>
                  </a:lnTo>
                  <a:close/>
                  <a:moveTo>
                    <a:pt x="265" y="251"/>
                  </a:moveTo>
                  <a:cubicBezTo>
                    <a:pt x="265" y="251"/>
                    <a:pt x="270" y="250"/>
                    <a:pt x="271" y="247"/>
                  </a:cubicBezTo>
                  <a:cubicBezTo>
                    <a:pt x="271" y="245"/>
                    <a:pt x="270" y="242"/>
                    <a:pt x="271" y="242"/>
                  </a:cubicBezTo>
                  <a:cubicBezTo>
                    <a:pt x="272" y="242"/>
                    <a:pt x="275" y="238"/>
                    <a:pt x="275" y="238"/>
                  </a:cubicBezTo>
                  <a:cubicBezTo>
                    <a:pt x="275" y="238"/>
                    <a:pt x="281" y="237"/>
                    <a:pt x="281" y="232"/>
                  </a:cubicBezTo>
                  <a:cubicBezTo>
                    <a:pt x="281" y="226"/>
                    <a:pt x="278" y="227"/>
                    <a:pt x="278" y="227"/>
                  </a:cubicBezTo>
                  <a:cubicBezTo>
                    <a:pt x="274" y="235"/>
                    <a:pt x="274" y="235"/>
                    <a:pt x="274" y="235"/>
                  </a:cubicBezTo>
                  <a:cubicBezTo>
                    <a:pt x="272" y="232"/>
                    <a:pt x="272" y="232"/>
                    <a:pt x="272" y="232"/>
                  </a:cubicBezTo>
                  <a:cubicBezTo>
                    <a:pt x="272" y="232"/>
                    <a:pt x="266" y="239"/>
                    <a:pt x="266" y="242"/>
                  </a:cubicBezTo>
                  <a:cubicBezTo>
                    <a:pt x="265" y="245"/>
                    <a:pt x="266" y="247"/>
                    <a:pt x="266" y="248"/>
                  </a:cubicBezTo>
                  <a:cubicBezTo>
                    <a:pt x="266" y="249"/>
                    <a:pt x="264" y="250"/>
                    <a:pt x="265" y="251"/>
                  </a:cubicBezTo>
                  <a:close/>
                  <a:moveTo>
                    <a:pt x="282" y="233"/>
                  </a:moveTo>
                  <a:cubicBezTo>
                    <a:pt x="282" y="233"/>
                    <a:pt x="287" y="233"/>
                    <a:pt x="289" y="232"/>
                  </a:cubicBezTo>
                  <a:cubicBezTo>
                    <a:pt x="292" y="231"/>
                    <a:pt x="290" y="226"/>
                    <a:pt x="290" y="226"/>
                  </a:cubicBezTo>
                  <a:cubicBezTo>
                    <a:pt x="290" y="226"/>
                    <a:pt x="297" y="222"/>
                    <a:pt x="301" y="221"/>
                  </a:cubicBezTo>
                  <a:cubicBezTo>
                    <a:pt x="303" y="220"/>
                    <a:pt x="298" y="215"/>
                    <a:pt x="296" y="215"/>
                  </a:cubicBezTo>
                  <a:cubicBezTo>
                    <a:pt x="293" y="215"/>
                    <a:pt x="298" y="219"/>
                    <a:pt x="296" y="220"/>
                  </a:cubicBezTo>
                  <a:cubicBezTo>
                    <a:pt x="294" y="221"/>
                    <a:pt x="292" y="215"/>
                    <a:pt x="292" y="215"/>
                  </a:cubicBezTo>
                  <a:cubicBezTo>
                    <a:pt x="288" y="219"/>
                    <a:pt x="288" y="219"/>
                    <a:pt x="288" y="219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85" y="223"/>
                    <a:pt x="285" y="223"/>
                    <a:pt x="285" y="223"/>
                  </a:cubicBezTo>
                  <a:cubicBezTo>
                    <a:pt x="282" y="224"/>
                    <a:pt x="282" y="224"/>
                    <a:pt x="282" y="224"/>
                  </a:cubicBezTo>
                  <a:cubicBezTo>
                    <a:pt x="282" y="227"/>
                    <a:pt x="282" y="227"/>
                    <a:pt x="282" y="227"/>
                  </a:cubicBezTo>
                  <a:cubicBezTo>
                    <a:pt x="284" y="229"/>
                    <a:pt x="284" y="229"/>
                    <a:pt x="284" y="229"/>
                  </a:cubicBezTo>
                  <a:lnTo>
                    <a:pt x="282" y="233"/>
                  </a:lnTo>
                  <a:close/>
                  <a:moveTo>
                    <a:pt x="303" y="221"/>
                  </a:moveTo>
                  <a:cubicBezTo>
                    <a:pt x="303" y="223"/>
                    <a:pt x="301" y="226"/>
                    <a:pt x="301" y="226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11" y="216"/>
                    <a:pt x="311" y="216"/>
                    <a:pt x="311" y="216"/>
                  </a:cubicBezTo>
                  <a:cubicBezTo>
                    <a:pt x="313" y="220"/>
                    <a:pt x="313" y="220"/>
                    <a:pt x="313" y="220"/>
                  </a:cubicBezTo>
                  <a:cubicBezTo>
                    <a:pt x="322" y="207"/>
                    <a:pt x="322" y="207"/>
                    <a:pt x="322" y="207"/>
                  </a:cubicBezTo>
                  <a:cubicBezTo>
                    <a:pt x="322" y="207"/>
                    <a:pt x="317" y="208"/>
                    <a:pt x="317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05" y="213"/>
                    <a:pt x="305" y="213"/>
                    <a:pt x="305" y="213"/>
                  </a:cubicBezTo>
                  <a:cubicBezTo>
                    <a:pt x="306" y="217"/>
                    <a:pt x="306" y="217"/>
                    <a:pt x="306" y="217"/>
                  </a:cubicBezTo>
                  <a:cubicBezTo>
                    <a:pt x="303" y="216"/>
                    <a:pt x="303" y="216"/>
                    <a:pt x="303" y="216"/>
                  </a:cubicBezTo>
                  <a:cubicBezTo>
                    <a:pt x="303" y="216"/>
                    <a:pt x="304" y="219"/>
                    <a:pt x="303" y="221"/>
                  </a:cubicBezTo>
                  <a:close/>
                  <a:moveTo>
                    <a:pt x="362" y="187"/>
                  </a:moveTo>
                  <a:cubicBezTo>
                    <a:pt x="362" y="187"/>
                    <a:pt x="366" y="187"/>
                    <a:pt x="367" y="186"/>
                  </a:cubicBezTo>
                  <a:cubicBezTo>
                    <a:pt x="369" y="186"/>
                    <a:pt x="372" y="184"/>
                    <a:pt x="372" y="184"/>
                  </a:cubicBezTo>
                  <a:cubicBezTo>
                    <a:pt x="367" y="178"/>
                    <a:pt x="367" y="178"/>
                    <a:pt x="367" y="178"/>
                  </a:cubicBezTo>
                  <a:lnTo>
                    <a:pt x="362" y="187"/>
                  </a:lnTo>
                  <a:close/>
                  <a:moveTo>
                    <a:pt x="378" y="177"/>
                  </a:moveTo>
                  <a:cubicBezTo>
                    <a:pt x="377" y="175"/>
                    <a:pt x="376" y="174"/>
                    <a:pt x="374" y="174"/>
                  </a:cubicBezTo>
                  <a:cubicBezTo>
                    <a:pt x="371" y="173"/>
                    <a:pt x="369" y="175"/>
                    <a:pt x="369" y="175"/>
                  </a:cubicBezTo>
                  <a:cubicBezTo>
                    <a:pt x="369" y="175"/>
                    <a:pt x="370" y="182"/>
                    <a:pt x="373" y="182"/>
                  </a:cubicBezTo>
                  <a:cubicBezTo>
                    <a:pt x="375" y="183"/>
                    <a:pt x="379" y="178"/>
                    <a:pt x="378" y="177"/>
                  </a:cubicBezTo>
                  <a:close/>
                  <a:moveTo>
                    <a:pt x="352" y="177"/>
                  </a:moveTo>
                  <a:cubicBezTo>
                    <a:pt x="355" y="179"/>
                    <a:pt x="357" y="179"/>
                    <a:pt x="357" y="179"/>
                  </a:cubicBezTo>
                  <a:cubicBezTo>
                    <a:pt x="357" y="174"/>
                    <a:pt x="357" y="174"/>
                    <a:pt x="357" y="174"/>
                  </a:cubicBezTo>
                  <a:cubicBezTo>
                    <a:pt x="350" y="171"/>
                    <a:pt x="350" y="171"/>
                    <a:pt x="350" y="171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50" y="177"/>
                    <a:pt x="352" y="177"/>
                  </a:cubicBezTo>
                  <a:close/>
                  <a:moveTo>
                    <a:pt x="348" y="178"/>
                  </a:moveTo>
                  <a:cubicBezTo>
                    <a:pt x="344" y="183"/>
                    <a:pt x="344" y="183"/>
                    <a:pt x="344" y="183"/>
                  </a:cubicBezTo>
                  <a:cubicBezTo>
                    <a:pt x="348" y="188"/>
                    <a:pt x="348" y="188"/>
                    <a:pt x="348" y="188"/>
                  </a:cubicBezTo>
                  <a:cubicBezTo>
                    <a:pt x="344" y="189"/>
                    <a:pt x="344" y="189"/>
                    <a:pt x="344" y="189"/>
                  </a:cubicBezTo>
                  <a:cubicBezTo>
                    <a:pt x="337" y="201"/>
                    <a:pt x="337" y="201"/>
                    <a:pt x="337" y="201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2" y="177"/>
                    <a:pt x="338" y="175"/>
                  </a:cubicBezTo>
                  <a:cubicBezTo>
                    <a:pt x="333" y="173"/>
                    <a:pt x="333" y="185"/>
                    <a:pt x="333" y="185"/>
                  </a:cubicBezTo>
                  <a:cubicBezTo>
                    <a:pt x="330" y="186"/>
                    <a:pt x="330" y="186"/>
                    <a:pt x="330" y="186"/>
                  </a:cubicBezTo>
                  <a:cubicBezTo>
                    <a:pt x="331" y="197"/>
                    <a:pt x="331" y="197"/>
                    <a:pt x="331" y="197"/>
                  </a:cubicBezTo>
                  <a:cubicBezTo>
                    <a:pt x="324" y="202"/>
                    <a:pt x="324" y="202"/>
                    <a:pt x="324" y="202"/>
                  </a:cubicBezTo>
                  <a:cubicBezTo>
                    <a:pt x="325" y="206"/>
                    <a:pt x="325" y="206"/>
                    <a:pt x="325" y="206"/>
                  </a:cubicBezTo>
                  <a:cubicBezTo>
                    <a:pt x="319" y="218"/>
                    <a:pt x="319" y="218"/>
                    <a:pt x="319" y="218"/>
                  </a:cubicBezTo>
                  <a:cubicBezTo>
                    <a:pt x="322" y="218"/>
                    <a:pt x="322" y="218"/>
                    <a:pt x="322" y="218"/>
                  </a:cubicBezTo>
                  <a:cubicBezTo>
                    <a:pt x="331" y="208"/>
                    <a:pt x="331" y="208"/>
                    <a:pt x="331" y="208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35" y="215"/>
                    <a:pt x="335" y="215"/>
                    <a:pt x="335" y="215"/>
                  </a:cubicBezTo>
                  <a:cubicBezTo>
                    <a:pt x="336" y="215"/>
                    <a:pt x="337" y="209"/>
                    <a:pt x="337" y="209"/>
                  </a:cubicBezTo>
                  <a:cubicBezTo>
                    <a:pt x="340" y="211"/>
                    <a:pt x="340" y="211"/>
                    <a:pt x="340" y="211"/>
                  </a:cubicBezTo>
                  <a:cubicBezTo>
                    <a:pt x="340" y="211"/>
                    <a:pt x="345" y="202"/>
                    <a:pt x="346" y="200"/>
                  </a:cubicBezTo>
                  <a:cubicBezTo>
                    <a:pt x="347" y="198"/>
                    <a:pt x="354" y="198"/>
                    <a:pt x="354" y="198"/>
                  </a:cubicBezTo>
                  <a:cubicBezTo>
                    <a:pt x="354" y="198"/>
                    <a:pt x="357" y="193"/>
                    <a:pt x="358" y="188"/>
                  </a:cubicBezTo>
                  <a:cubicBezTo>
                    <a:pt x="359" y="184"/>
                    <a:pt x="348" y="178"/>
                    <a:pt x="348" y="178"/>
                  </a:cubicBezTo>
                  <a:close/>
                  <a:moveTo>
                    <a:pt x="330" y="179"/>
                  </a:moveTo>
                  <a:cubicBezTo>
                    <a:pt x="330" y="174"/>
                    <a:pt x="330" y="174"/>
                    <a:pt x="330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43" y="162"/>
                    <a:pt x="343" y="162"/>
                    <a:pt x="343" y="162"/>
                  </a:cubicBezTo>
                  <a:cubicBezTo>
                    <a:pt x="343" y="162"/>
                    <a:pt x="351" y="146"/>
                    <a:pt x="341" y="155"/>
                  </a:cubicBezTo>
                  <a:cubicBezTo>
                    <a:pt x="331" y="162"/>
                    <a:pt x="326" y="174"/>
                    <a:pt x="327" y="177"/>
                  </a:cubicBezTo>
                  <a:cubicBezTo>
                    <a:pt x="328" y="181"/>
                    <a:pt x="330" y="179"/>
                    <a:pt x="330" y="179"/>
                  </a:cubicBezTo>
                  <a:close/>
                  <a:moveTo>
                    <a:pt x="312" y="197"/>
                  </a:moveTo>
                  <a:cubicBezTo>
                    <a:pt x="315" y="194"/>
                    <a:pt x="319" y="192"/>
                    <a:pt x="319" y="192"/>
                  </a:cubicBezTo>
                  <a:cubicBezTo>
                    <a:pt x="313" y="199"/>
                    <a:pt x="313" y="199"/>
                    <a:pt x="313" y="199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27" y="191"/>
                    <a:pt x="327" y="191"/>
                    <a:pt x="327" y="191"/>
                  </a:cubicBezTo>
                  <a:cubicBezTo>
                    <a:pt x="325" y="187"/>
                    <a:pt x="325" y="187"/>
                    <a:pt x="325" y="187"/>
                  </a:cubicBezTo>
                  <a:cubicBezTo>
                    <a:pt x="327" y="185"/>
                    <a:pt x="327" y="185"/>
                    <a:pt x="327" y="185"/>
                  </a:cubicBezTo>
                  <a:cubicBezTo>
                    <a:pt x="322" y="171"/>
                    <a:pt x="322" y="171"/>
                    <a:pt x="322" y="171"/>
                  </a:cubicBezTo>
                  <a:cubicBezTo>
                    <a:pt x="315" y="172"/>
                    <a:pt x="315" y="172"/>
                    <a:pt x="315" y="172"/>
                  </a:cubicBezTo>
                  <a:cubicBezTo>
                    <a:pt x="320" y="183"/>
                    <a:pt x="320" y="183"/>
                    <a:pt x="320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7" y="188"/>
                    <a:pt x="317" y="188"/>
                    <a:pt x="317" y="188"/>
                  </a:cubicBezTo>
                  <a:cubicBezTo>
                    <a:pt x="309" y="186"/>
                    <a:pt x="309" y="186"/>
                    <a:pt x="309" y="186"/>
                  </a:cubicBezTo>
                  <a:cubicBezTo>
                    <a:pt x="309" y="186"/>
                    <a:pt x="306" y="191"/>
                    <a:pt x="305" y="194"/>
                  </a:cubicBezTo>
                  <a:cubicBezTo>
                    <a:pt x="303" y="199"/>
                    <a:pt x="308" y="198"/>
                    <a:pt x="312" y="197"/>
                  </a:cubicBezTo>
                  <a:close/>
                  <a:moveTo>
                    <a:pt x="309" y="186"/>
                  </a:moveTo>
                  <a:cubicBezTo>
                    <a:pt x="309" y="186"/>
                    <a:pt x="309" y="186"/>
                    <a:pt x="309" y="186"/>
                  </a:cubicBezTo>
                  <a:moveTo>
                    <a:pt x="313" y="206"/>
                  </a:moveTo>
                  <a:cubicBezTo>
                    <a:pt x="322" y="206"/>
                    <a:pt x="319" y="202"/>
                    <a:pt x="313" y="202"/>
                  </a:cubicBezTo>
                  <a:cubicBezTo>
                    <a:pt x="307" y="202"/>
                    <a:pt x="306" y="206"/>
                    <a:pt x="313" y="206"/>
                  </a:cubicBezTo>
                  <a:close/>
                  <a:moveTo>
                    <a:pt x="361" y="157"/>
                  </a:moveTo>
                  <a:cubicBezTo>
                    <a:pt x="367" y="159"/>
                    <a:pt x="367" y="159"/>
                    <a:pt x="367" y="159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62" y="168"/>
                    <a:pt x="368" y="170"/>
                    <a:pt x="371" y="168"/>
                  </a:cubicBezTo>
                  <a:cubicBezTo>
                    <a:pt x="376" y="157"/>
                    <a:pt x="376" y="157"/>
                    <a:pt x="376" y="157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9" y="144"/>
                    <a:pt x="389" y="144"/>
                    <a:pt x="389" y="144"/>
                  </a:cubicBezTo>
                  <a:cubicBezTo>
                    <a:pt x="389" y="144"/>
                    <a:pt x="391" y="135"/>
                    <a:pt x="384" y="132"/>
                  </a:cubicBezTo>
                  <a:cubicBezTo>
                    <a:pt x="376" y="129"/>
                    <a:pt x="370" y="139"/>
                    <a:pt x="370" y="139"/>
                  </a:cubicBezTo>
                  <a:cubicBezTo>
                    <a:pt x="375" y="145"/>
                    <a:pt x="375" y="145"/>
                    <a:pt x="375" y="145"/>
                  </a:cubicBezTo>
                  <a:cubicBezTo>
                    <a:pt x="371" y="143"/>
                    <a:pt x="371" y="143"/>
                    <a:pt x="371" y="143"/>
                  </a:cubicBezTo>
                  <a:cubicBezTo>
                    <a:pt x="371" y="143"/>
                    <a:pt x="362" y="144"/>
                    <a:pt x="362" y="145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7" y="152"/>
                    <a:pt x="367" y="152"/>
                    <a:pt x="367" y="152"/>
                  </a:cubicBezTo>
                  <a:cubicBezTo>
                    <a:pt x="360" y="155"/>
                    <a:pt x="360" y="155"/>
                    <a:pt x="360" y="155"/>
                  </a:cubicBezTo>
                  <a:lnTo>
                    <a:pt x="361" y="157"/>
                  </a:lnTo>
                  <a:close/>
                  <a:moveTo>
                    <a:pt x="401" y="132"/>
                  </a:moveTo>
                  <a:cubicBezTo>
                    <a:pt x="406" y="130"/>
                    <a:pt x="406" y="127"/>
                    <a:pt x="406" y="127"/>
                  </a:cubicBezTo>
                  <a:cubicBezTo>
                    <a:pt x="404" y="127"/>
                    <a:pt x="404" y="127"/>
                    <a:pt x="404" y="127"/>
                  </a:cubicBezTo>
                  <a:cubicBezTo>
                    <a:pt x="404" y="127"/>
                    <a:pt x="405" y="121"/>
                    <a:pt x="407" y="120"/>
                  </a:cubicBezTo>
                  <a:cubicBezTo>
                    <a:pt x="408" y="119"/>
                    <a:pt x="410" y="118"/>
                    <a:pt x="410" y="118"/>
                  </a:cubicBezTo>
                  <a:cubicBezTo>
                    <a:pt x="410" y="118"/>
                    <a:pt x="408" y="111"/>
                    <a:pt x="403" y="112"/>
                  </a:cubicBezTo>
                  <a:cubicBezTo>
                    <a:pt x="399" y="112"/>
                    <a:pt x="401" y="119"/>
                    <a:pt x="401" y="119"/>
                  </a:cubicBezTo>
                  <a:cubicBezTo>
                    <a:pt x="397" y="118"/>
                    <a:pt x="397" y="118"/>
                    <a:pt x="397" y="118"/>
                  </a:cubicBezTo>
                  <a:cubicBezTo>
                    <a:pt x="393" y="121"/>
                    <a:pt x="393" y="121"/>
                    <a:pt x="393" y="121"/>
                  </a:cubicBezTo>
                  <a:cubicBezTo>
                    <a:pt x="394" y="124"/>
                    <a:pt x="394" y="124"/>
                    <a:pt x="394" y="124"/>
                  </a:cubicBezTo>
                  <a:cubicBezTo>
                    <a:pt x="390" y="123"/>
                    <a:pt x="390" y="123"/>
                    <a:pt x="390" y="123"/>
                  </a:cubicBezTo>
                  <a:cubicBezTo>
                    <a:pt x="389" y="126"/>
                    <a:pt x="389" y="126"/>
                    <a:pt x="389" y="126"/>
                  </a:cubicBezTo>
                  <a:cubicBezTo>
                    <a:pt x="390" y="129"/>
                    <a:pt x="390" y="129"/>
                    <a:pt x="390" y="129"/>
                  </a:cubicBezTo>
                  <a:cubicBezTo>
                    <a:pt x="388" y="128"/>
                    <a:pt x="388" y="128"/>
                    <a:pt x="388" y="128"/>
                  </a:cubicBezTo>
                  <a:cubicBezTo>
                    <a:pt x="388" y="132"/>
                    <a:pt x="388" y="132"/>
                    <a:pt x="388" y="132"/>
                  </a:cubicBezTo>
                  <a:cubicBezTo>
                    <a:pt x="388" y="132"/>
                    <a:pt x="395" y="134"/>
                    <a:pt x="401" y="132"/>
                  </a:cubicBezTo>
                  <a:close/>
                  <a:moveTo>
                    <a:pt x="408" y="111"/>
                  </a:moveTo>
                  <a:cubicBezTo>
                    <a:pt x="410" y="112"/>
                    <a:pt x="411" y="112"/>
                    <a:pt x="411" y="112"/>
                  </a:cubicBezTo>
                  <a:cubicBezTo>
                    <a:pt x="412" y="115"/>
                    <a:pt x="412" y="115"/>
                    <a:pt x="412" y="115"/>
                  </a:cubicBezTo>
                  <a:cubicBezTo>
                    <a:pt x="412" y="115"/>
                    <a:pt x="420" y="113"/>
                    <a:pt x="420" y="109"/>
                  </a:cubicBezTo>
                  <a:cubicBezTo>
                    <a:pt x="420" y="106"/>
                    <a:pt x="420" y="106"/>
                    <a:pt x="420" y="106"/>
                  </a:cubicBezTo>
                  <a:cubicBezTo>
                    <a:pt x="420" y="106"/>
                    <a:pt x="426" y="104"/>
                    <a:pt x="424" y="102"/>
                  </a:cubicBezTo>
                  <a:cubicBezTo>
                    <a:pt x="423" y="99"/>
                    <a:pt x="418" y="100"/>
                    <a:pt x="418" y="100"/>
                  </a:cubicBezTo>
                  <a:cubicBezTo>
                    <a:pt x="418" y="100"/>
                    <a:pt x="416" y="96"/>
                    <a:pt x="411" y="97"/>
                  </a:cubicBezTo>
                  <a:cubicBezTo>
                    <a:pt x="408" y="98"/>
                    <a:pt x="403" y="106"/>
                    <a:pt x="403" y="106"/>
                  </a:cubicBezTo>
                  <a:cubicBezTo>
                    <a:pt x="403" y="106"/>
                    <a:pt x="406" y="110"/>
                    <a:pt x="408" y="111"/>
                  </a:cubicBezTo>
                  <a:close/>
                  <a:moveTo>
                    <a:pt x="424" y="106"/>
                  </a:moveTo>
                  <a:cubicBezTo>
                    <a:pt x="421" y="111"/>
                    <a:pt x="421" y="111"/>
                    <a:pt x="421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33" y="100"/>
                    <a:pt x="433" y="100"/>
                    <a:pt x="433" y="100"/>
                  </a:cubicBezTo>
                  <a:cubicBezTo>
                    <a:pt x="429" y="100"/>
                    <a:pt x="429" y="100"/>
                    <a:pt x="429" y="100"/>
                  </a:cubicBezTo>
                  <a:lnTo>
                    <a:pt x="424" y="106"/>
                  </a:lnTo>
                  <a:close/>
                  <a:moveTo>
                    <a:pt x="426" y="97"/>
                  </a:moveTo>
                  <a:cubicBezTo>
                    <a:pt x="433" y="98"/>
                    <a:pt x="434" y="97"/>
                    <a:pt x="433" y="93"/>
                  </a:cubicBezTo>
                  <a:cubicBezTo>
                    <a:pt x="431" y="90"/>
                    <a:pt x="427" y="87"/>
                    <a:pt x="427" y="87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2" y="83"/>
                    <a:pt x="422" y="83"/>
                    <a:pt x="422" y="83"/>
                  </a:cubicBezTo>
                  <a:cubicBezTo>
                    <a:pt x="420" y="87"/>
                    <a:pt x="420" y="87"/>
                    <a:pt x="420" y="87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4" y="94"/>
                    <a:pt x="422" y="96"/>
                    <a:pt x="426" y="97"/>
                  </a:cubicBezTo>
                  <a:close/>
                  <a:moveTo>
                    <a:pt x="421" y="95"/>
                  </a:moveTo>
                  <a:cubicBezTo>
                    <a:pt x="417" y="91"/>
                    <a:pt x="417" y="91"/>
                    <a:pt x="417" y="91"/>
                  </a:cubicBezTo>
                  <a:cubicBezTo>
                    <a:pt x="417" y="94"/>
                    <a:pt x="417" y="94"/>
                    <a:pt x="417" y="94"/>
                  </a:cubicBezTo>
                  <a:lnTo>
                    <a:pt x="421" y="95"/>
                  </a:lnTo>
                  <a:close/>
                  <a:moveTo>
                    <a:pt x="413" y="95"/>
                  </a:moveTo>
                  <a:cubicBezTo>
                    <a:pt x="415" y="87"/>
                    <a:pt x="415" y="87"/>
                    <a:pt x="415" y="87"/>
                  </a:cubicBezTo>
                  <a:cubicBezTo>
                    <a:pt x="409" y="84"/>
                    <a:pt x="409" y="84"/>
                    <a:pt x="409" y="84"/>
                  </a:cubicBezTo>
                  <a:cubicBezTo>
                    <a:pt x="409" y="95"/>
                    <a:pt x="409" y="95"/>
                    <a:pt x="409" y="95"/>
                  </a:cubicBezTo>
                  <a:lnTo>
                    <a:pt x="413" y="95"/>
                  </a:lnTo>
                  <a:close/>
                  <a:moveTo>
                    <a:pt x="407" y="97"/>
                  </a:moveTo>
                  <a:cubicBezTo>
                    <a:pt x="403" y="94"/>
                    <a:pt x="403" y="94"/>
                    <a:pt x="403" y="94"/>
                  </a:cubicBezTo>
                  <a:cubicBezTo>
                    <a:pt x="403" y="98"/>
                    <a:pt x="403" y="98"/>
                    <a:pt x="403" y="98"/>
                  </a:cubicBezTo>
                  <a:cubicBezTo>
                    <a:pt x="397" y="96"/>
                    <a:pt x="397" y="96"/>
                    <a:pt x="397" y="96"/>
                  </a:cubicBezTo>
                  <a:cubicBezTo>
                    <a:pt x="400" y="103"/>
                    <a:pt x="400" y="103"/>
                    <a:pt x="400" y="103"/>
                  </a:cubicBezTo>
                  <a:lnTo>
                    <a:pt x="407" y="97"/>
                  </a:lnTo>
                  <a:close/>
                  <a:moveTo>
                    <a:pt x="443" y="96"/>
                  </a:moveTo>
                  <a:cubicBezTo>
                    <a:pt x="449" y="97"/>
                    <a:pt x="452" y="90"/>
                    <a:pt x="449" y="84"/>
                  </a:cubicBezTo>
                  <a:cubicBezTo>
                    <a:pt x="446" y="79"/>
                    <a:pt x="441" y="83"/>
                    <a:pt x="440" y="90"/>
                  </a:cubicBezTo>
                  <a:cubicBezTo>
                    <a:pt x="439" y="95"/>
                    <a:pt x="443" y="96"/>
                    <a:pt x="443" y="96"/>
                  </a:cubicBezTo>
                  <a:close/>
                  <a:moveTo>
                    <a:pt x="455" y="99"/>
                  </a:moveTo>
                  <a:cubicBezTo>
                    <a:pt x="451" y="96"/>
                    <a:pt x="451" y="96"/>
                    <a:pt x="451" y="96"/>
                  </a:cubicBezTo>
                  <a:cubicBezTo>
                    <a:pt x="451" y="96"/>
                    <a:pt x="449" y="99"/>
                    <a:pt x="448" y="100"/>
                  </a:cubicBezTo>
                  <a:lnTo>
                    <a:pt x="455" y="99"/>
                  </a:lnTo>
                  <a:close/>
                  <a:moveTo>
                    <a:pt x="445" y="105"/>
                  </a:moveTo>
                  <a:cubicBezTo>
                    <a:pt x="444" y="111"/>
                    <a:pt x="444" y="111"/>
                    <a:pt x="444" y="111"/>
                  </a:cubicBezTo>
                  <a:cubicBezTo>
                    <a:pt x="449" y="109"/>
                    <a:pt x="449" y="109"/>
                    <a:pt x="449" y="109"/>
                  </a:cubicBezTo>
                  <a:cubicBezTo>
                    <a:pt x="448" y="104"/>
                    <a:pt x="448" y="104"/>
                    <a:pt x="448" y="104"/>
                  </a:cubicBezTo>
                  <a:lnTo>
                    <a:pt x="445" y="105"/>
                  </a:lnTo>
                  <a:close/>
                  <a:moveTo>
                    <a:pt x="474" y="58"/>
                  </a:moveTo>
                  <a:cubicBezTo>
                    <a:pt x="479" y="58"/>
                    <a:pt x="479" y="58"/>
                    <a:pt x="479" y="58"/>
                  </a:cubicBezTo>
                  <a:cubicBezTo>
                    <a:pt x="476" y="63"/>
                    <a:pt x="476" y="63"/>
                    <a:pt x="476" y="63"/>
                  </a:cubicBezTo>
                  <a:cubicBezTo>
                    <a:pt x="478" y="65"/>
                    <a:pt x="484" y="64"/>
                    <a:pt x="492" y="60"/>
                  </a:cubicBezTo>
                  <a:cubicBezTo>
                    <a:pt x="500" y="56"/>
                    <a:pt x="497" y="50"/>
                    <a:pt x="497" y="50"/>
                  </a:cubicBezTo>
                  <a:cubicBezTo>
                    <a:pt x="504" y="41"/>
                    <a:pt x="504" y="41"/>
                    <a:pt x="504" y="41"/>
                  </a:cubicBezTo>
                  <a:cubicBezTo>
                    <a:pt x="500" y="36"/>
                    <a:pt x="500" y="36"/>
                    <a:pt x="500" y="36"/>
                  </a:cubicBezTo>
                  <a:cubicBezTo>
                    <a:pt x="492" y="40"/>
                    <a:pt x="492" y="40"/>
                    <a:pt x="492" y="40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88" y="44"/>
                    <a:pt x="488" y="44"/>
                    <a:pt x="488" y="44"/>
                  </a:cubicBezTo>
                  <a:cubicBezTo>
                    <a:pt x="486" y="46"/>
                    <a:pt x="486" y="46"/>
                    <a:pt x="486" y="46"/>
                  </a:cubicBezTo>
                  <a:cubicBezTo>
                    <a:pt x="490" y="52"/>
                    <a:pt x="490" y="52"/>
                    <a:pt x="490" y="52"/>
                  </a:cubicBezTo>
                  <a:cubicBezTo>
                    <a:pt x="483" y="48"/>
                    <a:pt x="483" y="48"/>
                    <a:pt x="483" y="48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79" y="53"/>
                    <a:pt x="479" y="53"/>
                    <a:pt x="479" y="53"/>
                  </a:cubicBezTo>
                  <a:cubicBezTo>
                    <a:pt x="472" y="55"/>
                    <a:pt x="472" y="55"/>
                    <a:pt x="472" y="55"/>
                  </a:cubicBezTo>
                  <a:lnTo>
                    <a:pt x="474" y="58"/>
                  </a:lnTo>
                  <a:close/>
                  <a:moveTo>
                    <a:pt x="484" y="73"/>
                  </a:moveTo>
                  <a:cubicBezTo>
                    <a:pt x="484" y="76"/>
                    <a:pt x="489" y="76"/>
                    <a:pt x="489" y="76"/>
                  </a:cubicBezTo>
                  <a:cubicBezTo>
                    <a:pt x="489" y="76"/>
                    <a:pt x="498" y="77"/>
                    <a:pt x="497" y="73"/>
                  </a:cubicBezTo>
                  <a:cubicBezTo>
                    <a:pt x="497" y="68"/>
                    <a:pt x="482" y="66"/>
                    <a:pt x="484" y="73"/>
                  </a:cubicBezTo>
                  <a:close/>
                  <a:moveTo>
                    <a:pt x="503" y="55"/>
                  </a:moveTo>
                  <a:cubicBezTo>
                    <a:pt x="501" y="59"/>
                    <a:pt x="501" y="59"/>
                    <a:pt x="501" y="59"/>
                  </a:cubicBezTo>
                  <a:cubicBezTo>
                    <a:pt x="499" y="57"/>
                    <a:pt x="499" y="57"/>
                    <a:pt x="499" y="57"/>
                  </a:cubicBezTo>
                  <a:cubicBezTo>
                    <a:pt x="493" y="66"/>
                    <a:pt x="493" y="66"/>
                    <a:pt x="493" y="66"/>
                  </a:cubicBezTo>
                  <a:cubicBezTo>
                    <a:pt x="499" y="68"/>
                    <a:pt x="499" y="68"/>
                    <a:pt x="499" y="68"/>
                  </a:cubicBezTo>
                  <a:cubicBezTo>
                    <a:pt x="500" y="66"/>
                    <a:pt x="500" y="66"/>
                    <a:pt x="500" y="66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4" y="72"/>
                    <a:pt x="504" y="72"/>
                    <a:pt x="504" y="72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05" y="48"/>
                    <a:pt x="505" y="48"/>
                    <a:pt x="505" y="48"/>
                  </a:cubicBezTo>
                  <a:cubicBezTo>
                    <a:pt x="501" y="50"/>
                    <a:pt x="501" y="50"/>
                    <a:pt x="501" y="50"/>
                  </a:cubicBezTo>
                  <a:lnTo>
                    <a:pt x="503" y="55"/>
                  </a:lnTo>
                  <a:close/>
                  <a:moveTo>
                    <a:pt x="514" y="56"/>
                  </a:moveTo>
                  <a:cubicBezTo>
                    <a:pt x="517" y="56"/>
                    <a:pt x="521" y="48"/>
                    <a:pt x="516" y="43"/>
                  </a:cubicBezTo>
                  <a:cubicBezTo>
                    <a:pt x="509" y="37"/>
                    <a:pt x="505" y="43"/>
                    <a:pt x="508" y="50"/>
                  </a:cubicBezTo>
                  <a:cubicBezTo>
                    <a:pt x="508" y="50"/>
                    <a:pt x="510" y="56"/>
                    <a:pt x="514" y="56"/>
                  </a:cubicBezTo>
                  <a:close/>
                  <a:moveTo>
                    <a:pt x="513" y="22"/>
                  </a:moveTo>
                  <a:cubicBezTo>
                    <a:pt x="506" y="22"/>
                    <a:pt x="511" y="30"/>
                    <a:pt x="511" y="30"/>
                  </a:cubicBezTo>
                  <a:cubicBezTo>
                    <a:pt x="517" y="29"/>
                    <a:pt x="518" y="22"/>
                    <a:pt x="513" y="22"/>
                  </a:cubicBezTo>
                  <a:close/>
                  <a:moveTo>
                    <a:pt x="528" y="14"/>
                  </a:moveTo>
                  <a:cubicBezTo>
                    <a:pt x="523" y="17"/>
                    <a:pt x="523" y="17"/>
                    <a:pt x="523" y="17"/>
                  </a:cubicBezTo>
                  <a:cubicBezTo>
                    <a:pt x="531" y="19"/>
                    <a:pt x="531" y="19"/>
                    <a:pt x="531" y="19"/>
                  </a:cubicBezTo>
                  <a:lnTo>
                    <a:pt x="528" y="14"/>
                  </a:lnTo>
                  <a:close/>
                  <a:moveTo>
                    <a:pt x="538" y="19"/>
                  </a:moveTo>
                  <a:cubicBezTo>
                    <a:pt x="539" y="19"/>
                    <a:pt x="541" y="17"/>
                    <a:pt x="541" y="17"/>
                  </a:cubicBezTo>
                  <a:cubicBezTo>
                    <a:pt x="541" y="20"/>
                    <a:pt x="541" y="20"/>
                    <a:pt x="541" y="20"/>
                  </a:cubicBezTo>
                  <a:cubicBezTo>
                    <a:pt x="548" y="22"/>
                    <a:pt x="548" y="22"/>
                    <a:pt x="548" y="22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559" y="12"/>
                    <a:pt x="559" y="12"/>
                    <a:pt x="559" y="12"/>
                  </a:cubicBezTo>
                  <a:cubicBezTo>
                    <a:pt x="553" y="16"/>
                    <a:pt x="553" y="16"/>
                    <a:pt x="553" y="16"/>
                  </a:cubicBezTo>
                  <a:cubicBezTo>
                    <a:pt x="550" y="14"/>
                    <a:pt x="550" y="14"/>
                    <a:pt x="550" y="14"/>
                  </a:cubicBezTo>
                  <a:cubicBezTo>
                    <a:pt x="555" y="10"/>
                    <a:pt x="555" y="10"/>
                    <a:pt x="555" y="10"/>
                  </a:cubicBezTo>
                  <a:cubicBezTo>
                    <a:pt x="552" y="6"/>
                    <a:pt x="552" y="6"/>
                    <a:pt x="552" y="6"/>
                  </a:cubicBezTo>
                  <a:cubicBezTo>
                    <a:pt x="550" y="10"/>
                    <a:pt x="550" y="10"/>
                    <a:pt x="550" y="10"/>
                  </a:cubicBezTo>
                  <a:cubicBezTo>
                    <a:pt x="548" y="5"/>
                    <a:pt x="548" y="5"/>
                    <a:pt x="548" y="5"/>
                  </a:cubicBezTo>
                  <a:cubicBezTo>
                    <a:pt x="544" y="8"/>
                    <a:pt x="544" y="8"/>
                    <a:pt x="544" y="8"/>
                  </a:cubicBezTo>
                  <a:cubicBezTo>
                    <a:pt x="546" y="12"/>
                    <a:pt x="546" y="12"/>
                    <a:pt x="546" y="12"/>
                  </a:cubicBezTo>
                  <a:cubicBezTo>
                    <a:pt x="537" y="14"/>
                    <a:pt x="537" y="14"/>
                    <a:pt x="537" y="14"/>
                  </a:cubicBezTo>
                  <a:lnTo>
                    <a:pt x="538" y="19"/>
                  </a:lnTo>
                  <a:close/>
                  <a:moveTo>
                    <a:pt x="658" y="62"/>
                  </a:moveTo>
                  <a:cubicBezTo>
                    <a:pt x="659" y="72"/>
                    <a:pt x="659" y="72"/>
                    <a:pt x="659" y="72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2" y="60"/>
                    <a:pt x="662" y="60"/>
                    <a:pt x="662" y="60"/>
                  </a:cubicBezTo>
                  <a:lnTo>
                    <a:pt x="658" y="6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Es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671E315-3C47-824F-A5A3-69AB71AF8C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9465" y="2996422"/>
              <a:ext cx="513227" cy="326749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Weiß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8C100FD-BEE3-1C42-8D88-5EE56446FF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3604" y="3489846"/>
              <a:ext cx="871330" cy="788819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Let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165B0C-0C09-8A4A-9C6B-43FD4A0558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8112" y="3255510"/>
              <a:ext cx="636995" cy="359755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Moldawien" descr="© INSCALE GmbH, 05.05.2010&#10;http://www.presentationload.com/">
              <a:extLst>
                <a:ext uri="{FF2B5EF4-FFF2-40B4-BE49-F238E27FC236}">
                  <a16:creationId xmlns:a16="http://schemas.microsoft.com/office/drawing/2014/main" id="{49A541BA-EE10-0C4F-96B4-A95A88D331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3924" y="4656571"/>
              <a:ext cx="429064" cy="448867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7" name="Fin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D681938-DCF9-3D4F-9FBD-19B7F7E68B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65919" y="1417135"/>
              <a:ext cx="912587" cy="1608991"/>
            </a:xfrm>
            <a:custGeom>
              <a:avLst/>
              <a:gdLst/>
              <a:ahLst/>
              <a:cxnLst>
                <a:cxn ang="0">
                  <a:pos x="318" y="380"/>
                </a:cxn>
                <a:cxn ang="0">
                  <a:pos x="302" y="312"/>
                </a:cxn>
                <a:cxn ang="0">
                  <a:pos x="283" y="281"/>
                </a:cxn>
                <a:cxn ang="0">
                  <a:pos x="264" y="225"/>
                </a:cxn>
                <a:cxn ang="0">
                  <a:pos x="205" y="113"/>
                </a:cxn>
                <a:cxn ang="0">
                  <a:pos x="202" y="27"/>
                </a:cxn>
                <a:cxn ang="0">
                  <a:pos x="124" y="29"/>
                </a:cxn>
                <a:cxn ang="0">
                  <a:pos x="105" y="103"/>
                </a:cxn>
                <a:cxn ang="0">
                  <a:pos x="51" y="107"/>
                </a:cxn>
                <a:cxn ang="0">
                  <a:pos x="2" y="90"/>
                </a:cxn>
                <a:cxn ang="0">
                  <a:pos x="23" y="108"/>
                </a:cxn>
                <a:cxn ang="0">
                  <a:pos x="63" y="131"/>
                </a:cxn>
                <a:cxn ang="0">
                  <a:pos x="86" y="186"/>
                </a:cxn>
                <a:cxn ang="0">
                  <a:pos x="106" y="229"/>
                </a:cxn>
                <a:cxn ang="0">
                  <a:pos x="116" y="275"/>
                </a:cxn>
                <a:cxn ang="0">
                  <a:pos x="147" y="294"/>
                </a:cxn>
                <a:cxn ang="0">
                  <a:pos x="163" y="331"/>
                </a:cxn>
                <a:cxn ang="0">
                  <a:pos x="147" y="355"/>
                </a:cxn>
                <a:cxn ang="0">
                  <a:pos x="131" y="401"/>
                </a:cxn>
                <a:cxn ang="0">
                  <a:pos x="108" y="414"/>
                </a:cxn>
                <a:cxn ang="0">
                  <a:pos x="111" y="430"/>
                </a:cxn>
                <a:cxn ang="0">
                  <a:pos x="96" y="438"/>
                </a:cxn>
                <a:cxn ang="0">
                  <a:pos x="80" y="462"/>
                </a:cxn>
                <a:cxn ang="0">
                  <a:pos x="77" y="486"/>
                </a:cxn>
                <a:cxn ang="0">
                  <a:pos x="80" y="523"/>
                </a:cxn>
                <a:cxn ang="0">
                  <a:pos x="91" y="559"/>
                </a:cxn>
                <a:cxn ang="0">
                  <a:pos x="93" y="572"/>
                </a:cxn>
                <a:cxn ang="0">
                  <a:pos x="95" y="598"/>
                </a:cxn>
                <a:cxn ang="0">
                  <a:pos x="95" y="613"/>
                </a:cxn>
                <a:cxn ang="0">
                  <a:pos x="104" y="635"/>
                </a:cxn>
                <a:cxn ang="0">
                  <a:pos x="118" y="635"/>
                </a:cxn>
                <a:cxn ang="0">
                  <a:pos x="144" y="645"/>
                </a:cxn>
                <a:cxn ang="0">
                  <a:pos x="157" y="656"/>
                </a:cxn>
                <a:cxn ang="0">
                  <a:pos x="161" y="666"/>
                </a:cxn>
                <a:cxn ang="0">
                  <a:pos x="189" y="654"/>
                </a:cxn>
                <a:cxn ang="0">
                  <a:pos x="206" y="645"/>
                </a:cxn>
                <a:cxn ang="0">
                  <a:pos x="248" y="626"/>
                </a:cxn>
                <a:cxn ang="0">
                  <a:pos x="260" y="617"/>
                </a:cxn>
                <a:cxn ang="0">
                  <a:pos x="293" y="603"/>
                </a:cxn>
                <a:cxn ang="0">
                  <a:pos x="328" y="554"/>
                </a:cxn>
                <a:cxn ang="0">
                  <a:pos x="382" y="418"/>
                </a:cxn>
                <a:cxn ang="0">
                  <a:pos x="60" y="653"/>
                </a:cxn>
                <a:cxn ang="0">
                  <a:pos x="45" y="651"/>
                </a:cxn>
                <a:cxn ang="0">
                  <a:pos x="50" y="670"/>
                </a:cxn>
                <a:cxn ang="0">
                  <a:pos x="39" y="658"/>
                </a:cxn>
                <a:cxn ang="0">
                  <a:pos x="55" y="670"/>
                </a:cxn>
                <a:cxn ang="0">
                  <a:pos x="107" y="657"/>
                </a:cxn>
                <a:cxn ang="0">
                  <a:pos x="113" y="654"/>
                </a:cxn>
                <a:cxn ang="0">
                  <a:pos x="148" y="643"/>
                </a:cxn>
                <a:cxn ang="0">
                  <a:pos x="136" y="655"/>
                </a:cxn>
                <a:cxn ang="0">
                  <a:pos x="147" y="649"/>
                </a:cxn>
                <a:cxn ang="0">
                  <a:pos x="112" y="643"/>
                </a:cxn>
                <a:cxn ang="0">
                  <a:pos x="99" y="634"/>
                </a:cxn>
                <a:cxn ang="0">
                  <a:pos x="94" y="628"/>
                </a:cxn>
                <a:cxn ang="0">
                  <a:pos x="175" y="667"/>
                </a:cxn>
                <a:cxn ang="0">
                  <a:pos x="62" y="461"/>
                </a:cxn>
                <a:cxn ang="0">
                  <a:pos x="72" y="456"/>
                </a:cxn>
                <a:cxn ang="0">
                  <a:pos x="157" y="329"/>
                </a:cxn>
                <a:cxn ang="0">
                  <a:pos x="153" y="336"/>
                </a:cxn>
                <a:cxn ang="0">
                  <a:pos x="243" y="631"/>
                </a:cxn>
                <a:cxn ang="0">
                  <a:pos x="265" y="614"/>
                </a:cxn>
              </a:cxnLst>
              <a:rect l="0" t="0" r="r" b="b"/>
              <a:pathLst>
                <a:path w="382" h="674">
                  <a:moveTo>
                    <a:pt x="382" y="418"/>
                  </a:moveTo>
                  <a:cubicBezTo>
                    <a:pt x="381" y="412"/>
                    <a:pt x="369" y="412"/>
                    <a:pt x="369" y="412"/>
                  </a:cubicBezTo>
                  <a:cubicBezTo>
                    <a:pt x="366" y="404"/>
                    <a:pt x="366" y="404"/>
                    <a:pt x="366" y="404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39" y="394"/>
                    <a:pt x="339" y="394"/>
                    <a:pt x="339" y="394"/>
                  </a:cubicBezTo>
                  <a:cubicBezTo>
                    <a:pt x="318" y="380"/>
                    <a:pt x="318" y="380"/>
                    <a:pt x="318" y="380"/>
                  </a:cubicBezTo>
                  <a:cubicBezTo>
                    <a:pt x="327" y="374"/>
                    <a:pt x="327" y="374"/>
                    <a:pt x="327" y="374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26" y="370"/>
                    <a:pt x="331" y="355"/>
                    <a:pt x="327" y="346"/>
                  </a:cubicBezTo>
                  <a:cubicBezTo>
                    <a:pt x="323" y="338"/>
                    <a:pt x="313" y="344"/>
                    <a:pt x="308" y="335"/>
                  </a:cubicBezTo>
                  <a:cubicBezTo>
                    <a:pt x="301" y="326"/>
                    <a:pt x="307" y="320"/>
                    <a:pt x="307" y="320"/>
                  </a:cubicBezTo>
                  <a:cubicBezTo>
                    <a:pt x="302" y="312"/>
                    <a:pt x="302" y="312"/>
                    <a:pt x="302" y="312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285" y="301"/>
                    <a:pt x="285" y="301"/>
                    <a:pt x="285" y="301"/>
                  </a:cubicBezTo>
                  <a:cubicBezTo>
                    <a:pt x="292" y="296"/>
                    <a:pt x="292" y="296"/>
                    <a:pt x="292" y="296"/>
                  </a:cubicBezTo>
                  <a:cubicBezTo>
                    <a:pt x="291" y="291"/>
                    <a:pt x="291" y="291"/>
                    <a:pt x="291" y="291"/>
                  </a:cubicBezTo>
                  <a:cubicBezTo>
                    <a:pt x="280" y="293"/>
                    <a:pt x="280" y="293"/>
                    <a:pt x="280" y="293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0" y="272"/>
                    <a:pt x="280" y="272"/>
                    <a:pt x="280" y="272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8" y="259"/>
                    <a:pt x="288" y="259"/>
                    <a:pt x="288" y="259"/>
                  </a:cubicBezTo>
                  <a:cubicBezTo>
                    <a:pt x="288" y="259"/>
                    <a:pt x="286" y="249"/>
                    <a:pt x="281" y="240"/>
                  </a:cubicBezTo>
                  <a:cubicBezTo>
                    <a:pt x="277" y="232"/>
                    <a:pt x="264" y="225"/>
                    <a:pt x="264" y="225"/>
                  </a:cubicBezTo>
                  <a:cubicBezTo>
                    <a:pt x="261" y="223"/>
                    <a:pt x="262" y="214"/>
                    <a:pt x="254" y="208"/>
                  </a:cubicBezTo>
                  <a:cubicBezTo>
                    <a:pt x="248" y="204"/>
                    <a:pt x="237" y="187"/>
                    <a:pt x="237" y="187"/>
                  </a:cubicBezTo>
                  <a:cubicBezTo>
                    <a:pt x="237" y="187"/>
                    <a:pt x="252" y="152"/>
                    <a:pt x="251" y="142"/>
                  </a:cubicBezTo>
                  <a:cubicBezTo>
                    <a:pt x="250" y="133"/>
                    <a:pt x="238" y="133"/>
                    <a:pt x="238" y="133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05" y="113"/>
                    <a:pt x="205" y="113"/>
                    <a:pt x="205" y="113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9" y="70"/>
                    <a:pt x="199" y="70"/>
                    <a:pt x="199" y="70"/>
                  </a:cubicBezTo>
                  <a:cubicBezTo>
                    <a:pt x="188" y="68"/>
                    <a:pt x="188" y="68"/>
                    <a:pt x="188" y="68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197" y="57"/>
                    <a:pt x="194" y="52"/>
                    <a:pt x="194" y="46"/>
                  </a:cubicBezTo>
                  <a:cubicBezTo>
                    <a:pt x="194" y="41"/>
                    <a:pt x="202" y="27"/>
                    <a:pt x="202" y="27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13"/>
                    <a:pt x="163" y="0"/>
                    <a:pt x="157" y="1"/>
                  </a:cubicBezTo>
                  <a:cubicBezTo>
                    <a:pt x="151" y="2"/>
                    <a:pt x="142" y="14"/>
                    <a:pt x="142" y="14"/>
                  </a:cubicBezTo>
                  <a:cubicBezTo>
                    <a:pt x="142" y="14"/>
                    <a:pt x="135" y="12"/>
                    <a:pt x="129" y="15"/>
                  </a:cubicBezTo>
                  <a:cubicBezTo>
                    <a:pt x="123" y="17"/>
                    <a:pt x="124" y="29"/>
                    <a:pt x="124" y="29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1" y="75"/>
                    <a:pt x="122" y="80"/>
                  </a:cubicBezTo>
                  <a:cubicBezTo>
                    <a:pt x="122" y="86"/>
                    <a:pt x="119" y="90"/>
                    <a:pt x="117" y="93"/>
                  </a:cubicBezTo>
                  <a:cubicBezTo>
                    <a:pt x="114" y="97"/>
                    <a:pt x="112" y="110"/>
                    <a:pt x="112" y="110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1" y="97"/>
                    <a:pt x="86" y="97"/>
                  </a:cubicBezTo>
                  <a:cubicBezTo>
                    <a:pt x="80" y="97"/>
                    <a:pt x="78" y="105"/>
                    <a:pt x="78" y="105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4" y="99"/>
                    <a:pt x="37" y="93"/>
                  </a:cubicBezTo>
                  <a:cubicBezTo>
                    <a:pt x="32" y="88"/>
                    <a:pt x="25" y="78"/>
                    <a:pt x="25" y="78"/>
                  </a:cubicBezTo>
                  <a:cubicBezTo>
                    <a:pt x="25" y="78"/>
                    <a:pt x="16" y="75"/>
                    <a:pt x="12" y="80"/>
                  </a:cubicBezTo>
                  <a:cubicBezTo>
                    <a:pt x="6" y="84"/>
                    <a:pt x="14" y="91"/>
                    <a:pt x="13" y="93"/>
                  </a:cubicBezTo>
                  <a:cubicBezTo>
                    <a:pt x="11" y="95"/>
                    <a:pt x="2" y="90"/>
                    <a:pt x="2" y="9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53" y="126"/>
                    <a:pt x="63" y="131"/>
                  </a:cubicBezTo>
                  <a:cubicBezTo>
                    <a:pt x="72" y="136"/>
                    <a:pt x="73" y="146"/>
                    <a:pt x="73" y="146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86" y="152"/>
                    <a:pt x="88" y="155"/>
                  </a:cubicBezTo>
                  <a:cubicBezTo>
                    <a:pt x="90" y="158"/>
                    <a:pt x="85" y="158"/>
                    <a:pt x="84" y="162"/>
                  </a:cubicBezTo>
                  <a:cubicBezTo>
                    <a:pt x="83" y="167"/>
                    <a:pt x="85" y="170"/>
                    <a:pt x="86" y="174"/>
                  </a:cubicBezTo>
                  <a:cubicBezTo>
                    <a:pt x="88" y="180"/>
                    <a:pt x="86" y="186"/>
                    <a:pt x="86" y="186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95" y="197"/>
                    <a:pt x="94" y="199"/>
                    <a:pt x="94" y="204"/>
                  </a:cubicBezTo>
                  <a:cubicBezTo>
                    <a:pt x="94" y="210"/>
                    <a:pt x="103" y="215"/>
                    <a:pt x="105" y="218"/>
                  </a:cubicBezTo>
                  <a:cubicBezTo>
                    <a:pt x="107" y="222"/>
                    <a:pt x="106" y="229"/>
                    <a:pt x="106" y="229"/>
                  </a:cubicBezTo>
                  <a:cubicBezTo>
                    <a:pt x="106" y="229"/>
                    <a:pt x="108" y="233"/>
                    <a:pt x="110" y="237"/>
                  </a:cubicBezTo>
                  <a:cubicBezTo>
                    <a:pt x="111" y="240"/>
                    <a:pt x="106" y="243"/>
                    <a:pt x="103" y="248"/>
                  </a:cubicBezTo>
                  <a:cubicBezTo>
                    <a:pt x="101" y="252"/>
                    <a:pt x="106" y="253"/>
                    <a:pt x="106" y="253"/>
                  </a:cubicBezTo>
                  <a:cubicBezTo>
                    <a:pt x="106" y="253"/>
                    <a:pt x="106" y="254"/>
                    <a:pt x="105" y="260"/>
                  </a:cubicBezTo>
                  <a:cubicBezTo>
                    <a:pt x="105" y="264"/>
                    <a:pt x="112" y="265"/>
                    <a:pt x="114" y="266"/>
                  </a:cubicBezTo>
                  <a:cubicBezTo>
                    <a:pt x="116" y="268"/>
                    <a:pt x="115" y="271"/>
                    <a:pt x="116" y="275"/>
                  </a:cubicBezTo>
                  <a:cubicBezTo>
                    <a:pt x="117" y="279"/>
                    <a:pt x="122" y="281"/>
                    <a:pt x="122" y="281"/>
                  </a:cubicBezTo>
                  <a:cubicBezTo>
                    <a:pt x="123" y="288"/>
                    <a:pt x="123" y="288"/>
                    <a:pt x="123" y="288"/>
                  </a:cubicBezTo>
                  <a:cubicBezTo>
                    <a:pt x="128" y="286"/>
                    <a:pt x="128" y="286"/>
                    <a:pt x="128" y="286"/>
                  </a:cubicBezTo>
                  <a:cubicBezTo>
                    <a:pt x="139" y="293"/>
                    <a:pt x="139" y="293"/>
                    <a:pt x="139" y="293"/>
                  </a:cubicBezTo>
                  <a:cubicBezTo>
                    <a:pt x="139" y="295"/>
                    <a:pt x="139" y="295"/>
                    <a:pt x="139" y="295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54" y="297"/>
                    <a:pt x="154" y="297"/>
                    <a:pt x="154" y="297"/>
                  </a:cubicBezTo>
                  <a:cubicBezTo>
                    <a:pt x="154" y="297"/>
                    <a:pt x="159" y="301"/>
                    <a:pt x="162" y="308"/>
                  </a:cubicBezTo>
                  <a:cubicBezTo>
                    <a:pt x="166" y="314"/>
                    <a:pt x="162" y="324"/>
                    <a:pt x="162" y="324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2" y="334"/>
                    <a:pt x="162" y="334"/>
                    <a:pt x="162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7" y="342"/>
                    <a:pt x="160" y="340"/>
                    <a:pt x="154" y="341"/>
                  </a:cubicBezTo>
                  <a:cubicBezTo>
                    <a:pt x="150" y="342"/>
                    <a:pt x="147" y="346"/>
                    <a:pt x="147" y="346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66"/>
                    <a:pt x="145" y="366"/>
                    <a:pt x="145" y="366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37" y="376"/>
                    <a:pt x="137" y="376"/>
                    <a:pt x="137" y="376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1" y="401"/>
                    <a:pt x="131" y="401"/>
                    <a:pt x="131" y="401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409"/>
                    <a:pt x="124" y="409"/>
                    <a:pt x="124" y="409"/>
                  </a:cubicBezTo>
                  <a:cubicBezTo>
                    <a:pt x="117" y="413"/>
                    <a:pt x="117" y="413"/>
                    <a:pt x="117" y="413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2" y="413"/>
                    <a:pt x="112" y="413"/>
                    <a:pt x="112" y="413"/>
                  </a:cubicBezTo>
                  <a:cubicBezTo>
                    <a:pt x="108" y="414"/>
                    <a:pt x="108" y="414"/>
                    <a:pt x="108" y="414"/>
                  </a:cubicBezTo>
                  <a:cubicBezTo>
                    <a:pt x="108" y="417"/>
                    <a:pt x="108" y="417"/>
                    <a:pt x="108" y="417"/>
                  </a:cubicBezTo>
                  <a:cubicBezTo>
                    <a:pt x="106" y="418"/>
                    <a:pt x="106" y="418"/>
                    <a:pt x="106" y="418"/>
                  </a:cubicBezTo>
                  <a:cubicBezTo>
                    <a:pt x="105" y="421"/>
                    <a:pt x="105" y="421"/>
                    <a:pt x="105" y="421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3" y="422"/>
                    <a:pt x="113" y="422"/>
                    <a:pt x="113" y="422"/>
                  </a:cubicBezTo>
                  <a:cubicBezTo>
                    <a:pt x="111" y="430"/>
                    <a:pt x="111" y="430"/>
                    <a:pt x="111" y="430"/>
                  </a:cubicBezTo>
                  <a:cubicBezTo>
                    <a:pt x="111" y="430"/>
                    <a:pt x="107" y="426"/>
                    <a:pt x="104" y="428"/>
                  </a:cubicBezTo>
                  <a:cubicBezTo>
                    <a:pt x="100" y="430"/>
                    <a:pt x="102" y="436"/>
                    <a:pt x="102" y="436"/>
                  </a:cubicBezTo>
                  <a:cubicBezTo>
                    <a:pt x="102" y="439"/>
                    <a:pt x="102" y="439"/>
                    <a:pt x="102" y="439"/>
                  </a:cubicBezTo>
                  <a:cubicBezTo>
                    <a:pt x="101" y="441"/>
                    <a:pt x="100" y="442"/>
                    <a:pt x="100" y="442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6" y="438"/>
                    <a:pt x="96" y="438"/>
                    <a:pt x="96" y="438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444"/>
                    <a:pt x="99" y="455"/>
                    <a:pt x="98" y="457"/>
                  </a:cubicBezTo>
                  <a:cubicBezTo>
                    <a:pt x="97" y="460"/>
                    <a:pt x="91" y="458"/>
                    <a:pt x="89" y="458"/>
                  </a:cubicBezTo>
                  <a:cubicBezTo>
                    <a:pt x="82" y="458"/>
                    <a:pt x="82" y="458"/>
                    <a:pt x="82" y="458"/>
                  </a:cubicBezTo>
                  <a:cubicBezTo>
                    <a:pt x="82" y="458"/>
                    <a:pt x="82" y="462"/>
                    <a:pt x="80" y="462"/>
                  </a:cubicBezTo>
                  <a:cubicBezTo>
                    <a:pt x="79" y="462"/>
                    <a:pt x="77" y="459"/>
                    <a:pt x="77" y="459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83" y="475"/>
                    <a:pt x="83" y="475"/>
                    <a:pt x="83" y="475"/>
                  </a:cubicBezTo>
                  <a:cubicBezTo>
                    <a:pt x="77" y="474"/>
                    <a:pt x="77" y="474"/>
                    <a:pt x="77" y="474"/>
                  </a:cubicBezTo>
                  <a:cubicBezTo>
                    <a:pt x="75" y="482"/>
                    <a:pt x="75" y="482"/>
                    <a:pt x="75" y="482"/>
                  </a:cubicBezTo>
                  <a:cubicBezTo>
                    <a:pt x="75" y="482"/>
                    <a:pt x="77" y="484"/>
                    <a:pt x="77" y="486"/>
                  </a:cubicBezTo>
                  <a:cubicBezTo>
                    <a:pt x="77" y="487"/>
                    <a:pt x="72" y="487"/>
                    <a:pt x="72" y="487"/>
                  </a:cubicBezTo>
                  <a:cubicBezTo>
                    <a:pt x="69" y="492"/>
                    <a:pt x="69" y="492"/>
                    <a:pt x="69" y="492"/>
                  </a:cubicBezTo>
                  <a:cubicBezTo>
                    <a:pt x="68" y="504"/>
                    <a:pt x="68" y="504"/>
                    <a:pt x="68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72" y="504"/>
                    <a:pt x="69" y="508"/>
                    <a:pt x="70" y="513"/>
                  </a:cubicBezTo>
                  <a:cubicBezTo>
                    <a:pt x="70" y="517"/>
                    <a:pt x="78" y="519"/>
                    <a:pt x="80" y="523"/>
                  </a:cubicBezTo>
                  <a:cubicBezTo>
                    <a:pt x="83" y="528"/>
                    <a:pt x="80" y="534"/>
                    <a:pt x="80" y="534"/>
                  </a:cubicBezTo>
                  <a:cubicBezTo>
                    <a:pt x="80" y="543"/>
                    <a:pt x="80" y="543"/>
                    <a:pt x="80" y="543"/>
                  </a:cubicBezTo>
                  <a:cubicBezTo>
                    <a:pt x="83" y="546"/>
                    <a:pt x="83" y="546"/>
                    <a:pt x="83" y="546"/>
                  </a:cubicBezTo>
                  <a:cubicBezTo>
                    <a:pt x="86" y="544"/>
                    <a:pt x="86" y="544"/>
                    <a:pt x="86" y="544"/>
                  </a:cubicBezTo>
                  <a:cubicBezTo>
                    <a:pt x="86" y="544"/>
                    <a:pt x="86" y="550"/>
                    <a:pt x="87" y="552"/>
                  </a:cubicBezTo>
                  <a:cubicBezTo>
                    <a:pt x="88" y="555"/>
                    <a:pt x="91" y="559"/>
                    <a:pt x="91" y="559"/>
                  </a:cubicBezTo>
                  <a:cubicBezTo>
                    <a:pt x="90" y="561"/>
                    <a:pt x="90" y="561"/>
                    <a:pt x="90" y="561"/>
                  </a:cubicBezTo>
                  <a:cubicBezTo>
                    <a:pt x="94" y="562"/>
                    <a:pt x="94" y="562"/>
                    <a:pt x="94" y="562"/>
                  </a:cubicBezTo>
                  <a:cubicBezTo>
                    <a:pt x="95" y="567"/>
                    <a:pt x="95" y="567"/>
                    <a:pt x="95" y="567"/>
                  </a:cubicBezTo>
                  <a:cubicBezTo>
                    <a:pt x="90" y="566"/>
                    <a:pt x="90" y="566"/>
                    <a:pt x="90" y="566"/>
                  </a:cubicBezTo>
                  <a:cubicBezTo>
                    <a:pt x="90" y="569"/>
                    <a:pt x="90" y="569"/>
                    <a:pt x="90" y="569"/>
                  </a:cubicBezTo>
                  <a:cubicBezTo>
                    <a:pt x="93" y="572"/>
                    <a:pt x="93" y="572"/>
                    <a:pt x="93" y="572"/>
                  </a:cubicBezTo>
                  <a:cubicBezTo>
                    <a:pt x="89" y="572"/>
                    <a:pt x="89" y="572"/>
                    <a:pt x="89" y="572"/>
                  </a:cubicBezTo>
                  <a:cubicBezTo>
                    <a:pt x="93" y="577"/>
                    <a:pt x="93" y="577"/>
                    <a:pt x="93" y="577"/>
                  </a:cubicBezTo>
                  <a:cubicBezTo>
                    <a:pt x="90" y="578"/>
                    <a:pt x="90" y="578"/>
                    <a:pt x="90" y="578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5" y="584"/>
                    <a:pt x="96" y="588"/>
                    <a:pt x="94" y="591"/>
                  </a:cubicBezTo>
                  <a:cubicBezTo>
                    <a:pt x="91" y="593"/>
                    <a:pt x="95" y="598"/>
                    <a:pt x="95" y="598"/>
                  </a:cubicBezTo>
                  <a:cubicBezTo>
                    <a:pt x="95" y="598"/>
                    <a:pt x="90" y="599"/>
                    <a:pt x="90" y="603"/>
                  </a:cubicBezTo>
                  <a:cubicBezTo>
                    <a:pt x="91" y="607"/>
                    <a:pt x="94" y="610"/>
                    <a:pt x="94" y="610"/>
                  </a:cubicBezTo>
                  <a:cubicBezTo>
                    <a:pt x="91" y="610"/>
                    <a:pt x="91" y="610"/>
                    <a:pt x="91" y="610"/>
                  </a:cubicBezTo>
                  <a:cubicBezTo>
                    <a:pt x="88" y="607"/>
                    <a:pt x="88" y="607"/>
                    <a:pt x="88" y="607"/>
                  </a:cubicBezTo>
                  <a:cubicBezTo>
                    <a:pt x="87" y="613"/>
                    <a:pt x="87" y="613"/>
                    <a:pt x="87" y="613"/>
                  </a:cubicBezTo>
                  <a:cubicBezTo>
                    <a:pt x="95" y="613"/>
                    <a:pt x="95" y="613"/>
                    <a:pt x="95" y="613"/>
                  </a:cubicBezTo>
                  <a:cubicBezTo>
                    <a:pt x="93" y="614"/>
                    <a:pt x="93" y="614"/>
                    <a:pt x="93" y="614"/>
                  </a:cubicBezTo>
                  <a:cubicBezTo>
                    <a:pt x="94" y="619"/>
                    <a:pt x="94" y="619"/>
                    <a:pt x="94" y="619"/>
                  </a:cubicBezTo>
                  <a:cubicBezTo>
                    <a:pt x="97" y="622"/>
                    <a:pt x="97" y="622"/>
                    <a:pt x="97" y="622"/>
                  </a:cubicBezTo>
                  <a:cubicBezTo>
                    <a:pt x="97" y="622"/>
                    <a:pt x="95" y="624"/>
                    <a:pt x="97" y="628"/>
                  </a:cubicBezTo>
                  <a:cubicBezTo>
                    <a:pt x="99" y="632"/>
                    <a:pt x="101" y="632"/>
                    <a:pt x="101" y="632"/>
                  </a:cubicBezTo>
                  <a:cubicBezTo>
                    <a:pt x="104" y="635"/>
                    <a:pt x="104" y="635"/>
                    <a:pt x="104" y="635"/>
                  </a:cubicBezTo>
                  <a:cubicBezTo>
                    <a:pt x="104" y="630"/>
                    <a:pt x="104" y="630"/>
                    <a:pt x="104" y="630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35"/>
                    <a:pt x="110" y="635"/>
                    <a:pt x="110" y="635"/>
                  </a:cubicBezTo>
                  <a:cubicBezTo>
                    <a:pt x="112" y="635"/>
                    <a:pt x="112" y="635"/>
                    <a:pt x="112" y="635"/>
                  </a:cubicBezTo>
                  <a:cubicBezTo>
                    <a:pt x="113" y="631"/>
                    <a:pt x="113" y="631"/>
                    <a:pt x="113" y="631"/>
                  </a:cubicBezTo>
                  <a:cubicBezTo>
                    <a:pt x="118" y="635"/>
                    <a:pt x="118" y="635"/>
                    <a:pt x="118" y="635"/>
                  </a:cubicBezTo>
                  <a:cubicBezTo>
                    <a:pt x="124" y="635"/>
                    <a:pt x="124" y="635"/>
                    <a:pt x="124" y="635"/>
                  </a:cubicBezTo>
                  <a:cubicBezTo>
                    <a:pt x="131" y="638"/>
                    <a:pt x="131" y="638"/>
                    <a:pt x="131" y="638"/>
                  </a:cubicBezTo>
                  <a:cubicBezTo>
                    <a:pt x="137" y="638"/>
                    <a:pt x="137" y="638"/>
                    <a:pt x="137" y="638"/>
                  </a:cubicBezTo>
                  <a:cubicBezTo>
                    <a:pt x="135" y="646"/>
                    <a:pt x="135" y="646"/>
                    <a:pt x="135" y="646"/>
                  </a:cubicBezTo>
                  <a:cubicBezTo>
                    <a:pt x="137" y="648"/>
                    <a:pt x="137" y="648"/>
                    <a:pt x="137" y="648"/>
                  </a:cubicBezTo>
                  <a:cubicBezTo>
                    <a:pt x="144" y="645"/>
                    <a:pt x="144" y="645"/>
                    <a:pt x="144" y="645"/>
                  </a:cubicBezTo>
                  <a:cubicBezTo>
                    <a:pt x="151" y="639"/>
                    <a:pt x="151" y="639"/>
                    <a:pt x="151" y="639"/>
                  </a:cubicBezTo>
                  <a:cubicBezTo>
                    <a:pt x="152" y="640"/>
                    <a:pt x="152" y="640"/>
                    <a:pt x="152" y="640"/>
                  </a:cubicBezTo>
                  <a:cubicBezTo>
                    <a:pt x="149" y="649"/>
                    <a:pt x="149" y="649"/>
                    <a:pt x="149" y="649"/>
                  </a:cubicBezTo>
                  <a:cubicBezTo>
                    <a:pt x="154" y="653"/>
                    <a:pt x="154" y="653"/>
                    <a:pt x="154" y="653"/>
                  </a:cubicBezTo>
                  <a:cubicBezTo>
                    <a:pt x="153" y="657"/>
                    <a:pt x="153" y="657"/>
                    <a:pt x="153" y="657"/>
                  </a:cubicBezTo>
                  <a:cubicBezTo>
                    <a:pt x="157" y="656"/>
                    <a:pt x="157" y="656"/>
                    <a:pt x="157" y="656"/>
                  </a:cubicBezTo>
                  <a:cubicBezTo>
                    <a:pt x="157" y="658"/>
                    <a:pt x="157" y="658"/>
                    <a:pt x="157" y="658"/>
                  </a:cubicBezTo>
                  <a:cubicBezTo>
                    <a:pt x="150" y="664"/>
                    <a:pt x="150" y="664"/>
                    <a:pt x="150" y="664"/>
                  </a:cubicBezTo>
                  <a:cubicBezTo>
                    <a:pt x="151" y="666"/>
                    <a:pt x="151" y="666"/>
                    <a:pt x="151" y="666"/>
                  </a:cubicBezTo>
                  <a:cubicBezTo>
                    <a:pt x="156" y="666"/>
                    <a:pt x="156" y="666"/>
                    <a:pt x="156" y="666"/>
                  </a:cubicBezTo>
                  <a:cubicBezTo>
                    <a:pt x="159" y="662"/>
                    <a:pt x="159" y="662"/>
                    <a:pt x="159" y="662"/>
                  </a:cubicBezTo>
                  <a:cubicBezTo>
                    <a:pt x="159" y="662"/>
                    <a:pt x="161" y="664"/>
                    <a:pt x="161" y="666"/>
                  </a:cubicBezTo>
                  <a:cubicBezTo>
                    <a:pt x="162" y="669"/>
                    <a:pt x="152" y="674"/>
                    <a:pt x="152" y="674"/>
                  </a:cubicBezTo>
                  <a:cubicBezTo>
                    <a:pt x="163" y="671"/>
                    <a:pt x="163" y="671"/>
                    <a:pt x="163" y="671"/>
                  </a:cubicBezTo>
                  <a:cubicBezTo>
                    <a:pt x="171" y="655"/>
                    <a:pt x="171" y="655"/>
                    <a:pt x="171" y="655"/>
                  </a:cubicBezTo>
                  <a:cubicBezTo>
                    <a:pt x="169" y="663"/>
                    <a:pt x="169" y="663"/>
                    <a:pt x="169" y="663"/>
                  </a:cubicBezTo>
                  <a:cubicBezTo>
                    <a:pt x="181" y="660"/>
                    <a:pt x="181" y="660"/>
                    <a:pt x="181" y="660"/>
                  </a:cubicBezTo>
                  <a:cubicBezTo>
                    <a:pt x="189" y="654"/>
                    <a:pt x="189" y="654"/>
                    <a:pt x="189" y="654"/>
                  </a:cubicBezTo>
                  <a:cubicBezTo>
                    <a:pt x="192" y="654"/>
                    <a:pt x="192" y="654"/>
                    <a:pt x="192" y="654"/>
                  </a:cubicBezTo>
                  <a:cubicBezTo>
                    <a:pt x="198" y="649"/>
                    <a:pt x="198" y="649"/>
                    <a:pt x="198" y="649"/>
                  </a:cubicBezTo>
                  <a:cubicBezTo>
                    <a:pt x="201" y="650"/>
                    <a:pt x="201" y="650"/>
                    <a:pt x="201" y="650"/>
                  </a:cubicBezTo>
                  <a:cubicBezTo>
                    <a:pt x="203" y="655"/>
                    <a:pt x="203" y="655"/>
                    <a:pt x="203" y="655"/>
                  </a:cubicBezTo>
                  <a:cubicBezTo>
                    <a:pt x="206" y="653"/>
                    <a:pt x="206" y="653"/>
                    <a:pt x="206" y="653"/>
                  </a:cubicBezTo>
                  <a:cubicBezTo>
                    <a:pt x="206" y="645"/>
                    <a:pt x="206" y="645"/>
                    <a:pt x="206" y="645"/>
                  </a:cubicBezTo>
                  <a:cubicBezTo>
                    <a:pt x="221" y="638"/>
                    <a:pt x="221" y="638"/>
                    <a:pt x="221" y="638"/>
                  </a:cubicBezTo>
                  <a:cubicBezTo>
                    <a:pt x="222" y="635"/>
                    <a:pt x="222" y="635"/>
                    <a:pt x="222" y="635"/>
                  </a:cubicBezTo>
                  <a:cubicBezTo>
                    <a:pt x="235" y="629"/>
                    <a:pt x="235" y="629"/>
                    <a:pt x="235" y="629"/>
                  </a:cubicBezTo>
                  <a:cubicBezTo>
                    <a:pt x="235" y="622"/>
                    <a:pt x="235" y="622"/>
                    <a:pt x="235" y="622"/>
                  </a:cubicBezTo>
                  <a:cubicBezTo>
                    <a:pt x="235" y="622"/>
                    <a:pt x="237" y="628"/>
                    <a:pt x="241" y="628"/>
                  </a:cubicBezTo>
                  <a:cubicBezTo>
                    <a:pt x="244" y="628"/>
                    <a:pt x="248" y="626"/>
                    <a:pt x="248" y="626"/>
                  </a:cubicBezTo>
                  <a:cubicBezTo>
                    <a:pt x="245" y="624"/>
                    <a:pt x="245" y="624"/>
                    <a:pt x="245" y="624"/>
                  </a:cubicBezTo>
                  <a:cubicBezTo>
                    <a:pt x="246" y="620"/>
                    <a:pt x="246" y="620"/>
                    <a:pt x="246" y="620"/>
                  </a:cubicBezTo>
                  <a:cubicBezTo>
                    <a:pt x="251" y="624"/>
                    <a:pt x="251" y="624"/>
                    <a:pt x="251" y="624"/>
                  </a:cubicBezTo>
                  <a:cubicBezTo>
                    <a:pt x="251" y="622"/>
                    <a:pt x="251" y="622"/>
                    <a:pt x="251" y="622"/>
                  </a:cubicBezTo>
                  <a:cubicBezTo>
                    <a:pt x="245" y="613"/>
                    <a:pt x="245" y="613"/>
                    <a:pt x="245" y="613"/>
                  </a:cubicBezTo>
                  <a:cubicBezTo>
                    <a:pt x="245" y="613"/>
                    <a:pt x="254" y="619"/>
                    <a:pt x="260" y="617"/>
                  </a:cubicBezTo>
                  <a:cubicBezTo>
                    <a:pt x="264" y="614"/>
                    <a:pt x="262" y="611"/>
                    <a:pt x="262" y="611"/>
                  </a:cubicBezTo>
                  <a:cubicBezTo>
                    <a:pt x="268" y="610"/>
                    <a:pt x="268" y="610"/>
                    <a:pt x="268" y="610"/>
                  </a:cubicBezTo>
                  <a:cubicBezTo>
                    <a:pt x="273" y="608"/>
                    <a:pt x="273" y="608"/>
                    <a:pt x="273" y="608"/>
                  </a:cubicBezTo>
                  <a:cubicBezTo>
                    <a:pt x="279" y="608"/>
                    <a:pt x="279" y="608"/>
                    <a:pt x="279" y="608"/>
                  </a:cubicBezTo>
                  <a:cubicBezTo>
                    <a:pt x="283" y="602"/>
                    <a:pt x="283" y="602"/>
                    <a:pt x="283" y="602"/>
                  </a:cubicBezTo>
                  <a:cubicBezTo>
                    <a:pt x="293" y="603"/>
                    <a:pt x="293" y="603"/>
                    <a:pt x="293" y="603"/>
                  </a:cubicBezTo>
                  <a:cubicBezTo>
                    <a:pt x="304" y="598"/>
                    <a:pt x="304" y="598"/>
                    <a:pt x="304" y="598"/>
                  </a:cubicBezTo>
                  <a:cubicBezTo>
                    <a:pt x="304" y="597"/>
                    <a:pt x="304" y="597"/>
                    <a:pt x="304" y="597"/>
                  </a:cubicBezTo>
                  <a:cubicBezTo>
                    <a:pt x="312" y="581"/>
                    <a:pt x="312" y="581"/>
                    <a:pt x="312" y="581"/>
                  </a:cubicBezTo>
                  <a:cubicBezTo>
                    <a:pt x="323" y="566"/>
                    <a:pt x="323" y="566"/>
                    <a:pt x="323" y="566"/>
                  </a:cubicBezTo>
                  <a:cubicBezTo>
                    <a:pt x="327" y="563"/>
                    <a:pt x="327" y="563"/>
                    <a:pt x="327" y="563"/>
                  </a:cubicBezTo>
                  <a:cubicBezTo>
                    <a:pt x="328" y="554"/>
                    <a:pt x="328" y="554"/>
                    <a:pt x="328" y="554"/>
                  </a:cubicBezTo>
                  <a:cubicBezTo>
                    <a:pt x="341" y="540"/>
                    <a:pt x="341" y="540"/>
                    <a:pt x="341" y="540"/>
                  </a:cubicBezTo>
                  <a:cubicBezTo>
                    <a:pt x="341" y="540"/>
                    <a:pt x="346" y="527"/>
                    <a:pt x="349" y="521"/>
                  </a:cubicBezTo>
                  <a:cubicBezTo>
                    <a:pt x="352" y="516"/>
                    <a:pt x="360" y="496"/>
                    <a:pt x="363" y="485"/>
                  </a:cubicBezTo>
                  <a:cubicBezTo>
                    <a:pt x="366" y="473"/>
                    <a:pt x="375" y="460"/>
                    <a:pt x="375" y="460"/>
                  </a:cubicBezTo>
                  <a:cubicBezTo>
                    <a:pt x="375" y="460"/>
                    <a:pt x="377" y="456"/>
                    <a:pt x="378" y="452"/>
                  </a:cubicBezTo>
                  <a:cubicBezTo>
                    <a:pt x="380" y="448"/>
                    <a:pt x="382" y="424"/>
                    <a:pt x="382" y="418"/>
                  </a:cubicBezTo>
                  <a:close/>
                  <a:moveTo>
                    <a:pt x="52" y="662"/>
                  </a:moveTo>
                  <a:cubicBezTo>
                    <a:pt x="52" y="658"/>
                    <a:pt x="52" y="658"/>
                    <a:pt x="52" y="658"/>
                  </a:cubicBezTo>
                  <a:cubicBezTo>
                    <a:pt x="54" y="657"/>
                    <a:pt x="54" y="657"/>
                    <a:pt x="54" y="657"/>
                  </a:cubicBezTo>
                  <a:cubicBezTo>
                    <a:pt x="54" y="657"/>
                    <a:pt x="54" y="659"/>
                    <a:pt x="55" y="661"/>
                  </a:cubicBezTo>
                  <a:cubicBezTo>
                    <a:pt x="56" y="662"/>
                    <a:pt x="61" y="660"/>
                    <a:pt x="61" y="660"/>
                  </a:cubicBezTo>
                  <a:cubicBezTo>
                    <a:pt x="60" y="653"/>
                    <a:pt x="60" y="653"/>
                    <a:pt x="60" y="653"/>
                  </a:cubicBezTo>
                  <a:cubicBezTo>
                    <a:pt x="55" y="653"/>
                    <a:pt x="55" y="653"/>
                    <a:pt x="55" y="653"/>
                  </a:cubicBezTo>
                  <a:cubicBezTo>
                    <a:pt x="55" y="650"/>
                    <a:pt x="55" y="650"/>
                    <a:pt x="55" y="650"/>
                  </a:cubicBezTo>
                  <a:cubicBezTo>
                    <a:pt x="51" y="651"/>
                    <a:pt x="51" y="651"/>
                    <a:pt x="51" y="651"/>
                  </a:cubicBezTo>
                  <a:cubicBezTo>
                    <a:pt x="51" y="651"/>
                    <a:pt x="50" y="649"/>
                    <a:pt x="50" y="647"/>
                  </a:cubicBezTo>
                  <a:cubicBezTo>
                    <a:pt x="50" y="646"/>
                    <a:pt x="47" y="644"/>
                    <a:pt x="45" y="648"/>
                  </a:cubicBezTo>
                  <a:cubicBezTo>
                    <a:pt x="45" y="651"/>
                    <a:pt x="45" y="651"/>
                    <a:pt x="45" y="651"/>
                  </a:cubicBezTo>
                  <a:cubicBezTo>
                    <a:pt x="48" y="657"/>
                    <a:pt x="48" y="657"/>
                    <a:pt x="48" y="657"/>
                  </a:cubicBezTo>
                  <a:cubicBezTo>
                    <a:pt x="45" y="659"/>
                    <a:pt x="45" y="659"/>
                    <a:pt x="45" y="659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1" y="658"/>
                    <a:pt x="41" y="658"/>
                    <a:pt x="41" y="658"/>
                  </a:cubicBezTo>
                  <a:cubicBezTo>
                    <a:pt x="46" y="669"/>
                    <a:pt x="46" y="669"/>
                    <a:pt x="46" y="669"/>
                  </a:cubicBezTo>
                  <a:cubicBezTo>
                    <a:pt x="50" y="670"/>
                    <a:pt x="50" y="670"/>
                    <a:pt x="50" y="670"/>
                  </a:cubicBezTo>
                  <a:cubicBezTo>
                    <a:pt x="54" y="666"/>
                    <a:pt x="54" y="666"/>
                    <a:pt x="54" y="666"/>
                  </a:cubicBezTo>
                  <a:cubicBezTo>
                    <a:pt x="54" y="662"/>
                    <a:pt x="54" y="662"/>
                    <a:pt x="54" y="662"/>
                  </a:cubicBezTo>
                  <a:lnTo>
                    <a:pt x="52" y="662"/>
                  </a:lnTo>
                  <a:close/>
                  <a:moveTo>
                    <a:pt x="37" y="666"/>
                  </a:moveTo>
                  <a:cubicBezTo>
                    <a:pt x="41" y="664"/>
                    <a:pt x="41" y="664"/>
                    <a:pt x="41" y="664"/>
                  </a:cubicBezTo>
                  <a:cubicBezTo>
                    <a:pt x="39" y="658"/>
                    <a:pt x="39" y="658"/>
                    <a:pt x="39" y="658"/>
                  </a:cubicBezTo>
                  <a:lnTo>
                    <a:pt x="37" y="666"/>
                  </a:lnTo>
                  <a:close/>
                  <a:moveTo>
                    <a:pt x="55" y="670"/>
                  </a:moveTo>
                  <a:cubicBezTo>
                    <a:pt x="61" y="674"/>
                    <a:pt x="61" y="674"/>
                    <a:pt x="61" y="674"/>
                  </a:cubicBezTo>
                  <a:cubicBezTo>
                    <a:pt x="63" y="671"/>
                    <a:pt x="63" y="671"/>
                    <a:pt x="63" y="671"/>
                  </a:cubicBezTo>
                  <a:cubicBezTo>
                    <a:pt x="56" y="667"/>
                    <a:pt x="56" y="667"/>
                    <a:pt x="56" y="667"/>
                  </a:cubicBezTo>
                  <a:lnTo>
                    <a:pt x="55" y="670"/>
                  </a:lnTo>
                  <a:close/>
                  <a:moveTo>
                    <a:pt x="63" y="663"/>
                  </a:moveTo>
                  <a:cubicBezTo>
                    <a:pt x="61" y="664"/>
                    <a:pt x="61" y="667"/>
                    <a:pt x="64" y="667"/>
                  </a:cubicBezTo>
                  <a:cubicBezTo>
                    <a:pt x="66" y="666"/>
                    <a:pt x="66" y="662"/>
                    <a:pt x="63" y="663"/>
                  </a:cubicBezTo>
                  <a:close/>
                  <a:moveTo>
                    <a:pt x="107" y="657"/>
                  </a:moveTo>
                  <a:cubicBezTo>
                    <a:pt x="104" y="657"/>
                    <a:pt x="100" y="662"/>
                    <a:pt x="106" y="661"/>
                  </a:cubicBezTo>
                  <a:cubicBezTo>
                    <a:pt x="106" y="661"/>
                    <a:pt x="111" y="657"/>
                    <a:pt x="107" y="657"/>
                  </a:cubicBezTo>
                  <a:close/>
                  <a:moveTo>
                    <a:pt x="113" y="654"/>
                  </a:moveTo>
                  <a:cubicBezTo>
                    <a:pt x="111" y="655"/>
                    <a:pt x="112" y="657"/>
                    <a:pt x="112" y="657"/>
                  </a:cubicBezTo>
                  <a:cubicBezTo>
                    <a:pt x="110" y="659"/>
                    <a:pt x="110" y="659"/>
                    <a:pt x="110" y="659"/>
                  </a:cubicBezTo>
                  <a:cubicBezTo>
                    <a:pt x="111" y="660"/>
                    <a:pt x="111" y="660"/>
                    <a:pt x="111" y="660"/>
                  </a:cubicBezTo>
                  <a:cubicBezTo>
                    <a:pt x="117" y="655"/>
                    <a:pt x="117" y="655"/>
                    <a:pt x="117" y="655"/>
                  </a:cubicBezTo>
                  <a:cubicBezTo>
                    <a:pt x="117" y="655"/>
                    <a:pt x="115" y="653"/>
                    <a:pt x="113" y="654"/>
                  </a:cubicBezTo>
                  <a:close/>
                  <a:moveTo>
                    <a:pt x="119" y="654"/>
                  </a:moveTo>
                  <a:cubicBezTo>
                    <a:pt x="120" y="657"/>
                    <a:pt x="120" y="657"/>
                    <a:pt x="120" y="657"/>
                  </a:cubicBezTo>
                  <a:cubicBezTo>
                    <a:pt x="122" y="656"/>
                    <a:pt x="122" y="656"/>
                    <a:pt x="122" y="656"/>
                  </a:cubicBezTo>
                  <a:cubicBezTo>
                    <a:pt x="122" y="654"/>
                    <a:pt x="122" y="654"/>
                    <a:pt x="122" y="654"/>
                  </a:cubicBezTo>
                  <a:lnTo>
                    <a:pt x="119" y="654"/>
                  </a:lnTo>
                  <a:close/>
                  <a:moveTo>
                    <a:pt x="148" y="643"/>
                  </a:moveTo>
                  <a:cubicBezTo>
                    <a:pt x="146" y="647"/>
                    <a:pt x="146" y="647"/>
                    <a:pt x="146" y="647"/>
                  </a:cubicBezTo>
                  <a:cubicBezTo>
                    <a:pt x="142" y="648"/>
                    <a:pt x="142" y="648"/>
                    <a:pt x="142" y="648"/>
                  </a:cubicBezTo>
                  <a:cubicBezTo>
                    <a:pt x="139" y="650"/>
                    <a:pt x="139" y="650"/>
                    <a:pt x="139" y="650"/>
                  </a:cubicBezTo>
                  <a:cubicBezTo>
                    <a:pt x="134" y="651"/>
                    <a:pt x="134" y="651"/>
                    <a:pt x="134" y="651"/>
                  </a:cubicBezTo>
                  <a:cubicBezTo>
                    <a:pt x="133" y="655"/>
                    <a:pt x="133" y="655"/>
                    <a:pt x="133" y="655"/>
                  </a:cubicBezTo>
                  <a:cubicBezTo>
                    <a:pt x="136" y="655"/>
                    <a:pt x="136" y="655"/>
                    <a:pt x="136" y="655"/>
                  </a:cubicBezTo>
                  <a:cubicBezTo>
                    <a:pt x="133" y="659"/>
                    <a:pt x="133" y="659"/>
                    <a:pt x="133" y="659"/>
                  </a:cubicBezTo>
                  <a:cubicBezTo>
                    <a:pt x="133" y="664"/>
                    <a:pt x="133" y="664"/>
                    <a:pt x="133" y="664"/>
                  </a:cubicBezTo>
                  <a:cubicBezTo>
                    <a:pt x="139" y="661"/>
                    <a:pt x="139" y="661"/>
                    <a:pt x="139" y="661"/>
                  </a:cubicBezTo>
                  <a:cubicBezTo>
                    <a:pt x="145" y="661"/>
                    <a:pt x="145" y="661"/>
                    <a:pt x="145" y="661"/>
                  </a:cubicBezTo>
                  <a:cubicBezTo>
                    <a:pt x="149" y="654"/>
                    <a:pt x="149" y="654"/>
                    <a:pt x="149" y="654"/>
                  </a:cubicBezTo>
                  <a:cubicBezTo>
                    <a:pt x="147" y="649"/>
                    <a:pt x="147" y="649"/>
                    <a:pt x="147" y="649"/>
                  </a:cubicBezTo>
                  <a:cubicBezTo>
                    <a:pt x="149" y="644"/>
                    <a:pt x="149" y="644"/>
                    <a:pt x="149" y="644"/>
                  </a:cubicBezTo>
                  <a:lnTo>
                    <a:pt x="148" y="643"/>
                  </a:lnTo>
                  <a:close/>
                  <a:moveTo>
                    <a:pt x="111" y="639"/>
                  </a:moveTo>
                  <a:cubicBezTo>
                    <a:pt x="112" y="640"/>
                    <a:pt x="112" y="640"/>
                    <a:pt x="112" y="640"/>
                  </a:cubicBezTo>
                  <a:cubicBezTo>
                    <a:pt x="110" y="643"/>
                    <a:pt x="110" y="643"/>
                    <a:pt x="110" y="643"/>
                  </a:cubicBezTo>
                  <a:cubicBezTo>
                    <a:pt x="112" y="643"/>
                    <a:pt x="112" y="643"/>
                    <a:pt x="112" y="643"/>
                  </a:cubicBezTo>
                  <a:cubicBezTo>
                    <a:pt x="114" y="642"/>
                    <a:pt x="114" y="642"/>
                    <a:pt x="114" y="642"/>
                  </a:cubicBezTo>
                  <a:cubicBezTo>
                    <a:pt x="117" y="644"/>
                    <a:pt x="117" y="644"/>
                    <a:pt x="117" y="644"/>
                  </a:cubicBezTo>
                  <a:cubicBezTo>
                    <a:pt x="118" y="641"/>
                    <a:pt x="118" y="641"/>
                    <a:pt x="118" y="641"/>
                  </a:cubicBezTo>
                  <a:cubicBezTo>
                    <a:pt x="113" y="638"/>
                    <a:pt x="113" y="638"/>
                    <a:pt x="113" y="638"/>
                  </a:cubicBezTo>
                  <a:lnTo>
                    <a:pt x="111" y="639"/>
                  </a:lnTo>
                  <a:close/>
                  <a:moveTo>
                    <a:pt x="99" y="634"/>
                  </a:moveTo>
                  <a:cubicBezTo>
                    <a:pt x="95" y="631"/>
                    <a:pt x="94" y="630"/>
                    <a:pt x="95" y="632"/>
                  </a:cubicBezTo>
                  <a:cubicBezTo>
                    <a:pt x="97" y="637"/>
                    <a:pt x="97" y="637"/>
                    <a:pt x="97" y="637"/>
                  </a:cubicBezTo>
                  <a:cubicBezTo>
                    <a:pt x="102" y="637"/>
                    <a:pt x="102" y="637"/>
                    <a:pt x="99" y="634"/>
                  </a:cubicBezTo>
                  <a:close/>
                  <a:moveTo>
                    <a:pt x="90" y="628"/>
                  </a:moveTo>
                  <a:cubicBezTo>
                    <a:pt x="93" y="631"/>
                    <a:pt x="93" y="631"/>
                    <a:pt x="93" y="631"/>
                  </a:cubicBezTo>
                  <a:cubicBezTo>
                    <a:pt x="94" y="628"/>
                    <a:pt x="94" y="628"/>
                    <a:pt x="94" y="628"/>
                  </a:cubicBezTo>
                  <a:cubicBezTo>
                    <a:pt x="91" y="627"/>
                    <a:pt x="91" y="627"/>
                    <a:pt x="91" y="627"/>
                  </a:cubicBezTo>
                  <a:lnTo>
                    <a:pt x="90" y="628"/>
                  </a:lnTo>
                  <a:close/>
                  <a:moveTo>
                    <a:pt x="175" y="667"/>
                  </a:moveTo>
                  <a:cubicBezTo>
                    <a:pt x="175" y="664"/>
                    <a:pt x="175" y="664"/>
                    <a:pt x="175" y="664"/>
                  </a:cubicBezTo>
                  <a:cubicBezTo>
                    <a:pt x="170" y="666"/>
                    <a:pt x="170" y="666"/>
                    <a:pt x="170" y="666"/>
                  </a:cubicBezTo>
                  <a:lnTo>
                    <a:pt x="175" y="667"/>
                  </a:lnTo>
                  <a:close/>
                  <a:moveTo>
                    <a:pt x="74" y="466"/>
                  </a:moveTo>
                  <a:cubicBezTo>
                    <a:pt x="72" y="462"/>
                    <a:pt x="72" y="462"/>
                    <a:pt x="72" y="462"/>
                  </a:cubicBezTo>
                  <a:cubicBezTo>
                    <a:pt x="72" y="462"/>
                    <a:pt x="69" y="464"/>
                    <a:pt x="68" y="464"/>
                  </a:cubicBezTo>
                  <a:cubicBezTo>
                    <a:pt x="66" y="464"/>
                    <a:pt x="67" y="461"/>
                    <a:pt x="67" y="461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6" y="468"/>
                    <a:pt x="66" y="468"/>
                    <a:pt x="66" y="468"/>
                  </a:cubicBezTo>
                  <a:cubicBezTo>
                    <a:pt x="71" y="469"/>
                    <a:pt x="74" y="466"/>
                    <a:pt x="74" y="466"/>
                  </a:cubicBezTo>
                  <a:close/>
                  <a:moveTo>
                    <a:pt x="72" y="456"/>
                  </a:moveTo>
                  <a:cubicBezTo>
                    <a:pt x="67" y="457"/>
                    <a:pt x="67" y="457"/>
                    <a:pt x="67" y="457"/>
                  </a:cubicBezTo>
                  <a:cubicBezTo>
                    <a:pt x="70" y="460"/>
                    <a:pt x="70" y="460"/>
                    <a:pt x="70" y="460"/>
                  </a:cubicBezTo>
                  <a:lnTo>
                    <a:pt x="72" y="456"/>
                  </a:lnTo>
                  <a:close/>
                  <a:moveTo>
                    <a:pt x="93" y="452"/>
                  </a:moveTo>
                  <a:cubicBezTo>
                    <a:pt x="90" y="456"/>
                    <a:pt x="90" y="456"/>
                    <a:pt x="90" y="456"/>
                  </a:cubicBezTo>
                  <a:cubicBezTo>
                    <a:pt x="94" y="456"/>
                    <a:pt x="94" y="456"/>
                    <a:pt x="94" y="456"/>
                  </a:cubicBezTo>
                  <a:cubicBezTo>
                    <a:pt x="97" y="454"/>
                    <a:pt x="97" y="454"/>
                    <a:pt x="97" y="454"/>
                  </a:cubicBezTo>
                  <a:lnTo>
                    <a:pt x="93" y="452"/>
                  </a:lnTo>
                  <a:close/>
                  <a:moveTo>
                    <a:pt x="157" y="329"/>
                  </a:moveTo>
                  <a:cubicBezTo>
                    <a:pt x="153" y="331"/>
                    <a:pt x="153" y="331"/>
                    <a:pt x="153" y="331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45" y="331"/>
                    <a:pt x="145" y="331"/>
                    <a:pt x="145" y="331"/>
                  </a:cubicBezTo>
                  <a:cubicBezTo>
                    <a:pt x="145" y="335"/>
                    <a:pt x="145" y="335"/>
                    <a:pt x="145" y="335"/>
                  </a:cubicBezTo>
                  <a:cubicBezTo>
                    <a:pt x="145" y="336"/>
                    <a:pt x="147" y="338"/>
                    <a:pt x="147" y="338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52" y="332"/>
                    <a:pt x="152" y="332"/>
                    <a:pt x="152" y="332"/>
                  </a:cubicBezTo>
                  <a:cubicBezTo>
                    <a:pt x="157" y="331"/>
                    <a:pt x="157" y="331"/>
                    <a:pt x="157" y="331"/>
                  </a:cubicBezTo>
                  <a:lnTo>
                    <a:pt x="157" y="329"/>
                  </a:lnTo>
                  <a:close/>
                  <a:moveTo>
                    <a:pt x="244" y="634"/>
                  </a:moveTo>
                  <a:cubicBezTo>
                    <a:pt x="247" y="630"/>
                    <a:pt x="247" y="630"/>
                    <a:pt x="247" y="630"/>
                  </a:cubicBezTo>
                  <a:cubicBezTo>
                    <a:pt x="243" y="631"/>
                    <a:pt x="243" y="631"/>
                    <a:pt x="243" y="631"/>
                  </a:cubicBezTo>
                  <a:lnTo>
                    <a:pt x="244" y="634"/>
                  </a:lnTo>
                  <a:close/>
                  <a:moveTo>
                    <a:pt x="260" y="618"/>
                  </a:moveTo>
                  <a:cubicBezTo>
                    <a:pt x="265" y="619"/>
                    <a:pt x="265" y="619"/>
                    <a:pt x="265" y="619"/>
                  </a:cubicBezTo>
                  <a:cubicBezTo>
                    <a:pt x="263" y="616"/>
                    <a:pt x="263" y="616"/>
                    <a:pt x="263" y="616"/>
                  </a:cubicBezTo>
                  <a:lnTo>
                    <a:pt x="260" y="618"/>
                  </a:lnTo>
                  <a:close/>
                  <a:moveTo>
                    <a:pt x="265" y="614"/>
                  </a:moveTo>
                  <a:cubicBezTo>
                    <a:pt x="267" y="617"/>
                    <a:pt x="267" y="617"/>
                    <a:pt x="267" y="617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0" y="613"/>
                    <a:pt x="270" y="613"/>
                    <a:pt x="270" y="613"/>
                  </a:cubicBezTo>
                  <a:lnTo>
                    <a:pt x="265" y="6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Bulgarien" descr="© INSCALE GmbH, 05.05.2010&#10;http://www.presentationload.com/">
              <a:extLst>
                <a:ext uri="{FF2B5EF4-FFF2-40B4-BE49-F238E27FC236}">
                  <a16:creationId xmlns:a16="http://schemas.microsoft.com/office/drawing/2014/main" id="{FFD8B23C-3580-D242-BC2F-EAD95064FB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9023" y="5331521"/>
              <a:ext cx="717858" cy="521478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9" name="Griech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E9E8D4A-2346-0D4F-BF18-89022210D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16437" y="5724279"/>
              <a:ext cx="1150222" cy="1079262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56AD95A7-9F61-E443-A7E4-A416134BA3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30303" y="3909008"/>
              <a:ext cx="1807022" cy="1227784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I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9B613DB-BDAB-E74A-9F2D-354F7F8AC6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4193" y="1559056"/>
              <a:ext cx="679902" cy="561084"/>
            </a:xfrm>
            <a:custGeom>
              <a:avLst/>
              <a:gdLst/>
              <a:ahLst/>
              <a:cxnLst>
                <a:cxn ang="0">
                  <a:pos x="273" y="136"/>
                </a:cxn>
                <a:cxn ang="0">
                  <a:pos x="262" y="113"/>
                </a:cxn>
                <a:cxn ang="0">
                  <a:pos x="268" y="98"/>
                </a:cxn>
                <a:cxn ang="0">
                  <a:pos x="252" y="81"/>
                </a:cxn>
                <a:cxn ang="0">
                  <a:pos x="229" y="89"/>
                </a:cxn>
                <a:cxn ang="0">
                  <a:pos x="206" y="89"/>
                </a:cxn>
                <a:cxn ang="0">
                  <a:pos x="189" y="71"/>
                </a:cxn>
                <a:cxn ang="0">
                  <a:pos x="178" y="102"/>
                </a:cxn>
                <a:cxn ang="0">
                  <a:pos x="177" y="75"/>
                </a:cxn>
                <a:cxn ang="0">
                  <a:pos x="170" y="63"/>
                </a:cxn>
                <a:cxn ang="0">
                  <a:pos x="144" y="81"/>
                </a:cxn>
                <a:cxn ang="0">
                  <a:pos x="141" y="52"/>
                </a:cxn>
                <a:cxn ang="0">
                  <a:pos x="133" y="54"/>
                </a:cxn>
                <a:cxn ang="0">
                  <a:pos x="115" y="81"/>
                </a:cxn>
                <a:cxn ang="0">
                  <a:pos x="110" y="75"/>
                </a:cxn>
                <a:cxn ang="0">
                  <a:pos x="95" y="81"/>
                </a:cxn>
                <a:cxn ang="0">
                  <a:pos x="90" y="75"/>
                </a:cxn>
                <a:cxn ang="0">
                  <a:pos x="92" y="54"/>
                </a:cxn>
                <a:cxn ang="0">
                  <a:pos x="109" y="44"/>
                </a:cxn>
                <a:cxn ang="0">
                  <a:pos x="104" y="23"/>
                </a:cxn>
                <a:cxn ang="0">
                  <a:pos x="97" y="10"/>
                </a:cxn>
                <a:cxn ang="0">
                  <a:pos x="81" y="5"/>
                </a:cxn>
                <a:cxn ang="0">
                  <a:pos x="88" y="13"/>
                </a:cxn>
                <a:cxn ang="0">
                  <a:pos x="87" y="29"/>
                </a:cxn>
                <a:cxn ang="0">
                  <a:pos x="79" y="32"/>
                </a:cxn>
                <a:cxn ang="0">
                  <a:pos x="73" y="27"/>
                </a:cxn>
                <a:cxn ang="0">
                  <a:pos x="71" y="13"/>
                </a:cxn>
                <a:cxn ang="0">
                  <a:pos x="53" y="22"/>
                </a:cxn>
                <a:cxn ang="0">
                  <a:pos x="57" y="38"/>
                </a:cxn>
                <a:cxn ang="0">
                  <a:pos x="38" y="23"/>
                </a:cxn>
                <a:cxn ang="0">
                  <a:pos x="30" y="36"/>
                </a:cxn>
                <a:cxn ang="0">
                  <a:pos x="30" y="49"/>
                </a:cxn>
                <a:cxn ang="0">
                  <a:pos x="60" y="50"/>
                </a:cxn>
                <a:cxn ang="0">
                  <a:pos x="72" y="64"/>
                </a:cxn>
                <a:cxn ang="0">
                  <a:pos x="72" y="75"/>
                </a:cxn>
                <a:cxn ang="0">
                  <a:pos x="69" y="87"/>
                </a:cxn>
                <a:cxn ang="0">
                  <a:pos x="45" y="87"/>
                </a:cxn>
                <a:cxn ang="0">
                  <a:pos x="31" y="83"/>
                </a:cxn>
                <a:cxn ang="0">
                  <a:pos x="4" y="84"/>
                </a:cxn>
                <a:cxn ang="0">
                  <a:pos x="34" y="97"/>
                </a:cxn>
                <a:cxn ang="0">
                  <a:pos x="36" y="117"/>
                </a:cxn>
                <a:cxn ang="0">
                  <a:pos x="48" y="121"/>
                </a:cxn>
                <a:cxn ang="0">
                  <a:pos x="36" y="132"/>
                </a:cxn>
                <a:cxn ang="0">
                  <a:pos x="36" y="141"/>
                </a:cxn>
                <a:cxn ang="0">
                  <a:pos x="14" y="149"/>
                </a:cxn>
                <a:cxn ang="0">
                  <a:pos x="0" y="154"/>
                </a:cxn>
                <a:cxn ang="0">
                  <a:pos x="28" y="168"/>
                </a:cxn>
                <a:cxn ang="0">
                  <a:pos x="45" y="177"/>
                </a:cxn>
                <a:cxn ang="0">
                  <a:pos x="55" y="194"/>
                </a:cxn>
                <a:cxn ang="0">
                  <a:pos x="79" y="224"/>
                </a:cxn>
                <a:cxn ang="0">
                  <a:pos x="123" y="221"/>
                </a:cxn>
                <a:cxn ang="0">
                  <a:pos x="155" y="227"/>
                </a:cxn>
                <a:cxn ang="0">
                  <a:pos x="195" y="217"/>
                </a:cxn>
                <a:cxn ang="0">
                  <a:pos x="212" y="218"/>
                </a:cxn>
                <a:cxn ang="0">
                  <a:pos x="240" y="207"/>
                </a:cxn>
                <a:cxn ang="0">
                  <a:pos x="243" y="194"/>
                </a:cxn>
                <a:cxn ang="0">
                  <a:pos x="258" y="190"/>
                </a:cxn>
                <a:cxn ang="0">
                  <a:pos x="263" y="183"/>
                </a:cxn>
                <a:cxn ang="0">
                  <a:pos x="272" y="183"/>
                </a:cxn>
                <a:cxn ang="0">
                  <a:pos x="278" y="173"/>
                </a:cxn>
                <a:cxn ang="0">
                  <a:pos x="284" y="155"/>
                </a:cxn>
                <a:cxn ang="0">
                  <a:pos x="50" y="205"/>
                </a:cxn>
              </a:cxnLst>
              <a:rect l="0" t="0" r="r" b="b"/>
              <a:pathLst>
                <a:path w="285" h="235">
                  <a:moveTo>
                    <a:pt x="284" y="155"/>
                  </a:moveTo>
                  <a:cubicBezTo>
                    <a:pt x="280" y="156"/>
                    <a:pt x="280" y="156"/>
                    <a:pt x="280" y="156"/>
                  </a:cubicBezTo>
                  <a:cubicBezTo>
                    <a:pt x="280" y="153"/>
                    <a:pt x="280" y="153"/>
                    <a:pt x="280" y="153"/>
                  </a:cubicBezTo>
                  <a:cubicBezTo>
                    <a:pt x="279" y="153"/>
                    <a:pt x="279" y="153"/>
                    <a:pt x="279" y="153"/>
                  </a:cubicBezTo>
                  <a:cubicBezTo>
                    <a:pt x="281" y="150"/>
                    <a:pt x="281" y="150"/>
                    <a:pt x="281" y="150"/>
                  </a:cubicBezTo>
                  <a:cubicBezTo>
                    <a:pt x="280" y="149"/>
                    <a:pt x="280" y="149"/>
                    <a:pt x="280" y="149"/>
                  </a:cubicBezTo>
                  <a:cubicBezTo>
                    <a:pt x="280" y="149"/>
                    <a:pt x="275" y="147"/>
                    <a:pt x="272" y="143"/>
                  </a:cubicBezTo>
                  <a:cubicBezTo>
                    <a:pt x="270" y="139"/>
                    <a:pt x="273" y="136"/>
                    <a:pt x="273" y="136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59" y="130"/>
                    <a:pt x="259" y="130"/>
                    <a:pt x="259" y="130"/>
                  </a:cubicBezTo>
                  <a:cubicBezTo>
                    <a:pt x="259" y="130"/>
                    <a:pt x="260" y="128"/>
                    <a:pt x="262" y="128"/>
                  </a:cubicBezTo>
                  <a:cubicBezTo>
                    <a:pt x="264" y="127"/>
                    <a:pt x="265" y="127"/>
                    <a:pt x="269" y="124"/>
                  </a:cubicBezTo>
                  <a:cubicBezTo>
                    <a:pt x="273" y="122"/>
                    <a:pt x="272" y="116"/>
                    <a:pt x="271" y="115"/>
                  </a:cubicBezTo>
                  <a:cubicBezTo>
                    <a:pt x="270" y="113"/>
                    <a:pt x="268" y="115"/>
                    <a:pt x="265" y="115"/>
                  </a:cubicBezTo>
                  <a:cubicBezTo>
                    <a:pt x="264" y="115"/>
                    <a:pt x="262" y="113"/>
                    <a:pt x="262" y="113"/>
                  </a:cubicBezTo>
                  <a:cubicBezTo>
                    <a:pt x="262" y="113"/>
                    <a:pt x="263" y="112"/>
                    <a:pt x="263" y="110"/>
                  </a:cubicBezTo>
                  <a:cubicBezTo>
                    <a:pt x="263" y="108"/>
                    <a:pt x="260" y="107"/>
                    <a:pt x="260" y="107"/>
                  </a:cubicBezTo>
                  <a:cubicBezTo>
                    <a:pt x="260" y="107"/>
                    <a:pt x="269" y="106"/>
                    <a:pt x="270" y="105"/>
                  </a:cubicBezTo>
                  <a:cubicBezTo>
                    <a:pt x="271" y="102"/>
                    <a:pt x="271" y="99"/>
                    <a:pt x="271" y="99"/>
                  </a:cubicBezTo>
                  <a:cubicBezTo>
                    <a:pt x="284" y="97"/>
                    <a:pt x="284" y="97"/>
                    <a:pt x="284" y="97"/>
                  </a:cubicBezTo>
                  <a:cubicBezTo>
                    <a:pt x="284" y="97"/>
                    <a:pt x="280" y="96"/>
                    <a:pt x="278" y="96"/>
                  </a:cubicBezTo>
                  <a:cubicBezTo>
                    <a:pt x="277" y="95"/>
                    <a:pt x="279" y="94"/>
                    <a:pt x="276" y="93"/>
                  </a:cubicBezTo>
                  <a:cubicBezTo>
                    <a:pt x="274" y="92"/>
                    <a:pt x="270" y="97"/>
                    <a:pt x="268" y="98"/>
                  </a:cubicBezTo>
                  <a:cubicBezTo>
                    <a:pt x="264" y="99"/>
                    <a:pt x="265" y="96"/>
                    <a:pt x="262" y="97"/>
                  </a:cubicBezTo>
                  <a:cubicBezTo>
                    <a:pt x="258" y="97"/>
                    <a:pt x="259" y="101"/>
                    <a:pt x="258" y="102"/>
                  </a:cubicBezTo>
                  <a:cubicBezTo>
                    <a:pt x="257" y="102"/>
                    <a:pt x="256" y="99"/>
                    <a:pt x="256" y="97"/>
                  </a:cubicBezTo>
                  <a:cubicBezTo>
                    <a:pt x="255" y="96"/>
                    <a:pt x="253" y="95"/>
                    <a:pt x="253" y="95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92"/>
                    <a:pt x="255" y="90"/>
                    <a:pt x="256" y="86"/>
                  </a:cubicBezTo>
                  <a:cubicBezTo>
                    <a:pt x="258" y="84"/>
                    <a:pt x="252" y="81"/>
                    <a:pt x="252" y="81"/>
                  </a:cubicBezTo>
                  <a:cubicBezTo>
                    <a:pt x="252" y="81"/>
                    <a:pt x="255" y="79"/>
                    <a:pt x="253" y="74"/>
                  </a:cubicBezTo>
                  <a:cubicBezTo>
                    <a:pt x="251" y="69"/>
                    <a:pt x="245" y="74"/>
                    <a:pt x="245" y="74"/>
                  </a:cubicBezTo>
                  <a:cubicBezTo>
                    <a:pt x="245" y="74"/>
                    <a:pt x="242" y="69"/>
                    <a:pt x="240" y="69"/>
                  </a:cubicBezTo>
                  <a:cubicBezTo>
                    <a:pt x="238" y="69"/>
                    <a:pt x="238" y="75"/>
                    <a:pt x="238" y="77"/>
                  </a:cubicBezTo>
                  <a:cubicBezTo>
                    <a:pt x="238" y="79"/>
                    <a:pt x="236" y="80"/>
                    <a:pt x="236" y="80"/>
                  </a:cubicBezTo>
                  <a:cubicBezTo>
                    <a:pt x="236" y="80"/>
                    <a:pt x="236" y="86"/>
                    <a:pt x="235" y="89"/>
                  </a:cubicBezTo>
                  <a:cubicBezTo>
                    <a:pt x="232" y="90"/>
                    <a:pt x="230" y="90"/>
                    <a:pt x="230" y="90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6" y="89"/>
                    <a:pt x="226" y="89"/>
                    <a:pt x="226" y="89"/>
                  </a:cubicBezTo>
                  <a:cubicBezTo>
                    <a:pt x="226" y="89"/>
                    <a:pt x="224" y="90"/>
                    <a:pt x="223" y="91"/>
                  </a:cubicBezTo>
                  <a:cubicBezTo>
                    <a:pt x="222" y="91"/>
                    <a:pt x="219" y="89"/>
                    <a:pt x="219" y="89"/>
                  </a:cubicBezTo>
                  <a:cubicBezTo>
                    <a:pt x="220" y="84"/>
                    <a:pt x="220" y="84"/>
                    <a:pt x="220" y="84"/>
                  </a:cubicBezTo>
                  <a:cubicBezTo>
                    <a:pt x="220" y="84"/>
                    <a:pt x="217" y="81"/>
                    <a:pt x="214" y="82"/>
                  </a:cubicBezTo>
                  <a:cubicBezTo>
                    <a:pt x="210" y="82"/>
                    <a:pt x="210" y="84"/>
                    <a:pt x="210" y="86"/>
                  </a:cubicBezTo>
                  <a:cubicBezTo>
                    <a:pt x="209" y="87"/>
                    <a:pt x="206" y="87"/>
                    <a:pt x="206" y="87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3"/>
                    <a:pt x="202" y="91"/>
                    <a:pt x="199" y="90"/>
                  </a:cubicBezTo>
                  <a:cubicBezTo>
                    <a:pt x="198" y="89"/>
                    <a:pt x="197" y="90"/>
                    <a:pt x="197" y="90"/>
                  </a:cubicBezTo>
                  <a:cubicBezTo>
                    <a:pt x="196" y="80"/>
                    <a:pt x="196" y="80"/>
                    <a:pt x="196" y="80"/>
                  </a:cubicBezTo>
                  <a:cubicBezTo>
                    <a:pt x="195" y="79"/>
                    <a:pt x="195" y="79"/>
                    <a:pt x="195" y="79"/>
                  </a:cubicBezTo>
                  <a:cubicBezTo>
                    <a:pt x="195" y="76"/>
                    <a:pt x="195" y="76"/>
                    <a:pt x="195" y="76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4" y="71"/>
                    <a:pt x="183" y="78"/>
                  </a:cubicBezTo>
                  <a:cubicBezTo>
                    <a:pt x="181" y="84"/>
                    <a:pt x="183" y="85"/>
                    <a:pt x="183" y="8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1" y="87"/>
                    <a:pt x="181" y="87"/>
                    <a:pt x="181" y="87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93"/>
                    <a:pt x="182" y="93"/>
                    <a:pt x="182" y="93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7" y="98"/>
                    <a:pt x="177" y="98"/>
                    <a:pt x="177" y="98"/>
                  </a:cubicBezTo>
                  <a:cubicBezTo>
                    <a:pt x="177" y="98"/>
                    <a:pt x="177" y="96"/>
                    <a:pt x="178" y="95"/>
                  </a:cubicBezTo>
                  <a:cubicBezTo>
                    <a:pt x="179" y="94"/>
                    <a:pt x="179" y="92"/>
                    <a:pt x="179" y="92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83"/>
                    <a:pt x="175" y="81"/>
                    <a:pt x="175" y="80"/>
                  </a:cubicBezTo>
                  <a:cubicBezTo>
                    <a:pt x="175" y="78"/>
                    <a:pt x="177" y="77"/>
                    <a:pt x="177" y="75"/>
                  </a:cubicBezTo>
                  <a:cubicBezTo>
                    <a:pt x="178" y="74"/>
                    <a:pt x="177" y="71"/>
                    <a:pt x="177" y="71"/>
                  </a:cubicBezTo>
                  <a:cubicBezTo>
                    <a:pt x="178" y="69"/>
                    <a:pt x="178" y="69"/>
                    <a:pt x="178" y="69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5" y="67"/>
                    <a:pt x="175" y="67"/>
                    <a:pt x="175" y="67"/>
                  </a:cubicBezTo>
                  <a:cubicBezTo>
                    <a:pt x="176" y="65"/>
                    <a:pt x="176" y="65"/>
                    <a:pt x="176" y="65"/>
                  </a:cubicBezTo>
                  <a:cubicBezTo>
                    <a:pt x="175" y="64"/>
                    <a:pt x="175" y="64"/>
                    <a:pt x="175" y="64"/>
                  </a:cubicBezTo>
                  <a:cubicBezTo>
                    <a:pt x="172" y="66"/>
                    <a:pt x="172" y="66"/>
                    <a:pt x="172" y="66"/>
                  </a:cubicBezTo>
                  <a:cubicBezTo>
                    <a:pt x="172" y="66"/>
                    <a:pt x="173" y="63"/>
                    <a:pt x="170" y="63"/>
                  </a:cubicBezTo>
                  <a:cubicBezTo>
                    <a:pt x="167" y="62"/>
                    <a:pt x="166" y="66"/>
                    <a:pt x="164" y="66"/>
                  </a:cubicBezTo>
                  <a:cubicBezTo>
                    <a:pt x="162" y="67"/>
                    <a:pt x="161" y="65"/>
                    <a:pt x="159" y="64"/>
                  </a:cubicBezTo>
                  <a:cubicBezTo>
                    <a:pt x="156" y="64"/>
                    <a:pt x="155" y="67"/>
                    <a:pt x="155" y="68"/>
                  </a:cubicBezTo>
                  <a:cubicBezTo>
                    <a:pt x="154" y="69"/>
                    <a:pt x="153" y="68"/>
                    <a:pt x="150" y="70"/>
                  </a:cubicBezTo>
                  <a:cubicBezTo>
                    <a:pt x="149" y="73"/>
                    <a:pt x="151" y="76"/>
                    <a:pt x="150" y="79"/>
                  </a:cubicBezTo>
                  <a:cubicBezTo>
                    <a:pt x="149" y="82"/>
                    <a:pt x="145" y="83"/>
                    <a:pt x="145" y="83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3" y="75"/>
                    <a:pt x="143" y="73"/>
                  </a:cubicBezTo>
                  <a:cubicBezTo>
                    <a:pt x="144" y="71"/>
                    <a:pt x="141" y="69"/>
                    <a:pt x="141" y="69"/>
                  </a:cubicBezTo>
                  <a:cubicBezTo>
                    <a:pt x="141" y="69"/>
                    <a:pt x="141" y="66"/>
                    <a:pt x="142" y="64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2" y="59"/>
                    <a:pt x="143" y="57"/>
                    <a:pt x="143" y="54"/>
                  </a:cubicBezTo>
                  <a:cubicBezTo>
                    <a:pt x="143" y="53"/>
                    <a:pt x="141" y="52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8" y="52"/>
                    <a:pt x="138" y="52"/>
                    <a:pt x="138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0" y="63"/>
                    <a:pt x="128" y="66"/>
                  </a:cubicBezTo>
                  <a:cubicBezTo>
                    <a:pt x="126" y="70"/>
                    <a:pt x="126" y="76"/>
                    <a:pt x="126" y="76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4" y="85"/>
                    <a:pt x="112" y="85"/>
                  </a:cubicBezTo>
                  <a:cubicBezTo>
                    <a:pt x="110" y="84"/>
                    <a:pt x="113" y="79"/>
                    <a:pt x="11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4" y="75"/>
                    <a:pt x="102" y="77"/>
                    <a:pt x="102" y="77"/>
                  </a:cubicBezTo>
                  <a:cubicBezTo>
                    <a:pt x="102" y="77"/>
                    <a:pt x="101" y="78"/>
                    <a:pt x="100" y="80"/>
                  </a:cubicBezTo>
                  <a:cubicBezTo>
                    <a:pt x="99" y="82"/>
                    <a:pt x="98" y="89"/>
                    <a:pt x="98" y="89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6"/>
                    <a:pt x="92" y="89"/>
                    <a:pt x="91" y="90"/>
                  </a:cubicBezTo>
                  <a:cubicBezTo>
                    <a:pt x="90" y="91"/>
                    <a:pt x="90" y="95"/>
                    <a:pt x="90" y="95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97"/>
                    <a:pt x="88" y="92"/>
                    <a:pt x="89" y="89"/>
                  </a:cubicBezTo>
                  <a:cubicBezTo>
                    <a:pt x="89" y="85"/>
                    <a:pt x="93" y="82"/>
                    <a:pt x="93" y="82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2" y="64"/>
                    <a:pt x="91" y="62"/>
                  </a:cubicBezTo>
                  <a:cubicBezTo>
                    <a:pt x="90" y="60"/>
                    <a:pt x="91" y="60"/>
                    <a:pt x="92" y="59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9"/>
                    <a:pt x="94" y="60"/>
                  </a:cubicBezTo>
                  <a:cubicBezTo>
                    <a:pt x="94" y="62"/>
                    <a:pt x="97" y="62"/>
                    <a:pt x="98" y="62"/>
                  </a:cubicBezTo>
                  <a:cubicBezTo>
                    <a:pt x="100" y="62"/>
                    <a:pt x="99" y="59"/>
                    <a:pt x="99" y="59"/>
                  </a:cubicBezTo>
                  <a:cubicBezTo>
                    <a:pt x="99" y="59"/>
                    <a:pt x="101" y="60"/>
                    <a:pt x="107" y="54"/>
                  </a:cubicBezTo>
                  <a:cubicBezTo>
                    <a:pt x="112" y="49"/>
                    <a:pt x="101" y="47"/>
                    <a:pt x="102" y="46"/>
                  </a:cubicBezTo>
                  <a:cubicBezTo>
                    <a:pt x="102" y="44"/>
                    <a:pt x="109" y="46"/>
                    <a:pt x="109" y="46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37"/>
                    <a:pt x="105" y="35"/>
                    <a:pt x="106" y="33"/>
                  </a:cubicBezTo>
                  <a:cubicBezTo>
                    <a:pt x="107" y="30"/>
                    <a:pt x="104" y="30"/>
                    <a:pt x="102" y="28"/>
                  </a:cubicBezTo>
                  <a:cubicBezTo>
                    <a:pt x="101" y="26"/>
                    <a:pt x="104" y="23"/>
                    <a:pt x="104" y="23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9" y="17"/>
                    <a:pt x="100" y="16"/>
                  </a:cubicBezTo>
                  <a:cubicBezTo>
                    <a:pt x="102" y="14"/>
                    <a:pt x="98" y="12"/>
                    <a:pt x="98" y="12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3" y="5"/>
                    <a:pt x="81" y="5"/>
                  </a:cubicBezTo>
                  <a:cubicBezTo>
                    <a:pt x="80" y="6"/>
                    <a:pt x="79" y="3"/>
                    <a:pt x="79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7" y="6"/>
                    <a:pt x="80" y="8"/>
                  </a:cubicBezTo>
                  <a:cubicBezTo>
                    <a:pt x="83" y="11"/>
                    <a:pt x="87" y="8"/>
                    <a:pt x="87" y="8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2" y="19"/>
                    <a:pt x="91" y="18"/>
                  </a:cubicBezTo>
                  <a:cubicBezTo>
                    <a:pt x="89" y="17"/>
                    <a:pt x="87" y="17"/>
                    <a:pt x="85" y="15"/>
                  </a:cubicBezTo>
                  <a:cubicBezTo>
                    <a:pt x="84" y="13"/>
                    <a:pt x="81" y="13"/>
                    <a:pt x="79" y="14"/>
                  </a:cubicBezTo>
                  <a:cubicBezTo>
                    <a:pt x="76" y="16"/>
                    <a:pt x="81" y="22"/>
                    <a:pt x="82" y="23"/>
                  </a:cubicBezTo>
                  <a:cubicBezTo>
                    <a:pt x="83" y="24"/>
                    <a:pt x="87" y="29"/>
                    <a:pt x="87" y="29"/>
                  </a:cubicBezTo>
                  <a:cubicBezTo>
                    <a:pt x="87" y="29"/>
                    <a:pt x="84" y="30"/>
                    <a:pt x="83" y="31"/>
                  </a:cubicBezTo>
                  <a:cubicBezTo>
                    <a:pt x="82" y="32"/>
                    <a:pt x="83" y="34"/>
                    <a:pt x="82" y="37"/>
                  </a:cubicBezTo>
                  <a:cubicBezTo>
                    <a:pt x="82" y="41"/>
                    <a:pt x="78" y="43"/>
                    <a:pt x="78" y="43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80" y="38"/>
                    <a:pt x="80" y="34"/>
                  </a:cubicBezTo>
                  <a:cubicBezTo>
                    <a:pt x="80" y="31"/>
                    <a:pt x="75" y="38"/>
                    <a:pt x="75" y="38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69" y="22"/>
                    <a:pt x="68" y="21"/>
                  </a:cubicBezTo>
                  <a:cubicBezTo>
                    <a:pt x="68" y="20"/>
                    <a:pt x="72" y="19"/>
                    <a:pt x="72" y="19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68" y="10"/>
                    <a:pt x="64" y="10"/>
                  </a:cubicBezTo>
                  <a:cubicBezTo>
                    <a:pt x="60" y="11"/>
                    <a:pt x="65" y="14"/>
                    <a:pt x="65" y="14"/>
                  </a:cubicBezTo>
                  <a:cubicBezTo>
                    <a:pt x="65" y="14"/>
                    <a:pt x="63" y="13"/>
                    <a:pt x="61" y="13"/>
                  </a:cubicBezTo>
                  <a:cubicBezTo>
                    <a:pt x="60" y="13"/>
                    <a:pt x="59" y="13"/>
                    <a:pt x="61" y="16"/>
                  </a:cubicBezTo>
                  <a:cubicBezTo>
                    <a:pt x="62" y="20"/>
                    <a:pt x="63" y="21"/>
                    <a:pt x="62" y="21"/>
                  </a:cubicBezTo>
                  <a:cubicBezTo>
                    <a:pt x="61" y="22"/>
                    <a:pt x="60" y="20"/>
                    <a:pt x="59" y="18"/>
                  </a:cubicBezTo>
                  <a:cubicBezTo>
                    <a:pt x="58" y="15"/>
                    <a:pt x="56" y="13"/>
                    <a:pt x="53" y="14"/>
                  </a:cubicBezTo>
                  <a:cubicBezTo>
                    <a:pt x="50" y="16"/>
                    <a:pt x="53" y="21"/>
                    <a:pt x="53" y="22"/>
                  </a:cubicBezTo>
                  <a:cubicBezTo>
                    <a:pt x="55" y="24"/>
                    <a:pt x="52" y="24"/>
                    <a:pt x="52" y="24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0" y="23"/>
                    <a:pt x="47" y="21"/>
                  </a:cubicBezTo>
                  <a:cubicBezTo>
                    <a:pt x="45" y="20"/>
                    <a:pt x="45" y="29"/>
                    <a:pt x="48" y="32"/>
                  </a:cubicBezTo>
                  <a:cubicBezTo>
                    <a:pt x="51" y="36"/>
                    <a:pt x="58" y="36"/>
                    <a:pt x="58" y="36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5" y="41"/>
                    <a:pt x="46" y="37"/>
                  </a:cubicBezTo>
                  <a:cubicBezTo>
                    <a:pt x="46" y="34"/>
                    <a:pt x="38" y="23"/>
                    <a:pt x="38" y="23"/>
                  </a:cubicBezTo>
                  <a:cubicBezTo>
                    <a:pt x="38" y="23"/>
                    <a:pt x="35" y="26"/>
                    <a:pt x="35" y="29"/>
                  </a:cubicBezTo>
                  <a:cubicBezTo>
                    <a:pt x="35" y="32"/>
                    <a:pt x="38" y="37"/>
                    <a:pt x="38" y="3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41"/>
                    <a:pt x="36" y="43"/>
                    <a:pt x="36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3"/>
                    <a:pt x="32" y="39"/>
                    <a:pt x="32" y="38"/>
                  </a:cubicBezTo>
                  <a:cubicBezTo>
                    <a:pt x="32" y="37"/>
                    <a:pt x="30" y="38"/>
                    <a:pt x="30" y="36"/>
                  </a:cubicBezTo>
                  <a:cubicBezTo>
                    <a:pt x="30" y="34"/>
                    <a:pt x="30" y="31"/>
                    <a:pt x="27" y="30"/>
                  </a:cubicBezTo>
                  <a:cubicBezTo>
                    <a:pt x="24" y="29"/>
                    <a:pt x="23" y="33"/>
                    <a:pt x="22" y="34"/>
                  </a:cubicBezTo>
                  <a:cubicBezTo>
                    <a:pt x="20" y="35"/>
                    <a:pt x="18" y="35"/>
                    <a:pt x="17" y="36"/>
                  </a:cubicBezTo>
                  <a:cubicBezTo>
                    <a:pt x="16" y="37"/>
                    <a:pt x="19" y="37"/>
                    <a:pt x="23" y="38"/>
                  </a:cubicBezTo>
                  <a:cubicBezTo>
                    <a:pt x="25" y="38"/>
                    <a:pt x="25" y="41"/>
                    <a:pt x="26" y="42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6" y="48"/>
                    <a:pt x="30" y="49"/>
                  </a:cubicBezTo>
                  <a:cubicBezTo>
                    <a:pt x="33" y="51"/>
                    <a:pt x="36" y="48"/>
                    <a:pt x="41" y="49"/>
                  </a:cubicBezTo>
                  <a:cubicBezTo>
                    <a:pt x="45" y="50"/>
                    <a:pt x="46" y="52"/>
                    <a:pt x="48" y="52"/>
                  </a:cubicBezTo>
                  <a:cubicBezTo>
                    <a:pt x="49" y="52"/>
                    <a:pt x="51" y="48"/>
                    <a:pt x="51" y="48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6" y="66"/>
                    <a:pt x="77" y="68"/>
                  </a:cubicBezTo>
                  <a:cubicBezTo>
                    <a:pt x="78" y="70"/>
                    <a:pt x="77" y="71"/>
                    <a:pt x="77" y="7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64" y="75"/>
                    <a:pt x="58" y="76"/>
                  </a:cubicBezTo>
                  <a:cubicBezTo>
                    <a:pt x="50" y="76"/>
                    <a:pt x="56" y="79"/>
                    <a:pt x="56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8" y="86"/>
                    <a:pt x="60" y="85"/>
                    <a:pt x="60" y="85"/>
                  </a:cubicBezTo>
                  <a:cubicBezTo>
                    <a:pt x="60" y="85"/>
                    <a:pt x="61" y="90"/>
                    <a:pt x="62" y="90"/>
                  </a:cubicBezTo>
                  <a:cubicBezTo>
                    <a:pt x="64" y="90"/>
                    <a:pt x="69" y="87"/>
                    <a:pt x="69" y="87"/>
                  </a:cubicBezTo>
                  <a:cubicBezTo>
                    <a:pt x="69" y="87"/>
                    <a:pt x="72" y="86"/>
                    <a:pt x="73" y="89"/>
                  </a:cubicBezTo>
                  <a:cubicBezTo>
                    <a:pt x="74" y="92"/>
                    <a:pt x="66" y="93"/>
                    <a:pt x="66" y="93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0" y="96"/>
                    <a:pt x="59" y="92"/>
                    <a:pt x="59" y="92"/>
                  </a:cubicBezTo>
                  <a:cubicBezTo>
                    <a:pt x="59" y="92"/>
                    <a:pt x="58" y="91"/>
                    <a:pt x="57" y="92"/>
                  </a:cubicBezTo>
                  <a:cubicBezTo>
                    <a:pt x="55" y="92"/>
                    <a:pt x="55" y="89"/>
                    <a:pt x="51" y="86"/>
                  </a:cubicBezTo>
                  <a:cubicBezTo>
                    <a:pt x="48" y="84"/>
                    <a:pt x="45" y="87"/>
                    <a:pt x="45" y="87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0" y="85"/>
                    <a:pt x="38" y="85"/>
                  </a:cubicBezTo>
                  <a:cubicBezTo>
                    <a:pt x="36" y="85"/>
                    <a:pt x="36" y="84"/>
                    <a:pt x="35" y="82"/>
                  </a:cubicBezTo>
                  <a:cubicBezTo>
                    <a:pt x="34" y="81"/>
                    <a:pt x="33" y="83"/>
                    <a:pt x="31" y="85"/>
                  </a:cubicBezTo>
                  <a:cubicBezTo>
                    <a:pt x="29" y="87"/>
                    <a:pt x="30" y="83"/>
                    <a:pt x="31" y="83"/>
                  </a:cubicBezTo>
                  <a:cubicBezTo>
                    <a:pt x="32" y="82"/>
                    <a:pt x="32" y="80"/>
                    <a:pt x="30" y="80"/>
                  </a:cubicBezTo>
                  <a:cubicBezTo>
                    <a:pt x="28" y="79"/>
                    <a:pt x="28" y="83"/>
                    <a:pt x="26" y="83"/>
                  </a:cubicBezTo>
                  <a:cubicBezTo>
                    <a:pt x="24" y="83"/>
                    <a:pt x="25" y="81"/>
                    <a:pt x="25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16" y="81"/>
                    <a:pt x="14" y="81"/>
                  </a:cubicBezTo>
                  <a:cubicBezTo>
                    <a:pt x="12" y="80"/>
                    <a:pt x="13" y="76"/>
                    <a:pt x="9" y="76"/>
                  </a:cubicBezTo>
                  <a:cubicBezTo>
                    <a:pt x="4" y="76"/>
                    <a:pt x="3" y="81"/>
                    <a:pt x="4" y="84"/>
                  </a:cubicBezTo>
                  <a:cubicBezTo>
                    <a:pt x="4" y="89"/>
                    <a:pt x="8" y="90"/>
                    <a:pt x="10" y="90"/>
                  </a:cubicBezTo>
                  <a:cubicBezTo>
                    <a:pt x="12" y="90"/>
                    <a:pt x="11" y="87"/>
                    <a:pt x="13" y="86"/>
                  </a:cubicBezTo>
                  <a:cubicBezTo>
                    <a:pt x="15" y="86"/>
                    <a:pt x="16" y="89"/>
                    <a:pt x="17" y="90"/>
                  </a:cubicBezTo>
                  <a:cubicBezTo>
                    <a:pt x="18" y="90"/>
                    <a:pt x="19" y="89"/>
                    <a:pt x="19" y="89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3" y="98"/>
                    <a:pt x="33" y="97"/>
                    <a:pt x="34" y="97"/>
                  </a:cubicBezTo>
                  <a:cubicBezTo>
                    <a:pt x="36" y="98"/>
                    <a:pt x="35" y="99"/>
                    <a:pt x="36" y="100"/>
                  </a:cubicBezTo>
                  <a:cubicBezTo>
                    <a:pt x="38" y="101"/>
                    <a:pt x="40" y="99"/>
                    <a:pt x="41" y="100"/>
                  </a:cubicBezTo>
                  <a:cubicBezTo>
                    <a:pt x="43" y="102"/>
                    <a:pt x="41" y="103"/>
                    <a:pt x="41" y="103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36" y="122"/>
                    <a:pt x="36" y="124"/>
                    <a:pt x="39" y="124"/>
                  </a:cubicBezTo>
                  <a:cubicBezTo>
                    <a:pt x="40" y="124"/>
                    <a:pt x="42" y="122"/>
                    <a:pt x="42" y="122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8" y="125"/>
                    <a:pt x="48" y="125"/>
                    <a:pt x="48" y="125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2" y="125"/>
                    <a:pt x="38" y="128"/>
                    <a:pt x="38" y="128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3" y="134"/>
                    <a:pt x="33" y="134"/>
                    <a:pt x="33" y="134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3" y="136"/>
                    <a:pt x="45" y="133"/>
                    <a:pt x="49" y="136"/>
                  </a:cubicBezTo>
                  <a:cubicBezTo>
                    <a:pt x="52" y="137"/>
                    <a:pt x="50" y="140"/>
                    <a:pt x="50" y="140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7" y="137"/>
                    <a:pt x="44" y="138"/>
                    <a:pt x="41" y="138"/>
                  </a:cubicBezTo>
                  <a:cubicBezTo>
                    <a:pt x="38" y="138"/>
                    <a:pt x="36" y="138"/>
                    <a:pt x="36" y="141"/>
                  </a:cubicBezTo>
                  <a:cubicBezTo>
                    <a:pt x="35" y="143"/>
                    <a:pt x="38" y="147"/>
                    <a:pt x="38" y="147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27" y="146"/>
                    <a:pt x="27" y="146"/>
                    <a:pt x="27" y="146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0"/>
                    <a:pt x="22" y="149"/>
                    <a:pt x="19" y="149"/>
                  </a:cubicBezTo>
                  <a:cubicBezTo>
                    <a:pt x="17" y="148"/>
                    <a:pt x="15" y="149"/>
                    <a:pt x="14" y="149"/>
                  </a:cubicBezTo>
                  <a:cubicBezTo>
                    <a:pt x="12" y="149"/>
                    <a:pt x="10" y="147"/>
                    <a:pt x="10" y="147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9" y="140"/>
                    <a:pt x="9" y="140"/>
                    <a:pt x="9" y="140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2" y="159"/>
                    <a:pt x="13" y="160"/>
                  </a:cubicBezTo>
                  <a:cubicBezTo>
                    <a:pt x="14" y="161"/>
                    <a:pt x="19" y="163"/>
                    <a:pt x="19" y="163"/>
                  </a:cubicBezTo>
                  <a:cubicBezTo>
                    <a:pt x="19" y="163"/>
                    <a:pt x="24" y="163"/>
                    <a:pt x="26" y="164"/>
                  </a:cubicBezTo>
                  <a:cubicBezTo>
                    <a:pt x="28" y="165"/>
                    <a:pt x="28" y="168"/>
                    <a:pt x="28" y="168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42" y="165"/>
                    <a:pt x="44" y="166"/>
                  </a:cubicBezTo>
                  <a:cubicBezTo>
                    <a:pt x="46" y="168"/>
                    <a:pt x="41" y="169"/>
                    <a:pt x="41" y="169"/>
                  </a:cubicBezTo>
                  <a:cubicBezTo>
                    <a:pt x="41" y="169"/>
                    <a:pt x="42" y="170"/>
                    <a:pt x="43" y="172"/>
                  </a:cubicBezTo>
                  <a:cubicBezTo>
                    <a:pt x="43" y="174"/>
                    <a:pt x="43" y="175"/>
                    <a:pt x="45" y="177"/>
                  </a:cubicBezTo>
                  <a:cubicBezTo>
                    <a:pt x="47" y="178"/>
                    <a:pt x="47" y="181"/>
                    <a:pt x="47" y="181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1" y="183"/>
                    <a:pt x="50" y="183"/>
                  </a:cubicBezTo>
                  <a:cubicBezTo>
                    <a:pt x="49" y="184"/>
                    <a:pt x="49" y="184"/>
                    <a:pt x="49" y="184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1" y="189"/>
                    <a:pt x="51" y="189"/>
                    <a:pt x="51" y="189"/>
                  </a:cubicBezTo>
                  <a:cubicBezTo>
                    <a:pt x="51" y="194"/>
                    <a:pt x="51" y="194"/>
                    <a:pt x="51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53" y="196"/>
                    <a:pt x="53" y="196"/>
                    <a:pt x="53" y="196"/>
                  </a:cubicBezTo>
                  <a:cubicBezTo>
                    <a:pt x="53" y="196"/>
                    <a:pt x="55" y="202"/>
                    <a:pt x="56" y="204"/>
                  </a:cubicBezTo>
                  <a:cubicBezTo>
                    <a:pt x="58" y="206"/>
                    <a:pt x="60" y="205"/>
                    <a:pt x="61" y="205"/>
                  </a:cubicBezTo>
                  <a:cubicBezTo>
                    <a:pt x="62" y="205"/>
                    <a:pt x="64" y="208"/>
                    <a:pt x="65" y="208"/>
                  </a:cubicBezTo>
                  <a:cubicBezTo>
                    <a:pt x="66" y="209"/>
                    <a:pt x="67" y="208"/>
                    <a:pt x="67" y="208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7" y="211"/>
                    <a:pt x="72" y="216"/>
                    <a:pt x="74" y="218"/>
                  </a:cubicBezTo>
                  <a:cubicBezTo>
                    <a:pt x="76" y="220"/>
                    <a:pt x="79" y="224"/>
                    <a:pt x="79" y="224"/>
                  </a:cubicBezTo>
                  <a:cubicBezTo>
                    <a:pt x="79" y="224"/>
                    <a:pt x="83" y="224"/>
                    <a:pt x="85" y="226"/>
                  </a:cubicBezTo>
                  <a:cubicBezTo>
                    <a:pt x="89" y="229"/>
                    <a:pt x="91" y="229"/>
                    <a:pt x="91" y="229"/>
                  </a:cubicBezTo>
                  <a:cubicBezTo>
                    <a:pt x="91" y="229"/>
                    <a:pt x="99" y="232"/>
                    <a:pt x="106" y="233"/>
                  </a:cubicBezTo>
                  <a:cubicBezTo>
                    <a:pt x="112" y="235"/>
                    <a:pt x="118" y="227"/>
                    <a:pt x="118" y="227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0" y="224"/>
                    <a:pt x="120" y="224"/>
                    <a:pt x="120" y="224"/>
                  </a:cubicBezTo>
                  <a:cubicBezTo>
                    <a:pt x="120" y="224"/>
                    <a:pt x="120" y="221"/>
                    <a:pt x="123" y="221"/>
                  </a:cubicBezTo>
                  <a:cubicBezTo>
                    <a:pt x="127" y="221"/>
                    <a:pt x="126" y="224"/>
                    <a:pt x="126" y="224"/>
                  </a:cubicBezTo>
                  <a:cubicBezTo>
                    <a:pt x="133" y="223"/>
                    <a:pt x="133" y="223"/>
                    <a:pt x="133" y="223"/>
                  </a:cubicBezTo>
                  <a:cubicBezTo>
                    <a:pt x="133" y="225"/>
                    <a:pt x="133" y="225"/>
                    <a:pt x="133" y="225"/>
                  </a:cubicBezTo>
                  <a:cubicBezTo>
                    <a:pt x="142" y="225"/>
                    <a:pt x="142" y="225"/>
                    <a:pt x="142" y="225"/>
                  </a:cubicBezTo>
                  <a:cubicBezTo>
                    <a:pt x="144" y="225"/>
                    <a:pt x="148" y="228"/>
                    <a:pt x="148" y="228"/>
                  </a:cubicBezTo>
                  <a:cubicBezTo>
                    <a:pt x="153" y="224"/>
                    <a:pt x="153" y="224"/>
                    <a:pt x="153" y="224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61" y="226"/>
                    <a:pt x="161" y="226"/>
                    <a:pt x="161" y="22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9"/>
                    <a:pt x="172" y="222"/>
                    <a:pt x="177" y="220"/>
                  </a:cubicBezTo>
                  <a:cubicBezTo>
                    <a:pt x="181" y="219"/>
                    <a:pt x="193" y="218"/>
                    <a:pt x="193" y="218"/>
                  </a:cubicBezTo>
                  <a:cubicBezTo>
                    <a:pt x="192" y="216"/>
                    <a:pt x="192" y="216"/>
                    <a:pt x="192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195" y="217"/>
                    <a:pt x="195" y="217"/>
                    <a:pt x="195" y="217"/>
                  </a:cubicBezTo>
                  <a:cubicBezTo>
                    <a:pt x="200" y="217"/>
                    <a:pt x="200" y="217"/>
                    <a:pt x="200" y="217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7" y="219"/>
                    <a:pt x="207" y="219"/>
                    <a:pt x="207" y="219"/>
                  </a:cubicBezTo>
                  <a:cubicBezTo>
                    <a:pt x="203" y="216"/>
                    <a:pt x="203" y="216"/>
                    <a:pt x="203" y="216"/>
                  </a:cubicBezTo>
                  <a:cubicBezTo>
                    <a:pt x="206" y="211"/>
                    <a:pt x="206" y="211"/>
                    <a:pt x="206" y="211"/>
                  </a:cubicBezTo>
                  <a:cubicBezTo>
                    <a:pt x="206" y="211"/>
                    <a:pt x="207" y="215"/>
                    <a:pt x="209" y="216"/>
                  </a:cubicBezTo>
                  <a:cubicBezTo>
                    <a:pt x="210" y="217"/>
                    <a:pt x="208" y="218"/>
                    <a:pt x="208" y="218"/>
                  </a:cubicBezTo>
                  <a:cubicBezTo>
                    <a:pt x="208" y="218"/>
                    <a:pt x="210" y="217"/>
                    <a:pt x="212" y="218"/>
                  </a:cubicBezTo>
                  <a:cubicBezTo>
                    <a:pt x="213" y="219"/>
                    <a:pt x="212" y="222"/>
                    <a:pt x="212" y="222"/>
                  </a:cubicBezTo>
                  <a:cubicBezTo>
                    <a:pt x="214" y="222"/>
                    <a:pt x="214" y="222"/>
                    <a:pt x="214" y="222"/>
                  </a:cubicBezTo>
                  <a:cubicBezTo>
                    <a:pt x="216" y="221"/>
                    <a:pt x="216" y="219"/>
                    <a:pt x="216" y="219"/>
                  </a:cubicBezTo>
                  <a:cubicBezTo>
                    <a:pt x="216" y="219"/>
                    <a:pt x="221" y="218"/>
                    <a:pt x="223" y="217"/>
                  </a:cubicBezTo>
                  <a:cubicBezTo>
                    <a:pt x="225" y="216"/>
                    <a:pt x="226" y="212"/>
                    <a:pt x="228" y="213"/>
                  </a:cubicBezTo>
                  <a:cubicBezTo>
                    <a:pt x="229" y="213"/>
                    <a:pt x="227" y="216"/>
                    <a:pt x="227" y="216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40" y="207"/>
                    <a:pt x="240" y="207"/>
                    <a:pt x="240" y="207"/>
                  </a:cubicBezTo>
                  <a:cubicBezTo>
                    <a:pt x="236" y="208"/>
                    <a:pt x="236" y="208"/>
                    <a:pt x="236" y="208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3" y="206"/>
                    <a:pt x="243" y="206"/>
                    <a:pt x="243" y="206"/>
                  </a:cubicBezTo>
                  <a:cubicBezTo>
                    <a:pt x="245" y="204"/>
                    <a:pt x="245" y="204"/>
                    <a:pt x="245" y="204"/>
                  </a:cubicBezTo>
                  <a:cubicBezTo>
                    <a:pt x="243" y="201"/>
                    <a:pt x="243" y="201"/>
                    <a:pt x="243" y="201"/>
                  </a:cubicBezTo>
                  <a:cubicBezTo>
                    <a:pt x="243" y="201"/>
                    <a:pt x="242" y="193"/>
                    <a:pt x="243" y="194"/>
                  </a:cubicBezTo>
                  <a:cubicBezTo>
                    <a:pt x="244" y="194"/>
                    <a:pt x="244" y="199"/>
                    <a:pt x="245" y="201"/>
                  </a:cubicBezTo>
                  <a:cubicBezTo>
                    <a:pt x="245" y="204"/>
                    <a:pt x="254" y="202"/>
                    <a:pt x="254" y="202"/>
                  </a:cubicBezTo>
                  <a:cubicBezTo>
                    <a:pt x="254" y="200"/>
                    <a:pt x="254" y="200"/>
                    <a:pt x="254" y="200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258" y="195"/>
                    <a:pt x="258" y="195"/>
                    <a:pt x="258" y="195"/>
                  </a:cubicBezTo>
                  <a:cubicBezTo>
                    <a:pt x="262" y="197"/>
                    <a:pt x="262" y="197"/>
                    <a:pt x="262" y="197"/>
                  </a:cubicBezTo>
                  <a:cubicBezTo>
                    <a:pt x="264" y="195"/>
                    <a:pt x="264" y="195"/>
                    <a:pt x="264" y="195"/>
                  </a:cubicBezTo>
                  <a:cubicBezTo>
                    <a:pt x="258" y="190"/>
                    <a:pt x="258" y="190"/>
                    <a:pt x="258" y="190"/>
                  </a:cubicBezTo>
                  <a:cubicBezTo>
                    <a:pt x="259" y="189"/>
                    <a:pt x="261" y="191"/>
                    <a:pt x="262" y="192"/>
                  </a:cubicBezTo>
                  <a:cubicBezTo>
                    <a:pt x="263" y="193"/>
                    <a:pt x="268" y="193"/>
                    <a:pt x="268" y="193"/>
                  </a:cubicBezTo>
                  <a:cubicBezTo>
                    <a:pt x="268" y="191"/>
                    <a:pt x="268" y="191"/>
                    <a:pt x="268" y="191"/>
                  </a:cubicBezTo>
                  <a:cubicBezTo>
                    <a:pt x="268" y="191"/>
                    <a:pt x="265" y="191"/>
                    <a:pt x="264" y="190"/>
                  </a:cubicBezTo>
                  <a:cubicBezTo>
                    <a:pt x="263" y="190"/>
                    <a:pt x="264" y="189"/>
                    <a:pt x="263" y="187"/>
                  </a:cubicBezTo>
                  <a:cubicBezTo>
                    <a:pt x="263" y="186"/>
                    <a:pt x="257" y="181"/>
                    <a:pt x="257" y="181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63" y="183"/>
                    <a:pt x="263" y="183"/>
                    <a:pt x="263" y="183"/>
                  </a:cubicBezTo>
                  <a:cubicBezTo>
                    <a:pt x="263" y="183"/>
                    <a:pt x="265" y="189"/>
                    <a:pt x="269" y="190"/>
                  </a:cubicBezTo>
                  <a:cubicBezTo>
                    <a:pt x="273" y="191"/>
                    <a:pt x="273" y="187"/>
                    <a:pt x="273" y="187"/>
                  </a:cubicBezTo>
                  <a:cubicBezTo>
                    <a:pt x="276" y="187"/>
                    <a:pt x="276" y="187"/>
                    <a:pt x="276" y="187"/>
                  </a:cubicBezTo>
                  <a:cubicBezTo>
                    <a:pt x="276" y="184"/>
                    <a:pt x="276" y="184"/>
                    <a:pt x="276" y="184"/>
                  </a:cubicBezTo>
                  <a:cubicBezTo>
                    <a:pt x="278" y="181"/>
                    <a:pt x="278" y="181"/>
                    <a:pt x="278" y="181"/>
                  </a:cubicBezTo>
                  <a:cubicBezTo>
                    <a:pt x="277" y="180"/>
                    <a:pt x="277" y="180"/>
                    <a:pt x="277" y="180"/>
                  </a:cubicBezTo>
                  <a:cubicBezTo>
                    <a:pt x="273" y="184"/>
                    <a:pt x="273" y="184"/>
                    <a:pt x="273" y="184"/>
                  </a:cubicBezTo>
                  <a:cubicBezTo>
                    <a:pt x="272" y="183"/>
                    <a:pt x="272" y="183"/>
                    <a:pt x="272" y="183"/>
                  </a:cubicBezTo>
                  <a:cubicBezTo>
                    <a:pt x="273" y="181"/>
                    <a:pt x="273" y="181"/>
                    <a:pt x="273" y="181"/>
                  </a:cubicBezTo>
                  <a:cubicBezTo>
                    <a:pt x="272" y="180"/>
                    <a:pt x="272" y="180"/>
                    <a:pt x="272" y="180"/>
                  </a:cubicBezTo>
                  <a:cubicBezTo>
                    <a:pt x="276" y="178"/>
                    <a:pt x="276" y="178"/>
                    <a:pt x="276" y="178"/>
                  </a:cubicBezTo>
                  <a:cubicBezTo>
                    <a:pt x="276" y="177"/>
                    <a:pt x="276" y="177"/>
                    <a:pt x="276" y="177"/>
                  </a:cubicBezTo>
                  <a:cubicBezTo>
                    <a:pt x="271" y="177"/>
                    <a:pt x="271" y="177"/>
                    <a:pt x="271" y="177"/>
                  </a:cubicBezTo>
                  <a:cubicBezTo>
                    <a:pt x="269" y="174"/>
                    <a:pt x="269" y="174"/>
                    <a:pt x="269" y="174"/>
                  </a:cubicBezTo>
                  <a:cubicBezTo>
                    <a:pt x="274" y="175"/>
                    <a:pt x="274" y="175"/>
                    <a:pt x="274" y="175"/>
                  </a:cubicBezTo>
                  <a:cubicBezTo>
                    <a:pt x="274" y="175"/>
                    <a:pt x="278" y="176"/>
                    <a:pt x="278" y="173"/>
                  </a:cubicBezTo>
                  <a:cubicBezTo>
                    <a:pt x="279" y="170"/>
                    <a:pt x="269" y="170"/>
                    <a:pt x="269" y="170"/>
                  </a:cubicBezTo>
                  <a:cubicBezTo>
                    <a:pt x="268" y="169"/>
                    <a:pt x="268" y="169"/>
                    <a:pt x="268" y="169"/>
                  </a:cubicBezTo>
                  <a:cubicBezTo>
                    <a:pt x="274" y="169"/>
                    <a:pt x="274" y="169"/>
                    <a:pt x="274" y="169"/>
                  </a:cubicBezTo>
                  <a:cubicBezTo>
                    <a:pt x="276" y="169"/>
                    <a:pt x="275" y="165"/>
                    <a:pt x="275" y="165"/>
                  </a:cubicBezTo>
                  <a:cubicBezTo>
                    <a:pt x="275" y="165"/>
                    <a:pt x="277" y="166"/>
                    <a:pt x="279" y="166"/>
                  </a:cubicBezTo>
                  <a:cubicBezTo>
                    <a:pt x="281" y="166"/>
                    <a:pt x="281" y="162"/>
                    <a:pt x="281" y="162"/>
                  </a:cubicBezTo>
                  <a:cubicBezTo>
                    <a:pt x="284" y="160"/>
                    <a:pt x="284" y="160"/>
                    <a:pt x="284" y="160"/>
                  </a:cubicBezTo>
                  <a:cubicBezTo>
                    <a:pt x="285" y="160"/>
                    <a:pt x="284" y="155"/>
                    <a:pt x="284" y="155"/>
                  </a:cubicBezTo>
                  <a:close/>
                  <a:moveTo>
                    <a:pt x="61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1" y="51"/>
                  </a:lnTo>
                  <a:close/>
                  <a:moveTo>
                    <a:pt x="48" y="210"/>
                  </a:moveTo>
                  <a:cubicBezTo>
                    <a:pt x="52" y="208"/>
                    <a:pt x="52" y="208"/>
                    <a:pt x="52" y="208"/>
                  </a:cubicBezTo>
                  <a:cubicBezTo>
                    <a:pt x="50" y="205"/>
                    <a:pt x="50" y="205"/>
                    <a:pt x="50" y="205"/>
                  </a:cubicBezTo>
                  <a:lnTo>
                    <a:pt x="48" y="210"/>
                  </a:lnTo>
                  <a:close/>
                  <a:moveTo>
                    <a:pt x="122" y="222"/>
                  </a:moveTo>
                  <a:cubicBezTo>
                    <a:pt x="122" y="222"/>
                    <a:pt x="121" y="225"/>
                    <a:pt x="124" y="224"/>
                  </a:cubicBezTo>
                  <a:cubicBezTo>
                    <a:pt x="126" y="224"/>
                    <a:pt x="125" y="221"/>
                    <a:pt x="122" y="22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Färöer" descr="© INSCALE GmbH, 05.05.2010&#10;http://www.presentationload.com/">
              <a:extLst>
                <a:ext uri="{FF2B5EF4-FFF2-40B4-BE49-F238E27FC236}">
                  <a16:creationId xmlns:a16="http://schemas.microsoft.com/office/drawing/2014/main" id="{C77D21BE-99F6-E342-B64C-CD873B8C1C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13677" y="2531052"/>
              <a:ext cx="123768" cy="146871"/>
            </a:xfrm>
            <a:custGeom>
              <a:avLst/>
              <a:gdLst/>
              <a:ahLst/>
              <a:cxnLst>
                <a:cxn ang="0">
                  <a:pos x="7" y="13"/>
                </a:cxn>
                <a:cxn ang="0">
                  <a:pos x="0" y="11"/>
                </a:cxn>
                <a:cxn ang="0">
                  <a:pos x="32" y="30"/>
                </a:cxn>
                <a:cxn ang="0">
                  <a:pos x="29" y="30"/>
                </a:cxn>
                <a:cxn ang="0">
                  <a:pos x="21" y="22"/>
                </a:cxn>
                <a:cxn ang="0">
                  <a:pos x="21" y="26"/>
                </a:cxn>
                <a:cxn ang="0">
                  <a:pos x="19" y="40"/>
                </a:cxn>
                <a:cxn ang="0">
                  <a:pos x="21" y="37"/>
                </a:cxn>
                <a:cxn ang="0">
                  <a:pos x="20" y="30"/>
                </a:cxn>
                <a:cxn ang="0">
                  <a:pos x="23" y="34"/>
                </a:cxn>
                <a:cxn ang="0">
                  <a:pos x="28" y="36"/>
                </a:cxn>
                <a:cxn ang="0">
                  <a:pos x="20" y="30"/>
                </a:cxn>
                <a:cxn ang="0">
                  <a:pos x="19" y="16"/>
                </a:cxn>
                <a:cxn ang="0">
                  <a:pos x="14" y="13"/>
                </a:cxn>
                <a:cxn ang="0">
                  <a:pos x="10" y="11"/>
                </a:cxn>
                <a:cxn ang="0">
                  <a:pos x="11" y="17"/>
                </a:cxn>
                <a:cxn ang="0">
                  <a:pos x="27" y="21"/>
                </a:cxn>
                <a:cxn ang="0">
                  <a:pos x="23" y="11"/>
                </a:cxn>
                <a:cxn ang="0">
                  <a:pos x="19" y="6"/>
                </a:cxn>
                <a:cxn ang="0">
                  <a:pos x="22" y="16"/>
                </a:cxn>
                <a:cxn ang="0">
                  <a:pos x="27" y="30"/>
                </a:cxn>
                <a:cxn ang="0">
                  <a:pos x="27" y="21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4" y="14"/>
                </a:cxn>
                <a:cxn ang="0">
                  <a:pos x="32" y="9"/>
                </a:cxn>
                <a:cxn ang="0">
                  <a:pos x="28" y="6"/>
                </a:cxn>
                <a:cxn ang="0">
                  <a:pos x="29" y="2"/>
                </a:cxn>
                <a:cxn ang="0">
                  <a:pos x="24" y="10"/>
                </a:cxn>
                <a:cxn ang="0">
                  <a:pos x="31" y="14"/>
                </a:cxn>
                <a:cxn ang="0">
                  <a:pos x="30" y="20"/>
                </a:cxn>
                <a:cxn ang="0">
                  <a:pos x="35" y="18"/>
                </a:cxn>
                <a:cxn ang="0">
                  <a:pos x="31" y="14"/>
                </a:cxn>
                <a:cxn ang="0">
                  <a:pos x="38" y="10"/>
                </a:cxn>
                <a:cxn ang="0">
                  <a:pos x="37" y="14"/>
                </a:cxn>
                <a:cxn ang="0">
                  <a:pos x="42" y="13"/>
                </a:cxn>
                <a:cxn ang="0">
                  <a:pos x="38" y="5"/>
                </a:cxn>
                <a:cxn ang="0">
                  <a:pos x="44" y="9"/>
                </a:cxn>
                <a:cxn ang="0">
                  <a:pos x="42" y="1"/>
                </a:cxn>
                <a:cxn ang="0">
                  <a:pos x="38" y="1"/>
                </a:cxn>
                <a:cxn ang="0">
                  <a:pos x="36" y="8"/>
                </a:cxn>
                <a:cxn ang="0">
                  <a:pos x="38" y="1"/>
                </a:cxn>
                <a:cxn ang="0">
                  <a:pos x="32" y="2"/>
                </a:cxn>
                <a:cxn ang="0">
                  <a:pos x="34" y="2"/>
                </a:cxn>
                <a:cxn ang="0">
                  <a:pos x="45" y="14"/>
                </a:cxn>
                <a:cxn ang="0">
                  <a:pos x="47" y="11"/>
                </a:cxn>
                <a:cxn ang="0">
                  <a:pos x="48" y="9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16" y="49"/>
                </a:cxn>
                <a:cxn ang="0">
                  <a:pos x="14" y="45"/>
                </a:cxn>
                <a:cxn ang="0">
                  <a:pos x="13" y="55"/>
                </a:cxn>
                <a:cxn ang="0">
                  <a:pos x="18" y="62"/>
                </a:cxn>
                <a:cxn ang="0">
                  <a:pos x="17" y="57"/>
                </a:cxn>
                <a:cxn ang="0">
                  <a:pos x="19" y="53"/>
                </a:cxn>
              </a:cxnLst>
              <a:rect l="0" t="0" r="r" b="b"/>
              <a:pathLst>
                <a:path w="51" h="62">
                  <a:moveTo>
                    <a:pt x="0" y="11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1"/>
                  </a:lnTo>
                  <a:close/>
                  <a:moveTo>
                    <a:pt x="29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30"/>
                  </a:lnTo>
                  <a:close/>
                  <a:moveTo>
                    <a:pt x="22" y="27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2" y="27"/>
                  </a:lnTo>
                  <a:close/>
                  <a:moveTo>
                    <a:pt x="19" y="40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7"/>
                    <a:pt x="21" y="37"/>
                    <a:pt x="21" y="37"/>
                  </a:cubicBezTo>
                  <a:lnTo>
                    <a:pt x="19" y="40"/>
                  </a:lnTo>
                  <a:close/>
                  <a:moveTo>
                    <a:pt x="20" y="30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7" y="34"/>
                    <a:pt x="24" y="32"/>
                  </a:cubicBezTo>
                  <a:cubicBezTo>
                    <a:pt x="23" y="31"/>
                    <a:pt x="20" y="30"/>
                    <a:pt x="20" y="30"/>
                  </a:cubicBezTo>
                  <a:close/>
                  <a:moveTo>
                    <a:pt x="15" y="20"/>
                  </a:moveTo>
                  <a:cubicBezTo>
                    <a:pt x="18" y="19"/>
                    <a:pt x="19" y="16"/>
                    <a:pt x="19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2" y="13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2" y="20"/>
                    <a:pt x="15" y="20"/>
                  </a:cubicBezTo>
                  <a:close/>
                  <a:moveTo>
                    <a:pt x="27" y="21"/>
                  </a:moveTo>
                  <a:cubicBezTo>
                    <a:pt x="27" y="21"/>
                    <a:pt x="28" y="19"/>
                    <a:pt x="27" y="18"/>
                  </a:cubicBezTo>
                  <a:cubicBezTo>
                    <a:pt x="26" y="17"/>
                    <a:pt x="23" y="11"/>
                    <a:pt x="23" y="11"/>
                  </a:cubicBezTo>
                  <a:cubicBezTo>
                    <a:pt x="23" y="11"/>
                    <a:pt x="23" y="3"/>
                    <a:pt x="21" y="3"/>
                  </a:cubicBezTo>
                  <a:cubicBezTo>
                    <a:pt x="20" y="3"/>
                    <a:pt x="19" y="6"/>
                    <a:pt x="19" y="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4"/>
                    <a:pt x="22" y="13"/>
                    <a:pt x="22" y="16"/>
                  </a:cubicBezTo>
                  <a:cubicBezTo>
                    <a:pt x="22" y="19"/>
                    <a:pt x="23" y="25"/>
                    <a:pt x="24" y="26"/>
                  </a:cubicBezTo>
                  <a:cubicBezTo>
                    <a:pt x="26" y="26"/>
                    <a:pt x="27" y="30"/>
                    <a:pt x="27" y="30"/>
                  </a:cubicBezTo>
                  <a:cubicBezTo>
                    <a:pt x="27" y="30"/>
                    <a:pt x="29" y="26"/>
                    <a:pt x="29" y="24"/>
                  </a:cubicBezTo>
                  <a:cubicBezTo>
                    <a:pt x="28" y="22"/>
                    <a:pt x="27" y="21"/>
                    <a:pt x="27" y="21"/>
                  </a:cubicBezTo>
                  <a:close/>
                  <a:moveTo>
                    <a:pt x="28" y="13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28" y="13"/>
                  </a:lnTo>
                  <a:close/>
                  <a:moveTo>
                    <a:pt x="31" y="14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1" y="14"/>
                  </a:lnTo>
                  <a:close/>
                  <a:moveTo>
                    <a:pt x="38" y="5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9" y="5"/>
                    <a:pt x="39" y="5"/>
                    <a:pt x="39" y="5"/>
                  </a:cubicBezTo>
                  <a:lnTo>
                    <a:pt x="38" y="5"/>
                  </a:lnTo>
                  <a:close/>
                  <a:moveTo>
                    <a:pt x="43" y="8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1"/>
                    <a:pt x="42" y="1"/>
                    <a:pt x="42" y="1"/>
                  </a:cubicBezTo>
                  <a:lnTo>
                    <a:pt x="43" y="8"/>
                  </a:lnTo>
                  <a:close/>
                  <a:moveTo>
                    <a:pt x="38" y="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8" y="1"/>
                  </a:lnTo>
                  <a:close/>
                  <a:moveTo>
                    <a:pt x="34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4" y="9"/>
                    <a:pt x="34" y="9"/>
                    <a:pt x="34" y="9"/>
                  </a:cubicBezTo>
                  <a:lnTo>
                    <a:pt x="34" y="2"/>
                  </a:lnTo>
                  <a:close/>
                  <a:moveTo>
                    <a:pt x="45" y="11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45" y="11"/>
                  </a:lnTo>
                  <a:close/>
                  <a:moveTo>
                    <a:pt x="48" y="5"/>
                  </a:moveTo>
                  <a:cubicBezTo>
                    <a:pt x="45" y="6"/>
                    <a:pt x="48" y="7"/>
                    <a:pt x="48" y="7"/>
                  </a:cubicBezTo>
                  <a:cubicBezTo>
                    <a:pt x="50" y="7"/>
                    <a:pt x="51" y="4"/>
                    <a:pt x="48" y="5"/>
                  </a:cubicBezTo>
                  <a:close/>
                  <a:moveTo>
                    <a:pt x="20" y="51"/>
                  </a:moveTo>
                  <a:cubicBezTo>
                    <a:pt x="18" y="50"/>
                    <a:pt x="16" y="50"/>
                    <a:pt x="16" y="49"/>
                  </a:cubicBezTo>
                  <a:cubicBezTo>
                    <a:pt x="16" y="48"/>
                    <a:pt x="17" y="47"/>
                    <a:pt x="17" y="46"/>
                  </a:cubicBezTo>
                  <a:cubicBezTo>
                    <a:pt x="17" y="45"/>
                    <a:pt x="15" y="42"/>
                    <a:pt x="14" y="45"/>
                  </a:cubicBezTo>
                  <a:cubicBezTo>
                    <a:pt x="13" y="47"/>
                    <a:pt x="14" y="53"/>
                    <a:pt x="14" y="53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1" y="53"/>
                    <a:pt x="20" y="5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" name="Georgien" descr="© INSCALE GmbH, 05.05.2010&#10;http://www.presentationload.com/">
              <a:extLst>
                <a:ext uri="{FF2B5EF4-FFF2-40B4-BE49-F238E27FC236}">
                  <a16:creationId xmlns:a16="http://schemas.microsoft.com/office/drawing/2014/main" id="{956358CE-417E-9643-A5AF-F3643670F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1069" y="4836447"/>
              <a:ext cx="872980" cy="364705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" name="Armenien" descr="© INSCALE GmbH, 05.05.2010&#10;http://www.presentationload.com/">
              <a:extLst>
                <a:ext uri="{FF2B5EF4-FFF2-40B4-BE49-F238E27FC236}">
                  <a16:creationId xmlns:a16="http://schemas.microsoft.com/office/drawing/2014/main" id="{57C09820-4D4F-3E41-AF2B-78E21DF7BB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44295" y="5046029"/>
              <a:ext cx="506627" cy="282191"/>
            </a:xfrm>
            <a:custGeom>
              <a:avLst/>
              <a:gdLst/>
              <a:ahLst/>
              <a:cxnLst>
                <a:cxn ang="0">
                  <a:pos x="103" y="103"/>
                </a:cxn>
                <a:cxn ang="0">
                  <a:pos x="0" y="47"/>
                </a:cxn>
                <a:cxn ang="0">
                  <a:pos x="207" y="104"/>
                </a:cxn>
                <a:cxn ang="0">
                  <a:pos x="196" y="91"/>
                </a:cxn>
                <a:cxn ang="0">
                  <a:pos x="198" y="83"/>
                </a:cxn>
                <a:cxn ang="0">
                  <a:pos x="190" y="74"/>
                </a:cxn>
                <a:cxn ang="0">
                  <a:pos x="174" y="74"/>
                </a:cxn>
                <a:cxn ang="0">
                  <a:pos x="149" y="70"/>
                </a:cxn>
                <a:cxn ang="0">
                  <a:pos x="133" y="66"/>
                </a:cxn>
                <a:cxn ang="0">
                  <a:pos x="142" y="41"/>
                </a:cxn>
                <a:cxn ang="0">
                  <a:pos x="104" y="35"/>
                </a:cxn>
                <a:cxn ang="0">
                  <a:pos x="109" y="13"/>
                </a:cxn>
                <a:cxn ang="0">
                  <a:pos x="96" y="9"/>
                </a:cxn>
                <a:cxn ang="0">
                  <a:pos x="88" y="13"/>
                </a:cxn>
                <a:cxn ang="0">
                  <a:pos x="82" y="11"/>
                </a:cxn>
                <a:cxn ang="0">
                  <a:pos x="81" y="5"/>
                </a:cxn>
                <a:cxn ang="0">
                  <a:pos x="66" y="5"/>
                </a:cxn>
                <a:cxn ang="0">
                  <a:pos x="57" y="8"/>
                </a:cxn>
                <a:cxn ang="0">
                  <a:pos x="43" y="24"/>
                </a:cxn>
                <a:cxn ang="0">
                  <a:pos x="28" y="29"/>
                </a:cxn>
                <a:cxn ang="0">
                  <a:pos x="16" y="40"/>
                </a:cxn>
                <a:cxn ang="0">
                  <a:pos x="1" y="49"/>
                </a:cxn>
                <a:cxn ang="0">
                  <a:pos x="22" y="60"/>
                </a:cxn>
                <a:cxn ang="0">
                  <a:pos x="59" y="103"/>
                </a:cxn>
                <a:cxn ang="0">
                  <a:pos x="103" y="103"/>
                </a:cxn>
                <a:cxn ang="0">
                  <a:pos x="125" y="101"/>
                </a:cxn>
                <a:cxn ang="0">
                  <a:pos x="130" y="97"/>
                </a:cxn>
                <a:cxn ang="0">
                  <a:pos x="144" y="97"/>
                </a:cxn>
                <a:cxn ang="0">
                  <a:pos x="161" y="99"/>
                </a:cxn>
                <a:cxn ang="0">
                  <a:pos x="177" y="105"/>
                </a:cxn>
                <a:cxn ang="0">
                  <a:pos x="201" y="112"/>
                </a:cxn>
                <a:cxn ang="0">
                  <a:pos x="212" y="106"/>
                </a:cxn>
              </a:cxnLst>
              <a:rect l="0" t="0" r="r" b="b"/>
              <a:pathLst>
                <a:path w="212" h="119">
                  <a:moveTo>
                    <a:pt x="103" y="103"/>
                  </a:moveTo>
                  <a:cubicBezTo>
                    <a:pt x="103" y="103"/>
                    <a:pt x="103" y="103"/>
                    <a:pt x="103" y="103"/>
                  </a:cubicBezTo>
                  <a:moveTo>
                    <a:pt x="1" y="49"/>
                  </a:moveTo>
                  <a:cubicBezTo>
                    <a:pt x="1" y="48"/>
                    <a:pt x="1" y="48"/>
                    <a:pt x="0" y="47"/>
                  </a:cubicBezTo>
                  <a:cubicBezTo>
                    <a:pt x="1" y="48"/>
                    <a:pt x="1" y="48"/>
                    <a:pt x="1" y="49"/>
                  </a:cubicBezTo>
                  <a:close/>
                  <a:moveTo>
                    <a:pt x="207" y="104"/>
                  </a:moveTo>
                  <a:cubicBezTo>
                    <a:pt x="207" y="104"/>
                    <a:pt x="206" y="99"/>
                    <a:pt x="205" y="96"/>
                  </a:cubicBezTo>
                  <a:cubicBezTo>
                    <a:pt x="205" y="92"/>
                    <a:pt x="196" y="94"/>
                    <a:pt x="196" y="91"/>
                  </a:cubicBezTo>
                  <a:cubicBezTo>
                    <a:pt x="196" y="88"/>
                    <a:pt x="200" y="90"/>
                    <a:pt x="203" y="88"/>
                  </a:cubicBezTo>
                  <a:cubicBezTo>
                    <a:pt x="207" y="86"/>
                    <a:pt x="203" y="85"/>
                    <a:pt x="198" y="83"/>
                  </a:cubicBezTo>
                  <a:cubicBezTo>
                    <a:pt x="193" y="82"/>
                    <a:pt x="189" y="83"/>
                    <a:pt x="186" y="81"/>
                  </a:cubicBezTo>
                  <a:cubicBezTo>
                    <a:pt x="185" y="77"/>
                    <a:pt x="188" y="75"/>
                    <a:pt x="190" y="74"/>
                  </a:cubicBezTo>
                  <a:cubicBezTo>
                    <a:pt x="192" y="73"/>
                    <a:pt x="191" y="69"/>
                    <a:pt x="183" y="69"/>
                  </a:cubicBezTo>
                  <a:cubicBezTo>
                    <a:pt x="176" y="69"/>
                    <a:pt x="176" y="73"/>
                    <a:pt x="174" y="74"/>
                  </a:cubicBezTo>
                  <a:cubicBezTo>
                    <a:pt x="170" y="75"/>
                    <a:pt x="163" y="70"/>
                    <a:pt x="160" y="68"/>
                  </a:cubicBezTo>
                  <a:cubicBezTo>
                    <a:pt x="157" y="67"/>
                    <a:pt x="151" y="70"/>
                    <a:pt x="149" y="70"/>
                  </a:cubicBezTo>
                  <a:cubicBezTo>
                    <a:pt x="147" y="70"/>
                    <a:pt x="148" y="67"/>
                    <a:pt x="146" y="66"/>
                  </a:cubicBezTo>
                  <a:cubicBezTo>
                    <a:pt x="144" y="65"/>
                    <a:pt x="136" y="68"/>
                    <a:pt x="133" y="66"/>
                  </a:cubicBezTo>
                  <a:cubicBezTo>
                    <a:pt x="130" y="64"/>
                    <a:pt x="144" y="59"/>
                    <a:pt x="146" y="56"/>
                  </a:cubicBezTo>
                  <a:cubicBezTo>
                    <a:pt x="148" y="53"/>
                    <a:pt x="146" y="43"/>
                    <a:pt x="142" y="41"/>
                  </a:cubicBezTo>
                  <a:cubicBezTo>
                    <a:pt x="139" y="38"/>
                    <a:pt x="131" y="43"/>
                    <a:pt x="123" y="41"/>
                  </a:cubicBezTo>
                  <a:cubicBezTo>
                    <a:pt x="114" y="39"/>
                    <a:pt x="104" y="35"/>
                    <a:pt x="104" y="35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4" y="23"/>
                    <a:pt x="111" y="20"/>
                    <a:pt x="109" y="13"/>
                  </a:cubicBezTo>
                  <a:cubicBezTo>
                    <a:pt x="107" y="8"/>
                    <a:pt x="96" y="13"/>
                    <a:pt x="96" y="1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12"/>
                    <a:pt x="88" y="13"/>
                  </a:cubicBezTo>
                  <a:cubicBezTo>
                    <a:pt x="84" y="13"/>
                    <a:pt x="87" y="19"/>
                    <a:pt x="84" y="19"/>
                  </a:cubicBezTo>
                  <a:cubicBezTo>
                    <a:pt x="81" y="19"/>
                    <a:pt x="84" y="12"/>
                    <a:pt x="82" y="11"/>
                  </a:cubicBezTo>
                  <a:cubicBezTo>
                    <a:pt x="80" y="10"/>
                    <a:pt x="77" y="17"/>
                    <a:pt x="74" y="17"/>
                  </a:cubicBezTo>
                  <a:cubicBezTo>
                    <a:pt x="70" y="16"/>
                    <a:pt x="82" y="10"/>
                    <a:pt x="81" y="5"/>
                  </a:cubicBezTo>
                  <a:cubicBezTo>
                    <a:pt x="80" y="0"/>
                    <a:pt x="74" y="5"/>
                    <a:pt x="71" y="6"/>
                  </a:cubicBezTo>
                  <a:cubicBezTo>
                    <a:pt x="70" y="6"/>
                    <a:pt x="68" y="5"/>
                    <a:pt x="66" y="5"/>
                  </a:cubicBezTo>
                  <a:cubicBezTo>
                    <a:pt x="66" y="6"/>
                    <a:pt x="66" y="6"/>
                    <a:pt x="65" y="7"/>
                  </a:cubicBezTo>
                  <a:cubicBezTo>
                    <a:pt x="62" y="10"/>
                    <a:pt x="57" y="8"/>
                    <a:pt x="57" y="8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48" y="22"/>
                    <a:pt x="43" y="24"/>
                  </a:cubicBezTo>
                  <a:cubicBezTo>
                    <a:pt x="36" y="27"/>
                    <a:pt x="31" y="22"/>
                    <a:pt x="31" y="22"/>
                  </a:cubicBezTo>
                  <a:cubicBezTo>
                    <a:pt x="31" y="22"/>
                    <a:pt x="30" y="27"/>
                    <a:pt x="28" y="29"/>
                  </a:cubicBezTo>
                  <a:cubicBezTo>
                    <a:pt x="26" y="31"/>
                    <a:pt x="17" y="36"/>
                    <a:pt x="17" y="36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0" y="43"/>
                    <a:pt x="6" y="43"/>
                  </a:cubicBezTo>
                  <a:cubicBezTo>
                    <a:pt x="5" y="43"/>
                    <a:pt x="3" y="45"/>
                    <a:pt x="1" y="49"/>
                  </a:cubicBezTo>
                  <a:cubicBezTo>
                    <a:pt x="1" y="50"/>
                    <a:pt x="1" y="52"/>
                    <a:pt x="4" y="52"/>
                  </a:cubicBezTo>
                  <a:cubicBezTo>
                    <a:pt x="10" y="52"/>
                    <a:pt x="19" y="51"/>
                    <a:pt x="22" y="60"/>
                  </a:cubicBezTo>
                  <a:cubicBezTo>
                    <a:pt x="25" y="71"/>
                    <a:pt x="22" y="84"/>
                    <a:pt x="32" y="94"/>
                  </a:cubicBezTo>
                  <a:cubicBezTo>
                    <a:pt x="43" y="103"/>
                    <a:pt x="51" y="108"/>
                    <a:pt x="59" y="103"/>
                  </a:cubicBezTo>
                  <a:cubicBezTo>
                    <a:pt x="67" y="97"/>
                    <a:pt x="71" y="90"/>
                    <a:pt x="83" y="94"/>
                  </a:cubicBezTo>
                  <a:cubicBezTo>
                    <a:pt x="95" y="96"/>
                    <a:pt x="103" y="103"/>
                    <a:pt x="103" y="103"/>
                  </a:cubicBezTo>
                  <a:cubicBezTo>
                    <a:pt x="103" y="103"/>
                    <a:pt x="110" y="91"/>
                    <a:pt x="115" y="90"/>
                  </a:cubicBezTo>
                  <a:cubicBezTo>
                    <a:pt x="121" y="89"/>
                    <a:pt x="125" y="101"/>
                    <a:pt x="125" y="101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4" y="97"/>
                    <a:pt x="150" y="86"/>
                    <a:pt x="155" y="86"/>
                  </a:cubicBezTo>
                  <a:cubicBezTo>
                    <a:pt x="160" y="86"/>
                    <a:pt x="161" y="99"/>
                    <a:pt x="161" y="99"/>
                  </a:cubicBezTo>
                  <a:cubicBezTo>
                    <a:pt x="161" y="99"/>
                    <a:pt x="169" y="97"/>
                    <a:pt x="173" y="97"/>
                  </a:cubicBezTo>
                  <a:cubicBezTo>
                    <a:pt x="177" y="98"/>
                    <a:pt x="177" y="105"/>
                    <a:pt x="177" y="105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01" y="112"/>
                    <a:pt x="201" y="112"/>
                    <a:pt x="201" y="112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12" y="106"/>
                    <a:pt x="212" y="106"/>
                    <a:pt x="212" y="106"/>
                  </a:cubicBezTo>
                  <a:lnTo>
                    <a:pt x="207" y="1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" name="Türkei" descr="© INSCALE GmbH, 05.05.2010&#10;http://www.presentationload.com/">
              <a:extLst>
                <a:ext uri="{FF2B5EF4-FFF2-40B4-BE49-F238E27FC236}">
                  <a16:creationId xmlns:a16="http://schemas.microsoft.com/office/drawing/2014/main" id="{B45B3F96-2873-B042-BF63-AC5FC2A442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39245" y="5128541"/>
              <a:ext cx="2440715" cy="1366405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" name="Li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051CAE99-3A6A-294A-8FCF-1890FAB22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4370" y="6452040"/>
              <a:ext cx="151823" cy="306945"/>
            </a:xfrm>
            <a:custGeom>
              <a:avLst/>
              <a:gdLst/>
              <a:ahLst/>
              <a:cxnLst>
                <a:cxn ang="0">
                  <a:pos x="26" y="106"/>
                </a:cxn>
                <a:cxn ang="0">
                  <a:pos x="37" y="87"/>
                </a:cxn>
                <a:cxn ang="0">
                  <a:pos x="36" y="83"/>
                </a:cxn>
                <a:cxn ang="0">
                  <a:pos x="43" y="75"/>
                </a:cxn>
                <a:cxn ang="0">
                  <a:pos x="29" y="74"/>
                </a:cxn>
                <a:cxn ang="0">
                  <a:pos x="31" y="67"/>
                </a:cxn>
                <a:cxn ang="0">
                  <a:pos x="35" y="64"/>
                </a:cxn>
                <a:cxn ang="0">
                  <a:pos x="54" y="56"/>
                </a:cxn>
                <a:cxn ang="0">
                  <a:pos x="48" y="51"/>
                </a:cxn>
                <a:cxn ang="0">
                  <a:pos x="46" y="47"/>
                </a:cxn>
                <a:cxn ang="0">
                  <a:pos x="58" y="45"/>
                </a:cxn>
                <a:cxn ang="0">
                  <a:pos x="48" y="42"/>
                </a:cxn>
                <a:cxn ang="0">
                  <a:pos x="61" y="27"/>
                </a:cxn>
                <a:cxn ang="0">
                  <a:pos x="48" y="17"/>
                </a:cxn>
                <a:cxn ang="0">
                  <a:pos x="48" y="11"/>
                </a:cxn>
                <a:cxn ang="0">
                  <a:pos x="35" y="10"/>
                </a:cxn>
                <a:cxn ang="0">
                  <a:pos x="38" y="0"/>
                </a:cxn>
                <a:cxn ang="0">
                  <a:pos x="29" y="1"/>
                </a:cxn>
                <a:cxn ang="0">
                  <a:pos x="28" y="6"/>
                </a:cxn>
                <a:cxn ang="0">
                  <a:pos x="20" y="7"/>
                </a:cxn>
                <a:cxn ang="0">
                  <a:pos x="14" y="12"/>
                </a:cxn>
                <a:cxn ang="0">
                  <a:pos x="15" y="20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1" y="38"/>
                </a:cxn>
                <a:cxn ang="0">
                  <a:pos x="2" y="49"/>
                </a:cxn>
                <a:cxn ang="0">
                  <a:pos x="10" y="56"/>
                </a:cxn>
                <a:cxn ang="0">
                  <a:pos x="6" y="63"/>
                </a:cxn>
                <a:cxn ang="0">
                  <a:pos x="3" y="77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3" y="109"/>
                </a:cxn>
                <a:cxn ang="0">
                  <a:pos x="0" y="112"/>
                </a:cxn>
                <a:cxn ang="0">
                  <a:pos x="0" y="115"/>
                </a:cxn>
                <a:cxn ang="0">
                  <a:pos x="3" y="115"/>
                </a:cxn>
                <a:cxn ang="0">
                  <a:pos x="2" y="126"/>
                </a:cxn>
                <a:cxn ang="0">
                  <a:pos x="8" y="125"/>
                </a:cxn>
                <a:cxn ang="0">
                  <a:pos x="12" y="121"/>
                </a:cxn>
                <a:cxn ang="0">
                  <a:pos x="19" y="122"/>
                </a:cxn>
                <a:cxn ang="0">
                  <a:pos x="19" y="112"/>
                </a:cxn>
                <a:cxn ang="0">
                  <a:pos x="19" y="106"/>
                </a:cxn>
                <a:cxn ang="0">
                  <a:pos x="26" y="106"/>
                </a:cxn>
              </a:cxnLst>
              <a:rect l="0" t="0" r="r" b="b"/>
              <a:pathLst>
                <a:path w="63" h="129">
                  <a:moveTo>
                    <a:pt x="26" y="106"/>
                  </a:moveTo>
                  <a:cubicBezTo>
                    <a:pt x="37" y="87"/>
                    <a:pt x="37" y="87"/>
                    <a:pt x="37" y="87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3"/>
                    <a:pt x="43" y="79"/>
                    <a:pt x="43" y="75"/>
                  </a:cubicBezTo>
                  <a:cubicBezTo>
                    <a:pt x="44" y="72"/>
                    <a:pt x="29" y="74"/>
                    <a:pt x="29" y="74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5" y="66"/>
                    <a:pt x="35" y="64"/>
                  </a:cubicBezTo>
                  <a:cubicBezTo>
                    <a:pt x="35" y="61"/>
                    <a:pt x="54" y="56"/>
                    <a:pt x="54" y="56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58" y="32"/>
                    <a:pt x="61" y="27"/>
                  </a:cubicBezTo>
                  <a:cubicBezTo>
                    <a:pt x="63" y="22"/>
                    <a:pt x="48" y="17"/>
                    <a:pt x="48" y="1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9" y="24"/>
                    <a:pt x="6" y="28"/>
                  </a:cubicBezTo>
                  <a:cubicBezTo>
                    <a:pt x="4" y="31"/>
                    <a:pt x="6" y="33"/>
                    <a:pt x="5" y="36"/>
                  </a:cubicBezTo>
                  <a:cubicBezTo>
                    <a:pt x="3" y="38"/>
                    <a:pt x="1" y="38"/>
                    <a:pt x="1" y="3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0" y="52"/>
                    <a:pt x="10" y="56"/>
                  </a:cubicBezTo>
                  <a:cubicBezTo>
                    <a:pt x="10" y="60"/>
                    <a:pt x="6" y="63"/>
                    <a:pt x="6" y="63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5"/>
                    <a:pt x="3" y="115"/>
                    <a:pt x="3" y="115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2" y="126"/>
                    <a:pt x="5" y="126"/>
                    <a:pt x="8" y="125"/>
                  </a:cubicBezTo>
                  <a:cubicBezTo>
                    <a:pt x="10" y="123"/>
                    <a:pt x="12" y="121"/>
                    <a:pt x="12" y="121"/>
                  </a:cubicBezTo>
                  <a:cubicBezTo>
                    <a:pt x="12" y="121"/>
                    <a:pt x="15" y="129"/>
                    <a:pt x="19" y="122"/>
                  </a:cubicBezTo>
                  <a:cubicBezTo>
                    <a:pt x="25" y="115"/>
                    <a:pt x="19" y="112"/>
                    <a:pt x="19" y="112"/>
                  </a:cubicBezTo>
                  <a:cubicBezTo>
                    <a:pt x="19" y="106"/>
                    <a:pt x="19" y="106"/>
                    <a:pt x="19" y="106"/>
                  </a:cubicBezTo>
                  <a:lnTo>
                    <a:pt x="26" y="10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" name="Syrien" descr="© INSCALE GmbH, 05.05.2010&#10;http://www.presentationload.com/">
              <a:extLst>
                <a:ext uri="{FF2B5EF4-FFF2-40B4-BE49-F238E27FC236}">
                  <a16:creationId xmlns:a16="http://schemas.microsoft.com/office/drawing/2014/main" id="{00529286-D76C-1F42-B6E2-D487CC64237A}"/>
                </a:ext>
              </a:extLst>
            </p:cNvPr>
            <p:cNvSpPr>
              <a:spLocks/>
            </p:cNvSpPr>
            <p:nvPr/>
          </p:nvSpPr>
          <p:spPr bwMode="gray">
            <a:xfrm>
              <a:off x="7879910" y="5773786"/>
              <a:ext cx="736010" cy="1028105"/>
            </a:xfrm>
            <a:custGeom>
              <a:avLst/>
              <a:gdLst/>
              <a:ahLst/>
              <a:cxnLst>
                <a:cxn ang="0">
                  <a:pos x="294" y="149"/>
                </a:cxn>
                <a:cxn ang="0">
                  <a:pos x="274" y="96"/>
                </a:cxn>
                <a:cxn ang="0">
                  <a:pos x="287" y="50"/>
                </a:cxn>
                <a:cxn ang="0">
                  <a:pos x="302" y="18"/>
                </a:cxn>
                <a:cxn ang="0">
                  <a:pos x="297" y="1"/>
                </a:cxn>
                <a:cxn ang="0">
                  <a:pos x="262" y="26"/>
                </a:cxn>
                <a:cxn ang="0">
                  <a:pos x="178" y="89"/>
                </a:cxn>
                <a:cxn ang="0">
                  <a:pos x="129" y="111"/>
                </a:cxn>
                <a:cxn ang="0">
                  <a:pos x="81" y="127"/>
                </a:cxn>
                <a:cxn ang="0">
                  <a:pos x="72" y="136"/>
                </a:cxn>
                <a:cxn ang="0">
                  <a:pos x="42" y="142"/>
                </a:cxn>
                <a:cxn ang="0">
                  <a:pos x="22" y="168"/>
                </a:cxn>
                <a:cxn ang="0">
                  <a:pos x="21" y="188"/>
                </a:cxn>
                <a:cxn ang="0">
                  <a:pos x="20" y="218"/>
                </a:cxn>
                <a:cxn ang="0">
                  <a:pos x="0" y="224"/>
                </a:cxn>
                <a:cxn ang="0">
                  <a:pos x="4" y="236"/>
                </a:cxn>
                <a:cxn ang="0">
                  <a:pos x="3" y="243"/>
                </a:cxn>
                <a:cxn ang="0">
                  <a:pos x="16" y="254"/>
                </a:cxn>
                <a:cxn ang="0">
                  <a:pos x="22" y="280"/>
                </a:cxn>
                <a:cxn ang="0">
                  <a:pos x="34" y="297"/>
                </a:cxn>
                <a:cxn ang="0">
                  <a:pos x="51" y="290"/>
                </a:cxn>
                <a:cxn ang="0">
                  <a:pos x="61" y="284"/>
                </a:cxn>
                <a:cxn ang="0">
                  <a:pos x="71" y="295"/>
                </a:cxn>
                <a:cxn ang="0">
                  <a:pos x="84" y="311"/>
                </a:cxn>
                <a:cxn ang="0">
                  <a:pos x="81" y="329"/>
                </a:cxn>
                <a:cxn ang="0">
                  <a:pos x="71" y="335"/>
                </a:cxn>
                <a:cxn ang="0">
                  <a:pos x="58" y="348"/>
                </a:cxn>
                <a:cxn ang="0">
                  <a:pos x="52" y="358"/>
                </a:cxn>
                <a:cxn ang="0">
                  <a:pos x="59" y="367"/>
                </a:cxn>
                <a:cxn ang="0">
                  <a:pos x="49" y="390"/>
                </a:cxn>
                <a:cxn ang="0">
                  <a:pos x="54" y="409"/>
                </a:cxn>
                <a:cxn ang="0">
                  <a:pos x="77" y="419"/>
                </a:cxn>
                <a:cxn ang="0">
                  <a:pos x="93" y="429"/>
                </a:cxn>
                <a:cxn ang="0">
                  <a:pos x="108" y="430"/>
                </a:cxn>
                <a:cxn ang="0">
                  <a:pos x="304" y="206"/>
                </a:cxn>
                <a:cxn ang="0">
                  <a:pos x="305" y="189"/>
                </a:cxn>
                <a:cxn ang="0">
                  <a:pos x="307" y="175"/>
                </a:cxn>
              </a:cxnLst>
              <a:rect l="0" t="0" r="r" b="b"/>
              <a:pathLst>
                <a:path w="308" h="430">
                  <a:moveTo>
                    <a:pt x="307" y="175"/>
                  </a:moveTo>
                  <a:cubicBezTo>
                    <a:pt x="307" y="175"/>
                    <a:pt x="297" y="164"/>
                    <a:pt x="294" y="149"/>
                  </a:cubicBezTo>
                  <a:cubicBezTo>
                    <a:pt x="290" y="133"/>
                    <a:pt x="295" y="121"/>
                    <a:pt x="289" y="113"/>
                  </a:cubicBezTo>
                  <a:cubicBezTo>
                    <a:pt x="285" y="105"/>
                    <a:pt x="278" y="106"/>
                    <a:pt x="274" y="96"/>
                  </a:cubicBezTo>
                  <a:cubicBezTo>
                    <a:pt x="270" y="88"/>
                    <a:pt x="264" y="74"/>
                    <a:pt x="268" y="66"/>
                  </a:cubicBezTo>
                  <a:cubicBezTo>
                    <a:pt x="273" y="60"/>
                    <a:pt x="282" y="62"/>
                    <a:pt x="287" y="50"/>
                  </a:cubicBezTo>
                  <a:cubicBezTo>
                    <a:pt x="294" y="39"/>
                    <a:pt x="296" y="26"/>
                    <a:pt x="296" y="26"/>
                  </a:cubicBezTo>
                  <a:cubicBezTo>
                    <a:pt x="296" y="26"/>
                    <a:pt x="302" y="21"/>
                    <a:pt x="302" y="18"/>
                  </a:cubicBezTo>
                  <a:cubicBezTo>
                    <a:pt x="302" y="14"/>
                    <a:pt x="301" y="5"/>
                    <a:pt x="301" y="5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2" y="17"/>
                    <a:pt x="262" y="26"/>
                  </a:cubicBezTo>
                  <a:cubicBezTo>
                    <a:pt x="242" y="34"/>
                    <a:pt x="222" y="42"/>
                    <a:pt x="222" y="42"/>
                  </a:cubicBezTo>
                  <a:cubicBezTo>
                    <a:pt x="222" y="42"/>
                    <a:pt x="193" y="77"/>
                    <a:pt x="178" y="89"/>
                  </a:cubicBezTo>
                  <a:cubicBezTo>
                    <a:pt x="163" y="100"/>
                    <a:pt x="148" y="102"/>
                    <a:pt x="148" y="102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11" y="101"/>
                    <a:pt x="104" y="106"/>
                  </a:cubicBezTo>
                  <a:cubicBezTo>
                    <a:pt x="95" y="109"/>
                    <a:pt x="81" y="127"/>
                    <a:pt x="81" y="127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2" y="142"/>
                    <a:pt x="42" y="142"/>
                    <a:pt x="42" y="142"/>
                  </a:cubicBezTo>
                  <a:cubicBezTo>
                    <a:pt x="42" y="142"/>
                    <a:pt x="23" y="139"/>
                    <a:pt x="23" y="145"/>
                  </a:cubicBezTo>
                  <a:cubicBezTo>
                    <a:pt x="22" y="152"/>
                    <a:pt x="22" y="168"/>
                    <a:pt x="22" y="168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" y="225"/>
                    <a:pt x="6" y="225"/>
                    <a:pt x="6" y="225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3" y="243"/>
                    <a:pt x="3" y="243"/>
                    <a:pt x="3" y="243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248"/>
                    <a:pt x="12" y="250"/>
                    <a:pt x="16" y="254"/>
                  </a:cubicBezTo>
                  <a:cubicBezTo>
                    <a:pt x="18" y="258"/>
                    <a:pt x="22" y="259"/>
                    <a:pt x="22" y="264"/>
                  </a:cubicBezTo>
                  <a:cubicBezTo>
                    <a:pt x="22" y="280"/>
                    <a:pt x="22" y="280"/>
                    <a:pt x="22" y="280"/>
                  </a:cubicBezTo>
                  <a:cubicBezTo>
                    <a:pt x="28" y="283"/>
                    <a:pt x="28" y="283"/>
                    <a:pt x="28" y="283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1" y="290"/>
                    <a:pt x="51" y="290"/>
                    <a:pt x="51" y="290"/>
                  </a:cubicBezTo>
                  <a:cubicBezTo>
                    <a:pt x="52" y="285"/>
                    <a:pt x="52" y="285"/>
                    <a:pt x="52" y="285"/>
                  </a:cubicBezTo>
                  <a:cubicBezTo>
                    <a:pt x="61" y="284"/>
                    <a:pt x="61" y="284"/>
                    <a:pt x="61" y="284"/>
                  </a:cubicBezTo>
                  <a:cubicBezTo>
                    <a:pt x="58" y="294"/>
                    <a:pt x="58" y="294"/>
                    <a:pt x="58" y="294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86" y="306"/>
                    <a:pt x="84" y="311"/>
                  </a:cubicBezTo>
                  <a:cubicBezTo>
                    <a:pt x="81" y="316"/>
                    <a:pt x="71" y="326"/>
                    <a:pt x="71" y="326"/>
                  </a:cubicBezTo>
                  <a:cubicBezTo>
                    <a:pt x="81" y="329"/>
                    <a:pt x="81" y="329"/>
                    <a:pt x="81" y="329"/>
                  </a:cubicBezTo>
                  <a:cubicBezTo>
                    <a:pt x="69" y="331"/>
                    <a:pt x="69" y="331"/>
                    <a:pt x="69" y="331"/>
                  </a:cubicBezTo>
                  <a:cubicBezTo>
                    <a:pt x="71" y="335"/>
                    <a:pt x="71" y="335"/>
                    <a:pt x="71" y="335"/>
                  </a:cubicBezTo>
                  <a:cubicBezTo>
                    <a:pt x="77" y="340"/>
                    <a:pt x="77" y="340"/>
                    <a:pt x="77" y="340"/>
                  </a:cubicBezTo>
                  <a:cubicBezTo>
                    <a:pt x="77" y="340"/>
                    <a:pt x="58" y="345"/>
                    <a:pt x="58" y="348"/>
                  </a:cubicBezTo>
                  <a:cubicBezTo>
                    <a:pt x="58" y="350"/>
                    <a:pt x="54" y="351"/>
                    <a:pt x="54" y="351"/>
                  </a:cubicBezTo>
                  <a:cubicBezTo>
                    <a:pt x="52" y="358"/>
                    <a:pt x="52" y="358"/>
                    <a:pt x="52" y="358"/>
                  </a:cubicBezTo>
                  <a:cubicBezTo>
                    <a:pt x="52" y="358"/>
                    <a:pt x="67" y="356"/>
                    <a:pt x="66" y="359"/>
                  </a:cubicBezTo>
                  <a:cubicBezTo>
                    <a:pt x="66" y="363"/>
                    <a:pt x="59" y="367"/>
                    <a:pt x="59" y="367"/>
                  </a:cubicBezTo>
                  <a:cubicBezTo>
                    <a:pt x="60" y="371"/>
                    <a:pt x="60" y="371"/>
                    <a:pt x="60" y="371"/>
                  </a:cubicBezTo>
                  <a:cubicBezTo>
                    <a:pt x="49" y="390"/>
                    <a:pt x="49" y="390"/>
                    <a:pt x="49" y="390"/>
                  </a:cubicBezTo>
                  <a:cubicBezTo>
                    <a:pt x="54" y="392"/>
                    <a:pt x="54" y="392"/>
                    <a:pt x="54" y="392"/>
                  </a:cubicBezTo>
                  <a:cubicBezTo>
                    <a:pt x="54" y="409"/>
                    <a:pt x="54" y="409"/>
                    <a:pt x="54" y="409"/>
                  </a:cubicBezTo>
                  <a:cubicBezTo>
                    <a:pt x="64" y="427"/>
                    <a:pt x="64" y="427"/>
                    <a:pt x="64" y="427"/>
                  </a:cubicBezTo>
                  <a:cubicBezTo>
                    <a:pt x="64" y="427"/>
                    <a:pt x="69" y="419"/>
                    <a:pt x="77" y="419"/>
                  </a:cubicBezTo>
                  <a:cubicBezTo>
                    <a:pt x="85" y="420"/>
                    <a:pt x="89" y="429"/>
                    <a:pt x="89" y="429"/>
                  </a:cubicBezTo>
                  <a:cubicBezTo>
                    <a:pt x="93" y="429"/>
                    <a:pt x="93" y="429"/>
                    <a:pt x="93" y="429"/>
                  </a:cubicBezTo>
                  <a:cubicBezTo>
                    <a:pt x="93" y="429"/>
                    <a:pt x="94" y="425"/>
                    <a:pt x="101" y="425"/>
                  </a:cubicBezTo>
                  <a:cubicBezTo>
                    <a:pt x="107" y="426"/>
                    <a:pt x="108" y="430"/>
                    <a:pt x="108" y="430"/>
                  </a:cubicBezTo>
                  <a:cubicBezTo>
                    <a:pt x="135" y="429"/>
                    <a:pt x="135" y="429"/>
                    <a:pt x="135" y="429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6" y="205"/>
                    <a:pt x="306" y="205"/>
                    <a:pt x="306" y="205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7" y="17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8" name="Kasac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11672C6-B181-004B-91A4-67E75729AB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168705" y="2215855"/>
              <a:ext cx="975295" cy="2222884"/>
            </a:xfrm>
            <a:custGeom>
              <a:avLst/>
              <a:gdLst/>
              <a:ahLst/>
              <a:cxnLst>
                <a:cxn ang="0">
                  <a:pos x="291" y="856"/>
                </a:cxn>
                <a:cxn ang="0">
                  <a:pos x="395" y="19"/>
                </a:cxn>
                <a:cxn ang="0">
                  <a:pos x="377" y="43"/>
                </a:cxn>
                <a:cxn ang="0">
                  <a:pos x="362" y="71"/>
                </a:cxn>
                <a:cxn ang="0">
                  <a:pos x="341" y="94"/>
                </a:cxn>
                <a:cxn ang="0">
                  <a:pos x="322" y="113"/>
                </a:cxn>
                <a:cxn ang="0">
                  <a:pos x="342" y="125"/>
                </a:cxn>
                <a:cxn ang="0">
                  <a:pos x="358" y="139"/>
                </a:cxn>
                <a:cxn ang="0">
                  <a:pos x="393" y="125"/>
                </a:cxn>
                <a:cxn ang="0">
                  <a:pos x="372" y="151"/>
                </a:cxn>
                <a:cxn ang="0">
                  <a:pos x="378" y="186"/>
                </a:cxn>
                <a:cxn ang="0">
                  <a:pos x="385" y="211"/>
                </a:cxn>
                <a:cxn ang="0">
                  <a:pos x="398" y="240"/>
                </a:cxn>
                <a:cxn ang="0">
                  <a:pos x="379" y="327"/>
                </a:cxn>
                <a:cxn ang="0">
                  <a:pos x="336" y="337"/>
                </a:cxn>
                <a:cxn ang="0">
                  <a:pos x="318" y="353"/>
                </a:cxn>
                <a:cxn ang="0">
                  <a:pos x="297" y="382"/>
                </a:cxn>
                <a:cxn ang="0">
                  <a:pos x="258" y="417"/>
                </a:cxn>
                <a:cxn ang="0">
                  <a:pos x="234" y="423"/>
                </a:cxn>
                <a:cxn ang="0">
                  <a:pos x="239" y="433"/>
                </a:cxn>
                <a:cxn ang="0">
                  <a:pos x="194" y="426"/>
                </a:cxn>
                <a:cxn ang="0">
                  <a:pos x="151" y="437"/>
                </a:cxn>
                <a:cxn ang="0">
                  <a:pos x="116" y="441"/>
                </a:cxn>
                <a:cxn ang="0">
                  <a:pos x="102" y="454"/>
                </a:cxn>
                <a:cxn ang="0">
                  <a:pos x="77" y="471"/>
                </a:cxn>
                <a:cxn ang="0">
                  <a:pos x="65" y="507"/>
                </a:cxn>
                <a:cxn ang="0">
                  <a:pos x="59" y="537"/>
                </a:cxn>
                <a:cxn ang="0">
                  <a:pos x="35" y="572"/>
                </a:cxn>
                <a:cxn ang="0">
                  <a:pos x="67" y="596"/>
                </a:cxn>
                <a:cxn ang="0">
                  <a:pos x="1" y="614"/>
                </a:cxn>
                <a:cxn ang="0">
                  <a:pos x="25" y="685"/>
                </a:cxn>
                <a:cxn ang="0">
                  <a:pos x="60" y="742"/>
                </a:cxn>
                <a:cxn ang="0">
                  <a:pos x="82" y="754"/>
                </a:cxn>
                <a:cxn ang="0">
                  <a:pos x="139" y="754"/>
                </a:cxn>
                <a:cxn ang="0">
                  <a:pos x="166" y="801"/>
                </a:cxn>
                <a:cxn ang="0">
                  <a:pos x="202" y="791"/>
                </a:cxn>
                <a:cxn ang="0">
                  <a:pos x="195" y="782"/>
                </a:cxn>
                <a:cxn ang="0">
                  <a:pos x="209" y="778"/>
                </a:cxn>
                <a:cxn ang="0">
                  <a:pos x="224" y="756"/>
                </a:cxn>
                <a:cxn ang="0">
                  <a:pos x="235" y="733"/>
                </a:cxn>
                <a:cxn ang="0">
                  <a:pos x="266" y="705"/>
                </a:cxn>
                <a:cxn ang="0">
                  <a:pos x="281" y="707"/>
                </a:cxn>
                <a:cxn ang="0">
                  <a:pos x="296" y="707"/>
                </a:cxn>
                <a:cxn ang="0">
                  <a:pos x="309" y="688"/>
                </a:cxn>
                <a:cxn ang="0">
                  <a:pos x="332" y="678"/>
                </a:cxn>
                <a:cxn ang="0">
                  <a:pos x="338" y="696"/>
                </a:cxn>
                <a:cxn ang="0">
                  <a:pos x="352" y="706"/>
                </a:cxn>
                <a:cxn ang="0">
                  <a:pos x="359" y="718"/>
                </a:cxn>
                <a:cxn ang="0">
                  <a:pos x="391" y="756"/>
                </a:cxn>
                <a:cxn ang="0">
                  <a:pos x="331" y="789"/>
                </a:cxn>
                <a:cxn ang="0">
                  <a:pos x="326" y="823"/>
                </a:cxn>
                <a:cxn ang="0">
                  <a:pos x="314" y="838"/>
                </a:cxn>
                <a:cxn ang="0">
                  <a:pos x="328" y="842"/>
                </a:cxn>
                <a:cxn ang="0">
                  <a:pos x="345" y="850"/>
                </a:cxn>
                <a:cxn ang="0">
                  <a:pos x="301" y="879"/>
                </a:cxn>
                <a:cxn ang="0">
                  <a:pos x="385" y="913"/>
                </a:cxn>
                <a:cxn ang="0">
                  <a:pos x="402" y="925"/>
                </a:cxn>
                <a:cxn ang="0">
                  <a:pos x="379" y="327"/>
                </a:cxn>
              </a:cxnLst>
              <a:rect l="0" t="0" r="r" b="b"/>
              <a:pathLst>
                <a:path w="408" h="931">
                  <a:moveTo>
                    <a:pt x="290" y="844"/>
                  </a:moveTo>
                  <a:cubicBezTo>
                    <a:pt x="285" y="844"/>
                    <a:pt x="285" y="844"/>
                    <a:pt x="285" y="844"/>
                  </a:cubicBezTo>
                  <a:cubicBezTo>
                    <a:pt x="287" y="851"/>
                    <a:pt x="287" y="851"/>
                    <a:pt x="287" y="851"/>
                  </a:cubicBezTo>
                  <a:cubicBezTo>
                    <a:pt x="291" y="856"/>
                    <a:pt x="291" y="856"/>
                    <a:pt x="291" y="856"/>
                  </a:cubicBezTo>
                  <a:cubicBezTo>
                    <a:pt x="293" y="855"/>
                    <a:pt x="293" y="855"/>
                    <a:pt x="293" y="855"/>
                  </a:cubicBezTo>
                  <a:cubicBezTo>
                    <a:pt x="291" y="851"/>
                    <a:pt x="291" y="851"/>
                    <a:pt x="291" y="851"/>
                  </a:cubicBezTo>
                  <a:lnTo>
                    <a:pt x="290" y="844"/>
                  </a:lnTo>
                  <a:close/>
                  <a:moveTo>
                    <a:pt x="395" y="19"/>
                  </a:moveTo>
                  <a:cubicBezTo>
                    <a:pt x="395" y="19"/>
                    <a:pt x="400" y="22"/>
                    <a:pt x="398" y="25"/>
                  </a:cubicBezTo>
                  <a:cubicBezTo>
                    <a:pt x="397" y="28"/>
                    <a:pt x="391" y="28"/>
                    <a:pt x="391" y="28"/>
                  </a:cubicBezTo>
                  <a:cubicBezTo>
                    <a:pt x="385" y="40"/>
                    <a:pt x="385" y="40"/>
                    <a:pt x="385" y="40"/>
                  </a:cubicBezTo>
                  <a:cubicBezTo>
                    <a:pt x="377" y="43"/>
                    <a:pt x="377" y="43"/>
                    <a:pt x="377" y="43"/>
                  </a:cubicBezTo>
                  <a:cubicBezTo>
                    <a:pt x="381" y="50"/>
                    <a:pt x="381" y="50"/>
                    <a:pt x="381" y="50"/>
                  </a:cubicBezTo>
                  <a:cubicBezTo>
                    <a:pt x="366" y="63"/>
                    <a:pt x="366" y="63"/>
                    <a:pt x="366" y="63"/>
                  </a:cubicBezTo>
                  <a:cubicBezTo>
                    <a:pt x="366" y="63"/>
                    <a:pt x="376" y="75"/>
                    <a:pt x="371" y="77"/>
                  </a:cubicBezTo>
                  <a:cubicBezTo>
                    <a:pt x="365" y="80"/>
                    <a:pt x="362" y="71"/>
                    <a:pt x="362" y="7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2" y="90"/>
                    <a:pt x="352" y="90"/>
                    <a:pt x="352" y="90"/>
                  </a:cubicBezTo>
                  <a:cubicBezTo>
                    <a:pt x="343" y="88"/>
                    <a:pt x="343" y="88"/>
                    <a:pt x="343" y="88"/>
                  </a:cubicBezTo>
                  <a:cubicBezTo>
                    <a:pt x="341" y="94"/>
                    <a:pt x="341" y="94"/>
                    <a:pt x="341" y="94"/>
                  </a:cubicBezTo>
                  <a:cubicBezTo>
                    <a:pt x="328" y="94"/>
                    <a:pt x="328" y="94"/>
                    <a:pt x="328" y="94"/>
                  </a:cubicBezTo>
                  <a:cubicBezTo>
                    <a:pt x="327" y="102"/>
                    <a:pt x="327" y="102"/>
                    <a:pt x="327" y="102"/>
                  </a:cubicBezTo>
                  <a:cubicBezTo>
                    <a:pt x="331" y="104"/>
                    <a:pt x="331" y="104"/>
                    <a:pt x="331" y="104"/>
                  </a:cubicBezTo>
                  <a:cubicBezTo>
                    <a:pt x="322" y="113"/>
                    <a:pt x="322" y="113"/>
                    <a:pt x="322" y="113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6" y="123"/>
                    <a:pt x="336" y="123"/>
                    <a:pt x="336" y="123"/>
                  </a:cubicBezTo>
                  <a:cubicBezTo>
                    <a:pt x="333" y="129"/>
                    <a:pt x="333" y="129"/>
                    <a:pt x="333" y="129"/>
                  </a:cubicBezTo>
                  <a:cubicBezTo>
                    <a:pt x="342" y="125"/>
                    <a:pt x="342" y="125"/>
                    <a:pt x="342" y="125"/>
                  </a:cubicBezTo>
                  <a:cubicBezTo>
                    <a:pt x="348" y="126"/>
                    <a:pt x="348" y="126"/>
                    <a:pt x="348" y="126"/>
                  </a:cubicBezTo>
                  <a:cubicBezTo>
                    <a:pt x="348" y="126"/>
                    <a:pt x="354" y="114"/>
                    <a:pt x="359" y="118"/>
                  </a:cubicBezTo>
                  <a:cubicBezTo>
                    <a:pt x="364" y="121"/>
                    <a:pt x="354" y="126"/>
                    <a:pt x="354" y="126"/>
                  </a:cubicBezTo>
                  <a:cubicBezTo>
                    <a:pt x="358" y="139"/>
                    <a:pt x="358" y="139"/>
                    <a:pt x="358" y="139"/>
                  </a:cubicBezTo>
                  <a:cubicBezTo>
                    <a:pt x="374" y="134"/>
                    <a:pt x="374" y="134"/>
                    <a:pt x="374" y="134"/>
                  </a:cubicBezTo>
                  <a:cubicBezTo>
                    <a:pt x="373" y="130"/>
                    <a:pt x="373" y="130"/>
                    <a:pt x="373" y="130"/>
                  </a:cubicBezTo>
                  <a:cubicBezTo>
                    <a:pt x="373" y="130"/>
                    <a:pt x="379" y="130"/>
                    <a:pt x="382" y="129"/>
                  </a:cubicBezTo>
                  <a:cubicBezTo>
                    <a:pt x="387" y="127"/>
                    <a:pt x="389" y="121"/>
                    <a:pt x="393" y="125"/>
                  </a:cubicBezTo>
                  <a:cubicBezTo>
                    <a:pt x="398" y="129"/>
                    <a:pt x="400" y="132"/>
                    <a:pt x="396" y="134"/>
                  </a:cubicBezTo>
                  <a:cubicBezTo>
                    <a:pt x="392" y="136"/>
                    <a:pt x="386" y="145"/>
                    <a:pt x="386" y="145"/>
                  </a:cubicBezTo>
                  <a:cubicBezTo>
                    <a:pt x="377" y="146"/>
                    <a:pt x="377" y="146"/>
                    <a:pt x="377" y="146"/>
                  </a:cubicBezTo>
                  <a:cubicBezTo>
                    <a:pt x="372" y="151"/>
                    <a:pt x="372" y="151"/>
                    <a:pt x="372" y="151"/>
                  </a:cubicBezTo>
                  <a:cubicBezTo>
                    <a:pt x="361" y="159"/>
                    <a:pt x="361" y="159"/>
                    <a:pt x="361" y="159"/>
                  </a:cubicBezTo>
                  <a:cubicBezTo>
                    <a:pt x="361" y="159"/>
                    <a:pt x="367" y="161"/>
                    <a:pt x="367" y="162"/>
                  </a:cubicBezTo>
                  <a:cubicBezTo>
                    <a:pt x="367" y="164"/>
                    <a:pt x="364" y="181"/>
                    <a:pt x="364" y="181"/>
                  </a:cubicBezTo>
                  <a:cubicBezTo>
                    <a:pt x="378" y="186"/>
                    <a:pt x="378" y="186"/>
                    <a:pt x="378" y="186"/>
                  </a:cubicBezTo>
                  <a:cubicBezTo>
                    <a:pt x="383" y="184"/>
                    <a:pt x="383" y="184"/>
                    <a:pt x="383" y="184"/>
                  </a:cubicBezTo>
                  <a:cubicBezTo>
                    <a:pt x="393" y="187"/>
                    <a:pt x="393" y="187"/>
                    <a:pt x="393" y="187"/>
                  </a:cubicBezTo>
                  <a:cubicBezTo>
                    <a:pt x="391" y="209"/>
                    <a:pt x="391" y="209"/>
                    <a:pt x="391" y="209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77" y="234"/>
                    <a:pt x="377" y="234"/>
                    <a:pt x="377" y="234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80" y="239"/>
                    <a:pt x="396" y="229"/>
                    <a:pt x="398" y="232"/>
                  </a:cubicBezTo>
                  <a:cubicBezTo>
                    <a:pt x="402" y="236"/>
                    <a:pt x="398" y="240"/>
                    <a:pt x="398" y="240"/>
                  </a:cubicBezTo>
                  <a:cubicBezTo>
                    <a:pt x="408" y="239"/>
                    <a:pt x="408" y="239"/>
                    <a:pt x="408" y="23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395" y="19"/>
                  </a:lnTo>
                  <a:close/>
                  <a:moveTo>
                    <a:pt x="379" y="327"/>
                  </a:moveTo>
                  <a:cubicBezTo>
                    <a:pt x="370" y="322"/>
                    <a:pt x="370" y="316"/>
                    <a:pt x="364" y="316"/>
                  </a:cubicBezTo>
                  <a:cubicBezTo>
                    <a:pt x="359" y="318"/>
                    <a:pt x="354" y="319"/>
                    <a:pt x="354" y="319"/>
                  </a:cubicBezTo>
                  <a:cubicBezTo>
                    <a:pt x="354" y="319"/>
                    <a:pt x="358" y="326"/>
                    <a:pt x="355" y="328"/>
                  </a:cubicBezTo>
                  <a:cubicBezTo>
                    <a:pt x="353" y="330"/>
                    <a:pt x="336" y="337"/>
                    <a:pt x="336" y="337"/>
                  </a:cubicBezTo>
                  <a:cubicBezTo>
                    <a:pt x="345" y="346"/>
                    <a:pt x="345" y="346"/>
                    <a:pt x="345" y="346"/>
                  </a:cubicBezTo>
                  <a:cubicBezTo>
                    <a:pt x="345" y="346"/>
                    <a:pt x="338" y="346"/>
                    <a:pt x="337" y="347"/>
                  </a:cubicBezTo>
                  <a:cubicBezTo>
                    <a:pt x="336" y="350"/>
                    <a:pt x="340" y="354"/>
                    <a:pt x="337" y="356"/>
                  </a:cubicBezTo>
                  <a:cubicBezTo>
                    <a:pt x="332" y="358"/>
                    <a:pt x="318" y="353"/>
                    <a:pt x="318" y="353"/>
                  </a:cubicBezTo>
                  <a:cubicBezTo>
                    <a:pt x="306" y="362"/>
                    <a:pt x="306" y="362"/>
                    <a:pt x="306" y="362"/>
                  </a:cubicBezTo>
                  <a:cubicBezTo>
                    <a:pt x="306" y="362"/>
                    <a:pt x="311" y="370"/>
                    <a:pt x="307" y="371"/>
                  </a:cubicBezTo>
                  <a:cubicBezTo>
                    <a:pt x="303" y="371"/>
                    <a:pt x="296" y="367"/>
                    <a:pt x="296" y="367"/>
                  </a:cubicBezTo>
                  <a:cubicBezTo>
                    <a:pt x="297" y="382"/>
                    <a:pt x="297" y="382"/>
                    <a:pt x="297" y="382"/>
                  </a:cubicBezTo>
                  <a:cubicBezTo>
                    <a:pt x="292" y="384"/>
                    <a:pt x="292" y="384"/>
                    <a:pt x="292" y="384"/>
                  </a:cubicBezTo>
                  <a:cubicBezTo>
                    <a:pt x="292" y="384"/>
                    <a:pt x="298" y="390"/>
                    <a:pt x="296" y="397"/>
                  </a:cubicBezTo>
                  <a:cubicBezTo>
                    <a:pt x="294" y="402"/>
                    <a:pt x="290" y="414"/>
                    <a:pt x="290" y="414"/>
                  </a:cubicBezTo>
                  <a:cubicBezTo>
                    <a:pt x="258" y="417"/>
                    <a:pt x="258" y="417"/>
                    <a:pt x="258" y="417"/>
                  </a:cubicBezTo>
                  <a:cubicBezTo>
                    <a:pt x="258" y="417"/>
                    <a:pt x="258" y="414"/>
                    <a:pt x="255" y="413"/>
                  </a:cubicBezTo>
                  <a:cubicBezTo>
                    <a:pt x="251" y="413"/>
                    <a:pt x="248" y="415"/>
                    <a:pt x="248" y="415"/>
                  </a:cubicBezTo>
                  <a:cubicBezTo>
                    <a:pt x="248" y="415"/>
                    <a:pt x="236" y="410"/>
                    <a:pt x="234" y="415"/>
                  </a:cubicBezTo>
                  <a:cubicBezTo>
                    <a:pt x="232" y="419"/>
                    <a:pt x="232" y="422"/>
                    <a:pt x="234" y="423"/>
                  </a:cubicBezTo>
                  <a:cubicBezTo>
                    <a:pt x="238" y="423"/>
                    <a:pt x="243" y="422"/>
                    <a:pt x="245" y="428"/>
                  </a:cubicBezTo>
                  <a:cubicBezTo>
                    <a:pt x="247" y="432"/>
                    <a:pt x="255" y="432"/>
                    <a:pt x="254" y="436"/>
                  </a:cubicBezTo>
                  <a:cubicBezTo>
                    <a:pt x="252" y="440"/>
                    <a:pt x="251" y="448"/>
                    <a:pt x="246" y="445"/>
                  </a:cubicBezTo>
                  <a:cubicBezTo>
                    <a:pt x="242" y="442"/>
                    <a:pt x="239" y="436"/>
                    <a:pt x="239" y="433"/>
                  </a:cubicBezTo>
                  <a:cubicBezTo>
                    <a:pt x="239" y="429"/>
                    <a:pt x="238" y="428"/>
                    <a:pt x="232" y="428"/>
                  </a:cubicBezTo>
                  <a:cubicBezTo>
                    <a:pt x="227" y="428"/>
                    <a:pt x="221" y="429"/>
                    <a:pt x="215" y="424"/>
                  </a:cubicBezTo>
                  <a:cubicBezTo>
                    <a:pt x="210" y="420"/>
                    <a:pt x="205" y="419"/>
                    <a:pt x="202" y="422"/>
                  </a:cubicBezTo>
                  <a:cubicBezTo>
                    <a:pt x="199" y="426"/>
                    <a:pt x="198" y="428"/>
                    <a:pt x="194" y="426"/>
                  </a:cubicBezTo>
                  <a:cubicBezTo>
                    <a:pt x="189" y="425"/>
                    <a:pt x="191" y="417"/>
                    <a:pt x="182" y="418"/>
                  </a:cubicBezTo>
                  <a:cubicBezTo>
                    <a:pt x="174" y="419"/>
                    <a:pt x="161" y="431"/>
                    <a:pt x="161" y="431"/>
                  </a:cubicBezTo>
                  <a:cubicBezTo>
                    <a:pt x="153" y="431"/>
                    <a:pt x="153" y="431"/>
                    <a:pt x="153" y="431"/>
                  </a:cubicBezTo>
                  <a:cubicBezTo>
                    <a:pt x="153" y="431"/>
                    <a:pt x="157" y="437"/>
                    <a:pt x="151" y="437"/>
                  </a:cubicBezTo>
                  <a:cubicBezTo>
                    <a:pt x="145" y="438"/>
                    <a:pt x="129" y="428"/>
                    <a:pt x="129" y="428"/>
                  </a:cubicBezTo>
                  <a:cubicBezTo>
                    <a:pt x="125" y="430"/>
                    <a:pt x="125" y="430"/>
                    <a:pt x="125" y="430"/>
                  </a:cubicBezTo>
                  <a:cubicBezTo>
                    <a:pt x="127" y="437"/>
                    <a:pt x="127" y="437"/>
                    <a:pt x="127" y="437"/>
                  </a:cubicBezTo>
                  <a:cubicBezTo>
                    <a:pt x="127" y="437"/>
                    <a:pt x="118" y="437"/>
                    <a:pt x="116" y="441"/>
                  </a:cubicBezTo>
                  <a:cubicBezTo>
                    <a:pt x="114" y="446"/>
                    <a:pt x="123" y="452"/>
                    <a:pt x="119" y="454"/>
                  </a:cubicBezTo>
                  <a:cubicBezTo>
                    <a:pt x="116" y="456"/>
                    <a:pt x="111" y="455"/>
                    <a:pt x="111" y="455"/>
                  </a:cubicBezTo>
                  <a:cubicBezTo>
                    <a:pt x="111" y="455"/>
                    <a:pt x="110" y="468"/>
                    <a:pt x="104" y="466"/>
                  </a:cubicBezTo>
                  <a:cubicBezTo>
                    <a:pt x="99" y="465"/>
                    <a:pt x="105" y="455"/>
                    <a:pt x="102" y="454"/>
                  </a:cubicBezTo>
                  <a:cubicBezTo>
                    <a:pt x="99" y="453"/>
                    <a:pt x="88" y="460"/>
                    <a:pt x="88" y="460"/>
                  </a:cubicBezTo>
                  <a:cubicBezTo>
                    <a:pt x="77" y="460"/>
                    <a:pt x="77" y="460"/>
                    <a:pt x="77" y="460"/>
                  </a:cubicBezTo>
                  <a:cubicBezTo>
                    <a:pt x="84" y="466"/>
                    <a:pt x="84" y="466"/>
                    <a:pt x="84" y="466"/>
                  </a:cubicBezTo>
                  <a:cubicBezTo>
                    <a:pt x="84" y="466"/>
                    <a:pt x="79" y="469"/>
                    <a:pt x="77" y="471"/>
                  </a:cubicBezTo>
                  <a:cubicBezTo>
                    <a:pt x="75" y="473"/>
                    <a:pt x="80" y="480"/>
                    <a:pt x="80" y="482"/>
                  </a:cubicBezTo>
                  <a:cubicBezTo>
                    <a:pt x="80" y="485"/>
                    <a:pt x="70" y="487"/>
                    <a:pt x="71" y="489"/>
                  </a:cubicBezTo>
                  <a:cubicBezTo>
                    <a:pt x="72" y="493"/>
                    <a:pt x="79" y="492"/>
                    <a:pt x="78" y="496"/>
                  </a:cubicBezTo>
                  <a:cubicBezTo>
                    <a:pt x="78" y="499"/>
                    <a:pt x="65" y="507"/>
                    <a:pt x="65" y="507"/>
                  </a:cubicBezTo>
                  <a:cubicBezTo>
                    <a:pt x="59" y="518"/>
                    <a:pt x="59" y="518"/>
                    <a:pt x="59" y="518"/>
                  </a:cubicBezTo>
                  <a:cubicBezTo>
                    <a:pt x="49" y="524"/>
                    <a:pt x="49" y="524"/>
                    <a:pt x="49" y="524"/>
                  </a:cubicBezTo>
                  <a:cubicBezTo>
                    <a:pt x="51" y="534"/>
                    <a:pt x="51" y="534"/>
                    <a:pt x="51" y="534"/>
                  </a:cubicBezTo>
                  <a:cubicBezTo>
                    <a:pt x="51" y="534"/>
                    <a:pt x="61" y="533"/>
                    <a:pt x="59" y="537"/>
                  </a:cubicBezTo>
                  <a:cubicBezTo>
                    <a:pt x="58" y="543"/>
                    <a:pt x="51" y="548"/>
                    <a:pt x="51" y="548"/>
                  </a:cubicBezTo>
                  <a:cubicBezTo>
                    <a:pt x="51" y="548"/>
                    <a:pt x="53" y="564"/>
                    <a:pt x="47" y="565"/>
                  </a:cubicBezTo>
                  <a:cubicBezTo>
                    <a:pt x="41" y="566"/>
                    <a:pt x="36" y="568"/>
                    <a:pt x="36" y="568"/>
                  </a:cubicBezTo>
                  <a:cubicBezTo>
                    <a:pt x="35" y="572"/>
                    <a:pt x="35" y="572"/>
                    <a:pt x="35" y="572"/>
                  </a:cubicBezTo>
                  <a:cubicBezTo>
                    <a:pt x="39" y="572"/>
                    <a:pt x="39" y="572"/>
                    <a:pt x="39" y="572"/>
                  </a:cubicBezTo>
                  <a:cubicBezTo>
                    <a:pt x="39" y="572"/>
                    <a:pt x="49" y="584"/>
                    <a:pt x="53" y="588"/>
                  </a:cubicBezTo>
                  <a:cubicBezTo>
                    <a:pt x="58" y="590"/>
                    <a:pt x="61" y="595"/>
                    <a:pt x="61" y="595"/>
                  </a:cubicBezTo>
                  <a:cubicBezTo>
                    <a:pt x="61" y="595"/>
                    <a:pt x="68" y="587"/>
                    <a:pt x="67" y="596"/>
                  </a:cubicBezTo>
                  <a:cubicBezTo>
                    <a:pt x="66" y="606"/>
                    <a:pt x="60" y="620"/>
                    <a:pt x="54" y="620"/>
                  </a:cubicBezTo>
                  <a:cubicBezTo>
                    <a:pt x="48" y="620"/>
                    <a:pt x="41" y="621"/>
                    <a:pt x="37" y="614"/>
                  </a:cubicBezTo>
                  <a:cubicBezTo>
                    <a:pt x="34" y="609"/>
                    <a:pt x="22" y="600"/>
                    <a:pt x="14" y="600"/>
                  </a:cubicBezTo>
                  <a:cubicBezTo>
                    <a:pt x="4" y="600"/>
                    <a:pt x="0" y="607"/>
                    <a:pt x="1" y="614"/>
                  </a:cubicBezTo>
                  <a:cubicBezTo>
                    <a:pt x="1" y="622"/>
                    <a:pt x="10" y="623"/>
                    <a:pt x="9" y="628"/>
                  </a:cubicBezTo>
                  <a:cubicBezTo>
                    <a:pt x="0" y="643"/>
                    <a:pt x="0" y="643"/>
                    <a:pt x="0" y="643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22" y="676"/>
                    <a:pt x="25" y="685"/>
                  </a:cubicBezTo>
                  <a:cubicBezTo>
                    <a:pt x="28" y="693"/>
                    <a:pt x="22" y="703"/>
                    <a:pt x="22" y="703"/>
                  </a:cubicBezTo>
                  <a:cubicBezTo>
                    <a:pt x="28" y="742"/>
                    <a:pt x="28" y="742"/>
                    <a:pt x="28" y="742"/>
                  </a:cubicBezTo>
                  <a:cubicBezTo>
                    <a:pt x="57" y="736"/>
                    <a:pt x="57" y="736"/>
                    <a:pt x="57" y="736"/>
                  </a:cubicBezTo>
                  <a:cubicBezTo>
                    <a:pt x="57" y="736"/>
                    <a:pt x="57" y="740"/>
                    <a:pt x="60" y="742"/>
                  </a:cubicBezTo>
                  <a:cubicBezTo>
                    <a:pt x="62" y="745"/>
                    <a:pt x="67" y="747"/>
                    <a:pt x="65" y="750"/>
                  </a:cubicBezTo>
                  <a:cubicBezTo>
                    <a:pt x="64" y="752"/>
                    <a:pt x="63" y="759"/>
                    <a:pt x="68" y="760"/>
                  </a:cubicBezTo>
                  <a:cubicBezTo>
                    <a:pt x="74" y="762"/>
                    <a:pt x="86" y="762"/>
                    <a:pt x="86" y="762"/>
                  </a:cubicBezTo>
                  <a:cubicBezTo>
                    <a:pt x="82" y="754"/>
                    <a:pt x="82" y="754"/>
                    <a:pt x="82" y="754"/>
                  </a:cubicBezTo>
                  <a:cubicBezTo>
                    <a:pt x="82" y="754"/>
                    <a:pt x="87" y="755"/>
                    <a:pt x="94" y="753"/>
                  </a:cubicBezTo>
                  <a:cubicBezTo>
                    <a:pt x="101" y="751"/>
                    <a:pt x="98" y="739"/>
                    <a:pt x="108" y="742"/>
                  </a:cubicBezTo>
                  <a:cubicBezTo>
                    <a:pt x="117" y="745"/>
                    <a:pt x="118" y="756"/>
                    <a:pt x="125" y="756"/>
                  </a:cubicBezTo>
                  <a:cubicBezTo>
                    <a:pt x="132" y="756"/>
                    <a:pt x="133" y="752"/>
                    <a:pt x="139" y="754"/>
                  </a:cubicBezTo>
                  <a:cubicBezTo>
                    <a:pt x="144" y="757"/>
                    <a:pt x="149" y="768"/>
                    <a:pt x="157" y="770"/>
                  </a:cubicBezTo>
                  <a:cubicBezTo>
                    <a:pt x="164" y="772"/>
                    <a:pt x="183" y="779"/>
                    <a:pt x="178" y="784"/>
                  </a:cubicBezTo>
                  <a:cubicBezTo>
                    <a:pt x="174" y="788"/>
                    <a:pt x="164" y="782"/>
                    <a:pt x="160" y="787"/>
                  </a:cubicBezTo>
                  <a:cubicBezTo>
                    <a:pt x="156" y="794"/>
                    <a:pt x="157" y="800"/>
                    <a:pt x="166" y="801"/>
                  </a:cubicBezTo>
                  <a:cubicBezTo>
                    <a:pt x="177" y="802"/>
                    <a:pt x="200" y="798"/>
                    <a:pt x="200" y="798"/>
                  </a:cubicBezTo>
                  <a:cubicBezTo>
                    <a:pt x="199" y="794"/>
                    <a:pt x="199" y="794"/>
                    <a:pt x="199" y="794"/>
                  </a:cubicBezTo>
                  <a:cubicBezTo>
                    <a:pt x="196" y="793"/>
                    <a:pt x="196" y="793"/>
                    <a:pt x="196" y="793"/>
                  </a:cubicBezTo>
                  <a:cubicBezTo>
                    <a:pt x="202" y="791"/>
                    <a:pt x="202" y="791"/>
                    <a:pt x="202" y="791"/>
                  </a:cubicBezTo>
                  <a:cubicBezTo>
                    <a:pt x="202" y="788"/>
                    <a:pt x="202" y="788"/>
                    <a:pt x="202" y="788"/>
                  </a:cubicBezTo>
                  <a:cubicBezTo>
                    <a:pt x="198" y="789"/>
                    <a:pt x="198" y="789"/>
                    <a:pt x="198" y="789"/>
                  </a:cubicBezTo>
                  <a:cubicBezTo>
                    <a:pt x="198" y="785"/>
                    <a:pt x="198" y="785"/>
                    <a:pt x="198" y="785"/>
                  </a:cubicBezTo>
                  <a:cubicBezTo>
                    <a:pt x="195" y="782"/>
                    <a:pt x="195" y="782"/>
                    <a:pt x="195" y="782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5" y="779"/>
                    <a:pt x="205" y="779"/>
                    <a:pt x="205" y="779"/>
                  </a:cubicBezTo>
                  <a:cubicBezTo>
                    <a:pt x="209" y="784"/>
                    <a:pt x="209" y="784"/>
                    <a:pt x="209" y="784"/>
                  </a:cubicBezTo>
                  <a:cubicBezTo>
                    <a:pt x="209" y="778"/>
                    <a:pt x="209" y="778"/>
                    <a:pt x="209" y="778"/>
                  </a:cubicBezTo>
                  <a:cubicBezTo>
                    <a:pt x="209" y="778"/>
                    <a:pt x="212" y="780"/>
                    <a:pt x="215" y="775"/>
                  </a:cubicBezTo>
                  <a:cubicBezTo>
                    <a:pt x="219" y="770"/>
                    <a:pt x="218" y="765"/>
                    <a:pt x="218" y="765"/>
                  </a:cubicBezTo>
                  <a:cubicBezTo>
                    <a:pt x="218" y="765"/>
                    <a:pt x="222" y="768"/>
                    <a:pt x="223" y="765"/>
                  </a:cubicBezTo>
                  <a:cubicBezTo>
                    <a:pt x="225" y="763"/>
                    <a:pt x="224" y="756"/>
                    <a:pt x="224" y="756"/>
                  </a:cubicBezTo>
                  <a:cubicBezTo>
                    <a:pt x="228" y="754"/>
                    <a:pt x="228" y="754"/>
                    <a:pt x="228" y="754"/>
                  </a:cubicBezTo>
                  <a:cubicBezTo>
                    <a:pt x="228" y="740"/>
                    <a:pt x="228" y="740"/>
                    <a:pt x="228" y="740"/>
                  </a:cubicBezTo>
                  <a:cubicBezTo>
                    <a:pt x="236" y="740"/>
                    <a:pt x="236" y="740"/>
                    <a:pt x="236" y="740"/>
                  </a:cubicBezTo>
                  <a:cubicBezTo>
                    <a:pt x="235" y="733"/>
                    <a:pt x="235" y="733"/>
                    <a:pt x="235" y="733"/>
                  </a:cubicBezTo>
                  <a:cubicBezTo>
                    <a:pt x="243" y="732"/>
                    <a:pt x="243" y="732"/>
                    <a:pt x="243" y="732"/>
                  </a:cubicBezTo>
                  <a:cubicBezTo>
                    <a:pt x="243" y="732"/>
                    <a:pt x="239" y="722"/>
                    <a:pt x="247" y="714"/>
                  </a:cubicBezTo>
                  <a:cubicBezTo>
                    <a:pt x="256" y="705"/>
                    <a:pt x="262" y="707"/>
                    <a:pt x="262" y="707"/>
                  </a:cubicBezTo>
                  <a:cubicBezTo>
                    <a:pt x="266" y="705"/>
                    <a:pt x="266" y="705"/>
                    <a:pt x="266" y="705"/>
                  </a:cubicBezTo>
                  <a:cubicBezTo>
                    <a:pt x="268" y="707"/>
                    <a:pt x="268" y="707"/>
                    <a:pt x="268" y="707"/>
                  </a:cubicBezTo>
                  <a:cubicBezTo>
                    <a:pt x="270" y="703"/>
                    <a:pt x="270" y="703"/>
                    <a:pt x="270" y="703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81" y="707"/>
                    <a:pt x="281" y="707"/>
                    <a:pt x="281" y="707"/>
                  </a:cubicBezTo>
                  <a:cubicBezTo>
                    <a:pt x="283" y="702"/>
                    <a:pt x="283" y="702"/>
                    <a:pt x="283" y="702"/>
                  </a:cubicBezTo>
                  <a:cubicBezTo>
                    <a:pt x="285" y="708"/>
                    <a:pt x="285" y="708"/>
                    <a:pt x="285" y="708"/>
                  </a:cubicBezTo>
                  <a:cubicBezTo>
                    <a:pt x="290" y="703"/>
                    <a:pt x="290" y="703"/>
                    <a:pt x="290" y="703"/>
                  </a:cubicBezTo>
                  <a:cubicBezTo>
                    <a:pt x="290" y="703"/>
                    <a:pt x="293" y="708"/>
                    <a:pt x="296" y="707"/>
                  </a:cubicBezTo>
                  <a:cubicBezTo>
                    <a:pt x="299" y="706"/>
                    <a:pt x="298" y="699"/>
                    <a:pt x="298" y="699"/>
                  </a:cubicBezTo>
                  <a:cubicBezTo>
                    <a:pt x="304" y="696"/>
                    <a:pt x="304" y="696"/>
                    <a:pt x="304" y="696"/>
                  </a:cubicBezTo>
                  <a:cubicBezTo>
                    <a:pt x="304" y="696"/>
                    <a:pt x="301" y="687"/>
                    <a:pt x="304" y="685"/>
                  </a:cubicBezTo>
                  <a:cubicBezTo>
                    <a:pt x="307" y="683"/>
                    <a:pt x="309" y="688"/>
                    <a:pt x="309" y="688"/>
                  </a:cubicBezTo>
                  <a:cubicBezTo>
                    <a:pt x="318" y="683"/>
                    <a:pt x="318" y="683"/>
                    <a:pt x="318" y="683"/>
                  </a:cubicBezTo>
                  <a:cubicBezTo>
                    <a:pt x="318" y="683"/>
                    <a:pt x="318" y="677"/>
                    <a:pt x="322" y="677"/>
                  </a:cubicBezTo>
                  <a:cubicBezTo>
                    <a:pt x="326" y="677"/>
                    <a:pt x="326" y="679"/>
                    <a:pt x="326" y="679"/>
                  </a:cubicBezTo>
                  <a:cubicBezTo>
                    <a:pt x="332" y="678"/>
                    <a:pt x="332" y="678"/>
                    <a:pt x="332" y="678"/>
                  </a:cubicBezTo>
                  <a:cubicBezTo>
                    <a:pt x="332" y="678"/>
                    <a:pt x="333" y="684"/>
                    <a:pt x="337" y="685"/>
                  </a:cubicBezTo>
                  <a:cubicBezTo>
                    <a:pt x="340" y="685"/>
                    <a:pt x="345" y="682"/>
                    <a:pt x="345" y="685"/>
                  </a:cubicBezTo>
                  <a:cubicBezTo>
                    <a:pt x="345" y="689"/>
                    <a:pt x="337" y="691"/>
                    <a:pt x="337" y="691"/>
                  </a:cubicBezTo>
                  <a:cubicBezTo>
                    <a:pt x="338" y="696"/>
                    <a:pt x="338" y="696"/>
                    <a:pt x="338" y="696"/>
                  </a:cubicBezTo>
                  <a:cubicBezTo>
                    <a:pt x="341" y="694"/>
                    <a:pt x="341" y="694"/>
                    <a:pt x="341" y="694"/>
                  </a:cubicBezTo>
                  <a:cubicBezTo>
                    <a:pt x="342" y="701"/>
                    <a:pt x="342" y="701"/>
                    <a:pt x="342" y="701"/>
                  </a:cubicBezTo>
                  <a:cubicBezTo>
                    <a:pt x="352" y="703"/>
                    <a:pt x="352" y="703"/>
                    <a:pt x="352" y="703"/>
                  </a:cubicBezTo>
                  <a:cubicBezTo>
                    <a:pt x="352" y="706"/>
                    <a:pt x="352" y="706"/>
                    <a:pt x="352" y="706"/>
                  </a:cubicBezTo>
                  <a:cubicBezTo>
                    <a:pt x="346" y="706"/>
                    <a:pt x="346" y="706"/>
                    <a:pt x="346" y="706"/>
                  </a:cubicBezTo>
                  <a:cubicBezTo>
                    <a:pt x="348" y="713"/>
                    <a:pt x="348" y="713"/>
                    <a:pt x="348" y="713"/>
                  </a:cubicBezTo>
                  <a:cubicBezTo>
                    <a:pt x="357" y="709"/>
                    <a:pt x="357" y="709"/>
                    <a:pt x="357" y="709"/>
                  </a:cubicBezTo>
                  <a:cubicBezTo>
                    <a:pt x="357" y="709"/>
                    <a:pt x="357" y="716"/>
                    <a:pt x="359" y="718"/>
                  </a:cubicBezTo>
                  <a:cubicBezTo>
                    <a:pt x="361" y="720"/>
                    <a:pt x="364" y="725"/>
                    <a:pt x="363" y="732"/>
                  </a:cubicBezTo>
                  <a:cubicBezTo>
                    <a:pt x="363" y="738"/>
                    <a:pt x="361" y="741"/>
                    <a:pt x="361" y="748"/>
                  </a:cubicBezTo>
                  <a:cubicBezTo>
                    <a:pt x="361" y="753"/>
                    <a:pt x="367" y="760"/>
                    <a:pt x="367" y="760"/>
                  </a:cubicBezTo>
                  <a:cubicBezTo>
                    <a:pt x="391" y="756"/>
                    <a:pt x="391" y="756"/>
                    <a:pt x="391" y="756"/>
                  </a:cubicBezTo>
                  <a:cubicBezTo>
                    <a:pt x="391" y="756"/>
                    <a:pt x="388" y="767"/>
                    <a:pt x="381" y="768"/>
                  </a:cubicBezTo>
                  <a:cubicBezTo>
                    <a:pt x="374" y="770"/>
                    <a:pt x="366" y="769"/>
                    <a:pt x="362" y="772"/>
                  </a:cubicBezTo>
                  <a:cubicBezTo>
                    <a:pt x="358" y="776"/>
                    <a:pt x="350" y="784"/>
                    <a:pt x="346" y="786"/>
                  </a:cubicBezTo>
                  <a:cubicBezTo>
                    <a:pt x="342" y="788"/>
                    <a:pt x="331" y="789"/>
                    <a:pt x="331" y="789"/>
                  </a:cubicBezTo>
                  <a:cubicBezTo>
                    <a:pt x="330" y="799"/>
                    <a:pt x="330" y="799"/>
                    <a:pt x="330" y="799"/>
                  </a:cubicBezTo>
                  <a:cubicBezTo>
                    <a:pt x="323" y="801"/>
                    <a:pt x="323" y="801"/>
                    <a:pt x="323" y="801"/>
                  </a:cubicBezTo>
                  <a:cubicBezTo>
                    <a:pt x="323" y="801"/>
                    <a:pt x="321" y="810"/>
                    <a:pt x="321" y="814"/>
                  </a:cubicBezTo>
                  <a:cubicBezTo>
                    <a:pt x="321" y="818"/>
                    <a:pt x="326" y="823"/>
                    <a:pt x="326" y="823"/>
                  </a:cubicBezTo>
                  <a:cubicBezTo>
                    <a:pt x="326" y="823"/>
                    <a:pt x="323" y="823"/>
                    <a:pt x="321" y="825"/>
                  </a:cubicBezTo>
                  <a:cubicBezTo>
                    <a:pt x="318" y="827"/>
                    <a:pt x="317" y="831"/>
                    <a:pt x="317" y="831"/>
                  </a:cubicBezTo>
                  <a:cubicBezTo>
                    <a:pt x="313" y="834"/>
                    <a:pt x="313" y="834"/>
                    <a:pt x="313" y="834"/>
                  </a:cubicBezTo>
                  <a:cubicBezTo>
                    <a:pt x="314" y="838"/>
                    <a:pt x="314" y="838"/>
                    <a:pt x="314" y="838"/>
                  </a:cubicBezTo>
                  <a:cubicBezTo>
                    <a:pt x="322" y="836"/>
                    <a:pt x="322" y="836"/>
                    <a:pt x="322" y="836"/>
                  </a:cubicBezTo>
                  <a:cubicBezTo>
                    <a:pt x="321" y="842"/>
                    <a:pt x="321" y="842"/>
                    <a:pt x="321" y="842"/>
                  </a:cubicBezTo>
                  <a:cubicBezTo>
                    <a:pt x="327" y="840"/>
                    <a:pt x="327" y="840"/>
                    <a:pt x="327" y="840"/>
                  </a:cubicBezTo>
                  <a:cubicBezTo>
                    <a:pt x="328" y="842"/>
                    <a:pt x="328" y="842"/>
                    <a:pt x="328" y="842"/>
                  </a:cubicBezTo>
                  <a:cubicBezTo>
                    <a:pt x="337" y="842"/>
                    <a:pt x="337" y="842"/>
                    <a:pt x="337" y="842"/>
                  </a:cubicBezTo>
                  <a:cubicBezTo>
                    <a:pt x="337" y="842"/>
                    <a:pt x="339" y="846"/>
                    <a:pt x="342" y="846"/>
                  </a:cubicBezTo>
                  <a:cubicBezTo>
                    <a:pt x="346" y="845"/>
                    <a:pt x="349" y="840"/>
                    <a:pt x="352" y="843"/>
                  </a:cubicBezTo>
                  <a:cubicBezTo>
                    <a:pt x="355" y="847"/>
                    <a:pt x="345" y="850"/>
                    <a:pt x="345" y="850"/>
                  </a:cubicBezTo>
                  <a:cubicBezTo>
                    <a:pt x="345" y="850"/>
                    <a:pt x="344" y="860"/>
                    <a:pt x="340" y="859"/>
                  </a:cubicBezTo>
                  <a:cubicBezTo>
                    <a:pt x="336" y="858"/>
                    <a:pt x="323" y="857"/>
                    <a:pt x="323" y="857"/>
                  </a:cubicBezTo>
                  <a:cubicBezTo>
                    <a:pt x="323" y="857"/>
                    <a:pt x="316" y="863"/>
                    <a:pt x="312" y="864"/>
                  </a:cubicBezTo>
                  <a:cubicBezTo>
                    <a:pt x="309" y="865"/>
                    <a:pt x="297" y="866"/>
                    <a:pt x="301" y="879"/>
                  </a:cubicBezTo>
                  <a:cubicBezTo>
                    <a:pt x="306" y="891"/>
                    <a:pt x="314" y="889"/>
                    <a:pt x="321" y="886"/>
                  </a:cubicBezTo>
                  <a:cubicBezTo>
                    <a:pt x="328" y="883"/>
                    <a:pt x="336" y="879"/>
                    <a:pt x="341" y="886"/>
                  </a:cubicBezTo>
                  <a:cubicBezTo>
                    <a:pt x="346" y="891"/>
                    <a:pt x="363" y="907"/>
                    <a:pt x="367" y="906"/>
                  </a:cubicBezTo>
                  <a:cubicBezTo>
                    <a:pt x="373" y="906"/>
                    <a:pt x="378" y="904"/>
                    <a:pt x="385" y="913"/>
                  </a:cubicBezTo>
                  <a:cubicBezTo>
                    <a:pt x="391" y="922"/>
                    <a:pt x="390" y="931"/>
                    <a:pt x="390" y="931"/>
                  </a:cubicBezTo>
                  <a:cubicBezTo>
                    <a:pt x="393" y="931"/>
                    <a:pt x="393" y="931"/>
                    <a:pt x="393" y="931"/>
                  </a:cubicBezTo>
                  <a:cubicBezTo>
                    <a:pt x="397" y="925"/>
                    <a:pt x="397" y="925"/>
                    <a:pt x="397" y="925"/>
                  </a:cubicBezTo>
                  <a:cubicBezTo>
                    <a:pt x="402" y="925"/>
                    <a:pt x="402" y="925"/>
                    <a:pt x="402" y="925"/>
                  </a:cubicBezTo>
                  <a:cubicBezTo>
                    <a:pt x="402" y="925"/>
                    <a:pt x="402" y="921"/>
                    <a:pt x="406" y="920"/>
                  </a:cubicBezTo>
                  <a:cubicBezTo>
                    <a:pt x="408" y="920"/>
                    <a:pt x="408" y="920"/>
                    <a:pt x="408" y="920"/>
                  </a:cubicBezTo>
                  <a:cubicBezTo>
                    <a:pt x="408" y="320"/>
                    <a:pt x="408" y="320"/>
                    <a:pt x="408" y="320"/>
                  </a:cubicBezTo>
                  <a:cubicBezTo>
                    <a:pt x="399" y="324"/>
                    <a:pt x="387" y="331"/>
                    <a:pt x="379" y="327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9" name="Aserbaidschan" descr="© INSCALE GmbH, 05.05.2010&#10;http://www.presentationload.com/">
              <a:extLst>
                <a:ext uri="{FF2B5EF4-FFF2-40B4-BE49-F238E27FC236}">
                  <a16:creationId xmlns:a16="http://schemas.microsoft.com/office/drawing/2014/main" id="{5529BB09-426F-5E45-9E22-E62931A758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01070" y="4768787"/>
              <a:ext cx="542930" cy="584187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0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BFDF641-D34A-5444-AC30-FB96ABFD25A0}"/>
                </a:ext>
              </a:extLst>
            </p:cNvPr>
            <p:cNvSpPr>
              <a:spLocks/>
            </p:cNvSpPr>
            <p:nvPr/>
          </p:nvSpPr>
          <p:spPr bwMode="gray">
            <a:xfrm>
              <a:off x="8635723" y="5098836"/>
              <a:ext cx="508277" cy="696405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Irak" descr="© INSCALE GmbH, 05.05.2010&#10;http://www.presentationload.com/">
              <a:extLst>
                <a:ext uri="{FF2B5EF4-FFF2-40B4-BE49-F238E27FC236}">
                  <a16:creationId xmlns:a16="http://schemas.microsoft.com/office/drawing/2014/main" id="{9C4718FA-0804-CE45-8B48-D61ECC20E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98088" y="5654970"/>
              <a:ext cx="745912" cy="1082562"/>
            </a:xfrm>
            <a:custGeom>
              <a:avLst/>
              <a:gdLst/>
              <a:ahLst/>
              <a:cxnLst>
                <a:cxn ang="0">
                  <a:pos x="312" y="46"/>
                </a:cxn>
                <a:cxn ang="0">
                  <a:pos x="312" y="47"/>
                </a:cxn>
                <a:cxn ang="0">
                  <a:pos x="306" y="42"/>
                </a:cxn>
                <a:cxn ang="0">
                  <a:pos x="292" y="55"/>
                </a:cxn>
                <a:cxn ang="0">
                  <a:pos x="276" y="50"/>
                </a:cxn>
                <a:cxn ang="0">
                  <a:pos x="264" y="60"/>
                </a:cxn>
                <a:cxn ang="0">
                  <a:pos x="264" y="49"/>
                </a:cxn>
                <a:cxn ang="0">
                  <a:pos x="253" y="44"/>
                </a:cxn>
                <a:cxn ang="0">
                  <a:pos x="245" y="31"/>
                </a:cxn>
                <a:cxn ang="0">
                  <a:pos x="234" y="35"/>
                </a:cxn>
                <a:cxn ang="0">
                  <a:pos x="227" y="20"/>
                </a:cxn>
                <a:cxn ang="0">
                  <a:pos x="213" y="21"/>
                </a:cxn>
                <a:cxn ang="0">
                  <a:pos x="211" y="18"/>
                </a:cxn>
                <a:cxn ang="0">
                  <a:pos x="214" y="8"/>
                </a:cxn>
                <a:cxn ang="0">
                  <a:pos x="203" y="7"/>
                </a:cxn>
                <a:cxn ang="0">
                  <a:pos x="200" y="2"/>
                </a:cxn>
                <a:cxn ang="0">
                  <a:pos x="191" y="3"/>
                </a:cxn>
                <a:cxn ang="0">
                  <a:pos x="182" y="22"/>
                </a:cxn>
                <a:cxn ang="0">
                  <a:pos x="175" y="20"/>
                </a:cxn>
                <a:cxn ang="0">
                  <a:pos x="168" y="5"/>
                </a:cxn>
                <a:cxn ang="0">
                  <a:pos x="155" y="18"/>
                </a:cxn>
                <a:cxn ang="0">
                  <a:pos x="126" y="22"/>
                </a:cxn>
                <a:cxn ang="0">
                  <a:pos x="126" y="26"/>
                </a:cxn>
                <a:cxn ang="0">
                  <a:pos x="113" y="26"/>
                </a:cxn>
                <a:cxn ang="0">
                  <a:pos x="110" y="33"/>
                </a:cxn>
                <a:cxn ang="0">
                  <a:pos x="90" y="33"/>
                </a:cxn>
                <a:cxn ang="0">
                  <a:pos x="96" y="50"/>
                </a:cxn>
                <a:cxn ang="0">
                  <a:pos x="84" y="56"/>
                </a:cxn>
                <a:cxn ang="0">
                  <a:pos x="85" y="69"/>
                </a:cxn>
                <a:cxn ang="0">
                  <a:pos x="79" y="77"/>
                </a:cxn>
                <a:cxn ang="0">
                  <a:pos x="70" y="101"/>
                </a:cxn>
                <a:cxn ang="0">
                  <a:pos x="51" y="117"/>
                </a:cxn>
                <a:cxn ang="0">
                  <a:pos x="57" y="147"/>
                </a:cxn>
                <a:cxn ang="0">
                  <a:pos x="72" y="164"/>
                </a:cxn>
                <a:cxn ang="0">
                  <a:pos x="77" y="200"/>
                </a:cxn>
                <a:cxn ang="0">
                  <a:pos x="90" y="226"/>
                </a:cxn>
                <a:cxn ang="0">
                  <a:pos x="91" y="239"/>
                </a:cxn>
                <a:cxn ang="0">
                  <a:pos x="88" y="240"/>
                </a:cxn>
                <a:cxn ang="0">
                  <a:pos x="89" y="256"/>
                </a:cxn>
                <a:cxn ang="0">
                  <a:pos x="87" y="257"/>
                </a:cxn>
                <a:cxn ang="0">
                  <a:pos x="0" y="371"/>
                </a:cxn>
                <a:cxn ang="0">
                  <a:pos x="57" y="432"/>
                </a:cxn>
                <a:cxn ang="0">
                  <a:pos x="101" y="425"/>
                </a:cxn>
                <a:cxn ang="0">
                  <a:pos x="203" y="436"/>
                </a:cxn>
                <a:cxn ang="0">
                  <a:pos x="298" y="438"/>
                </a:cxn>
                <a:cxn ang="0">
                  <a:pos x="312" y="455"/>
                </a:cxn>
                <a:cxn ang="0">
                  <a:pos x="312" y="46"/>
                </a:cxn>
              </a:cxnLst>
              <a:rect l="0" t="0" r="r" b="b"/>
              <a:pathLst>
                <a:path w="312" h="455">
                  <a:moveTo>
                    <a:pt x="312" y="46"/>
                  </a:moveTo>
                  <a:cubicBezTo>
                    <a:pt x="312" y="47"/>
                    <a:pt x="312" y="47"/>
                    <a:pt x="312" y="47"/>
                  </a:cubicBezTo>
                  <a:cubicBezTo>
                    <a:pt x="306" y="42"/>
                    <a:pt x="306" y="42"/>
                    <a:pt x="306" y="42"/>
                  </a:cubicBezTo>
                  <a:cubicBezTo>
                    <a:pt x="306" y="42"/>
                    <a:pt x="297" y="52"/>
                    <a:pt x="292" y="55"/>
                  </a:cubicBezTo>
                  <a:cubicBezTo>
                    <a:pt x="286" y="57"/>
                    <a:pt x="281" y="51"/>
                    <a:pt x="276" y="50"/>
                  </a:cubicBezTo>
                  <a:cubicBezTo>
                    <a:pt x="271" y="49"/>
                    <a:pt x="264" y="60"/>
                    <a:pt x="264" y="6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4" y="49"/>
                    <a:pt x="258" y="48"/>
                    <a:pt x="253" y="44"/>
                  </a:cubicBezTo>
                  <a:cubicBezTo>
                    <a:pt x="250" y="39"/>
                    <a:pt x="245" y="31"/>
                    <a:pt x="245" y="31"/>
                  </a:cubicBezTo>
                  <a:cubicBezTo>
                    <a:pt x="245" y="31"/>
                    <a:pt x="242" y="36"/>
                    <a:pt x="234" y="35"/>
                  </a:cubicBezTo>
                  <a:cubicBezTo>
                    <a:pt x="227" y="34"/>
                    <a:pt x="230" y="22"/>
                    <a:pt x="227" y="20"/>
                  </a:cubicBezTo>
                  <a:cubicBezTo>
                    <a:pt x="222" y="18"/>
                    <a:pt x="213" y="21"/>
                    <a:pt x="213" y="21"/>
                  </a:cubicBezTo>
                  <a:cubicBezTo>
                    <a:pt x="211" y="18"/>
                    <a:pt x="211" y="18"/>
                    <a:pt x="211" y="18"/>
                  </a:cubicBezTo>
                  <a:cubicBezTo>
                    <a:pt x="211" y="18"/>
                    <a:pt x="214" y="14"/>
                    <a:pt x="214" y="8"/>
                  </a:cubicBezTo>
                  <a:cubicBezTo>
                    <a:pt x="213" y="4"/>
                    <a:pt x="203" y="7"/>
                    <a:pt x="203" y="7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2"/>
                    <a:pt x="193" y="0"/>
                    <a:pt x="191" y="3"/>
                  </a:cubicBezTo>
                  <a:cubicBezTo>
                    <a:pt x="188" y="7"/>
                    <a:pt x="182" y="22"/>
                    <a:pt x="182" y="22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75" y="20"/>
                    <a:pt x="180" y="5"/>
                    <a:pt x="168" y="5"/>
                  </a:cubicBezTo>
                  <a:cubicBezTo>
                    <a:pt x="156" y="5"/>
                    <a:pt x="155" y="18"/>
                    <a:pt x="155" y="18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5" y="65"/>
                    <a:pt x="85" y="69"/>
                  </a:cubicBezTo>
                  <a:cubicBezTo>
                    <a:pt x="85" y="72"/>
                    <a:pt x="79" y="77"/>
                    <a:pt x="79" y="77"/>
                  </a:cubicBezTo>
                  <a:cubicBezTo>
                    <a:pt x="79" y="77"/>
                    <a:pt x="77" y="90"/>
                    <a:pt x="70" y="101"/>
                  </a:cubicBezTo>
                  <a:cubicBezTo>
                    <a:pt x="65" y="113"/>
                    <a:pt x="56" y="111"/>
                    <a:pt x="51" y="117"/>
                  </a:cubicBezTo>
                  <a:cubicBezTo>
                    <a:pt x="47" y="125"/>
                    <a:pt x="53" y="139"/>
                    <a:pt x="57" y="147"/>
                  </a:cubicBezTo>
                  <a:cubicBezTo>
                    <a:pt x="61" y="157"/>
                    <a:pt x="68" y="156"/>
                    <a:pt x="72" y="164"/>
                  </a:cubicBezTo>
                  <a:cubicBezTo>
                    <a:pt x="78" y="172"/>
                    <a:pt x="73" y="184"/>
                    <a:pt x="77" y="200"/>
                  </a:cubicBezTo>
                  <a:cubicBezTo>
                    <a:pt x="80" y="215"/>
                    <a:pt x="90" y="226"/>
                    <a:pt x="90" y="226"/>
                  </a:cubicBezTo>
                  <a:cubicBezTo>
                    <a:pt x="91" y="239"/>
                    <a:pt x="91" y="239"/>
                    <a:pt x="91" y="239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57" y="432"/>
                    <a:pt x="57" y="432"/>
                    <a:pt x="57" y="432"/>
                  </a:cubicBezTo>
                  <a:cubicBezTo>
                    <a:pt x="57" y="432"/>
                    <a:pt x="87" y="425"/>
                    <a:pt x="101" y="425"/>
                  </a:cubicBezTo>
                  <a:cubicBezTo>
                    <a:pt x="114" y="425"/>
                    <a:pt x="176" y="436"/>
                    <a:pt x="203" y="436"/>
                  </a:cubicBezTo>
                  <a:cubicBezTo>
                    <a:pt x="230" y="438"/>
                    <a:pt x="298" y="438"/>
                    <a:pt x="298" y="438"/>
                  </a:cubicBezTo>
                  <a:cubicBezTo>
                    <a:pt x="312" y="455"/>
                    <a:pt x="312" y="455"/>
                    <a:pt x="312" y="455"/>
                  </a:cubicBezTo>
                  <a:lnTo>
                    <a:pt x="312" y="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2" name="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34E1E18-0A34-5041-93BF-BF8328D2C7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85402" y="889056"/>
              <a:ext cx="3658598" cy="4107465"/>
            </a:xfrm>
            <a:custGeom>
              <a:avLst/>
              <a:gdLst/>
              <a:ahLst/>
              <a:cxnLst>
                <a:cxn ang="0">
                  <a:pos x="24" y="1219"/>
                </a:cxn>
                <a:cxn ang="0">
                  <a:pos x="8" y="1240"/>
                </a:cxn>
                <a:cxn ang="0">
                  <a:pos x="229" y="230"/>
                </a:cxn>
                <a:cxn ang="0">
                  <a:pos x="352" y="472"/>
                </a:cxn>
                <a:cxn ang="0">
                  <a:pos x="677" y="24"/>
                </a:cxn>
                <a:cxn ang="0">
                  <a:pos x="626" y="78"/>
                </a:cxn>
                <a:cxn ang="0">
                  <a:pos x="603" y="203"/>
                </a:cxn>
                <a:cxn ang="0">
                  <a:pos x="448" y="151"/>
                </a:cxn>
                <a:cxn ang="0">
                  <a:pos x="531" y="298"/>
                </a:cxn>
                <a:cxn ang="0">
                  <a:pos x="472" y="442"/>
                </a:cxn>
                <a:cxn ang="0">
                  <a:pos x="434" y="468"/>
                </a:cxn>
                <a:cxn ang="0">
                  <a:pos x="423" y="504"/>
                </a:cxn>
                <a:cxn ang="0">
                  <a:pos x="396" y="529"/>
                </a:cxn>
                <a:cxn ang="0">
                  <a:pos x="342" y="498"/>
                </a:cxn>
                <a:cxn ang="0">
                  <a:pos x="275" y="414"/>
                </a:cxn>
                <a:cxn ang="0">
                  <a:pos x="257" y="401"/>
                </a:cxn>
                <a:cxn ang="0">
                  <a:pos x="215" y="380"/>
                </a:cxn>
                <a:cxn ang="0">
                  <a:pos x="297" y="390"/>
                </a:cxn>
                <a:cxn ang="0">
                  <a:pos x="444" y="343"/>
                </a:cxn>
                <a:cxn ang="0">
                  <a:pos x="386" y="262"/>
                </a:cxn>
                <a:cxn ang="0">
                  <a:pos x="269" y="230"/>
                </a:cxn>
                <a:cxn ang="0">
                  <a:pos x="212" y="247"/>
                </a:cxn>
                <a:cxn ang="0">
                  <a:pos x="186" y="232"/>
                </a:cxn>
                <a:cxn ang="0">
                  <a:pos x="188" y="225"/>
                </a:cxn>
                <a:cxn ang="0">
                  <a:pos x="143" y="237"/>
                </a:cxn>
                <a:cxn ang="0">
                  <a:pos x="160" y="363"/>
                </a:cxn>
                <a:cxn ang="0">
                  <a:pos x="216" y="541"/>
                </a:cxn>
                <a:cxn ang="0">
                  <a:pos x="237" y="775"/>
                </a:cxn>
                <a:cxn ang="0">
                  <a:pos x="246" y="825"/>
                </a:cxn>
                <a:cxn ang="0">
                  <a:pos x="239" y="876"/>
                </a:cxn>
                <a:cxn ang="0">
                  <a:pos x="242" y="1006"/>
                </a:cxn>
                <a:cxn ang="0">
                  <a:pos x="289" y="1074"/>
                </a:cxn>
                <a:cxn ang="0">
                  <a:pos x="413" y="1136"/>
                </a:cxn>
                <a:cxn ang="0">
                  <a:pos x="490" y="1247"/>
                </a:cxn>
                <a:cxn ang="0">
                  <a:pos x="560" y="1265"/>
                </a:cxn>
                <a:cxn ang="0">
                  <a:pos x="648" y="1333"/>
                </a:cxn>
                <a:cxn ang="0">
                  <a:pos x="764" y="1354"/>
                </a:cxn>
                <a:cxn ang="0">
                  <a:pos x="862" y="1350"/>
                </a:cxn>
                <a:cxn ang="0">
                  <a:pos x="900" y="1455"/>
                </a:cxn>
                <a:cxn ang="0">
                  <a:pos x="871" y="1537"/>
                </a:cxn>
                <a:cxn ang="0">
                  <a:pos x="862" y="1623"/>
                </a:cxn>
                <a:cxn ang="0">
                  <a:pos x="903" y="1684"/>
                </a:cxn>
                <a:cxn ang="0">
                  <a:pos x="1047" y="1703"/>
                </a:cxn>
                <a:cxn ang="0">
                  <a:pos x="1233" y="1674"/>
                </a:cxn>
                <a:cxn ang="0">
                  <a:pos x="1408" y="1689"/>
                </a:cxn>
                <a:cxn ang="0">
                  <a:pos x="1341" y="1543"/>
                </a:cxn>
                <a:cxn ang="0">
                  <a:pos x="1283" y="1465"/>
                </a:cxn>
                <a:cxn ang="0">
                  <a:pos x="1320" y="1398"/>
                </a:cxn>
                <a:cxn ang="0">
                  <a:pos x="1281" y="1326"/>
                </a:cxn>
                <a:cxn ang="0">
                  <a:pos x="1133" y="1184"/>
                </a:cxn>
                <a:cxn ang="0">
                  <a:pos x="1183" y="1074"/>
                </a:cxn>
                <a:cxn ang="0">
                  <a:pos x="1253" y="984"/>
                </a:cxn>
                <a:cxn ang="0">
                  <a:pos x="1379" y="969"/>
                </a:cxn>
                <a:cxn ang="0">
                  <a:pos x="1488" y="872"/>
                </a:cxn>
                <a:cxn ang="0">
                  <a:pos x="1496" y="707"/>
                </a:cxn>
                <a:cxn ang="0">
                  <a:pos x="1446" y="669"/>
                </a:cxn>
                <a:cxn ang="0">
                  <a:pos x="1519" y="575"/>
                </a:cxn>
                <a:cxn ang="0">
                  <a:pos x="266" y="764"/>
                </a:cxn>
                <a:cxn ang="0">
                  <a:pos x="356" y="755"/>
                </a:cxn>
                <a:cxn ang="0">
                  <a:pos x="381" y="658"/>
                </a:cxn>
                <a:cxn ang="0">
                  <a:pos x="422" y="650"/>
                </a:cxn>
                <a:cxn ang="0">
                  <a:pos x="464" y="712"/>
                </a:cxn>
              </a:cxnLst>
              <a:rect l="0" t="0" r="r" b="b"/>
              <a:pathLst>
                <a:path w="1532" h="1721">
                  <a:moveTo>
                    <a:pt x="113" y="1210"/>
                  </a:moveTo>
                  <a:cubicBezTo>
                    <a:pt x="110" y="1208"/>
                    <a:pt x="101" y="1201"/>
                    <a:pt x="101" y="1201"/>
                  </a:cubicBezTo>
                  <a:cubicBezTo>
                    <a:pt x="90" y="1201"/>
                    <a:pt x="90" y="1201"/>
                    <a:pt x="90" y="1201"/>
                  </a:cubicBezTo>
                  <a:cubicBezTo>
                    <a:pt x="80" y="1205"/>
                    <a:pt x="80" y="1205"/>
                    <a:pt x="80" y="1205"/>
                  </a:cubicBezTo>
                  <a:cubicBezTo>
                    <a:pt x="79" y="1201"/>
                    <a:pt x="79" y="1201"/>
                    <a:pt x="79" y="1201"/>
                  </a:cubicBezTo>
                  <a:cubicBezTo>
                    <a:pt x="79" y="1201"/>
                    <a:pt x="73" y="1203"/>
                    <a:pt x="69" y="1200"/>
                  </a:cubicBezTo>
                  <a:cubicBezTo>
                    <a:pt x="64" y="1198"/>
                    <a:pt x="62" y="1197"/>
                    <a:pt x="62" y="1197"/>
                  </a:cubicBezTo>
                  <a:cubicBezTo>
                    <a:pt x="56" y="1198"/>
                    <a:pt x="56" y="1198"/>
                    <a:pt x="56" y="1198"/>
                  </a:cubicBezTo>
                  <a:cubicBezTo>
                    <a:pt x="51" y="1194"/>
                    <a:pt x="51" y="1194"/>
                    <a:pt x="51" y="1194"/>
                  </a:cubicBezTo>
                  <a:cubicBezTo>
                    <a:pt x="49" y="1199"/>
                    <a:pt x="49" y="1199"/>
                    <a:pt x="49" y="1199"/>
                  </a:cubicBezTo>
                  <a:cubicBezTo>
                    <a:pt x="46" y="1199"/>
                    <a:pt x="46" y="1199"/>
                    <a:pt x="46" y="1199"/>
                  </a:cubicBezTo>
                  <a:cubicBezTo>
                    <a:pt x="51" y="1215"/>
                    <a:pt x="51" y="1215"/>
                    <a:pt x="51" y="1215"/>
                  </a:cubicBezTo>
                  <a:cubicBezTo>
                    <a:pt x="44" y="1219"/>
                    <a:pt x="44" y="1219"/>
                    <a:pt x="44" y="1219"/>
                  </a:cubicBezTo>
                  <a:cubicBezTo>
                    <a:pt x="37" y="1219"/>
                    <a:pt x="37" y="1219"/>
                    <a:pt x="37" y="1219"/>
                  </a:cubicBezTo>
                  <a:cubicBezTo>
                    <a:pt x="37" y="1219"/>
                    <a:pt x="33" y="1218"/>
                    <a:pt x="32" y="1218"/>
                  </a:cubicBezTo>
                  <a:cubicBezTo>
                    <a:pt x="31" y="1218"/>
                    <a:pt x="24" y="1219"/>
                    <a:pt x="24" y="1219"/>
                  </a:cubicBezTo>
                  <a:cubicBezTo>
                    <a:pt x="36" y="1202"/>
                    <a:pt x="36" y="1202"/>
                    <a:pt x="36" y="1202"/>
                  </a:cubicBezTo>
                  <a:cubicBezTo>
                    <a:pt x="36" y="1198"/>
                    <a:pt x="36" y="1198"/>
                    <a:pt x="36" y="1198"/>
                  </a:cubicBezTo>
                  <a:cubicBezTo>
                    <a:pt x="41" y="1193"/>
                    <a:pt x="41" y="1193"/>
                    <a:pt x="41" y="1193"/>
                  </a:cubicBezTo>
                  <a:cubicBezTo>
                    <a:pt x="39" y="1191"/>
                    <a:pt x="39" y="1191"/>
                    <a:pt x="39" y="1191"/>
                  </a:cubicBezTo>
                  <a:cubicBezTo>
                    <a:pt x="37" y="1192"/>
                    <a:pt x="37" y="1192"/>
                    <a:pt x="37" y="1192"/>
                  </a:cubicBezTo>
                  <a:cubicBezTo>
                    <a:pt x="32" y="1202"/>
                    <a:pt x="32" y="1202"/>
                    <a:pt x="32" y="1202"/>
                  </a:cubicBezTo>
                  <a:cubicBezTo>
                    <a:pt x="23" y="1215"/>
                    <a:pt x="23" y="1215"/>
                    <a:pt x="23" y="1215"/>
                  </a:cubicBezTo>
                  <a:cubicBezTo>
                    <a:pt x="20" y="1218"/>
                    <a:pt x="20" y="1218"/>
                    <a:pt x="20" y="1218"/>
                  </a:cubicBezTo>
                  <a:cubicBezTo>
                    <a:pt x="2" y="1221"/>
                    <a:pt x="2" y="1221"/>
                    <a:pt x="2" y="1221"/>
                  </a:cubicBezTo>
                  <a:cubicBezTo>
                    <a:pt x="0" y="1226"/>
                    <a:pt x="0" y="1226"/>
                    <a:pt x="0" y="1226"/>
                  </a:cubicBezTo>
                  <a:cubicBezTo>
                    <a:pt x="3" y="1230"/>
                    <a:pt x="3" y="1230"/>
                    <a:pt x="3" y="1230"/>
                  </a:cubicBezTo>
                  <a:cubicBezTo>
                    <a:pt x="0" y="1241"/>
                    <a:pt x="0" y="1241"/>
                    <a:pt x="0" y="1241"/>
                  </a:cubicBezTo>
                  <a:cubicBezTo>
                    <a:pt x="3" y="1242"/>
                    <a:pt x="3" y="1242"/>
                    <a:pt x="3" y="1242"/>
                  </a:cubicBezTo>
                  <a:cubicBezTo>
                    <a:pt x="4" y="1239"/>
                    <a:pt x="4" y="1239"/>
                    <a:pt x="4" y="1239"/>
                  </a:cubicBezTo>
                  <a:cubicBezTo>
                    <a:pt x="6" y="1237"/>
                    <a:pt x="6" y="1237"/>
                    <a:pt x="6" y="1237"/>
                  </a:cubicBezTo>
                  <a:cubicBezTo>
                    <a:pt x="8" y="1240"/>
                    <a:pt x="8" y="1240"/>
                    <a:pt x="8" y="1240"/>
                  </a:cubicBezTo>
                  <a:cubicBezTo>
                    <a:pt x="13" y="1235"/>
                    <a:pt x="13" y="1235"/>
                    <a:pt x="13" y="1235"/>
                  </a:cubicBezTo>
                  <a:cubicBezTo>
                    <a:pt x="21" y="1237"/>
                    <a:pt x="21" y="1237"/>
                    <a:pt x="21" y="1237"/>
                  </a:cubicBezTo>
                  <a:cubicBezTo>
                    <a:pt x="16" y="1239"/>
                    <a:pt x="16" y="1239"/>
                    <a:pt x="16" y="1239"/>
                  </a:cubicBezTo>
                  <a:cubicBezTo>
                    <a:pt x="16" y="1241"/>
                    <a:pt x="16" y="1241"/>
                    <a:pt x="16" y="1241"/>
                  </a:cubicBezTo>
                  <a:cubicBezTo>
                    <a:pt x="8" y="1246"/>
                    <a:pt x="8" y="1246"/>
                    <a:pt x="8" y="1246"/>
                  </a:cubicBezTo>
                  <a:cubicBezTo>
                    <a:pt x="6" y="1245"/>
                    <a:pt x="6" y="1245"/>
                    <a:pt x="6" y="1245"/>
                  </a:cubicBezTo>
                  <a:cubicBezTo>
                    <a:pt x="3" y="1253"/>
                    <a:pt x="3" y="1253"/>
                    <a:pt x="3" y="1253"/>
                  </a:cubicBezTo>
                  <a:cubicBezTo>
                    <a:pt x="11" y="1253"/>
                    <a:pt x="45" y="1255"/>
                    <a:pt x="58" y="1254"/>
                  </a:cubicBezTo>
                  <a:cubicBezTo>
                    <a:pt x="74" y="1254"/>
                    <a:pt x="113" y="1244"/>
                    <a:pt x="113" y="1244"/>
                  </a:cubicBezTo>
                  <a:cubicBezTo>
                    <a:pt x="113" y="1244"/>
                    <a:pt x="106" y="1237"/>
                    <a:pt x="107" y="1229"/>
                  </a:cubicBezTo>
                  <a:cubicBezTo>
                    <a:pt x="107" y="1223"/>
                    <a:pt x="109" y="1218"/>
                    <a:pt x="109" y="1218"/>
                  </a:cubicBezTo>
                  <a:cubicBezTo>
                    <a:pt x="109" y="1218"/>
                    <a:pt x="117" y="1213"/>
                    <a:pt x="113" y="1210"/>
                  </a:cubicBezTo>
                  <a:close/>
                  <a:moveTo>
                    <a:pt x="229" y="228"/>
                  </a:moveTo>
                  <a:cubicBezTo>
                    <a:pt x="222" y="228"/>
                    <a:pt x="222" y="228"/>
                    <a:pt x="222" y="228"/>
                  </a:cubicBezTo>
                  <a:cubicBezTo>
                    <a:pt x="219" y="232"/>
                    <a:pt x="219" y="232"/>
                    <a:pt x="219" y="232"/>
                  </a:cubicBezTo>
                  <a:cubicBezTo>
                    <a:pt x="229" y="230"/>
                    <a:pt x="229" y="230"/>
                    <a:pt x="229" y="230"/>
                  </a:cubicBezTo>
                  <a:lnTo>
                    <a:pt x="229" y="228"/>
                  </a:lnTo>
                  <a:close/>
                  <a:moveTo>
                    <a:pt x="246" y="829"/>
                  </a:moveTo>
                  <a:cubicBezTo>
                    <a:pt x="238" y="825"/>
                    <a:pt x="238" y="825"/>
                    <a:pt x="238" y="825"/>
                  </a:cubicBezTo>
                  <a:cubicBezTo>
                    <a:pt x="239" y="830"/>
                    <a:pt x="239" y="830"/>
                    <a:pt x="239" y="830"/>
                  </a:cubicBezTo>
                  <a:cubicBezTo>
                    <a:pt x="244" y="832"/>
                    <a:pt x="244" y="832"/>
                    <a:pt x="244" y="832"/>
                  </a:cubicBezTo>
                  <a:lnTo>
                    <a:pt x="246" y="829"/>
                  </a:lnTo>
                  <a:close/>
                  <a:moveTo>
                    <a:pt x="363" y="466"/>
                  </a:moveTo>
                  <a:cubicBezTo>
                    <a:pt x="365" y="470"/>
                    <a:pt x="365" y="470"/>
                    <a:pt x="365" y="470"/>
                  </a:cubicBezTo>
                  <a:cubicBezTo>
                    <a:pt x="372" y="462"/>
                    <a:pt x="372" y="462"/>
                    <a:pt x="372" y="462"/>
                  </a:cubicBezTo>
                  <a:lnTo>
                    <a:pt x="363" y="466"/>
                  </a:lnTo>
                  <a:close/>
                  <a:moveTo>
                    <a:pt x="352" y="472"/>
                  </a:moveTo>
                  <a:cubicBezTo>
                    <a:pt x="351" y="476"/>
                    <a:pt x="351" y="476"/>
                    <a:pt x="351" y="476"/>
                  </a:cubicBezTo>
                  <a:cubicBezTo>
                    <a:pt x="356" y="478"/>
                    <a:pt x="356" y="478"/>
                    <a:pt x="356" y="478"/>
                  </a:cubicBezTo>
                  <a:cubicBezTo>
                    <a:pt x="363" y="473"/>
                    <a:pt x="363" y="473"/>
                    <a:pt x="363" y="473"/>
                  </a:cubicBezTo>
                  <a:cubicBezTo>
                    <a:pt x="357" y="468"/>
                    <a:pt x="357" y="468"/>
                    <a:pt x="357" y="468"/>
                  </a:cubicBezTo>
                  <a:lnTo>
                    <a:pt x="352" y="472"/>
                  </a:lnTo>
                  <a:close/>
                  <a:moveTo>
                    <a:pt x="365" y="482"/>
                  </a:moveTo>
                  <a:cubicBezTo>
                    <a:pt x="369" y="478"/>
                    <a:pt x="367" y="475"/>
                    <a:pt x="360" y="480"/>
                  </a:cubicBezTo>
                  <a:cubicBezTo>
                    <a:pt x="360" y="480"/>
                    <a:pt x="362" y="485"/>
                    <a:pt x="365" y="482"/>
                  </a:cubicBezTo>
                  <a:close/>
                  <a:moveTo>
                    <a:pt x="1532" y="0"/>
                  </a:moveTo>
                  <a:cubicBezTo>
                    <a:pt x="716" y="0"/>
                    <a:pt x="716" y="0"/>
                    <a:pt x="716" y="0"/>
                  </a:cubicBezTo>
                  <a:cubicBezTo>
                    <a:pt x="712" y="19"/>
                    <a:pt x="712" y="19"/>
                    <a:pt x="712" y="19"/>
                  </a:cubicBezTo>
                  <a:cubicBezTo>
                    <a:pt x="712" y="19"/>
                    <a:pt x="721" y="31"/>
                    <a:pt x="720" y="35"/>
                  </a:cubicBezTo>
                  <a:cubicBezTo>
                    <a:pt x="719" y="39"/>
                    <a:pt x="708" y="33"/>
                    <a:pt x="708" y="33"/>
                  </a:cubicBezTo>
                  <a:cubicBezTo>
                    <a:pt x="699" y="34"/>
                    <a:pt x="699" y="34"/>
                    <a:pt x="699" y="34"/>
                  </a:cubicBezTo>
                  <a:cubicBezTo>
                    <a:pt x="699" y="34"/>
                    <a:pt x="698" y="39"/>
                    <a:pt x="698" y="42"/>
                  </a:cubicBezTo>
                  <a:cubicBezTo>
                    <a:pt x="698" y="46"/>
                    <a:pt x="694" y="46"/>
                    <a:pt x="690" y="46"/>
                  </a:cubicBezTo>
                  <a:cubicBezTo>
                    <a:pt x="684" y="47"/>
                    <a:pt x="681" y="55"/>
                    <a:pt x="681" y="55"/>
                  </a:cubicBezTo>
                  <a:cubicBezTo>
                    <a:pt x="681" y="55"/>
                    <a:pt x="678" y="50"/>
                    <a:pt x="679" y="46"/>
                  </a:cubicBezTo>
                  <a:cubicBezTo>
                    <a:pt x="681" y="41"/>
                    <a:pt x="693" y="39"/>
                    <a:pt x="693" y="39"/>
                  </a:cubicBezTo>
                  <a:cubicBezTo>
                    <a:pt x="693" y="39"/>
                    <a:pt x="691" y="30"/>
                    <a:pt x="686" y="29"/>
                  </a:cubicBezTo>
                  <a:cubicBezTo>
                    <a:pt x="683" y="28"/>
                    <a:pt x="677" y="24"/>
                    <a:pt x="677" y="24"/>
                  </a:cubicBezTo>
                  <a:cubicBezTo>
                    <a:pt x="677" y="16"/>
                    <a:pt x="677" y="16"/>
                    <a:pt x="677" y="16"/>
                  </a:cubicBezTo>
                  <a:cubicBezTo>
                    <a:pt x="675" y="15"/>
                    <a:pt x="675" y="15"/>
                    <a:pt x="675" y="15"/>
                  </a:cubicBezTo>
                  <a:cubicBezTo>
                    <a:pt x="675" y="15"/>
                    <a:pt x="676" y="9"/>
                    <a:pt x="672" y="9"/>
                  </a:cubicBezTo>
                  <a:cubicBezTo>
                    <a:pt x="669" y="9"/>
                    <a:pt x="667" y="14"/>
                    <a:pt x="667" y="14"/>
                  </a:cubicBezTo>
                  <a:cubicBezTo>
                    <a:pt x="667" y="14"/>
                    <a:pt x="665" y="10"/>
                    <a:pt x="663" y="10"/>
                  </a:cubicBezTo>
                  <a:cubicBezTo>
                    <a:pt x="661" y="10"/>
                    <a:pt x="654" y="18"/>
                    <a:pt x="652" y="27"/>
                  </a:cubicBezTo>
                  <a:cubicBezTo>
                    <a:pt x="650" y="34"/>
                    <a:pt x="651" y="41"/>
                    <a:pt x="651" y="41"/>
                  </a:cubicBezTo>
                  <a:cubicBezTo>
                    <a:pt x="651" y="41"/>
                    <a:pt x="655" y="43"/>
                    <a:pt x="660" y="47"/>
                  </a:cubicBezTo>
                  <a:cubicBezTo>
                    <a:pt x="664" y="50"/>
                    <a:pt x="664" y="57"/>
                    <a:pt x="660" y="62"/>
                  </a:cubicBezTo>
                  <a:cubicBezTo>
                    <a:pt x="657" y="67"/>
                    <a:pt x="651" y="53"/>
                    <a:pt x="651" y="53"/>
                  </a:cubicBezTo>
                  <a:cubicBezTo>
                    <a:pt x="647" y="53"/>
                    <a:pt x="647" y="53"/>
                    <a:pt x="647" y="53"/>
                  </a:cubicBezTo>
                  <a:cubicBezTo>
                    <a:pt x="649" y="45"/>
                    <a:pt x="649" y="45"/>
                    <a:pt x="649" y="45"/>
                  </a:cubicBezTo>
                  <a:cubicBezTo>
                    <a:pt x="649" y="45"/>
                    <a:pt x="644" y="51"/>
                    <a:pt x="643" y="55"/>
                  </a:cubicBezTo>
                  <a:cubicBezTo>
                    <a:pt x="642" y="58"/>
                    <a:pt x="637" y="62"/>
                    <a:pt x="632" y="63"/>
                  </a:cubicBezTo>
                  <a:cubicBezTo>
                    <a:pt x="627" y="63"/>
                    <a:pt x="625" y="71"/>
                    <a:pt x="625" y="71"/>
                  </a:cubicBezTo>
                  <a:cubicBezTo>
                    <a:pt x="626" y="78"/>
                    <a:pt x="626" y="78"/>
                    <a:pt x="626" y="78"/>
                  </a:cubicBezTo>
                  <a:cubicBezTo>
                    <a:pt x="626" y="78"/>
                    <a:pt x="627" y="72"/>
                    <a:pt x="630" y="70"/>
                  </a:cubicBezTo>
                  <a:cubicBezTo>
                    <a:pt x="633" y="67"/>
                    <a:pt x="635" y="65"/>
                    <a:pt x="637" y="66"/>
                  </a:cubicBezTo>
                  <a:cubicBezTo>
                    <a:pt x="641" y="66"/>
                    <a:pt x="637" y="71"/>
                    <a:pt x="634" y="74"/>
                  </a:cubicBezTo>
                  <a:cubicBezTo>
                    <a:pt x="630" y="77"/>
                    <a:pt x="623" y="81"/>
                    <a:pt x="620" y="89"/>
                  </a:cubicBezTo>
                  <a:cubicBezTo>
                    <a:pt x="618" y="96"/>
                    <a:pt x="619" y="112"/>
                    <a:pt x="619" y="112"/>
                  </a:cubicBezTo>
                  <a:cubicBezTo>
                    <a:pt x="615" y="113"/>
                    <a:pt x="615" y="113"/>
                    <a:pt x="615" y="113"/>
                  </a:cubicBezTo>
                  <a:cubicBezTo>
                    <a:pt x="602" y="133"/>
                    <a:pt x="602" y="133"/>
                    <a:pt x="602" y="133"/>
                  </a:cubicBezTo>
                  <a:cubicBezTo>
                    <a:pt x="593" y="135"/>
                    <a:pt x="593" y="135"/>
                    <a:pt x="593" y="135"/>
                  </a:cubicBezTo>
                  <a:cubicBezTo>
                    <a:pt x="602" y="143"/>
                    <a:pt x="602" y="143"/>
                    <a:pt x="602" y="143"/>
                  </a:cubicBezTo>
                  <a:cubicBezTo>
                    <a:pt x="609" y="142"/>
                    <a:pt x="609" y="142"/>
                    <a:pt x="609" y="142"/>
                  </a:cubicBezTo>
                  <a:cubicBezTo>
                    <a:pt x="612" y="146"/>
                    <a:pt x="612" y="146"/>
                    <a:pt x="612" y="146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47"/>
                    <a:pt x="587" y="155"/>
                    <a:pt x="586" y="161"/>
                  </a:cubicBezTo>
                  <a:cubicBezTo>
                    <a:pt x="584" y="168"/>
                    <a:pt x="596" y="184"/>
                    <a:pt x="596" y="184"/>
                  </a:cubicBezTo>
                  <a:cubicBezTo>
                    <a:pt x="594" y="187"/>
                    <a:pt x="594" y="187"/>
                    <a:pt x="594" y="187"/>
                  </a:cubicBezTo>
                  <a:cubicBezTo>
                    <a:pt x="594" y="187"/>
                    <a:pt x="604" y="198"/>
                    <a:pt x="603" y="203"/>
                  </a:cubicBezTo>
                  <a:cubicBezTo>
                    <a:pt x="602" y="209"/>
                    <a:pt x="596" y="208"/>
                    <a:pt x="596" y="208"/>
                  </a:cubicBezTo>
                  <a:cubicBezTo>
                    <a:pt x="596" y="208"/>
                    <a:pt x="593" y="215"/>
                    <a:pt x="590" y="218"/>
                  </a:cubicBezTo>
                  <a:cubicBezTo>
                    <a:pt x="588" y="221"/>
                    <a:pt x="576" y="224"/>
                    <a:pt x="576" y="224"/>
                  </a:cubicBezTo>
                  <a:cubicBezTo>
                    <a:pt x="576" y="224"/>
                    <a:pt x="571" y="232"/>
                    <a:pt x="566" y="232"/>
                  </a:cubicBezTo>
                  <a:cubicBezTo>
                    <a:pt x="561" y="233"/>
                    <a:pt x="547" y="216"/>
                    <a:pt x="547" y="216"/>
                  </a:cubicBezTo>
                  <a:cubicBezTo>
                    <a:pt x="526" y="214"/>
                    <a:pt x="526" y="214"/>
                    <a:pt x="526" y="214"/>
                  </a:cubicBezTo>
                  <a:cubicBezTo>
                    <a:pt x="528" y="192"/>
                    <a:pt x="528" y="192"/>
                    <a:pt x="528" y="192"/>
                  </a:cubicBezTo>
                  <a:cubicBezTo>
                    <a:pt x="521" y="186"/>
                    <a:pt x="521" y="186"/>
                    <a:pt x="521" y="186"/>
                  </a:cubicBezTo>
                  <a:cubicBezTo>
                    <a:pt x="535" y="174"/>
                    <a:pt x="535" y="174"/>
                    <a:pt x="535" y="174"/>
                  </a:cubicBezTo>
                  <a:cubicBezTo>
                    <a:pt x="551" y="162"/>
                    <a:pt x="551" y="162"/>
                    <a:pt x="551" y="162"/>
                  </a:cubicBezTo>
                  <a:cubicBezTo>
                    <a:pt x="551" y="162"/>
                    <a:pt x="543" y="150"/>
                    <a:pt x="538" y="146"/>
                  </a:cubicBezTo>
                  <a:cubicBezTo>
                    <a:pt x="534" y="144"/>
                    <a:pt x="517" y="140"/>
                    <a:pt x="517" y="140"/>
                  </a:cubicBezTo>
                  <a:cubicBezTo>
                    <a:pt x="511" y="133"/>
                    <a:pt x="511" y="133"/>
                    <a:pt x="511" y="133"/>
                  </a:cubicBezTo>
                  <a:cubicBezTo>
                    <a:pt x="511" y="133"/>
                    <a:pt x="499" y="136"/>
                    <a:pt x="490" y="138"/>
                  </a:cubicBezTo>
                  <a:cubicBezTo>
                    <a:pt x="481" y="141"/>
                    <a:pt x="473" y="150"/>
                    <a:pt x="473" y="150"/>
                  </a:cubicBezTo>
                  <a:cubicBezTo>
                    <a:pt x="448" y="151"/>
                    <a:pt x="448" y="151"/>
                    <a:pt x="448" y="151"/>
                  </a:cubicBezTo>
                  <a:cubicBezTo>
                    <a:pt x="448" y="151"/>
                    <a:pt x="452" y="154"/>
                    <a:pt x="457" y="156"/>
                  </a:cubicBezTo>
                  <a:cubicBezTo>
                    <a:pt x="463" y="157"/>
                    <a:pt x="471" y="158"/>
                    <a:pt x="471" y="158"/>
                  </a:cubicBezTo>
                  <a:cubicBezTo>
                    <a:pt x="482" y="168"/>
                    <a:pt x="482" y="168"/>
                    <a:pt x="482" y="168"/>
                  </a:cubicBezTo>
                  <a:cubicBezTo>
                    <a:pt x="482" y="172"/>
                    <a:pt x="482" y="172"/>
                    <a:pt x="482" y="172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91" y="188"/>
                    <a:pt x="491" y="188"/>
                    <a:pt x="491" y="188"/>
                  </a:cubicBezTo>
                  <a:cubicBezTo>
                    <a:pt x="490" y="192"/>
                    <a:pt x="490" y="192"/>
                    <a:pt x="490" y="192"/>
                  </a:cubicBezTo>
                  <a:cubicBezTo>
                    <a:pt x="497" y="204"/>
                    <a:pt x="497" y="204"/>
                    <a:pt x="497" y="204"/>
                  </a:cubicBezTo>
                  <a:cubicBezTo>
                    <a:pt x="497" y="204"/>
                    <a:pt x="498" y="235"/>
                    <a:pt x="503" y="240"/>
                  </a:cubicBezTo>
                  <a:cubicBezTo>
                    <a:pt x="508" y="246"/>
                    <a:pt x="522" y="240"/>
                    <a:pt x="522" y="240"/>
                  </a:cubicBezTo>
                  <a:cubicBezTo>
                    <a:pt x="531" y="249"/>
                    <a:pt x="531" y="249"/>
                    <a:pt x="531" y="249"/>
                  </a:cubicBezTo>
                  <a:cubicBezTo>
                    <a:pt x="529" y="252"/>
                    <a:pt x="529" y="252"/>
                    <a:pt x="529" y="252"/>
                  </a:cubicBezTo>
                  <a:cubicBezTo>
                    <a:pt x="537" y="262"/>
                    <a:pt x="537" y="262"/>
                    <a:pt x="537" y="262"/>
                  </a:cubicBezTo>
                  <a:cubicBezTo>
                    <a:pt x="538" y="292"/>
                    <a:pt x="538" y="292"/>
                    <a:pt x="538" y="292"/>
                  </a:cubicBezTo>
                  <a:cubicBezTo>
                    <a:pt x="538" y="292"/>
                    <a:pt x="549" y="305"/>
                    <a:pt x="547" y="308"/>
                  </a:cubicBezTo>
                  <a:cubicBezTo>
                    <a:pt x="546" y="311"/>
                    <a:pt x="533" y="297"/>
                    <a:pt x="531" y="298"/>
                  </a:cubicBezTo>
                  <a:cubicBezTo>
                    <a:pt x="528" y="298"/>
                    <a:pt x="523" y="311"/>
                    <a:pt x="523" y="311"/>
                  </a:cubicBezTo>
                  <a:cubicBezTo>
                    <a:pt x="526" y="299"/>
                    <a:pt x="526" y="299"/>
                    <a:pt x="526" y="299"/>
                  </a:cubicBezTo>
                  <a:cubicBezTo>
                    <a:pt x="526" y="299"/>
                    <a:pt x="522" y="296"/>
                    <a:pt x="514" y="296"/>
                  </a:cubicBezTo>
                  <a:cubicBezTo>
                    <a:pt x="504" y="295"/>
                    <a:pt x="499" y="303"/>
                    <a:pt x="499" y="303"/>
                  </a:cubicBezTo>
                  <a:cubicBezTo>
                    <a:pt x="499" y="303"/>
                    <a:pt x="494" y="299"/>
                    <a:pt x="488" y="298"/>
                  </a:cubicBezTo>
                  <a:cubicBezTo>
                    <a:pt x="483" y="298"/>
                    <a:pt x="478" y="308"/>
                    <a:pt x="478" y="308"/>
                  </a:cubicBezTo>
                  <a:cubicBezTo>
                    <a:pt x="478" y="308"/>
                    <a:pt x="480" y="325"/>
                    <a:pt x="474" y="334"/>
                  </a:cubicBezTo>
                  <a:cubicBezTo>
                    <a:pt x="468" y="343"/>
                    <a:pt x="459" y="343"/>
                    <a:pt x="459" y="343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59" y="356"/>
                    <a:pt x="457" y="363"/>
                  </a:cubicBezTo>
                  <a:cubicBezTo>
                    <a:pt x="455" y="371"/>
                    <a:pt x="446" y="381"/>
                    <a:pt x="447" y="383"/>
                  </a:cubicBezTo>
                  <a:cubicBezTo>
                    <a:pt x="447" y="387"/>
                    <a:pt x="451" y="383"/>
                    <a:pt x="451" y="383"/>
                  </a:cubicBezTo>
                  <a:cubicBezTo>
                    <a:pt x="451" y="383"/>
                    <a:pt x="452" y="386"/>
                    <a:pt x="452" y="394"/>
                  </a:cubicBezTo>
                  <a:cubicBezTo>
                    <a:pt x="452" y="403"/>
                    <a:pt x="475" y="409"/>
                    <a:pt x="484" y="418"/>
                  </a:cubicBezTo>
                  <a:cubicBezTo>
                    <a:pt x="493" y="426"/>
                    <a:pt x="488" y="426"/>
                    <a:pt x="479" y="427"/>
                  </a:cubicBezTo>
                  <a:cubicBezTo>
                    <a:pt x="470" y="428"/>
                    <a:pt x="472" y="442"/>
                    <a:pt x="472" y="442"/>
                  </a:cubicBezTo>
                  <a:cubicBezTo>
                    <a:pt x="472" y="442"/>
                    <a:pt x="475" y="454"/>
                    <a:pt x="475" y="458"/>
                  </a:cubicBezTo>
                  <a:cubicBezTo>
                    <a:pt x="475" y="462"/>
                    <a:pt x="459" y="462"/>
                    <a:pt x="459" y="462"/>
                  </a:cubicBezTo>
                  <a:cubicBezTo>
                    <a:pt x="451" y="462"/>
                    <a:pt x="451" y="462"/>
                    <a:pt x="451" y="462"/>
                  </a:cubicBezTo>
                  <a:cubicBezTo>
                    <a:pt x="445" y="462"/>
                    <a:pt x="446" y="464"/>
                    <a:pt x="446" y="464"/>
                  </a:cubicBezTo>
                  <a:cubicBezTo>
                    <a:pt x="446" y="464"/>
                    <a:pt x="440" y="462"/>
                    <a:pt x="440" y="464"/>
                  </a:cubicBezTo>
                  <a:cubicBezTo>
                    <a:pt x="439" y="465"/>
                    <a:pt x="442" y="467"/>
                    <a:pt x="442" y="467"/>
                  </a:cubicBezTo>
                  <a:cubicBezTo>
                    <a:pt x="442" y="467"/>
                    <a:pt x="439" y="469"/>
                    <a:pt x="437" y="470"/>
                  </a:cubicBezTo>
                  <a:cubicBezTo>
                    <a:pt x="435" y="471"/>
                    <a:pt x="436" y="475"/>
                    <a:pt x="436" y="475"/>
                  </a:cubicBezTo>
                  <a:cubicBezTo>
                    <a:pt x="436" y="475"/>
                    <a:pt x="437" y="481"/>
                    <a:pt x="435" y="480"/>
                  </a:cubicBezTo>
                  <a:cubicBezTo>
                    <a:pt x="433" y="480"/>
                    <a:pt x="434" y="475"/>
                    <a:pt x="434" y="475"/>
                  </a:cubicBezTo>
                  <a:cubicBezTo>
                    <a:pt x="434" y="475"/>
                    <a:pt x="431" y="472"/>
                    <a:pt x="429" y="471"/>
                  </a:cubicBezTo>
                  <a:cubicBezTo>
                    <a:pt x="428" y="469"/>
                    <a:pt x="432" y="468"/>
                    <a:pt x="432" y="468"/>
                  </a:cubicBezTo>
                  <a:cubicBezTo>
                    <a:pt x="429" y="468"/>
                    <a:pt x="429" y="468"/>
                    <a:pt x="429" y="468"/>
                  </a:cubicBezTo>
                  <a:cubicBezTo>
                    <a:pt x="429" y="467"/>
                    <a:pt x="429" y="467"/>
                    <a:pt x="429" y="467"/>
                  </a:cubicBezTo>
                  <a:cubicBezTo>
                    <a:pt x="429" y="467"/>
                    <a:pt x="430" y="466"/>
                    <a:pt x="432" y="466"/>
                  </a:cubicBezTo>
                  <a:cubicBezTo>
                    <a:pt x="433" y="466"/>
                    <a:pt x="434" y="468"/>
                    <a:pt x="434" y="468"/>
                  </a:cubicBezTo>
                  <a:cubicBezTo>
                    <a:pt x="436" y="467"/>
                    <a:pt x="436" y="467"/>
                    <a:pt x="436" y="467"/>
                  </a:cubicBezTo>
                  <a:cubicBezTo>
                    <a:pt x="435" y="465"/>
                    <a:pt x="435" y="465"/>
                    <a:pt x="435" y="465"/>
                  </a:cubicBezTo>
                  <a:cubicBezTo>
                    <a:pt x="438" y="465"/>
                    <a:pt x="438" y="465"/>
                    <a:pt x="438" y="465"/>
                  </a:cubicBezTo>
                  <a:cubicBezTo>
                    <a:pt x="437" y="461"/>
                    <a:pt x="437" y="461"/>
                    <a:pt x="437" y="461"/>
                  </a:cubicBezTo>
                  <a:cubicBezTo>
                    <a:pt x="437" y="461"/>
                    <a:pt x="425" y="464"/>
                    <a:pt x="422" y="464"/>
                  </a:cubicBezTo>
                  <a:cubicBezTo>
                    <a:pt x="418" y="462"/>
                    <a:pt x="416" y="458"/>
                    <a:pt x="416" y="458"/>
                  </a:cubicBezTo>
                  <a:cubicBezTo>
                    <a:pt x="416" y="458"/>
                    <a:pt x="393" y="456"/>
                    <a:pt x="390" y="458"/>
                  </a:cubicBezTo>
                  <a:cubicBezTo>
                    <a:pt x="387" y="460"/>
                    <a:pt x="393" y="465"/>
                    <a:pt x="393" y="469"/>
                  </a:cubicBezTo>
                  <a:cubicBezTo>
                    <a:pt x="395" y="472"/>
                    <a:pt x="389" y="474"/>
                    <a:pt x="389" y="474"/>
                  </a:cubicBezTo>
                  <a:cubicBezTo>
                    <a:pt x="389" y="476"/>
                    <a:pt x="389" y="476"/>
                    <a:pt x="389" y="476"/>
                  </a:cubicBezTo>
                  <a:cubicBezTo>
                    <a:pt x="389" y="476"/>
                    <a:pt x="386" y="475"/>
                    <a:pt x="385" y="477"/>
                  </a:cubicBezTo>
                  <a:cubicBezTo>
                    <a:pt x="384" y="480"/>
                    <a:pt x="389" y="483"/>
                    <a:pt x="389" y="483"/>
                  </a:cubicBezTo>
                  <a:cubicBezTo>
                    <a:pt x="392" y="487"/>
                    <a:pt x="392" y="487"/>
                    <a:pt x="392" y="487"/>
                  </a:cubicBezTo>
                  <a:cubicBezTo>
                    <a:pt x="392" y="487"/>
                    <a:pt x="395" y="486"/>
                    <a:pt x="397" y="487"/>
                  </a:cubicBezTo>
                  <a:cubicBezTo>
                    <a:pt x="399" y="487"/>
                    <a:pt x="403" y="491"/>
                    <a:pt x="408" y="494"/>
                  </a:cubicBezTo>
                  <a:cubicBezTo>
                    <a:pt x="413" y="499"/>
                    <a:pt x="423" y="504"/>
                    <a:pt x="423" y="504"/>
                  </a:cubicBezTo>
                  <a:cubicBezTo>
                    <a:pt x="425" y="498"/>
                    <a:pt x="425" y="498"/>
                    <a:pt x="425" y="498"/>
                  </a:cubicBezTo>
                  <a:cubicBezTo>
                    <a:pt x="430" y="498"/>
                    <a:pt x="430" y="498"/>
                    <a:pt x="430" y="498"/>
                  </a:cubicBezTo>
                  <a:cubicBezTo>
                    <a:pt x="430" y="498"/>
                    <a:pt x="428" y="496"/>
                    <a:pt x="429" y="494"/>
                  </a:cubicBezTo>
                  <a:cubicBezTo>
                    <a:pt x="429" y="492"/>
                    <a:pt x="433" y="491"/>
                    <a:pt x="433" y="491"/>
                  </a:cubicBezTo>
                  <a:cubicBezTo>
                    <a:pt x="433" y="496"/>
                    <a:pt x="433" y="496"/>
                    <a:pt x="433" y="496"/>
                  </a:cubicBezTo>
                  <a:cubicBezTo>
                    <a:pt x="439" y="496"/>
                    <a:pt x="439" y="496"/>
                    <a:pt x="439" y="496"/>
                  </a:cubicBezTo>
                  <a:cubicBezTo>
                    <a:pt x="442" y="496"/>
                    <a:pt x="441" y="499"/>
                    <a:pt x="441" y="499"/>
                  </a:cubicBezTo>
                  <a:cubicBezTo>
                    <a:pt x="441" y="505"/>
                    <a:pt x="441" y="505"/>
                    <a:pt x="441" y="505"/>
                  </a:cubicBezTo>
                  <a:cubicBezTo>
                    <a:pt x="441" y="505"/>
                    <a:pt x="449" y="508"/>
                    <a:pt x="451" y="516"/>
                  </a:cubicBezTo>
                  <a:cubicBezTo>
                    <a:pt x="454" y="523"/>
                    <a:pt x="444" y="525"/>
                    <a:pt x="444" y="525"/>
                  </a:cubicBezTo>
                  <a:cubicBezTo>
                    <a:pt x="444" y="525"/>
                    <a:pt x="444" y="531"/>
                    <a:pt x="439" y="534"/>
                  </a:cubicBezTo>
                  <a:cubicBezTo>
                    <a:pt x="435" y="537"/>
                    <a:pt x="433" y="532"/>
                    <a:pt x="429" y="531"/>
                  </a:cubicBezTo>
                  <a:cubicBezTo>
                    <a:pt x="425" y="531"/>
                    <a:pt x="422" y="534"/>
                    <a:pt x="420" y="534"/>
                  </a:cubicBezTo>
                  <a:cubicBezTo>
                    <a:pt x="419" y="534"/>
                    <a:pt x="416" y="534"/>
                    <a:pt x="413" y="533"/>
                  </a:cubicBezTo>
                  <a:cubicBezTo>
                    <a:pt x="409" y="533"/>
                    <a:pt x="412" y="535"/>
                    <a:pt x="404" y="534"/>
                  </a:cubicBezTo>
                  <a:cubicBezTo>
                    <a:pt x="396" y="534"/>
                    <a:pt x="396" y="529"/>
                    <a:pt x="396" y="529"/>
                  </a:cubicBezTo>
                  <a:cubicBezTo>
                    <a:pt x="397" y="524"/>
                    <a:pt x="397" y="524"/>
                    <a:pt x="397" y="524"/>
                  </a:cubicBezTo>
                  <a:cubicBezTo>
                    <a:pt x="388" y="523"/>
                    <a:pt x="388" y="523"/>
                    <a:pt x="388" y="523"/>
                  </a:cubicBezTo>
                  <a:cubicBezTo>
                    <a:pt x="388" y="523"/>
                    <a:pt x="386" y="525"/>
                    <a:pt x="384" y="523"/>
                  </a:cubicBezTo>
                  <a:cubicBezTo>
                    <a:pt x="382" y="522"/>
                    <a:pt x="382" y="520"/>
                    <a:pt x="379" y="518"/>
                  </a:cubicBezTo>
                  <a:cubicBezTo>
                    <a:pt x="374" y="515"/>
                    <a:pt x="370" y="518"/>
                    <a:pt x="370" y="518"/>
                  </a:cubicBezTo>
                  <a:cubicBezTo>
                    <a:pt x="370" y="518"/>
                    <a:pt x="371" y="521"/>
                    <a:pt x="370" y="523"/>
                  </a:cubicBezTo>
                  <a:cubicBezTo>
                    <a:pt x="368" y="525"/>
                    <a:pt x="365" y="525"/>
                    <a:pt x="365" y="525"/>
                  </a:cubicBezTo>
                  <a:cubicBezTo>
                    <a:pt x="364" y="523"/>
                    <a:pt x="364" y="523"/>
                    <a:pt x="364" y="523"/>
                  </a:cubicBezTo>
                  <a:cubicBezTo>
                    <a:pt x="360" y="523"/>
                    <a:pt x="360" y="523"/>
                    <a:pt x="360" y="523"/>
                  </a:cubicBezTo>
                  <a:cubicBezTo>
                    <a:pt x="360" y="525"/>
                    <a:pt x="360" y="525"/>
                    <a:pt x="360" y="525"/>
                  </a:cubicBezTo>
                  <a:cubicBezTo>
                    <a:pt x="355" y="519"/>
                    <a:pt x="355" y="519"/>
                    <a:pt x="355" y="519"/>
                  </a:cubicBezTo>
                  <a:cubicBezTo>
                    <a:pt x="354" y="522"/>
                    <a:pt x="354" y="522"/>
                    <a:pt x="354" y="522"/>
                  </a:cubicBezTo>
                  <a:cubicBezTo>
                    <a:pt x="344" y="516"/>
                    <a:pt x="344" y="516"/>
                    <a:pt x="344" y="516"/>
                  </a:cubicBezTo>
                  <a:cubicBezTo>
                    <a:pt x="344" y="516"/>
                    <a:pt x="347" y="512"/>
                    <a:pt x="346" y="509"/>
                  </a:cubicBezTo>
                  <a:cubicBezTo>
                    <a:pt x="344" y="506"/>
                    <a:pt x="340" y="502"/>
                    <a:pt x="340" y="502"/>
                  </a:cubicBezTo>
                  <a:cubicBezTo>
                    <a:pt x="342" y="498"/>
                    <a:pt x="342" y="498"/>
                    <a:pt x="342" y="498"/>
                  </a:cubicBezTo>
                  <a:cubicBezTo>
                    <a:pt x="339" y="492"/>
                    <a:pt x="339" y="492"/>
                    <a:pt x="339" y="492"/>
                  </a:cubicBezTo>
                  <a:cubicBezTo>
                    <a:pt x="333" y="490"/>
                    <a:pt x="333" y="490"/>
                    <a:pt x="333" y="490"/>
                  </a:cubicBezTo>
                  <a:cubicBezTo>
                    <a:pt x="333" y="490"/>
                    <a:pt x="336" y="487"/>
                    <a:pt x="334" y="483"/>
                  </a:cubicBezTo>
                  <a:cubicBezTo>
                    <a:pt x="331" y="478"/>
                    <a:pt x="314" y="469"/>
                    <a:pt x="314" y="469"/>
                  </a:cubicBezTo>
                  <a:cubicBezTo>
                    <a:pt x="314" y="469"/>
                    <a:pt x="321" y="460"/>
                    <a:pt x="321" y="456"/>
                  </a:cubicBezTo>
                  <a:cubicBezTo>
                    <a:pt x="322" y="451"/>
                    <a:pt x="313" y="439"/>
                    <a:pt x="313" y="439"/>
                  </a:cubicBezTo>
                  <a:cubicBezTo>
                    <a:pt x="313" y="439"/>
                    <a:pt x="315" y="438"/>
                    <a:pt x="315" y="437"/>
                  </a:cubicBezTo>
                  <a:cubicBezTo>
                    <a:pt x="316" y="436"/>
                    <a:pt x="317" y="433"/>
                    <a:pt x="317" y="433"/>
                  </a:cubicBezTo>
                  <a:cubicBezTo>
                    <a:pt x="317" y="433"/>
                    <a:pt x="314" y="434"/>
                    <a:pt x="313" y="434"/>
                  </a:cubicBezTo>
                  <a:cubicBezTo>
                    <a:pt x="310" y="433"/>
                    <a:pt x="311" y="427"/>
                    <a:pt x="311" y="427"/>
                  </a:cubicBezTo>
                  <a:cubicBezTo>
                    <a:pt x="311" y="427"/>
                    <a:pt x="293" y="420"/>
                    <a:pt x="290" y="419"/>
                  </a:cubicBezTo>
                  <a:cubicBezTo>
                    <a:pt x="286" y="418"/>
                    <a:pt x="285" y="421"/>
                    <a:pt x="285" y="421"/>
                  </a:cubicBezTo>
                  <a:cubicBezTo>
                    <a:pt x="285" y="421"/>
                    <a:pt x="274" y="419"/>
                    <a:pt x="271" y="419"/>
                  </a:cubicBezTo>
                  <a:cubicBezTo>
                    <a:pt x="268" y="419"/>
                    <a:pt x="264" y="423"/>
                    <a:pt x="264" y="423"/>
                  </a:cubicBezTo>
                  <a:cubicBezTo>
                    <a:pt x="264" y="420"/>
                    <a:pt x="264" y="420"/>
                    <a:pt x="264" y="420"/>
                  </a:cubicBezTo>
                  <a:cubicBezTo>
                    <a:pt x="275" y="414"/>
                    <a:pt x="275" y="414"/>
                    <a:pt x="275" y="414"/>
                  </a:cubicBezTo>
                  <a:cubicBezTo>
                    <a:pt x="270" y="413"/>
                    <a:pt x="270" y="413"/>
                    <a:pt x="270" y="413"/>
                  </a:cubicBezTo>
                  <a:cubicBezTo>
                    <a:pt x="274" y="411"/>
                    <a:pt x="274" y="411"/>
                    <a:pt x="274" y="411"/>
                  </a:cubicBezTo>
                  <a:cubicBezTo>
                    <a:pt x="274" y="409"/>
                    <a:pt x="274" y="409"/>
                    <a:pt x="274" y="409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72" y="406"/>
                    <a:pt x="272" y="406"/>
                    <a:pt x="272" y="406"/>
                  </a:cubicBezTo>
                  <a:cubicBezTo>
                    <a:pt x="270" y="406"/>
                    <a:pt x="270" y="406"/>
                    <a:pt x="270" y="406"/>
                  </a:cubicBezTo>
                  <a:cubicBezTo>
                    <a:pt x="269" y="410"/>
                    <a:pt x="269" y="410"/>
                    <a:pt x="269" y="410"/>
                  </a:cubicBezTo>
                  <a:cubicBezTo>
                    <a:pt x="262" y="411"/>
                    <a:pt x="262" y="411"/>
                    <a:pt x="262" y="411"/>
                  </a:cubicBezTo>
                  <a:cubicBezTo>
                    <a:pt x="259" y="407"/>
                    <a:pt x="259" y="407"/>
                    <a:pt x="259" y="407"/>
                  </a:cubicBezTo>
                  <a:cubicBezTo>
                    <a:pt x="258" y="410"/>
                    <a:pt x="258" y="410"/>
                    <a:pt x="258" y="410"/>
                  </a:cubicBezTo>
                  <a:cubicBezTo>
                    <a:pt x="254" y="409"/>
                    <a:pt x="254" y="409"/>
                    <a:pt x="254" y="409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56" y="406"/>
                    <a:pt x="249" y="406"/>
                    <a:pt x="249" y="405"/>
                  </a:cubicBezTo>
                  <a:cubicBezTo>
                    <a:pt x="249" y="404"/>
                    <a:pt x="254" y="405"/>
                    <a:pt x="254" y="40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1" y="402"/>
                    <a:pt x="261" y="402"/>
                    <a:pt x="261" y="402"/>
                  </a:cubicBezTo>
                  <a:cubicBezTo>
                    <a:pt x="261" y="399"/>
                    <a:pt x="261" y="399"/>
                    <a:pt x="261" y="399"/>
                  </a:cubicBezTo>
                  <a:cubicBezTo>
                    <a:pt x="251" y="399"/>
                    <a:pt x="251" y="399"/>
                    <a:pt x="251" y="399"/>
                  </a:cubicBezTo>
                  <a:cubicBezTo>
                    <a:pt x="248" y="401"/>
                    <a:pt x="244" y="398"/>
                    <a:pt x="244" y="398"/>
                  </a:cubicBezTo>
                  <a:cubicBezTo>
                    <a:pt x="244" y="397"/>
                    <a:pt x="244" y="397"/>
                    <a:pt x="244" y="397"/>
                  </a:cubicBezTo>
                  <a:cubicBezTo>
                    <a:pt x="244" y="396"/>
                    <a:pt x="244" y="396"/>
                    <a:pt x="244" y="396"/>
                  </a:cubicBezTo>
                  <a:cubicBezTo>
                    <a:pt x="246" y="398"/>
                    <a:pt x="246" y="398"/>
                    <a:pt x="246" y="398"/>
                  </a:cubicBezTo>
                  <a:cubicBezTo>
                    <a:pt x="250" y="396"/>
                    <a:pt x="250" y="396"/>
                    <a:pt x="250" y="396"/>
                  </a:cubicBezTo>
                  <a:cubicBezTo>
                    <a:pt x="241" y="394"/>
                    <a:pt x="241" y="394"/>
                    <a:pt x="241" y="394"/>
                  </a:cubicBezTo>
                  <a:cubicBezTo>
                    <a:pt x="234" y="393"/>
                    <a:pt x="234" y="393"/>
                    <a:pt x="234" y="393"/>
                  </a:cubicBezTo>
                  <a:cubicBezTo>
                    <a:pt x="234" y="393"/>
                    <a:pt x="236" y="386"/>
                    <a:pt x="235" y="383"/>
                  </a:cubicBezTo>
                  <a:cubicBezTo>
                    <a:pt x="235" y="382"/>
                    <a:pt x="226" y="382"/>
                    <a:pt x="226" y="382"/>
                  </a:cubicBezTo>
                  <a:cubicBezTo>
                    <a:pt x="226" y="380"/>
                    <a:pt x="226" y="380"/>
                    <a:pt x="226" y="380"/>
                  </a:cubicBezTo>
                  <a:cubicBezTo>
                    <a:pt x="223" y="379"/>
                    <a:pt x="223" y="379"/>
                    <a:pt x="223" y="379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15" y="380"/>
                    <a:pt x="215" y="380"/>
                    <a:pt x="215" y="380"/>
                  </a:cubicBezTo>
                  <a:cubicBezTo>
                    <a:pt x="221" y="378"/>
                    <a:pt x="221" y="378"/>
                    <a:pt x="221" y="378"/>
                  </a:cubicBezTo>
                  <a:cubicBezTo>
                    <a:pt x="221" y="378"/>
                    <a:pt x="221" y="376"/>
                    <a:pt x="227" y="376"/>
                  </a:cubicBezTo>
                  <a:cubicBezTo>
                    <a:pt x="233" y="375"/>
                    <a:pt x="240" y="377"/>
                    <a:pt x="240" y="377"/>
                  </a:cubicBezTo>
                  <a:cubicBezTo>
                    <a:pt x="239" y="381"/>
                    <a:pt x="239" y="381"/>
                    <a:pt x="239" y="381"/>
                  </a:cubicBezTo>
                  <a:cubicBezTo>
                    <a:pt x="239" y="381"/>
                    <a:pt x="244" y="384"/>
                    <a:pt x="251" y="388"/>
                  </a:cubicBezTo>
                  <a:cubicBezTo>
                    <a:pt x="256" y="391"/>
                    <a:pt x="265" y="393"/>
                    <a:pt x="265" y="393"/>
                  </a:cubicBezTo>
                  <a:cubicBezTo>
                    <a:pt x="262" y="387"/>
                    <a:pt x="262" y="387"/>
                    <a:pt x="262" y="387"/>
                  </a:cubicBezTo>
                  <a:cubicBezTo>
                    <a:pt x="264" y="386"/>
                    <a:pt x="264" y="386"/>
                    <a:pt x="264" y="386"/>
                  </a:cubicBezTo>
                  <a:cubicBezTo>
                    <a:pt x="264" y="386"/>
                    <a:pt x="270" y="391"/>
                    <a:pt x="273" y="392"/>
                  </a:cubicBezTo>
                  <a:cubicBezTo>
                    <a:pt x="276" y="393"/>
                    <a:pt x="279" y="390"/>
                    <a:pt x="279" y="390"/>
                  </a:cubicBezTo>
                  <a:cubicBezTo>
                    <a:pt x="281" y="384"/>
                    <a:pt x="281" y="384"/>
                    <a:pt x="281" y="384"/>
                  </a:cubicBezTo>
                  <a:cubicBezTo>
                    <a:pt x="281" y="390"/>
                    <a:pt x="281" y="390"/>
                    <a:pt x="281" y="390"/>
                  </a:cubicBezTo>
                  <a:cubicBezTo>
                    <a:pt x="288" y="390"/>
                    <a:pt x="288" y="390"/>
                    <a:pt x="288" y="390"/>
                  </a:cubicBezTo>
                  <a:cubicBezTo>
                    <a:pt x="288" y="390"/>
                    <a:pt x="288" y="391"/>
                    <a:pt x="289" y="393"/>
                  </a:cubicBezTo>
                  <a:cubicBezTo>
                    <a:pt x="291" y="395"/>
                    <a:pt x="292" y="395"/>
                    <a:pt x="292" y="395"/>
                  </a:cubicBezTo>
                  <a:cubicBezTo>
                    <a:pt x="297" y="390"/>
                    <a:pt x="297" y="390"/>
                    <a:pt x="297" y="39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304" y="391"/>
                    <a:pt x="311" y="394"/>
                    <a:pt x="311" y="394"/>
                  </a:cubicBezTo>
                  <a:cubicBezTo>
                    <a:pt x="314" y="393"/>
                    <a:pt x="314" y="393"/>
                    <a:pt x="314" y="393"/>
                  </a:cubicBezTo>
                  <a:cubicBezTo>
                    <a:pt x="316" y="395"/>
                    <a:pt x="316" y="395"/>
                    <a:pt x="316" y="395"/>
                  </a:cubicBezTo>
                  <a:cubicBezTo>
                    <a:pt x="335" y="395"/>
                    <a:pt x="335" y="395"/>
                    <a:pt x="335" y="395"/>
                  </a:cubicBezTo>
                  <a:cubicBezTo>
                    <a:pt x="349" y="395"/>
                    <a:pt x="355" y="390"/>
                    <a:pt x="364" y="390"/>
                  </a:cubicBezTo>
                  <a:cubicBezTo>
                    <a:pt x="371" y="390"/>
                    <a:pt x="383" y="395"/>
                    <a:pt x="383" y="395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91" y="393"/>
                    <a:pt x="400" y="392"/>
                  </a:cubicBezTo>
                  <a:cubicBezTo>
                    <a:pt x="408" y="391"/>
                    <a:pt x="413" y="381"/>
                    <a:pt x="413" y="381"/>
                  </a:cubicBezTo>
                  <a:cubicBezTo>
                    <a:pt x="417" y="381"/>
                    <a:pt x="417" y="381"/>
                    <a:pt x="417" y="381"/>
                  </a:cubicBezTo>
                  <a:cubicBezTo>
                    <a:pt x="419" y="381"/>
                    <a:pt x="420" y="377"/>
                    <a:pt x="420" y="377"/>
                  </a:cubicBezTo>
                  <a:cubicBezTo>
                    <a:pt x="420" y="377"/>
                    <a:pt x="428" y="371"/>
                    <a:pt x="430" y="368"/>
                  </a:cubicBezTo>
                  <a:cubicBezTo>
                    <a:pt x="432" y="366"/>
                    <a:pt x="439" y="351"/>
                    <a:pt x="439" y="351"/>
                  </a:cubicBezTo>
                  <a:cubicBezTo>
                    <a:pt x="439" y="351"/>
                    <a:pt x="441" y="351"/>
                    <a:pt x="444" y="349"/>
                  </a:cubicBezTo>
                  <a:cubicBezTo>
                    <a:pt x="445" y="346"/>
                    <a:pt x="444" y="343"/>
                    <a:pt x="444" y="343"/>
                  </a:cubicBezTo>
                  <a:cubicBezTo>
                    <a:pt x="444" y="343"/>
                    <a:pt x="444" y="340"/>
                    <a:pt x="446" y="334"/>
                  </a:cubicBezTo>
                  <a:cubicBezTo>
                    <a:pt x="447" y="329"/>
                    <a:pt x="448" y="304"/>
                    <a:pt x="448" y="304"/>
                  </a:cubicBezTo>
                  <a:cubicBezTo>
                    <a:pt x="444" y="300"/>
                    <a:pt x="444" y="300"/>
                    <a:pt x="444" y="300"/>
                  </a:cubicBezTo>
                  <a:cubicBezTo>
                    <a:pt x="439" y="294"/>
                    <a:pt x="439" y="294"/>
                    <a:pt x="439" y="294"/>
                  </a:cubicBezTo>
                  <a:cubicBezTo>
                    <a:pt x="439" y="294"/>
                    <a:pt x="435" y="295"/>
                    <a:pt x="433" y="294"/>
                  </a:cubicBezTo>
                  <a:cubicBezTo>
                    <a:pt x="430" y="293"/>
                    <a:pt x="428" y="283"/>
                    <a:pt x="428" y="283"/>
                  </a:cubicBezTo>
                  <a:cubicBezTo>
                    <a:pt x="424" y="283"/>
                    <a:pt x="424" y="283"/>
                    <a:pt x="424" y="283"/>
                  </a:cubicBezTo>
                  <a:cubicBezTo>
                    <a:pt x="422" y="278"/>
                    <a:pt x="422" y="278"/>
                    <a:pt x="422" y="278"/>
                  </a:cubicBezTo>
                  <a:cubicBezTo>
                    <a:pt x="423" y="275"/>
                    <a:pt x="423" y="275"/>
                    <a:pt x="423" y="275"/>
                  </a:cubicBezTo>
                  <a:cubicBezTo>
                    <a:pt x="415" y="268"/>
                    <a:pt x="415" y="268"/>
                    <a:pt x="415" y="268"/>
                  </a:cubicBezTo>
                  <a:cubicBezTo>
                    <a:pt x="413" y="270"/>
                    <a:pt x="413" y="270"/>
                    <a:pt x="413" y="270"/>
                  </a:cubicBezTo>
                  <a:cubicBezTo>
                    <a:pt x="407" y="268"/>
                    <a:pt x="407" y="268"/>
                    <a:pt x="407" y="268"/>
                  </a:cubicBezTo>
                  <a:cubicBezTo>
                    <a:pt x="407" y="268"/>
                    <a:pt x="407" y="272"/>
                    <a:pt x="405" y="272"/>
                  </a:cubicBezTo>
                  <a:cubicBezTo>
                    <a:pt x="403" y="272"/>
                    <a:pt x="400" y="269"/>
                    <a:pt x="400" y="269"/>
                  </a:cubicBezTo>
                  <a:cubicBezTo>
                    <a:pt x="399" y="265"/>
                    <a:pt x="399" y="265"/>
                    <a:pt x="399" y="265"/>
                  </a:cubicBezTo>
                  <a:cubicBezTo>
                    <a:pt x="386" y="262"/>
                    <a:pt x="386" y="262"/>
                    <a:pt x="386" y="262"/>
                  </a:cubicBezTo>
                  <a:cubicBezTo>
                    <a:pt x="380" y="256"/>
                    <a:pt x="380" y="256"/>
                    <a:pt x="380" y="256"/>
                  </a:cubicBezTo>
                  <a:cubicBezTo>
                    <a:pt x="379" y="257"/>
                    <a:pt x="379" y="257"/>
                    <a:pt x="379" y="257"/>
                  </a:cubicBezTo>
                  <a:cubicBezTo>
                    <a:pt x="379" y="257"/>
                    <a:pt x="384" y="261"/>
                    <a:pt x="381" y="263"/>
                  </a:cubicBezTo>
                  <a:cubicBezTo>
                    <a:pt x="377" y="264"/>
                    <a:pt x="364" y="257"/>
                    <a:pt x="364" y="257"/>
                  </a:cubicBezTo>
                  <a:cubicBezTo>
                    <a:pt x="363" y="260"/>
                    <a:pt x="363" y="260"/>
                    <a:pt x="363" y="260"/>
                  </a:cubicBezTo>
                  <a:cubicBezTo>
                    <a:pt x="356" y="256"/>
                    <a:pt x="356" y="256"/>
                    <a:pt x="356" y="256"/>
                  </a:cubicBezTo>
                  <a:cubicBezTo>
                    <a:pt x="356" y="256"/>
                    <a:pt x="357" y="254"/>
                    <a:pt x="355" y="254"/>
                  </a:cubicBezTo>
                  <a:cubicBezTo>
                    <a:pt x="353" y="254"/>
                    <a:pt x="347" y="253"/>
                    <a:pt x="347" y="253"/>
                  </a:cubicBezTo>
                  <a:cubicBezTo>
                    <a:pt x="348" y="255"/>
                    <a:pt x="348" y="255"/>
                    <a:pt x="348" y="255"/>
                  </a:cubicBezTo>
                  <a:cubicBezTo>
                    <a:pt x="348" y="255"/>
                    <a:pt x="353" y="257"/>
                    <a:pt x="352" y="259"/>
                  </a:cubicBezTo>
                  <a:cubicBezTo>
                    <a:pt x="352" y="261"/>
                    <a:pt x="344" y="257"/>
                    <a:pt x="344" y="257"/>
                  </a:cubicBezTo>
                  <a:cubicBezTo>
                    <a:pt x="344" y="257"/>
                    <a:pt x="331" y="250"/>
                    <a:pt x="325" y="247"/>
                  </a:cubicBezTo>
                  <a:cubicBezTo>
                    <a:pt x="321" y="244"/>
                    <a:pt x="310" y="241"/>
                    <a:pt x="306" y="240"/>
                  </a:cubicBezTo>
                  <a:cubicBezTo>
                    <a:pt x="302" y="239"/>
                    <a:pt x="295" y="235"/>
                    <a:pt x="289" y="233"/>
                  </a:cubicBezTo>
                  <a:cubicBezTo>
                    <a:pt x="282" y="230"/>
                    <a:pt x="270" y="230"/>
                    <a:pt x="270" y="230"/>
                  </a:cubicBezTo>
                  <a:cubicBezTo>
                    <a:pt x="269" y="230"/>
                    <a:pt x="269" y="230"/>
                    <a:pt x="269" y="230"/>
                  </a:cubicBezTo>
                  <a:cubicBezTo>
                    <a:pt x="269" y="230"/>
                    <a:pt x="266" y="228"/>
                    <a:pt x="265" y="226"/>
                  </a:cubicBezTo>
                  <a:cubicBezTo>
                    <a:pt x="264" y="226"/>
                    <a:pt x="262" y="229"/>
                    <a:pt x="262" y="229"/>
                  </a:cubicBezTo>
                  <a:cubicBezTo>
                    <a:pt x="256" y="229"/>
                    <a:pt x="256" y="229"/>
                    <a:pt x="256" y="229"/>
                  </a:cubicBezTo>
                  <a:cubicBezTo>
                    <a:pt x="256" y="228"/>
                    <a:pt x="256" y="228"/>
                    <a:pt x="256" y="228"/>
                  </a:cubicBezTo>
                  <a:cubicBezTo>
                    <a:pt x="248" y="230"/>
                    <a:pt x="248" y="230"/>
                    <a:pt x="248" y="230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8" y="233"/>
                    <a:pt x="246" y="233"/>
                  </a:cubicBezTo>
                  <a:cubicBezTo>
                    <a:pt x="244" y="233"/>
                    <a:pt x="244" y="235"/>
                    <a:pt x="244" y="235"/>
                  </a:cubicBezTo>
                  <a:cubicBezTo>
                    <a:pt x="244" y="235"/>
                    <a:pt x="242" y="234"/>
                    <a:pt x="240" y="233"/>
                  </a:cubicBezTo>
                  <a:cubicBezTo>
                    <a:pt x="238" y="233"/>
                    <a:pt x="231" y="234"/>
                    <a:pt x="231" y="234"/>
                  </a:cubicBezTo>
                  <a:cubicBezTo>
                    <a:pt x="229" y="232"/>
                    <a:pt x="229" y="232"/>
                    <a:pt x="229" y="232"/>
                  </a:cubicBezTo>
                  <a:cubicBezTo>
                    <a:pt x="217" y="234"/>
                    <a:pt x="217" y="234"/>
                    <a:pt x="217" y="234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7" y="236"/>
                    <a:pt x="211" y="234"/>
                    <a:pt x="210" y="236"/>
                  </a:cubicBezTo>
                  <a:cubicBezTo>
                    <a:pt x="209" y="239"/>
                    <a:pt x="212" y="247"/>
                    <a:pt x="212" y="247"/>
                  </a:cubicBezTo>
                  <a:cubicBezTo>
                    <a:pt x="212" y="247"/>
                    <a:pt x="211" y="250"/>
                    <a:pt x="209" y="251"/>
                  </a:cubicBezTo>
                  <a:cubicBezTo>
                    <a:pt x="208" y="253"/>
                    <a:pt x="205" y="255"/>
                    <a:pt x="203" y="254"/>
                  </a:cubicBezTo>
                  <a:cubicBezTo>
                    <a:pt x="202" y="253"/>
                    <a:pt x="207" y="249"/>
                    <a:pt x="208" y="247"/>
                  </a:cubicBezTo>
                  <a:cubicBezTo>
                    <a:pt x="210" y="246"/>
                    <a:pt x="210" y="244"/>
                    <a:pt x="210" y="244"/>
                  </a:cubicBezTo>
                  <a:cubicBezTo>
                    <a:pt x="206" y="241"/>
                    <a:pt x="206" y="241"/>
                    <a:pt x="206" y="241"/>
                  </a:cubicBezTo>
                  <a:cubicBezTo>
                    <a:pt x="207" y="239"/>
                    <a:pt x="207" y="239"/>
                    <a:pt x="207" y="239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241"/>
                    <a:pt x="208" y="234"/>
                    <a:pt x="205" y="231"/>
                  </a:cubicBezTo>
                  <a:cubicBezTo>
                    <a:pt x="201" y="228"/>
                    <a:pt x="194" y="236"/>
                    <a:pt x="194" y="236"/>
                  </a:cubicBezTo>
                  <a:cubicBezTo>
                    <a:pt x="193" y="240"/>
                    <a:pt x="193" y="240"/>
                    <a:pt x="193" y="240"/>
                  </a:cubicBezTo>
                  <a:cubicBezTo>
                    <a:pt x="190" y="240"/>
                    <a:pt x="190" y="240"/>
                    <a:pt x="190" y="240"/>
                  </a:cubicBezTo>
                  <a:cubicBezTo>
                    <a:pt x="193" y="236"/>
                    <a:pt x="193" y="236"/>
                    <a:pt x="193" y="236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1" y="234"/>
                    <a:pt x="191" y="234"/>
                    <a:pt x="191" y="234"/>
                  </a:cubicBezTo>
                  <a:cubicBezTo>
                    <a:pt x="190" y="232"/>
                    <a:pt x="190" y="232"/>
                    <a:pt x="190" y="232"/>
                  </a:cubicBezTo>
                  <a:cubicBezTo>
                    <a:pt x="186" y="232"/>
                    <a:pt x="186" y="232"/>
                    <a:pt x="186" y="232"/>
                  </a:cubicBezTo>
                  <a:cubicBezTo>
                    <a:pt x="186" y="234"/>
                    <a:pt x="186" y="234"/>
                    <a:pt x="186" y="234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6"/>
                    <a:pt x="182" y="236"/>
                    <a:pt x="182" y="236"/>
                  </a:cubicBezTo>
                  <a:cubicBezTo>
                    <a:pt x="177" y="237"/>
                    <a:pt x="177" y="237"/>
                    <a:pt x="177" y="237"/>
                  </a:cubicBezTo>
                  <a:cubicBezTo>
                    <a:pt x="180" y="231"/>
                    <a:pt x="180" y="231"/>
                    <a:pt x="180" y="231"/>
                  </a:cubicBezTo>
                  <a:cubicBezTo>
                    <a:pt x="178" y="231"/>
                    <a:pt x="178" y="231"/>
                    <a:pt x="178" y="231"/>
                  </a:cubicBezTo>
                  <a:cubicBezTo>
                    <a:pt x="178" y="231"/>
                    <a:pt x="178" y="229"/>
                    <a:pt x="175" y="229"/>
                  </a:cubicBezTo>
                  <a:cubicBezTo>
                    <a:pt x="172" y="229"/>
                    <a:pt x="169" y="232"/>
                    <a:pt x="169" y="232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6" y="226"/>
                    <a:pt x="166" y="226"/>
                    <a:pt x="166" y="226"/>
                  </a:cubicBezTo>
                  <a:cubicBezTo>
                    <a:pt x="168" y="223"/>
                    <a:pt x="168" y="223"/>
                    <a:pt x="168" y="223"/>
                  </a:cubicBezTo>
                  <a:cubicBezTo>
                    <a:pt x="167" y="222"/>
                    <a:pt x="167" y="222"/>
                    <a:pt x="167" y="222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71" y="222"/>
                    <a:pt x="169" y="223"/>
                    <a:pt x="171" y="225"/>
                  </a:cubicBezTo>
                  <a:cubicBezTo>
                    <a:pt x="174" y="228"/>
                    <a:pt x="188" y="225"/>
                    <a:pt x="188" y="225"/>
                  </a:cubicBezTo>
                  <a:cubicBezTo>
                    <a:pt x="188" y="225"/>
                    <a:pt x="190" y="223"/>
                    <a:pt x="190" y="221"/>
                  </a:cubicBezTo>
                  <a:cubicBezTo>
                    <a:pt x="190" y="213"/>
                    <a:pt x="190" y="213"/>
                    <a:pt x="190" y="213"/>
                  </a:cubicBezTo>
                  <a:cubicBezTo>
                    <a:pt x="190" y="213"/>
                    <a:pt x="177" y="215"/>
                    <a:pt x="175" y="213"/>
                  </a:cubicBezTo>
                  <a:cubicBezTo>
                    <a:pt x="173" y="212"/>
                    <a:pt x="161" y="207"/>
                    <a:pt x="159" y="208"/>
                  </a:cubicBezTo>
                  <a:cubicBezTo>
                    <a:pt x="158" y="210"/>
                    <a:pt x="161" y="213"/>
                    <a:pt x="161" y="213"/>
                  </a:cubicBezTo>
                  <a:cubicBezTo>
                    <a:pt x="161" y="215"/>
                    <a:pt x="161" y="215"/>
                    <a:pt x="161" y="215"/>
                  </a:cubicBezTo>
                  <a:cubicBezTo>
                    <a:pt x="161" y="215"/>
                    <a:pt x="167" y="217"/>
                    <a:pt x="166" y="219"/>
                  </a:cubicBezTo>
                  <a:cubicBezTo>
                    <a:pt x="164" y="220"/>
                    <a:pt x="160" y="216"/>
                    <a:pt x="157" y="217"/>
                  </a:cubicBezTo>
                  <a:cubicBezTo>
                    <a:pt x="155" y="219"/>
                    <a:pt x="158" y="224"/>
                    <a:pt x="158" y="224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60" y="225"/>
                    <a:pt x="158" y="226"/>
                    <a:pt x="155" y="228"/>
                  </a:cubicBezTo>
                  <a:cubicBezTo>
                    <a:pt x="153" y="228"/>
                    <a:pt x="153" y="231"/>
                    <a:pt x="153" y="231"/>
                  </a:cubicBezTo>
                  <a:cubicBezTo>
                    <a:pt x="153" y="231"/>
                    <a:pt x="151" y="225"/>
                    <a:pt x="145" y="224"/>
                  </a:cubicBezTo>
                  <a:cubicBezTo>
                    <a:pt x="144" y="224"/>
                    <a:pt x="142" y="224"/>
                    <a:pt x="141" y="225"/>
                  </a:cubicBezTo>
                  <a:cubicBezTo>
                    <a:pt x="141" y="228"/>
                    <a:pt x="141" y="228"/>
                    <a:pt x="141" y="228"/>
                  </a:cubicBezTo>
                  <a:cubicBezTo>
                    <a:pt x="141" y="228"/>
                    <a:pt x="146" y="231"/>
                    <a:pt x="143" y="237"/>
                  </a:cubicBezTo>
                  <a:cubicBezTo>
                    <a:pt x="141" y="244"/>
                    <a:pt x="134" y="236"/>
                    <a:pt x="131" y="236"/>
                  </a:cubicBezTo>
                  <a:cubicBezTo>
                    <a:pt x="129" y="235"/>
                    <a:pt x="125" y="235"/>
                    <a:pt x="125" y="235"/>
                  </a:cubicBezTo>
                  <a:cubicBezTo>
                    <a:pt x="125" y="235"/>
                    <a:pt x="130" y="242"/>
                    <a:pt x="130" y="247"/>
                  </a:cubicBezTo>
                  <a:cubicBezTo>
                    <a:pt x="130" y="251"/>
                    <a:pt x="124" y="249"/>
                    <a:pt x="122" y="250"/>
                  </a:cubicBezTo>
                  <a:cubicBezTo>
                    <a:pt x="121" y="250"/>
                    <a:pt x="122" y="255"/>
                    <a:pt x="119" y="257"/>
                  </a:cubicBezTo>
                  <a:cubicBezTo>
                    <a:pt x="117" y="259"/>
                    <a:pt x="113" y="259"/>
                    <a:pt x="112" y="262"/>
                  </a:cubicBezTo>
                  <a:cubicBezTo>
                    <a:pt x="111" y="265"/>
                    <a:pt x="114" y="264"/>
                    <a:pt x="114" y="264"/>
                  </a:cubicBezTo>
                  <a:cubicBezTo>
                    <a:pt x="114" y="264"/>
                    <a:pt x="115" y="278"/>
                    <a:pt x="112" y="280"/>
                  </a:cubicBezTo>
                  <a:cubicBezTo>
                    <a:pt x="110" y="282"/>
                    <a:pt x="106" y="278"/>
                    <a:pt x="106" y="278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108" y="291"/>
                    <a:pt x="108" y="291"/>
                    <a:pt x="108" y="291"/>
                  </a:cubicBezTo>
                  <a:cubicBezTo>
                    <a:pt x="105" y="311"/>
                    <a:pt x="105" y="311"/>
                    <a:pt x="105" y="311"/>
                  </a:cubicBezTo>
                  <a:cubicBezTo>
                    <a:pt x="114" y="334"/>
                    <a:pt x="114" y="334"/>
                    <a:pt x="114" y="334"/>
                  </a:cubicBezTo>
                  <a:cubicBezTo>
                    <a:pt x="135" y="338"/>
                    <a:pt x="135" y="338"/>
                    <a:pt x="135" y="338"/>
                  </a:cubicBezTo>
                  <a:cubicBezTo>
                    <a:pt x="147" y="354"/>
                    <a:pt x="147" y="354"/>
                    <a:pt x="147" y="354"/>
                  </a:cubicBezTo>
                  <a:cubicBezTo>
                    <a:pt x="147" y="354"/>
                    <a:pt x="159" y="354"/>
                    <a:pt x="160" y="363"/>
                  </a:cubicBezTo>
                  <a:cubicBezTo>
                    <a:pt x="161" y="373"/>
                    <a:pt x="146" y="408"/>
                    <a:pt x="146" y="408"/>
                  </a:cubicBezTo>
                  <a:cubicBezTo>
                    <a:pt x="146" y="408"/>
                    <a:pt x="157" y="425"/>
                    <a:pt x="163" y="429"/>
                  </a:cubicBezTo>
                  <a:cubicBezTo>
                    <a:pt x="171" y="435"/>
                    <a:pt x="170" y="444"/>
                    <a:pt x="173" y="446"/>
                  </a:cubicBezTo>
                  <a:cubicBezTo>
                    <a:pt x="173" y="446"/>
                    <a:pt x="186" y="453"/>
                    <a:pt x="190" y="461"/>
                  </a:cubicBezTo>
                  <a:cubicBezTo>
                    <a:pt x="195" y="470"/>
                    <a:pt x="197" y="480"/>
                    <a:pt x="197" y="480"/>
                  </a:cubicBezTo>
                  <a:cubicBezTo>
                    <a:pt x="186" y="486"/>
                    <a:pt x="186" y="486"/>
                    <a:pt x="186" y="486"/>
                  </a:cubicBezTo>
                  <a:cubicBezTo>
                    <a:pt x="193" y="488"/>
                    <a:pt x="193" y="488"/>
                    <a:pt x="193" y="488"/>
                  </a:cubicBezTo>
                  <a:cubicBezTo>
                    <a:pt x="189" y="493"/>
                    <a:pt x="189" y="493"/>
                    <a:pt x="189" y="493"/>
                  </a:cubicBezTo>
                  <a:cubicBezTo>
                    <a:pt x="192" y="502"/>
                    <a:pt x="192" y="502"/>
                    <a:pt x="192" y="502"/>
                  </a:cubicBezTo>
                  <a:cubicBezTo>
                    <a:pt x="189" y="514"/>
                    <a:pt x="189" y="514"/>
                    <a:pt x="189" y="514"/>
                  </a:cubicBezTo>
                  <a:cubicBezTo>
                    <a:pt x="200" y="512"/>
                    <a:pt x="200" y="512"/>
                    <a:pt x="200" y="512"/>
                  </a:cubicBezTo>
                  <a:cubicBezTo>
                    <a:pt x="201" y="517"/>
                    <a:pt x="201" y="517"/>
                    <a:pt x="201" y="517"/>
                  </a:cubicBezTo>
                  <a:cubicBezTo>
                    <a:pt x="194" y="522"/>
                    <a:pt x="194" y="522"/>
                    <a:pt x="194" y="522"/>
                  </a:cubicBezTo>
                  <a:cubicBezTo>
                    <a:pt x="201" y="538"/>
                    <a:pt x="201" y="538"/>
                    <a:pt x="201" y="538"/>
                  </a:cubicBezTo>
                  <a:cubicBezTo>
                    <a:pt x="211" y="533"/>
                    <a:pt x="211" y="533"/>
                    <a:pt x="211" y="533"/>
                  </a:cubicBezTo>
                  <a:cubicBezTo>
                    <a:pt x="216" y="541"/>
                    <a:pt x="216" y="541"/>
                    <a:pt x="216" y="541"/>
                  </a:cubicBezTo>
                  <a:cubicBezTo>
                    <a:pt x="216" y="541"/>
                    <a:pt x="210" y="547"/>
                    <a:pt x="217" y="556"/>
                  </a:cubicBezTo>
                  <a:cubicBezTo>
                    <a:pt x="222" y="565"/>
                    <a:pt x="232" y="559"/>
                    <a:pt x="236" y="567"/>
                  </a:cubicBezTo>
                  <a:cubicBezTo>
                    <a:pt x="240" y="576"/>
                    <a:pt x="235" y="591"/>
                    <a:pt x="235" y="591"/>
                  </a:cubicBezTo>
                  <a:cubicBezTo>
                    <a:pt x="236" y="595"/>
                    <a:pt x="236" y="595"/>
                    <a:pt x="236" y="595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48" y="615"/>
                    <a:pt x="248" y="615"/>
                    <a:pt x="248" y="615"/>
                  </a:cubicBezTo>
                  <a:cubicBezTo>
                    <a:pt x="259" y="617"/>
                    <a:pt x="259" y="617"/>
                    <a:pt x="259" y="617"/>
                  </a:cubicBezTo>
                  <a:cubicBezTo>
                    <a:pt x="275" y="625"/>
                    <a:pt x="275" y="625"/>
                    <a:pt x="275" y="625"/>
                  </a:cubicBezTo>
                  <a:cubicBezTo>
                    <a:pt x="278" y="633"/>
                    <a:pt x="278" y="633"/>
                    <a:pt x="278" y="633"/>
                  </a:cubicBezTo>
                  <a:cubicBezTo>
                    <a:pt x="278" y="633"/>
                    <a:pt x="290" y="633"/>
                    <a:pt x="291" y="639"/>
                  </a:cubicBezTo>
                  <a:cubicBezTo>
                    <a:pt x="291" y="645"/>
                    <a:pt x="289" y="669"/>
                    <a:pt x="287" y="673"/>
                  </a:cubicBezTo>
                  <a:cubicBezTo>
                    <a:pt x="284" y="681"/>
                    <a:pt x="284" y="681"/>
                    <a:pt x="284" y="681"/>
                  </a:cubicBezTo>
                  <a:cubicBezTo>
                    <a:pt x="284" y="681"/>
                    <a:pt x="275" y="694"/>
                    <a:pt x="272" y="706"/>
                  </a:cubicBezTo>
                  <a:cubicBezTo>
                    <a:pt x="269" y="717"/>
                    <a:pt x="261" y="737"/>
                    <a:pt x="258" y="742"/>
                  </a:cubicBezTo>
                  <a:cubicBezTo>
                    <a:pt x="255" y="748"/>
                    <a:pt x="250" y="761"/>
                    <a:pt x="250" y="761"/>
                  </a:cubicBezTo>
                  <a:cubicBezTo>
                    <a:pt x="237" y="775"/>
                    <a:pt x="237" y="775"/>
                    <a:pt x="237" y="775"/>
                  </a:cubicBezTo>
                  <a:cubicBezTo>
                    <a:pt x="236" y="784"/>
                    <a:pt x="236" y="784"/>
                    <a:pt x="236" y="784"/>
                  </a:cubicBezTo>
                  <a:cubicBezTo>
                    <a:pt x="232" y="787"/>
                    <a:pt x="232" y="787"/>
                    <a:pt x="232" y="787"/>
                  </a:cubicBezTo>
                  <a:cubicBezTo>
                    <a:pt x="221" y="802"/>
                    <a:pt x="221" y="802"/>
                    <a:pt x="221" y="802"/>
                  </a:cubicBezTo>
                  <a:cubicBezTo>
                    <a:pt x="213" y="818"/>
                    <a:pt x="213" y="818"/>
                    <a:pt x="213" y="818"/>
                  </a:cubicBezTo>
                  <a:cubicBezTo>
                    <a:pt x="213" y="819"/>
                    <a:pt x="213" y="819"/>
                    <a:pt x="213" y="819"/>
                  </a:cubicBezTo>
                  <a:cubicBezTo>
                    <a:pt x="216" y="820"/>
                    <a:pt x="216" y="820"/>
                    <a:pt x="216" y="820"/>
                  </a:cubicBezTo>
                  <a:cubicBezTo>
                    <a:pt x="225" y="818"/>
                    <a:pt x="225" y="818"/>
                    <a:pt x="225" y="818"/>
                  </a:cubicBezTo>
                  <a:cubicBezTo>
                    <a:pt x="231" y="809"/>
                    <a:pt x="231" y="809"/>
                    <a:pt x="231" y="809"/>
                  </a:cubicBezTo>
                  <a:cubicBezTo>
                    <a:pt x="235" y="805"/>
                    <a:pt x="235" y="805"/>
                    <a:pt x="235" y="805"/>
                  </a:cubicBezTo>
                  <a:cubicBezTo>
                    <a:pt x="235" y="805"/>
                    <a:pt x="236" y="800"/>
                    <a:pt x="238" y="801"/>
                  </a:cubicBezTo>
                  <a:cubicBezTo>
                    <a:pt x="241" y="802"/>
                    <a:pt x="239" y="805"/>
                    <a:pt x="239" y="805"/>
                  </a:cubicBezTo>
                  <a:cubicBezTo>
                    <a:pt x="242" y="819"/>
                    <a:pt x="242" y="819"/>
                    <a:pt x="242" y="819"/>
                  </a:cubicBezTo>
                  <a:cubicBezTo>
                    <a:pt x="235" y="814"/>
                    <a:pt x="235" y="814"/>
                    <a:pt x="235" y="814"/>
                  </a:cubicBezTo>
                  <a:cubicBezTo>
                    <a:pt x="234" y="815"/>
                    <a:pt x="234" y="815"/>
                    <a:pt x="234" y="815"/>
                  </a:cubicBezTo>
                  <a:cubicBezTo>
                    <a:pt x="241" y="823"/>
                    <a:pt x="241" y="823"/>
                    <a:pt x="241" y="823"/>
                  </a:cubicBezTo>
                  <a:cubicBezTo>
                    <a:pt x="246" y="825"/>
                    <a:pt x="246" y="825"/>
                    <a:pt x="246" y="825"/>
                  </a:cubicBezTo>
                  <a:cubicBezTo>
                    <a:pt x="256" y="833"/>
                    <a:pt x="256" y="833"/>
                    <a:pt x="256" y="833"/>
                  </a:cubicBezTo>
                  <a:cubicBezTo>
                    <a:pt x="256" y="833"/>
                    <a:pt x="260" y="835"/>
                    <a:pt x="269" y="832"/>
                  </a:cubicBezTo>
                  <a:cubicBezTo>
                    <a:pt x="276" y="828"/>
                    <a:pt x="281" y="823"/>
                    <a:pt x="286" y="827"/>
                  </a:cubicBezTo>
                  <a:cubicBezTo>
                    <a:pt x="291" y="831"/>
                    <a:pt x="292" y="835"/>
                    <a:pt x="292" y="835"/>
                  </a:cubicBezTo>
                  <a:cubicBezTo>
                    <a:pt x="301" y="836"/>
                    <a:pt x="301" y="836"/>
                    <a:pt x="301" y="836"/>
                  </a:cubicBezTo>
                  <a:cubicBezTo>
                    <a:pt x="299" y="844"/>
                    <a:pt x="299" y="844"/>
                    <a:pt x="299" y="844"/>
                  </a:cubicBezTo>
                  <a:cubicBezTo>
                    <a:pt x="267" y="841"/>
                    <a:pt x="267" y="841"/>
                    <a:pt x="267" y="841"/>
                  </a:cubicBezTo>
                  <a:cubicBezTo>
                    <a:pt x="261" y="847"/>
                    <a:pt x="261" y="847"/>
                    <a:pt x="261" y="847"/>
                  </a:cubicBezTo>
                  <a:cubicBezTo>
                    <a:pt x="261" y="847"/>
                    <a:pt x="270" y="853"/>
                    <a:pt x="262" y="856"/>
                  </a:cubicBezTo>
                  <a:cubicBezTo>
                    <a:pt x="255" y="860"/>
                    <a:pt x="249" y="856"/>
                    <a:pt x="249" y="856"/>
                  </a:cubicBezTo>
                  <a:cubicBezTo>
                    <a:pt x="243" y="860"/>
                    <a:pt x="243" y="860"/>
                    <a:pt x="243" y="860"/>
                  </a:cubicBezTo>
                  <a:cubicBezTo>
                    <a:pt x="243" y="860"/>
                    <a:pt x="251" y="866"/>
                    <a:pt x="245" y="868"/>
                  </a:cubicBezTo>
                  <a:cubicBezTo>
                    <a:pt x="240" y="869"/>
                    <a:pt x="236" y="862"/>
                    <a:pt x="236" y="862"/>
                  </a:cubicBezTo>
                  <a:cubicBezTo>
                    <a:pt x="234" y="865"/>
                    <a:pt x="234" y="865"/>
                    <a:pt x="234" y="865"/>
                  </a:cubicBezTo>
                  <a:cubicBezTo>
                    <a:pt x="234" y="870"/>
                    <a:pt x="234" y="870"/>
                    <a:pt x="234" y="870"/>
                  </a:cubicBezTo>
                  <a:cubicBezTo>
                    <a:pt x="239" y="876"/>
                    <a:pt x="239" y="876"/>
                    <a:pt x="239" y="876"/>
                  </a:cubicBezTo>
                  <a:cubicBezTo>
                    <a:pt x="238" y="883"/>
                    <a:pt x="238" y="883"/>
                    <a:pt x="238" y="883"/>
                  </a:cubicBezTo>
                  <a:cubicBezTo>
                    <a:pt x="244" y="888"/>
                    <a:pt x="244" y="888"/>
                    <a:pt x="244" y="888"/>
                  </a:cubicBezTo>
                  <a:cubicBezTo>
                    <a:pt x="244" y="888"/>
                    <a:pt x="238" y="892"/>
                    <a:pt x="238" y="894"/>
                  </a:cubicBezTo>
                  <a:cubicBezTo>
                    <a:pt x="238" y="895"/>
                    <a:pt x="240" y="897"/>
                    <a:pt x="240" y="897"/>
                  </a:cubicBezTo>
                  <a:cubicBezTo>
                    <a:pt x="237" y="913"/>
                    <a:pt x="237" y="913"/>
                    <a:pt x="237" y="913"/>
                  </a:cubicBezTo>
                  <a:cubicBezTo>
                    <a:pt x="237" y="913"/>
                    <a:pt x="233" y="923"/>
                    <a:pt x="232" y="925"/>
                  </a:cubicBezTo>
                  <a:cubicBezTo>
                    <a:pt x="229" y="927"/>
                    <a:pt x="226" y="930"/>
                    <a:pt x="226" y="930"/>
                  </a:cubicBezTo>
                  <a:cubicBezTo>
                    <a:pt x="226" y="930"/>
                    <a:pt x="232" y="942"/>
                    <a:pt x="235" y="948"/>
                  </a:cubicBezTo>
                  <a:cubicBezTo>
                    <a:pt x="238" y="955"/>
                    <a:pt x="239" y="965"/>
                    <a:pt x="239" y="965"/>
                  </a:cubicBezTo>
                  <a:cubicBezTo>
                    <a:pt x="239" y="965"/>
                    <a:pt x="244" y="969"/>
                    <a:pt x="244" y="972"/>
                  </a:cubicBezTo>
                  <a:cubicBezTo>
                    <a:pt x="245" y="976"/>
                    <a:pt x="245" y="979"/>
                    <a:pt x="245" y="979"/>
                  </a:cubicBezTo>
                  <a:cubicBezTo>
                    <a:pt x="245" y="979"/>
                    <a:pt x="255" y="985"/>
                    <a:pt x="255" y="987"/>
                  </a:cubicBezTo>
                  <a:cubicBezTo>
                    <a:pt x="254" y="989"/>
                    <a:pt x="245" y="991"/>
                    <a:pt x="245" y="991"/>
                  </a:cubicBezTo>
                  <a:cubicBezTo>
                    <a:pt x="245" y="991"/>
                    <a:pt x="248" y="995"/>
                    <a:pt x="248" y="997"/>
                  </a:cubicBezTo>
                  <a:cubicBezTo>
                    <a:pt x="246" y="1000"/>
                    <a:pt x="243" y="1000"/>
                    <a:pt x="243" y="1000"/>
                  </a:cubicBezTo>
                  <a:cubicBezTo>
                    <a:pt x="242" y="1006"/>
                    <a:pt x="242" y="1006"/>
                    <a:pt x="242" y="1006"/>
                  </a:cubicBezTo>
                  <a:cubicBezTo>
                    <a:pt x="243" y="1010"/>
                    <a:pt x="243" y="1010"/>
                    <a:pt x="243" y="1010"/>
                  </a:cubicBezTo>
                  <a:cubicBezTo>
                    <a:pt x="246" y="1009"/>
                    <a:pt x="250" y="1009"/>
                    <a:pt x="250" y="1009"/>
                  </a:cubicBezTo>
                  <a:cubicBezTo>
                    <a:pt x="252" y="1016"/>
                    <a:pt x="252" y="1016"/>
                    <a:pt x="252" y="1016"/>
                  </a:cubicBezTo>
                  <a:cubicBezTo>
                    <a:pt x="252" y="1016"/>
                    <a:pt x="259" y="1017"/>
                    <a:pt x="261" y="1018"/>
                  </a:cubicBezTo>
                  <a:cubicBezTo>
                    <a:pt x="264" y="1019"/>
                    <a:pt x="267" y="1022"/>
                    <a:pt x="267" y="1022"/>
                  </a:cubicBezTo>
                  <a:cubicBezTo>
                    <a:pt x="267" y="1033"/>
                    <a:pt x="267" y="1033"/>
                    <a:pt x="267" y="1033"/>
                  </a:cubicBezTo>
                  <a:cubicBezTo>
                    <a:pt x="264" y="1037"/>
                    <a:pt x="264" y="1037"/>
                    <a:pt x="264" y="1037"/>
                  </a:cubicBezTo>
                  <a:cubicBezTo>
                    <a:pt x="266" y="1041"/>
                    <a:pt x="266" y="1041"/>
                    <a:pt x="266" y="1041"/>
                  </a:cubicBezTo>
                  <a:cubicBezTo>
                    <a:pt x="264" y="1052"/>
                    <a:pt x="264" y="1052"/>
                    <a:pt x="264" y="1052"/>
                  </a:cubicBezTo>
                  <a:cubicBezTo>
                    <a:pt x="264" y="1052"/>
                    <a:pt x="269" y="1049"/>
                    <a:pt x="272" y="1049"/>
                  </a:cubicBezTo>
                  <a:cubicBezTo>
                    <a:pt x="274" y="1049"/>
                    <a:pt x="276" y="1052"/>
                    <a:pt x="276" y="1052"/>
                  </a:cubicBezTo>
                  <a:cubicBezTo>
                    <a:pt x="274" y="1057"/>
                    <a:pt x="274" y="1057"/>
                    <a:pt x="274" y="1057"/>
                  </a:cubicBezTo>
                  <a:cubicBezTo>
                    <a:pt x="282" y="1059"/>
                    <a:pt x="282" y="1059"/>
                    <a:pt x="282" y="1059"/>
                  </a:cubicBezTo>
                  <a:cubicBezTo>
                    <a:pt x="283" y="1064"/>
                    <a:pt x="283" y="1064"/>
                    <a:pt x="283" y="1064"/>
                  </a:cubicBezTo>
                  <a:cubicBezTo>
                    <a:pt x="286" y="1065"/>
                    <a:pt x="286" y="1065"/>
                    <a:pt x="286" y="1065"/>
                  </a:cubicBezTo>
                  <a:cubicBezTo>
                    <a:pt x="289" y="1074"/>
                    <a:pt x="289" y="1074"/>
                    <a:pt x="289" y="1074"/>
                  </a:cubicBezTo>
                  <a:cubicBezTo>
                    <a:pt x="291" y="1080"/>
                    <a:pt x="291" y="1080"/>
                    <a:pt x="291" y="1080"/>
                  </a:cubicBezTo>
                  <a:cubicBezTo>
                    <a:pt x="293" y="1081"/>
                    <a:pt x="293" y="1081"/>
                    <a:pt x="293" y="1081"/>
                  </a:cubicBezTo>
                  <a:cubicBezTo>
                    <a:pt x="293" y="1081"/>
                    <a:pt x="294" y="1088"/>
                    <a:pt x="292" y="1092"/>
                  </a:cubicBezTo>
                  <a:cubicBezTo>
                    <a:pt x="291" y="1092"/>
                    <a:pt x="291" y="1092"/>
                    <a:pt x="291" y="1093"/>
                  </a:cubicBezTo>
                  <a:cubicBezTo>
                    <a:pt x="293" y="1093"/>
                    <a:pt x="295" y="1095"/>
                    <a:pt x="298" y="1095"/>
                  </a:cubicBezTo>
                  <a:cubicBezTo>
                    <a:pt x="301" y="1095"/>
                    <a:pt x="307" y="1090"/>
                    <a:pt x="313" y="1091"/>
                  </a:cubicBezTo>
                  <a:cubicBezTo>
                    <a:pt x="318" y="1092"/>
                    <a:pt x="310" y="1100"/>
                    <a:pt x="317" y="1101"/>
                  </a:cubicBezTo>
                  <a:cubicBezTo>
                    <a:pt x="322" y="1102"/>
                    <a:pt x="321" y="1096"/>
                    <a:pt x="323" y="1095"/>
                  </a:cubicBezTo>
                  <a:cubicBezTo>
                    <a:pt x="324" y="1092"/>
                    <a:pt x="338" y="1090"/>
                    <a:pt x="343" y="1095"/>
                  </a:cubicBezTo>
                  <a:cubicBezTo>
                    <a:pt x="349" y="1099"/>
                    <a:pt x="337" y="1108"/>
                    <a:pt x="348" y="1110"/>
                  </a:cubicBezTo>
                  <a:cubicBezTo>
                    <a:pt x="357" y="1110"/>
                    <a:pt x="351" y="1102"/>
                    <a:pt x="351" y="1102"/>
                  </a:cubicBezTo>
                  <a:cubicBezTo>
                    <a:pt x="351" y="1102"/>
                    <a:pt x="357" y="1100"/>
                    <a:pt x="365" y="1097"/>
                  </a:cubicBezTo>
                  <a:cubicBezTo>
                    <a:pt x="371" y="1093"/>
                    <a:pt x="379" y="1093"/>
                    <a:pt x="384" y="1098"/>
                  </a:cubicBezTo>
                  <a:cubicBezTo>
                    <a:pt x="390" y="1101"/>
                    <a:pt x="396" y="1098"/>
                    <a:pt x="402" y="1104"/>
                  </a:cubicBezTo>
                  <a:cubicBezTo>
                    <a:pt x="409" y="1111"/>
                    <a:pt x="401" y="1120"/>
                    <a:pt x="401" y="1120"/>
                  </a:cubicBezTo>
                  <a:cubicBezTo>
                    <a:pt x="413" y="1136"/>
                    <a:pt x="413" y="1136"/>
                    <a:pt x="413" y="1136"/>
                  </a:cubicBezTo>
                  <a:cubicBezTo>
                    <a:pt x="411" y="1154"/>
                    <a:pt x="411" y="1154"/>
                    <a:pt x="411" y="1154"/>
                  </a:cubicBezTo>
                  <a:cubicBezTo>
                    <a:pt x="411" y="1154"/>
                    <a:pt x="422" y="1156"/>
                    <a:pt x="429" y="1160"/>
                  </a:cubicBezTo>
                  <a:cubicBezTo>
                    <a:pt x="435" y="1163"/>
                    <a:pt x="426" y="1170"/>
                    <a:pt x="426" y="1170"/>
                  </a:cubicBezTo>
                  <a:cubicBezTo>
                    <a:pt x="434" y="1172"/>
                    <a:pt x="434" y="1172"/>
                    <a:pt x="434" y="1172"/>
                  </a:cubicBezTo>
                  <a:cubicBezTo>
                    <a:pt x="434" y="1172"/>
                    <a:pt x="435" y="1177"/>
                    <a:pt x="437" y="1181"/>
                  </a:cubicBezTo>
                  <a:cubicBezTo>
                    <a:pt x="438" y="1185"/>
                    <a:pt x="456" y="1186"/>
                    <a:pt x="456" y="1186"/>
                  </a:cubicBezTo>
                  <a:cubicBezTo>
                    <a:pt x="456" y="1186"/>
                    <a:pt x="462" y="1187"/>
                    <a:pt x="465" y="1191"/>
                  </a:cubicBezTo>
                  <a:cubicBezTo>
                    <a:pt x="468" y="1194"/>
                    <a:pt x="466" y="1207"/>
                    <a:pt x="466" y="1207"/>
                  </a:cubicBezTo>
                  <a:cubicBezTo>
                    <a:pt x="479" y="1203"/>
                    <a:pt x="479" y="1203"/>
                    <a:pt x="479" y="1203"/>
                  </a:cubicBezTo>
                  <a:cubicBezTo>
                    <a:pt x="495" y="1205"/>
                    <a:pt x="495" y="1205"/>
                    <a:pt x="495" y="1205"/>
                  </a:cubicBezTo>
                  <a:cubicBezTo>
                    <a:pt x="490" y="1212"/>
                    <a:pt x="490" y="1212"/>
                    <a:pt x="490" y="1212"/>
                  </a:cubicBezTo>
                  <a:cubicBezTo>
                    <a:pt x="510" y="1221"/>
                    <a:pt x="510" y="1221"/>
                    <a:pt x="510" y="1221"/>
                  </a:cubicBezTo>
                  <a:cubicBezTo>
                    <a:pt x="511" y="1226"/>
                    <a:pt x="511" y="1226"/>
                    <a:pt x="511" y="1226"/>
                  </a:cubicBezTo>
                  <a:cubicBezTo>
                    <a:pt x="500" y="1230"/>
                    <a:pt x="500" y="1230"/>
                    <a:pt x="500" y="1230"/>
                  </a:cubicBezTo>
                  <a:cubicBezTo>
                    <a:pt x="502" y="1235"/>
                    <a:pt x="502" y="1235"/>
                    <a:pt x="502" y="1235"/>
                  </a:cubicBezTo>
                  <a:cubicBezTo>
                    <a:pt x="502" y="1235"/>
                    <a:pt x="499" y="1243"/>
                    <a:pt x="490" y="1247"/>
                  </a:cubicBezTo>
                  <a:cubicBezTo>
                    <a:pt x="481" y="1253"/>
                    <a:pt x="472" y="1245"/>
                    <a:pt x="472" y="1245"/>
                  </a:cubicBezTo>
                  <a:cubicBezTo>
                    <a:pt x="461" y="1248"/>
                    <a:pt x="461" y="1248"/>
                    <a:pt x="461" y="1248"/>
                  </a:cubicBezTo>
                  <a:cubicBezTo>
                    <a:pt x="462" y="1256"/>
                    <a:pt x="462" y="1256"/>
                    <a:pt x="462" y="1256"/>
                  </a:cubicBezTo>
                  <a:cubicBezTo>
                    <a:pt x="459" y="1263"/>
                    <a:pt x="459" y="1263"/>
                    <a:pt x="459" y="1263"/>
                  </a:cubicBezTo>
                  <a:cubicBezTo>
                    <a:pt x="459" y="1263"/>
                    <a:pt x="467" y="1265"/>
                    <a:pt x="472" y="1270"/>
                  </a:cubicBezTo>
                  <a:cubicBezTo>
                    <a:pt x="479" y="1275"/>
                    <a:pt x="477" y="1281"/>
                    <a:pt x="477" y="1281"/>
                  </a:cubicBezTo>
                  <a:cubicBezTo>
                    <a:pt x="477" y="1281"/>
                    <a:pt x="479" y="1282"/>
                    <a:pt x="481" y="1286"/>
                  </a:cubicBezTo>
                  <a:cubicBezTo>
                    <a:pt x="484" y="1290"/>
                    <a:pt x="485" y="1302"/>
                    <a:pt x="485" y="1302"/>
                  </a:cubicBezTo>
                  <a:cubicBezTo>
                    <a:pt x="489" y="1305"/>
                    <a:pt x="489" y="1305"/>
                    <a:pt x="489" y="1305"/>
                  </a:cubicBezTo>
                  <a:cubicBezTo>
                    <a:pt x="493" y="1305"/>
                    <a:pt x="500" y="1306"/>
                    <a:pt x="503" y="1303"/>
                  </a:cubicBezTo>
                  <a:cubicBezTo>
                    <a:pt x="508" y="1300"/>
                    <a:pt x="507" y="1285"/>
                    <a:pt x="507" y="1285"/>
                  </a:cubicBezTo>
                  <a:cubicBezTo>
                    <a:pt x="526" y="1285"/>
                    <a:pt x="526" y="1285"/>
                    <a:pt x="526" y="1285"/>
                  </a:cubicBezTo>
                  <a:cubicBezTo>
                    <a:pt x="529" y="1285"/>
                    <a:pt x="529" y="1285"/>
                    <a:pt x="529" y="1285"/>
                  </a:cubicBezTo>
                  <a:cubicBezTo>
                    <a:pt x="533" y="1284"/>
                    <a:pt x="539" y="1272"/>
                    <a:pt x="539" y="1272"/>
                  </a:cubicBezTo>
                  <a:cubicBezTo>
                    <a:pt x="552" y="1272"/>
                    <a:pt x="552" y="1272"/>
                    <a:pt x="552" y="1272"/>
                  </a:cubicBezTo>
                  <a:cubicBezTo>
                    <a:pt x="552" y="1272"/>
                    <a:pt x="552" y="1266"/>
                    <a:pt x="560" y="1265"/>
                  </a:cubicBezTo>
                  <a:cubicBezTo>
                    <a:pt x="568" y="1265"/>
                    <a:pt x="567" y="1271"/>
                    <a:pt x="567" y="1271"/>
                  </a:cubicBezTo>
                  <a:cubicBezTo>
                    <a:pt x="576" y="1272"/>
                    <a:pt x="576" y="1272"/>
                    <a:pt x="576" y="1272"/>
                  </a:cubicBezTo>
                  <a:cubicBezTo>
                    <a:pt x="576" y="1272"/>
                    <a:pt x="576" y="1279"/>
                    <a:pt x="580" y="1285"/>
                  </a:cubicBezTo>
                  <a:cubicBezTo>
                    <a:pt x="584" y="1290"/>
                    <a:pt x="596" y="1291"/>
                    <a:pt x="599" y="1295"/>
                  </a:cubicBezTo>
                  <a:cubicBezTo>
                    <a:pt x="602" y="1301"/>
                    <a:pt x="584" y="1305"/>
                    <a:pt x="584" y="1305"/>
                  </a:cubicBezTo>
                  <a:cubicBezTo>
                    <a:pt x="584" y="1305"/>
                    <a:pt x="587" y="1306"/>
                    <a:pt x="592" y="1310"/>
                  </a:cubicBezTo>
                  <a:cubicBezTo>
                    <a:pt x="597" y="1313"/>
                    <a:pt x="595" y="1321"/>
                    <a:pt x="595" y="1321"/>
                  </a:cubicBezTo>
                  <a:cubicBezTo>
                    <a:pt x="600" y="1321"/>
                    <a:pt x="600" y="1321"/>
                    <a:pt x="600" y="1321"/>
                  </a:cubicBezTo>
                  <a:cubicBezTo>
                    <a:pt x="599" y="1328"/>
                    <a:pt x="599" y="1328"/>
                    <a:pt x="599" y="1328"/>
                  </a:cubicBezTo>
                  <a:cubicBezTo>
                    <a:pt x="613" y="1325"/>
                    <a:pt x="613" y="1325"/>
                    <a:pt x="613" y="1325"/>
                  </a:cubicBezTo>
                  <a:cubicBezTo>
                    <a:pt x="619" y="1329"/>
                    <a:pt x="619" y="1329"/>
                    <a:pt x="619" y="1329"/>
                  </a:cubicBezTo>
                  <a:cubicBezTo>
                    <a:pt x="619" y="1329"/>
                    <a:pt x="629" y="1319"/>
                    <a:pt x="634" y="1319"/>
                  </a:cubicBezTo>
                  <a:cubicBezTo>
                    <a:pt x="639" y="1319"/>
                    <a:pt x="639" y="1328"/>
                    <a:pt x="639" y="1328"/>
                  </a:cubicBezTo>
                  <a:cubicBezTo>
                    <a:pt x="645" y="1324"/>
                    <a:pt x="645" y="1324"/>
                    <a:pt x="645" y="1324"/>
                  </a:cubicBezTo>
                  <a:cubicBezTo>
                    <a:pt x="645" y="1324"/>
                    <a:pt x="649" y="1325"/>
                    <a:pt x="650" y="1325"/>
                  </a:cubicBezTo>
                  <a:cubicBezTo>
                    <a:pt x="651" y="1325"/>
                    <a:pt x="648" y="1333"/>
                    <a:pt x="648" y="1333"/>
                  </a:cubicBezTo>
                  <a:cubicBezTo>
                    <a:pt x="661" y="1349"/>
                    <a:pt x="661" y="1349"/>
                    <a:pt x="661" y="1349"/>
                  </a:cubicBezTo>
                  <a:cubicBezTo>
                    <a:pt x="659" y="1354"/>
                    <a:pt x="659" y="1354"/>
                    <a:pt x="659" y="1354"/>
                  </a:cubicBezTo>
                  <a:cubicBezTo>
                    <a:pt x="659" y="1354"/>
                    <a:pt x="675" y="1366"/>
                    <a:pt x="680" y="1361"/>
                  </a:cubicBezTo>
                  <a:cubicBezTo>
                    <a:pt x="686" y="1357"/>
                    <a:pt x="687" y="1355"/>
                    <a:pt x="693" y="1354"/>
                  </a:cubicBezTo>
                  <a:cubicBezTo>
                    <a:pt x="698" y="1353"/>
                    <a:pt x="698" y="1360"/>
                    <a:pt x="701" y="1360"/>
                  </a:cubicBezTo>
                  <a:cubicBezTo>
                    <a:pt x="704" y="1360"/>
                    <a:pt x="704" y="1356"/>
                    <a:pt x="704" y="1356"/>
                  </a:cubicBezTo>
                  <a:cubicBezTo>
                    <a:pt x="711" y="1356"/>
                    <a:pt x="711" y="1356"/>
                    <a:pt x="711" y="1356"/>
                  </a:cubicBezTo>
                  <a:cubicBezTo>
                    <a:pt x="712" y="1361"/>
                    <a:pt x="712" y="1361"/>
                    <a:pt x="712" y="1361"/>
                  </a:cubicBezTo>
                  <a:cubicBezTo>
                    <a:pt x="717" y="1363"/>
                    <a:pt x="717" y="1363"/>
                    <a:pt x="717" y="1363"/>
                  </a:cubicBezTo>
                  <a:cubicBezTo>
                    <a:pt x="717" y="1363"/>
                    <a:pt x="720" y="1356"/>
                    <a:pt x="721" y="1352"/>
                  </a:cubicBezTo>
                  <a:cubicBezTo>
                    <a:pt x="723" y="1349"/>
                    <a:pt x="734" y="1345"/>
                    <a:pt x="734" y="1345"/>
                  </a:cubicBezTo>
                  <a:cubicBezTo>
                    <a:pt x="744" y="1334"/>
                    <a:pt x="744" y="1334"/>
                    <a:pt x="744" y="1334"/>
                  </a:cubicBezTo>
                  <a:cubicBezTo>
                    <a:pt x="748" y="1339"/>
                    <a:pt x="748" y="1339"/>
                    <a:pt x="748" y="1339"/>
                  </a:cubicBezTo>
                  <a:cubicBezTo>
                    <a:pt x="753" y="1340"/>
                    <a:pt x="753" y="1340"/>
                    <a:pt x="753" y="1340"/>
                  </a:cubicBezTo>
                  <a:cubicBezTo>
                    <a:pt x="754" y="1344"/>
                    <a:pt x="754" y="1344"/>
                    <a:pt x="754" y="1344"/>
                  </a:cubicBezTo>
                  <a:cubicBezTo>
                    <a:pt x="764" y="1354"/>
                    <a:pt x="764" y="1354"/>
                    <a:pt x="764" y="1354"/>
                  </a:cubicBezTo>
                  <a:cubicBezTo>
                    <a:pt x="774" y="1354"/>
                    <a:pt x="774" y="1354"/>
                    <a:pt x="774" y="1354"/>
                  </a:cubicBezTo>
                  <a:cubicBezTo>
                    <a:pt x="779" y="1357"/>
                    <a:pt x="779" y="1357"/>
                    <a:pt x="779" y="1357"/>
                  </a:cubicBezTo>
                  <a:cubicBezTo>
                    <a:pt x="782" y="1354"/>
                    <a:pt x="782" y="1354"/>
                    <a:pt x="782" y="1354"/>
                  </a:cubicBezTo>
                  <a:cubicBezTo>
                    <a:pt x="782" y="1344"/>
                    <a:pt x="782" y="1344"/>
                    <a:pt x="782" y="1344"/>
                  </a:cubicBezTo>
                  <a:cubicBezTo>
                    <a:pt x="797" y="1349"/>
                    <a:pt x="797" y="1349"/>
                    <a:pt x="797" y="1349"/>
                  </a:cubicBezTo>
                  <a:cubicBezTo>
                    <a:pt x="801" y="1343"/>
                    <a:pt x="801" y="1343"/>
                    <a:pt x="801" y="1343"/>
                  </a:cubicBezTo>
                  <a:cubicBezTo>
                    <a:pt x="811" y="1349"/>
                    <a:pt x="811" y="1349"/>
                    <a:pt x="811" y="1349"/>
                  </a:cubicBezTo>
                  <a:cubicBezTo>
                    <a:pt x="819" y="1349"/>
                    <a:pt x="819" y="1349"/>
                    <a:pt x="819" y="1349"/>
                  </a:cubicBezTo>
                  <a:cubicBezTo>
                    <a:pt x="821" y="1341"/>
                    <a:pt x="821" y="1341"/>
                    <a:pt x="821" y="1341"/>
                  </a:cubicBezTo>
                  <a:cubicBezTo>
                    <a:pt x="826" y="1340"/>
                    <a:pt x="826" y="1340"/>
                    <a:pt x="826" y="1340"/>
                  </a:cubicBezTo>
                  <a:cubicBezTo>
                    <a:pt x="826" y="1340"/>
                    <a:pt x="829" y="1344"/>
                    <a:pt x="830" y="1347"/>
                  </a:cubicBezTo>
                  <a:cubicBezTo>
                    <a:pt x="831" y="1349"/>
                    <a:pt x="836" y="1348"/>
                    <a:pt x="836" y="1348"/>
                  </a:cubicBezTo>
                  <a:cubicBezTo>
                    <a:pt x="838" y="1344"/>
                    <a:pt x="838" y="1344"/>
                    <a:pt x="838" y="1344"/>
                  </a:cubicBezTo>
                  <a:cubicBezTo>
                    <a:pt x="845" y="1344"/>
                    <a:pt x="845" y="1344"/>
                    <a:pt x="845" y="1344"/>
                  </a:cubicBezTo>
                  <a:cubicBezTo>
                    <a:pt x="845" y="1344"/>
                    <a:pt x="847" y="1348"/>
                    <a:pt x="851" y="1350"/>
                  </a:cubicBezTo>
                  <a:cubicBezTo>
                    <a:pt x="856" y="1352"/>
                    <a:pt x="862" y="1350"/>
                    <a:pt x="862" y="1350"/>
                  </a:cubicBezTo>
                  <a:cubicBezTo>
                    <a:pt x="864" y="1343"/>
                    <a:pt x="864" y="1343"/>
                    <a:pt x="864" y="1343"/>
                  </a:cubicBezTo>
                  <a:cubicBezTo>
                    <a:pt x="870" y="1343"/>
                    <a:pt x="870" y="1343"/>
                    <a:pt x="870" y="1343"/>
                  </a:cubicBezTo>
                  <a:cubicBezTo>
                    <a:pt x="870" y="1354"/>
                    <a:pt x="870" y="1354"/>
                    <a:pt x="870" y="1354"/>
                  </a:cubicBezTo>
                  <a:cubicBezTo>
                    <a:pt x="870" y="1354"/>
                    <a:pt x="876" y="1357"/>
                    <a:pt x="879" y="1366"/>
                  </a:cubicBezTo>
                  <a:cubicBezTo>
                    <a:pt x="881" y="1374"/>
                    <a:pt x="868" y="1384"/>
                    <a:pt x="868" y="1384"/>
                  </a:cubicBezTo>
                  <a:cubicBezTo>
                    <a:pt x="868" y="1390"/>
                    <a:pt x="868" y="1390"/>
                    <a:pt x="868" y="1390"/>
                  </a:cubicBezTo>
                  <a:cubicBezTo>
                    <a:pt x="885" y="1389"/>
                    <a:pt x="885" y="1389"/>
                    <a:pt x="885" y="1389"/>
                  </a:cubicBezTo>
                  <a:cubicBezTo>
                    <a:pt x="885" y="1394"/>
                    <a:pt x="885" y="1394"/>
                    <a:pt x="885" y="1394"/>
                  </a:cubicBezTo>
                  <a:cubicBezTo>
                    <a:pt x="876" y="1397"/>
                    <a:pt x="876" y="1397"/>
                    <a:pt x="876" y="1397"/>
                  </a:cubicBezTo>
                  <a:cubicBezTo>
                    <a:pt x="876" y="1412"/>
                    <a:pt x="876" y="1412"/>
                    <a:pt x="876" y="1412"/>
                  </a:cubicBezTo>
                  <a:cubicBezTo>
                    <a:pt x="876" y="1412"/>
                    <a:pt x="882" y="1411"/>
                    <a:pt x="889" y="1415"/>
                  </a:cubicBezTo>
                  <a:cubicBezTo>
                    <a:pt x="896" y="1419"/>
                    <a:pt x="892" y="1427"/>
                    <a:pt x="892" y="1427"/>
                  </a:cubicBezTo>
                  <a:cubicBezTo>
                    <a:pt x="897" y="1428"/>
                    <a:pt x="897" y="1428"/>
                    <a:pt x="897" y="1428"/>
                  </a:cubicBezTo>
                  <a:cubicBezTo>
                    <a:pt x="898" y="1442"/>
                    <a:pt x="898" y="1442"/>
                    <a:pt x="898" y="1442"/>
                  </a:cubicBezTo>
                  <a:cubicBezTo>
                    <a:pt x="895" y="1445"/>
                    <a:pt x="895" y="1445"/>
                    <a:pt x="895" y="1445"/>
                  </a:cubicBezTo>
                  <a:cubicBezTo>
                    <a:pt x="895" y="1445"/>
                    <a:pt x="900" y="1449"/>
                    <a:pt x="900" y="1455"/>
                  </a:cubicBezTo>
                  <a:cubicBezTo>
                    <a:pt x="901" y="1462"/>
                    <a:pt x="874" y="1465"/>
                    <a:pt x="866" y="1467"/>
                  </a:cubicBezTo>
                  <a:cubicBezTo>
                    <a:pt x="859" y="1470"/>
                    <a:pt x="860" y="1475"/>
                    <a:pt x="861" y="1479"/>
                  </a:cubicBezTo>
                  <a:cubicBezTo>
                    <a:pt x="861" y="1482"/>
                    <a:pt x="856" y="1485"/>
                    <a:pt x="849" y="1489"/>
                  </a:cubicBezTo>
                  <a:cubicBezTo>
                    <a:pt x="843" y="1492"/>
                    <a:pt x="843" y="1505"/>
                    <a:pt x="847" y="1511"/>
                  </a:cubicBezTo>
                  <a:cubicBezTo>
                    <a:pt x="850" y="1516"/>
                    <a:pt x="852" y="1521"/>
                    <a:pt x="852" y="1524"/>
                  </a:cubicBezTo>
                  <a:cubicBezTo>
                    <a:pt x="870" y="1520"/>
                    <a:pt x="870" y="1520"/>
                    <a:pt x="870" y="1520"/>
                  </a:cubicBezTo>
                  <a:cubicBezTo>
                    <a:pt x="870" y="1511"/>
                    <a:pt x="870" y="1511"/>
                    <a:pt x="870" y="1511"/>
                  </a:cubicBezTo>
                  <a:cubicBezTo>
                    <a:pt x="881" y="1511"/>
                    <a:pt x="881" y="1511"/>
                    <a:pt x="881" y="1511"/>
                  </a:cubicBezTo>
                  <a:cubicBezTo>
                    <a:pt x="880" y="1506"/>
                    <a:pt x="880" y="1506"/>
                    <a:pt x="880" y="1506"/>
                  </a:cubicBezTo>
                  <a:cubicBezTo>
                    <a:pt x="884" y="1500"/>
                    <a:pt x="884" y="1500"/>
                    <a:pt x="884" y="1500"/>
                  </a:cubicBezTo>
                  <a:cubicBezTo>
                    <a:pt x="894" y="1500"/>
                    <a:pt x="894" y="1500"/>
                    <a:pt x="894" y="1500"/>
                  </a:cubicBezTo>
                  <a:cubicBezTo>
                    <a:pt x="893" y="1506"/>
                    <a:pt x="893" y="1506"/>
                    <a:pt x="893" y="1506"/>
                  </a:cubicBezTo>
                  <a:cubicBezTo>
                    <a:pt x="900" y="1515"/>
                    <a:pt x="900" y="1515"/>
                    <a:pt x="900" y="1515"/>
                  </a:cubicBezTo>
                  <a:cubicBezTo>
                    <a:pt x="891" y="1514"/>
                    <a:pt x="891" y="1514"/>
                    <a:pt x="891" y="1514"/>
                  </a:cubicBezTo>
                  <a:cubicBezTo>
                    <a:pt x="891" y="1514"/>
                    <a:pt x="887" y="1521"/>
                    <a:pt x="883" y="1530"/>
                  </a:cubicBezTo>
                  <a:cubicBezTo>
                    <a:pt x="880" y="1540"/>
                    <a:pt x="871" y="1537"/>
                    <a:pt x="871" y="1537"/>
                  </a:cubicBezTo>
                  <a:cubicBezTo>
                    <a:pt x="870" y="1544"/>
                    <a:pt x="870" y="1544"/>
                    <a:pt x="870" y="1544"/>
                  </a:cubicBezTo>
                  <a:cubicBezTo>
                    <a:pt x="878" y="1543"/>
                    <a:pt x="878" y="1543"/>
                    <a:pt x="878" y="1543"/>
                  </a:cubicBezTo>
                  <a:cubicBezTo>
                    <a:pt x="876" y="1549"/>
                    <a:pt x="876" y="1549"/>
                    <a:pt x="876" y="1549"/>
                  </a:cubicBezTo>
                  <a:cubicBezTo>
                    <a:pt x="866" y="1549"/>
                    <a:pt x="866" y="1549"/>
                    <a:pt x="866" y="1549"/>
                  </a:cubicBezTo>
                  <a:cubicBezTo>
                    <a:pt x="858" y="1558"/>
                    <a:pt x="858" y="1558"/>
                    <a:pt x="858" y="1558"/>
                  </a:cubicBezTo>
                  <a:cubicBezTo>
                    <a:pt x="843" y="1558"/>
                    <a:pt x="843" y="1558"/>
                    <a:pt x="843" y="1558"/>
                  </a:cubicBezTo>
                  <a:cubicBezTo>
                    <a:pt x="855" y="1575"/>
                    <a:pt x="855" y="1575"/>
                    <a:pt x="855" y="1575"/>
                  </a:cubicBezTo>
                  <a:cubicBezTo>
                    <a:pt x="855" y="1575"/>
                    <a:pt x="862" y="1571"/>
                    <a:pt x="867" y="1571"/>
                  </a:cubicBezTo>
                  <a:cubicBezTo>
                    <a:pt x="874" y="1571"/>
                    <a:pt x="876" y="1580"/>
                    <a:pt x="876" y="1580"/>
                  </a:cubicBezTo>
                  <a:cubicBezTo>
                    <a:pt x="876" y="1580"/>
                    <a:pt x="893" y="1578"/>
                    <a:pt x="894" y="1586"/>
                  </a:cubicBezTo>
                  <a:cubicBezTo>
                    <a:pt x="895" y="1592"/>
                    <a:pt x="880" y="1585"/>
                    <a:pt x="880" y="1585"/>
                  </a:cubicBezTo>
                  <a:cubicBezTo>
                    <a:pt x="877" y="1599"/>
                    <a:pt x="877" y="1599"/>
                    <a:pt x="877" y="1599"/>
                  </a:cubicBezTo>
                  <a:cubicBezTo>
                    <a:pt x="873" y="1591"/>
                    <a:pt x="873" y="1591"/>
                    <a:pt x="873" y="1591"/>
                  </a:cubicBezTo>
                  <a:cubicBezTo>
                    <a:pt x="867" y="1594"/>
                    <a:pt x="867" y="1594"/>
                    <a:pt x="867" y="1594"/>
                  </a:cubicBezTo>
                  <a:cubicBezTo>
                    <a:pt x="867" y="1594"/>
                    <a:pt x="871" y="1610"/>
                    <a:pt x="871" y="1615"/>
                  </a:cubicBezTo>
                  <a:cubicBezTo>
                    <a:pt x="871" y="1619"/>
                    <a:pt x="865" y="1619"/>
                    <a:pt x="862" y="1623"/>
                  </a:cubicBezTo>
                  <a:cubicBezTo>
                    <a:pt x="859" y="1626"/>
                    <a:pt x="868" y="1634"/>
                    <a:pt x="866" y="1639"/>
                  </a:cubicBezTo>
                  <a:cubicBezTo>
                    <a:pt x="864" y="1646"/>
                    <a:pt x="859" y="1657"/>
                    <a:pt x="852" y="1658"/>
                  </a:cubicBezTo>
                  <a:cubicBezTo>
                    <a:pt x="846" y="1658"/>
                    <a:pt x="844" y="1650"/>
                    <a:pt x="844" y="1650"/>
                  </a:cubicBezTo>
                  <a:cubicBezTo>
                    <a:pt x="830" y="1651"/>
                    <a:pt x="830" y="1651"/>
                    <a:pt x="830" y="1651"/>
                  </a:cubicBezTo>
                  <a:cubicBezTo>
                    <a:pt x="831" y="1656"/>
                    <a:pt x="831" y="1656"/>
                    <a:pt x="831" y="1656"/>
                  </a:cubicBezTo>
                  <a:cubicBezTo>
                    <a:pt x="831" y="1656"/>
                    <a:pt x="841" y="1657"/>
                    <a:pt x="842" y="1659"/>
                  </a:cubicBezTo>
                  <a:cubicBezTo>
                    <a:pt x="842" y="1662"/>
                    <a:pt x="830" y="1669"/>
                    <a:pt x="830" y="1669"/>
                  </a:cubicBezTo>
                  <a:cubicBezTo>
                    <a:pt x="833" y="1674"/>
                    <a:pt x="833" y="1674"/>
                    <a:pt x="833" y="1674"/>
                  </a:cubicBezTo>
                  <a:cubicBezTo>
                    <a:pt x="847" y="1669"/>
                    <a:pt x="847" y="1669"/>
                    <a:pt x="847" y="1669"/>
                  </a:cubicBezTo>
                  <a:cubicBezTo>
                    <a:pt x="847" y="1669"/>
                    <a:pt x="841" y="1664"/>
                    <a:pt x="851" y="1663"/>
                  </a:cubicBezTo>
                  <a:cubicBezTo>
                    <a:pt x="862" y="1663"/>
                    <a:pt x="852" y="1670"/>
                    <a:pt x="852" y="1670"/>
                  </a:cubicBezTo>
                  <a:cubicBezTo>
                    <a:pt x="865" y="1673"/>
                    <a:pt x="865" y="1673"/>
                    <a:pt x="865" y="1673"/>
                  </a:cubicBezTo>
                  <a:cubicBezTo>
                    <a:pt x="873" y="1686"/>
                    <a:pt x="873" y="1686"/>
                    <a:pt x="873" y="1686"/>
                  </a:cubicBezTo>
                  <a:cubicBezTo>
                    <a:pt x="894" y="1684"/>
                    <a:pt x="894" y="1684"/>
                    <a:pt x="894" y="1684"/>
                  </a:cubicBezTo>
                  <a:cubicBezTo>
                    <a:pt x="895" y="1678"/>
                    <a:pt x="895" y="1678"/>
                    <a:pt x="895" y="1678"/>
                  </a:cubicBezTo>
                  <a:cubicBezTo>
                    <a:pt x="903" y="1684"/>
                    <a:pt x="903" y="1684"/>
                    <a:pt x="903" y="1684"/>
                  </a:cubicBezTo>
                  <a:cubicBezTo>
                    <a:pt x="908" y="1684"/>
                    <a:pt x="908" y="1684"/>
                    <a:pt x="908" y="1684"/>
                  </a:cubicBezTo>
                  <a:cubicBezTo>
                    <a:pt x="911" y="1689"/>
                    <a:pt x="911" y="1689"/>
                    <a:pt x="911" y="1689"/>
                  </a:cubicBezTo>
                  <a:cubicBezTo>
                    <a:pt x="917" y="1688"/>
                    <a:pt x="917" y="1688"/>
                    <a:pt x="917" y="1688"/>
                  </a:cubicBezTo>
                  <a:cubicBezTo>
                    <a:pt x="926" y="1691"/>
                    <a:pt x="926" y="1691"/>
                    <a:pt x="926" y="1691"/>
                  </a:cubicBezTo>
                  <a:cubicBezTo>
                    <a:pt x="929" y="1688"/>
                    <a:pt x="929" y="1688"/>
                    <a:pt x="929" y="1688"/>
                  </a:cubicBezTo>
                  <a:cubicBezTo>
                    <a:pt x="943" y="1687"/>
                    <a:pt x="943" y="1687"/>
                    <a:pt x="943" y="1687"/>
                  </a:cubicBezTo>
                  <a:cubicBezTo>
                    <a:pt x="949" y="1694"/>
                    <a:pt x="949" y="1694"/>
                    <a:pt x="949" y="1694"/>
                  </a:cubicBezTo>
                  <a:cubicBezTo>
                    <a:pt x="949" y="1694"/>
                    <a:pt x="970" y="1696"/>
                    <a:pt x="976" y="1699"/>
                  </a:cubicBezTo>
                  <a:cubicBezTo>
                    <a:pt x="982" y="1702"/>
                    <a:pt x="998" y="1713"/>
                    <a:pt x="998" y="1713"/>
                  </a:cubicBezTo>
                  <a:cubicBezTo>
                    <a:pt x="1003" y="1712"/>
                    <a:pt x="1003" y="1712"/>
                    <a:pt x="1003" y="1712"/>
                  </a:cubicBezTo>
                  <a:cubicBezTo>
                    <a:pt x="1007" y="1716"/>
                    <a:pt x="1007" y="1716"/>
                    <a:pt x="1007" y="1716"/>
                  </a:cubicBezTo>
                  <a:cubicBezTo>
                    <a:pt x="1016" y="1717"/>
                    <a:pt x="1016" y="1717"/>
                    <a:pt x="1016" y="1717"/>
                  </a:cubicBezTo>
                  <a:cubicBezTo>
                    <a:pt x="1019" y="1721"/>
                    <a:pt x="1019" y="1721"/>
                    <a:pt x="1019" y="1721"/>
                  </a:cubicBezTo>
                  <a:cubicBezTo>
                    <a:pt x="1024" y="1720"/>
                    <a:pt x="1024" y="1720"/>
                    <a:pt x="1024" y="1720"/>
                  </a:cubicBezTo>
                  <a:cubicBezTo>
                    <a:pt x="1024" y="1720"/>
                    <a:pt x="1024" y="1710"/>
                    <a:pt x="1028" y="1705"/>
                  </a:cubicBezTo>
                  <a:cubicBezTo>
                    <a:pt x="1031" y="1701"/>
                    <a:pt x="1047" y="1703"/>
                    <a:pt x="1047" y="1703"/>
                  </a:cubicBezTo>
                  <a:cubicBezTo>
                    <a:pt x="1050" y="1698"/>
                    <a:pt x="1050" y="1698"/>
                    <a:pt x="1050" y="1698"/>
                  </a:cubicBezTo>
                  <a:cubicBezTo>
                    <a:pt x="1072" y="1701"/>
                    <a:pt x="1072" y="1701"/>
                    <a:pt x="1072" y="1701"/>
                  </a:cubicBezTo>
                  <a:cubicBezTo>
                    <a:pt x="1073" y="1700"/>
                    <a:pt x="1073" y="1700"/>
                    <a:pt x="1073" y="1700"/>
                  </a:cubicBezTo>
                  <a:cubicBezTo>
                    <a:pt x="1080" y="1700"/>
                    <a:pt x="1080" y="1700"/>
                    <a:pt x="1080" y="1700"/>
                  </a:cubicBezTo>
                  <a:cubicBezTo>
                    <a:pt x="1085" y="1696"/>
                    <a:pt x="1085" y="1696"/>
                    <a:pt x="1085" y="1696"/>
                  </a:cubicBezTo>
                  <a:cubicBezTo>
                    <a:pt x="1085" y="1696"/>
                    <a:pt x="1095" y="1702"/>
                    <a:pt x="1107" y="1699"/>
                  </a:cubicBezTo>
                  <a:cubicBezTo>
                    <a:pt x="1120" y="1697"/>
                    <a:pt x="1137" y="1683"/>
                    <a:pt x="1137" y="1683"/>
                  </a:cubicBezTo>
                  <a:cubicBezTo>
                    <a:pt x="1143" y="1684"/>
                    <a:pt x="1143" y="1684"/>
                    <a:pt x="1143" y="1684"/>
                  </a:cubicBezTo>
                  <a:cubicBezTo>
                    <a:pt x="1143" y="1684"/>
                    <a:pt x="1146" y="1679"/>
                    <a:pt x="1154" y="1679"/>
                  </a:cubicBezTo>
                  <a:cubicBezTo>
                    <a:pt x="1161" y="1678"/>
                    <a:pt x="1162" y="1683"/>
                    <a:pt x="1169" y="1685"/>
                  </a:cubicBezTo>
                  <a:cubicBezTo>
                    <a:pt x="1175" y="1688"/>
                    <a:pt x="1192" y="1683"/>
                    <a:pt x="1192" y="1683"/>
                  </a:cubicBezTo>
                  <a:cubicBezTo>
                    <a:pt x="1210" y="1683"/>
                    <a:pt x="1210" y="1683"/>
                    <a:pt x="1210" y="1683"/>
                  </a:cubicBezTo>
                  <a:cubicBezTo>
                    <a:pt x="1208" y="1689"/>
                    <a:pt x="1208" y="1689"/>
                    <a:pt x="1208" y="1689"/>
                  </a:cubicBezTo>
                  <a:cubicBezTo>
                    <a:pt x="1208" y="1689"/>
                    <a:pt x="1215" y="1691"/>
                    <a:pt x="1221" y="1690"/>
                  </a:cubicBezTo>
                  <a:cubicBezTo>
                    <a:pt x="1227" y="1690"/>
                    <a:pt x="1233" y="1681"/>
                    <a:pt x="1233" y="1681"/>
                  </a:cubicBezTo>
                  <a:cubicBezTo>
                    <a:pt x="1233" y="1674"/>
                    <a:pt x="1233" y="1674"/>
                    <a:pt x="1233" y="1674"/>
                  </a:cubicBezTo>
                  <a:cubicBezTo>
                    <a:pt x="1233" y="1674"/>
                    <a:pt x="1239" y="1669"/>
                    <a:pt x="1243" y="1666"/>
                  </a:cubicBezTo>
                  <a:cubicBezTo>
                    <a:pt x="1248" y="1664"/>
                    <a:pt x="1259" y="1669"/>
                    <a:pt x="1259" y="1669"/>
                  </a:cubicBezTo>
                  <a:cubicBezTo>
                    <a:pt x="1259" y="1659"/>
                    <a:pt x="1259" y="1659"/>
                    <a:pt x="1259" y="1659"/>
                  </a:cubicBezTo>
                  <a:cubicBezTo>
                    <a:pt x="1266" y="1660"/>
                    <a:pt x="1266" y="1660"/>
                    <a:pt x="1266" y="1660"/>
                  </a:cubicBezTo>
                  <a:cubicBezTo>
                    <a:pt x="1274" y="1656"/>
                    <a:pt x="1274" y="1656"/>
                    <a:pt x="1274" y="1656"/>
                  </a:cubicBezTo>
                  <a:cubicBezTo>
                    <a:pt x="1285" y="1663"/>
                    <a:pt x="1285" y="1663"/>
                    <a:pt x="1285" y="1663"/>
                  </a:cubicBezTo>
                  <a:cubicBezTo>
                    <a:pt x="1291" y="1657"/>
                    <a:pt x="1291" y="1657"/>
                    <a:pt x="1291" y="1657"/>
                  </a:cubicBezTo>
                  <a:cubicBezTo>
                    <a:pt x="1302" y="1654"/>
                    <a:pt x="1302" y="1654"/>
                    <a:pt x="1302" y="1654"/>
                  </a:cubicBezTo>
                  <a:cubicBezTo>
                    <a:pt x="1302" y="1654"/>
                    <a:pt x="1305" y="1671"/>
                    <a:pt x="1309" y="1675"/>
                  </a:cubicBezTo>
                  <a:cubicBezTo>
                    <a:pt x="1315" y="1679"/>
                    <a:pt x="1337" y="1674"/>
                    <a:pt x="1347" y="1674"/>
                  </a:cubicBezTo>
                  <a:cubicBezTo>
                    <a:pt x="1357" y="1673"/>
                    <a:pt x="1359" y="1675"/>
                    <a:pt x="1359" y="1675"/>
                  </a:cubicBezTo>
                  <a:cubicBezTo>
                    <a:pt x="1367" y="1671"/>
                    <a:pt x="1367" y="1671"/>
                    <a:pt x="1367" y="1671"/>
                  </a:cubicBezTo>
                  <a:cubicBezTo>
                    <a:pt x="1367" y="1671"/>
                    <a:pt x="1371" y="1672"/>
                    <a:pt x="1378" y="1672"/>
                  </a:cubicBezTo>
                  <a:cubicBezTo>
                    <a:pt x="1383" y="1672"/>
                    <a:pt x="1388" y="1681"/>
                    <a:pt x="1388" y="1681"/>
                  </a:cubicBezTo>
                  <a:cubicBezTo>
                    <a:pt x="1390" y="1678"/>
                    <a:pt x="1390" y="1678"/>
                    <a:pt x="1390" y="1678"/>
                  </a:cubicBezTo>
                  <a:cubicBezTo>
                    <a:pt x="1390" y="1678"/>
                    <a:pt x="1407" y="1689"/>
                    <a:pt x="1408" y="1689"/>
                  </a:cubicBezTo>
                  <a:cubicBezTo>
                    <a:pt x="1411" y="1689"/>
                    <a:pt x="1417" y="1687"/>
                    <a:pt x="1429" y="1686"/>
                  </a:cubicBezTo>
                  <a:cubicBezTo>
                    <a:pt x="1440" y="1685"/>
                    <a:pt x="1435" y="1674"/>
                    <a:pt x="1435" y="1674"/>
                  </a:cubicBezTo>
                  <a:cubicBezTo>
                    <a:pt x="1438" y="1668"/>
                    <a:pt x="1438" y="1668"/>
                    <a:pt x="1438" y="1668"/>
                  </a:cubicBezTo>
                  <a:cubicBezTo>
                    <a:pt x="1437" y="1657"/>
                    <a:pt x="1437" y="1657"/>
                    <a:pt x="1437" y="1657"/>
                  </a:cubicBezTo>
                  <a:cubicBezTo>
                    <a:pt x="1446" y="1644"/>
                    <a:pt x="1446" y="1644"/>
                    <a:pt x="1446" y="1644"/>
                  </a:cubicBezTo>
                  <a:cubicBezTo>
                    <a:pt x="1445" y="1626"/>
                    <a:pt x="1445" y="1626"/>
                    <a:pt x="1445" y="1626"/>
                  </a:cubicBezTo>
                  <a:cubicBezTo>
                    <a:pt x="1434" y="1626"/>
                    <a:pt x="1434" y="1626"/>
                    <a:pt x="1434" y="1626"/>
                  </a:cubicBezTo>
                  <a:cubicBezTo>
                    <a:pt x="1417" y="1613"/>
                    <a:pt x="1417" y="1613"/>
                    <a:pt x="1417" y="1613"/>
                  </a:cubicBezTo>
                  <a:cubicBezTo>
                    <a:pt x="1417" y="1613"/>
                    <a:pt x="1406" y="1612"/>
                    <a:pt x="1404" y="1611"/>
                  </a:cubicBezTo>
                  <a:cubicBezTo>
                    <a:pt x="1402" y="1611"/>
                    <a:pt x="1391" y="1604"/>
                    <a:pt x="1391" y="1604"/>
                  </a:cubicBezTo>
                  <a:cubicBezTo>
                    <a:pt x="1391" y="1604"/>
                    <a:pt x="1387" y="1604"/>
                    <a:pt x="1382" y="1602"/>
                  </a:cubicBezTo>
                  <a:cubicBezTo>
                    <a:pt x="1378" y="1601"/>
                    <a:pt x="1380" y="1599"/>
                    <a:pt x="1376" y="1592"/>
                  </a:cubicBezTo>
                  <a:cubicBezTo>
                    <a:pt x="1372" y="1586"/>
                    <a:pt x="1365" y="1590"/>
                    <a:pt x="1358" y="1584"/>
                  </a:cubicBezTo>
                  <a:cubicBezTo>
                    <a:pt x="1352" y="1578"/>
                    <a:pt x="1356" y="1565"/>
                    <a:pt x="1356" y="1565"/>
                  </a:cubicBezTo>
                  <a:cubicBezTo>
                    <a:pt x="1350" y="1565"/>
                    <a:pt x="1350" y="1565"/>
                    <a:pt x="1350" y="1565"/>
                  </a:cubicBezTo>
                  <a:cubicBezTo>
                    <a:pt x="1341" y="1543"/>
                    <a:pt x="1341" y="1543"/>
                    <a:pt x="1341" y="1543"/>
                  </a:cubicBezTo>
                  <a:cubicBezTo>
                    <a:pt x="1341" y="1530"/>
                    <a:pt x="1341" y="1530"/>
                    <a:pt x="1341" y="1530"/>
                  </a:cubicBezTo>
                  <a:cubicBezTo>
                    <a:pt x="1343" y="1527"/>
                    <a:pt x="1343" y="1527"/>
                    <a:pt x="1343" y="1527"/>
                  </a:cubicBezTo>
                  <a:cubicBezTo>
                    <a:pt x="1343" y="1527"/>
                    <a:pt x="1342" y="1525"/>
                    <a:pt x="1339" y="1525"/>
                  </a:cubicBezTo>
                  <a:cubicBezTo>
                    <a:pt x="1335" y="1526"/>
                    <a:pt x="1338" y="1538"/>
                    <a:pt x="1338" y="1538"/>
                  </a:cubicBezTo>
                  <a:cubicBezTo>
                    <a:pt x="1342" y="1559"/>
                    <a:pt x="1342" y="1559"/>
                    <a:pt x="1342" y="1559"/>
                  </a:cubicBezTo>
                  <a:cubicBezTo>
                    <a:pt x="1339" y="1558"/>
                    <a:pt x="1339" y="1558"/>
                    <a:pt x="1339" y="1558"/>
                  </a:cubicBezTo>
                  <a:cubicBezTo>
                    <a:pt x="1337" y="1540"/>
                    <a:pt x="1337" y="1540"/>
                    <a:pt x="1337" y="1540"/>
                  </a:cubicBezTo>
                  <a:cubicBezTo>
                    <a:pt x="1333" y="1539"/>
                    <a:pt x="1333" y="1539"/>
                    <a:pt x="1333" y="1539"/>
                  </a:cubicBezTo>
                  <a:cubicBezTo>
                    <a:pt x="1313" y="1523"/>
                    <a:pt x="1313" y="1523"/>
                    <a:pt x="1313" y="1523"/>
                  </a:cubicBezTo>
                  <a:cubicBezTo>
                    <a:pt x="1313" y="1523"/>
                    <a:pt x="1310" y="1526"/>
                    <a:pt x="1308" y="1526"/>
                  </a:cubicBezTo>
                  <a:cubicBezTo>
                    <a:pt x="1306" y="1526"/>
                    <a:pt x="1304" y="1521"/>
                    <a:pt x="1301" y="1518"/>
                  </a:cubicBezTo>
                  <a:cubicBezTo>
                    <a:pt x="1297" y="1516"/>
                    <a:pt x="1286" y="1522"/>
                    <a:pt x="1286" y="1522"/>
                  </a:cubicBezTo>
                  <a:cubicBezTo>
                    <a:pt x="1286" y="1522"/>
                    <a:pt x="1277" y="1512"/>
                    <a:pt x="1275" y="1508"/>
                  </a:cubicBezTo>
                  <a:cubicBezTo>
                    <a:pt x="1273" y="1502"/>
                    <a:pt x="1281" y="1496"/>
                    <a:pt x="1285" y="1490"/>
                  </a:cubicBezTo>
                  <a:cubicBezTo>
                    <a:pt x="1290" y="1483"/>
                    <a:pt x="1287" y="1468"/>
                    <a:pt x="1287" y="1468"/>
                  </a:cubicBezTo>
                  <a:cubicBezTo>
                    <a:pt x="1283" y="1465"/>
                    <a:pt x="1283" y="1465"/>
                    <a:pt x="1283" y="1465"/>
                  </a:cubicBezTo>
                  <a:cubicBezTo>
                    <a:pt x="1287" y="1460"/>
                    <a:pt x="1287" y="1460"/>
                    <a:pt x="1287" y="1460"/>
                  </a:cubicBezTo>
                  <a:cubicBezTo>
                    <a:pt x="1284" y="1459"/>
                    <a:pt x="1284" y="1459"/>
                    <a:pt x="1284" y="1459"/>
                  </a:cubicBezTo>
                  <a:cubicBezTo>
                    <a:pt x="1283" y="1443"/>
                    <a:pt x="1283" y="1443"/>
                    <a:pt x="1283" y="1443"/>
                  </a:cubicBezTo>
                  <a:cubicBezTo>
                    <a:pt x="1286" y="1436"/>
                    <a:pt x="1286" y="1436"/>
                    <a:pt x="1286" y="1436"/>
                  </a:cubicBezTo>
                  <a:cubicBezTo>
                    <a:pt x="1286" y="1436"/>
                    <a:pt x="1280" y="1431"/>
                    <a:pt x="1281" y="1428"/>
                  </a:cubicBezTo>
                  <a:cubicBezTo>
                    <a:pt x="1282" y="1424"/>
                    <a:pt x="1291" y="1430"/>
                    <a:pt x="1296" y="1431"/>
                  </a:cubicBezTo>
                  <a:cubicBezTo>
                    <a:pt x="1300" y="1431"/>
                    <a:pt x="1299" y="1428"/>
                    <a:pt x="1299" y="1428"/>
                  </a:cubicBezTo>
                  <a:cubicBezTo>
                    <a:pt x="1299" y="1428"/>
                    <a:pt x="1291" y="1422"/>
                    <a:pt x="1293" y="1419"/>
                  </a:cubicBezTo>
                  <a:cubicBezTo>
                    <a:pt x="1296" y="1416"/>
                    <a:pt x="1306" y="1410"/>
                    <a:pt x="1306" y="1410"/>
                  </a:cubicBezTo>
                  <a:cubicBezTo>
                    <a:pt x="1313" y="1412"/>
                    <a:pt x="1313" y="1412"/>
                    <a:pt x="1313" y="1412"/>
                  </a:cubicBezTo>
                  <a:cubicBezTo>
                    <a:pt x="1317" y="1411"/>
                    <a:pt x="1317" y="1411"/>
                    <a:pt x="1317" y="1411"/>
                  </a:cubicBezTo>
                  <a:cubicBezTo>
                    <a:pt x="1305" y="1402"/>
                    <a:pt x="1305" y="1402"/>
                    <a:pt x="1305" y="1402"/>
                  </a:cubicBezTo>
                  <a:cubicBezTo>
                    <a:pt x="1308" y="1397"/>
                    <a:pt x="1308" y="1397"/>
                    <a:pt x="1308" y="1397"/>
                  </a:cubicBezTo>
                  <a:cubicBezTo>
                    <a:pt x="1322" y="1404"/>
                    <a:pt x="1322" y="1404"/>
                    <a:pt x="1322" y="1404"/>
                  </a:cubicBezTo>
                  <a:cubicBezTo>
                    <a:pt x="1327" y="1402"/>
                    <a:pt x="1327" y="1402"/>
                    <a:pt x="1327" y="1402"/>
                  </a:cubicBezTo>
                  <a:cubicBezTo>
                    <a:pt x="1320" y="1398"/>
                    <a:pt x="1320" y="1398"/>
                    <a:pt x="1320" y="1398"/>
                  </a:cubicBezTo>
                  <a:cubicBezTo>
                    <a:pt x="1323" y="1391"/>
                    <a:pt x="1323" y="1391"/>
                    <a:pt x="1323" y="1391"/>
                  </a:cubicBezTo>
                  <a:cubicBezTo>
                    <a:pt x="1313" y="1386"/>
                    <a:pt x="1313" y="1386"/>
                    <a:pt x="1313" y="1386"/>
                  </a:cubicBezTo>
                  <a:cubicBezTo>
                    <a:pt x="1314" y="1381"/>
                    <a:pt x="1314" y="1381"/>
                    <a:pt x="1314" y="1381"/>
                  </a:cubicBezTo>
                  <a:cubicBezTo>
                    <a:pt x="1322" y="1383"/>
                    <a:pt x="1322" y="1383"/>
                    <a:pt x="1322" y="1383"/>
                  </a:cubicBezTo>
                  <a:cubicBezTo>
                    <a:pt x="1325" y="1383"/>
                    <a:pt x="1325" y="1383"/>
                    <a:pt x="1325" y="1383"/>
                  </a:cubicBezTo>
                  <a:cubicBezTo>
                    <a:pt x="1318" y="1378"/>
                    <a:pt x="1318" y="1378"/>
                    <a:pt x="1318" y="1378"/>
                  </a:cubicBezTo>
                  <a:cubicBezTo>
                    <a:pt x="1323" y="1375"/>
                    <a:pt x="1323" y="1375"/>
                    <a:pt x="1323" y="1375"/>
                  </a:cubicBezTo>
                  <a:cubicBezTo>
                    <a:pt x="1331" y="1379"/>
                    <a:pt x="1331" y="1379"/>
                    <a:pt x="1331" y="1379"/>
                  </a:cubicBezTo>
                  <a:cubicBezTo>
                    <a:pt x="1331" y="1379"/>
                    <a:pt x="1331" y="1372"/>
                    <a:pt x="1329" y="1369"/>
                  </a:cubicBezTo>
                  <a:cubicBezTo>
                    <a:pt x="1326" y="1366"/>
                    <a:pt x="1319" y="1367"/>
                    <a:pt x="1320" y="1363"/>
                  </a:cubicBezTo>
                  <a:cubicBezTo>
                    <a:pt x="1321" y="1357"/>
                    <a:pt x="1332" y="1358"/>
                    <a:pt x="1332" y="1358"/>
                  </a:cubicBezTo>
                  <a:cubicBezTo>
                    <a:pt x="1324" y="1354"/>
                    <a:pt x="1324" y="1354"/>
                    <a:pt x="1324" y="1354"/>
                  </a:cubicBezTo>
                  <a:cubicBezTo>
                    <a:pt x="1324" y="1354"/>
                    <a:pt x="1301" y="1358"/>
                    <a:pt x="1290" y="1357"/>
                  </a:cubicBezTo>
                  <a:cubicBezTo>
                    <a:pt x="1281" y="1356"/>
                    <a:pt x="1280" y="1350"/>
                    <a:pt x="1284" y="1343"/>
                  </a:cubicBezTo>
                  <a:cubicBezTo>
                    <a:pt x="1288" y="1338"/>
                    <a:pt x="1298" y="1344"/>
                    <a:pt x="1302" y="1340"/>
                  </a:cubicBezTo>
                  <a:cubicBezTo>
                    <a:pt x="1307" y="1335"/>
                    <a:pt x="1288" y="1328"/>
                    <a:pt x="1281" y="1326"/>
                  </a:cubicBezTo>
                  <a:cubicBezTo>
                    <a:pt x="1273" y="1324"/>
                    <a:pt x="1268" y="1313"/>
                    <a:pt x="1263" y="1310"/>
                  </a:cubicBezTo>
                  <a:cubicBezTo>
                    <a:pt x="1257" y="1308"/>
                    <a:pt x="1256" y="1312"/>
                    <a:pt x="1249" y="1312"/>
                  </a:cubicBezTo>
                  <a:cubicBezTo>
                    <a:pt x="1242" y="1312"/>
                    <a:pt x="1241" y="1301"/>
                    <a:pt x="1232" y="1298"/>
                  </a:cubicBezTo>
                  <a:cubicBezTo>
                    <a:pt x="1222" y="1295"/>
                    <a:pt x="1225" y="1307"/>
                    <a:pt x="1218" y="1309"/>
                  </a:cubicBezTo>
                  <a:cubicBezTo>
                    <a:pt x="1211" y="1311"/>
                    <a:pt x="1206" y="1310"/>
                    <a:pt x="1206" y="1310"/>
                  </a:cubicBezTo>
                  <a:cubicBezTo>
                    <a:pt x="1210" y="1318"/>
                    <a:pt x="1210" y="1318"/>
                    <a:pt x="1210" y="1318"/>
                  </a:cubicBezTo>
                  <a:cubicBezTo>
                    <a:pt x="1210" y="1318"/>
                    <a:pt x="1198" y="1318"/>
                    <a:pt x="1192" y="1316"/>
                  </a:cubicBezTo>
                  <a:cubicBezTo>
                    <a:pt x="1187" y="1315"/>
                    <a:pt x="1188" y="1308"/>
                    <a:pt x="1189" y="1306"/>
                  </a:cubicBezTo>
                  <a:cubicBezTo>
                    <a:pt x="1191" y="1303"/>
                    <a:pt x="1186" y="1301"/>
                    <a:pt x="1184" y="1298"/>
                  </a:cubicBezTo>
                  <a:cubicBezTo>
                    <a:pt x="1181" y="1296"/>
                    <a:pt x="1181" y="1292"/>
                    <a:pt x="1181" y="1292"/>
                  </a:cubicBezTo>
                  <a:cubicBezTo>
                    <a:pt x="1152" y="1298"/>
                    <a:pt x="1152" y="1298"/>
                    <a:pt x="1152" y="1298"/>
                  </a:cubicBezTo>
                  <a:cubicBezTo>
                    <a:pt x="1146" y="1259"/>
                    <a:pt x="1146" y="1259"/>
                    <a:pt x="1146" y="1259"/>
                  </a:cubicBezTo>
                  <a:cubicBezTo>
                    <a:pt x="1146" y="1259"/>
                    <a:pt x="1152" y="1249"/>
                    <a:pt x="1149" y="1241"/>
                  </a:cubicBezTo>
                  <a:cubicBezTo>
                    <a:pt x="1146" y="1232"/>
                    <a:pt x="1136" y="1234"/>
                    <a:pt x="1136" y="1234"/>
                  </a:cubicBezTo>
                  <a:cubicBezTo>
                    <a:pt x="1124" y="1199"/>
                    <a:pt x="1124" y="1199"/>
                    <a:pt x="1124" y="1199"/>
                  </a:cubicBezTo>
                  <a:cubicBezTo>
                    <a:pt x="1133" y="1184"/>
                    <a:pt x="1133" y="1184"/>
                    <a:pt x="1133" y="1184"/>
                  </a:cubicBezTo>
                  <a:cubicBezTo>
                    <a:pt x="1134" y="1179"/>
                    <a:pt x="1125" y="1178"/>
                    <a:pt x="1125" y="1170"/>
                  </a:cubicBezTo>
                  <a:cubicBezTo>
                    <a:pt x="1124" y="1163"/>
                    <a:pt x="1128" y="1156"/>
                    <a:pt x="1138" y="1156"/>
                  </a:cubicBezTo>
                  <a:cubicBezTo>
                    <a:pt x="1146" y="1156"/>
                    <a:pt x="1158" y="1165"/>
                    <a:pt x="1161" y="1170"/>
                  </a:cubicBezTo>
                  <a:cubicBezTo>
                    <a:pt x="1165" y="1177"/>
                    <a:pt x="1172" y="1176"/>
                    <a:pt x="1178" y="1176"/>
                  </a:cubicBezTo>
                  <a:cubicBezTo>
                    <a:pt x="1184" y="1176"/>
                    <a:pt x="1190" y="1162"/>
                    <a:pt x="1191" y="1152"/>
                  </a:cubicBezTo>
                  <a:cubicBezTo>
                    <a:pt x="1192" y="1143"/>
                    <a:pt x="1185" y="1151"/>
                    <a:pt x="1185" y="1151"/>
                  </a:cubicBezTo>
                  <a:cubicBezTo>
                    <a:pt x="1185" y="1151"/>
                    <a:pt x="1182" y="1146"/>
                    <a:pt x="1177" y="1144"/>
                  </a:cubicBezTo>
                  <a:cubicBezTo>
                    <a:pt x="1173" y="1140"/>
                    <a:pt x="1163" y="1128"/>
                    <a:pt x="1163" y="1128"/>
                  </a:cubicBezTo>
                  <a:cubicBezTo>
                    <a:pt x="1159" y="1128"/>
                    <a:pt x="1159" y="1128"/>
                    <a:pt x="1159" y="1128"/>
                  </a:cubicBezTo>
                  <a:cubicBezTo>
                    <a:pt x="1160" y="1124"/>
                    <a:pt x="1160" y="1124"/>
                    <a:pt x="1160" y="1124"/>
                  </a:cubicBezTo>
                  <a:cubicBezTo>
                    <a:pt x="1160" y="1124"/>
                    <a:pt x="1165" y="1122"/>
                    <a:pt x="1171" y="1121"/>
                  </a:cubicBezTo>
                  <a:cubicBezTo>
                    <a:pt x="1177" y="1120"/>
                    <a:pt x="1175" y="1104"/>
                    <a:pt x="1175" y="1104"/>
                  </a:cubicBezTo>
                  <a:cubicBezTo>
                    <a:pt x="1175" y="1104"/>
                    <a:pt x="1182" y="1099"/>
                    <a:pt x="1183" y="1093"/>
                  </a:cubicBezTo>
                  <a:cubicBezTo>
                    <a:pt x="1185" y="1089"/>
                    <a:pt x="1175" y="1090"/>
                    <a:pt x="1175" y="1090"/>
                  </a:cubicBezTo>
                  <a:cubicBezTo>
                    <a:pt x="1173" y="1080"/>
                    <a:pt x="1173" y="1080"/>
                    <a:pt x="1173" y="1080"/>
                  </a:cubicBezTo>
                  <a:cubicBezTo>
                    <a:pt x="1183" y="1074"/>
                    <a:pt x="1183" y="1074"/>
                    <a:pt x="1183" y="1074"/>
                  </a:cubicBezTo>
                  <a:cubicBezTo>
                    <a:pt x="1189" y="1063"/>
                    <a:pt x="1189" y="1063"/>
                    <a:pt x="1189" y="1063"/>
                  </a:cubicBezTo>
                  <a:cubicBezTo>
                    <a:pt x="1189" y="1063"/>
                    <a:pt x="1202" y="1055"/>
                    <a:pt x="1202" y="1052"/>
                  </a:cubicBezTo>
                  <a:cubicBezTo>
                    <a:pt x="1203" y="1048"/>
                    <a:pt x="1196" y="1049"/>
                    <a:pt x="1195" y="1045"/>
                  </a:cubicBezTo>
                  <a:cubicBezTo>
                    <a:pt x="1194" y="1043"/>
                    <a:pt x="1204" y="1041"/>
                    <a:pt x="1204" y="1038"/>
                  </a:cubicBezTo>
                  <a:cubicBezTo>
                    <a:pt x="1204" y="1036"/>
                    <a:pt x="1199" y="1029"/>
                    <a:pt x="1201" y="1027"/>
                  </a:cubicBezTo>
                  <a:cubicBezTo>
                    <a:pt x="1203" y="1025"/>
                    <a:pt x="1208" y="1022"/>
                    <a:pt x="1208" y="1022"/>
                  </a:cubicBezTo>
                  <a:cubicBezTo>
                    <a:pt x="1201" y="1016"/>
                    <a:pt x="1201" y="1016"/>
                    <a:pt x="1201" y="1016"/>
                  </a:cubicBezTo>
                  <a:cubicBezTo>
                    <a:pt x="1212" y="1016"/>
                    <a:pt x="1212" y="1016"/>
                    <a:pt x="1212" y="1016"/>
                  </a:cubicBezTo>
                  <a:cubicBezTo>
                    <a:pt x="1212" y="1016"/>
                    <a:pt x="1223" y="1009"/>
                    <a:pt x="1226" y="1010"/>
                  </a:cubicBezTo>
                  <a:cubicBezTo>
                    <a:pt x="1229" y="1011"/>
                    <a:pt x="1223" y="1021"/>
                    <a:pt x="1228" y="1022"/>
                  </a:cubicBezTo>
                  <a:cubicBezTo>
                    <a:pt x="1234" y="1024"/>
                    <a:pt x="1235" y="1011"/>
                    <a:pt x="1235" y="1011"/>
                  </a:cubicBezTo>
                  <a:cubicBezTo>
                    <a:pt x="1235" y="1011"/>
                    <a:pt x="1240" y="1012"/>
                    <a:pt x="1243" y="1010"/>
                  </a:cubicBezTo>
                  <a:cubicBezTo>
                    <a:pt x="1247" y="1008"/>
                    <a:pt x="1238" y="1002"/>
                    <a:pt x="1240" y="997"/>
                  </a:cubicBezTo>
                  <a:cubicBezTo>
                    <a:pt x="1242" y="993"/>
                    <a:pt x="1251" y="993"/>
                    <a:pt x="1251" y="993"/>
                  </a:cubicBezTo>
                  <a:cubicBezTo>
                    <a:pt x="1249" y="986"/>
                    <a:pt x="1249" y="986"/>
                    <a:pt x="1249" y="986"/>
                  </a:cubicBezTo>
                  <a:cubicBezTo>
                    <a:pt x="1253" y="984"/>
                    <a:pt x="1253" y="984"/>
                    <a:pt x="1253" y="984"/>
                  </a:cubicBezTo>
                  <a:cubicBezTo>
                    <a:pt x="1253" y="984"/>
                    <a:pt x="1269" y="994"/>
                    <a:pt x="1275" y="993"/>
                  </a:cubicBezTo>
                  <a:cubicBezTo>
                    <a:pt x="1281" y="993"/>
                    <a:pt x="1277" y="987"/>
                    <a:pt x="1277" y="987"/>
                  </a:cubicBezTo>
                  <a:cubicBezTo>
                    <a:pt x="1285" y="987"/>
                    <a:pt x="1285" y="987"/>
                    <a:pt x="1285" y="987"/>
                  </a:cubicBezTo>
                  <a:cubicBezTo>
                    <a:pt x="1285" y="987"/>
                    <a:pt x="1298" y="975"/>
                    <a:pt x="1306" y="974"/>
                  </a:cubicBezTo>
                  <a:cubicBezTo>
                    <a:pt x="1315" y="973"/>
                    <a:pt x="1313" y="981"/>
                    <a:pt x="1318" y="982"/>
                  </a:cubicBezTo>
                  <a:cubicBezTo>
                    <a:pt x="1322" y="984"/>
                    <a:pt x="1323" y="982"/>
                    <a:pt x="1326" y="978"/>
                  </a:cubicBezTo>
                  <a:cubicBezTo>
                    <a:pt x="1329" y="975"/>
                    <a:pt x="1334" y="976"/>
                    <a:pt x="1339" y="980"/>
                  </a:cubicBezTo>
                  <a:cubicBezTo>
                    <a:pt x="1345" y="985"/>
                    <a:pt x="1351" y="984"/>
                    <a:pt x="1356" y="984"/>
                  </a:cubicBezTo>
                  <a:cubicBezTo>
                    <a:pt x="1362" y="984"/>
                    <a:pt x="1363" y="985"/>
                    <a:pt x="1363" y="989"/>
                  </a:cubicBezTo>
                  <a:cubicBezTo>
                    <a:pt x="1363" y="992"/>
                    <a:pt x="1366" y="998"/>
                    <a:pt x="1370" y="1001"/>
                  </a:cubicBezTo>
                  <a:cubicBezTo>
                    <a:pt x="1375" y="1004"/>
                    <a:pt x="1376" y="996"/>
                    <a:pt x="1378" y="992"/>
                  </a:cubicBezTo>
                  <a:cubicBezTo>
                    <a:pt x="1379" y="988"/>
                    <a:pt x="1371" y="988"/>
                    <a:pt x="1369" y="984"/>
                  </a:cubicBezTo>
                  <a:cubicBezTo>
                    <a:pt x="1367" y="978"/>
                    <a:pt x="1362" y="979"/>
                    <a:pt x="1358" y="979"/>
                  </a:cubicBezTo>
                  <a:cubicBezTo>
                    <a:pt x="1356" y="978"/>
                    <a:pt x="1356" y="975"/>
                    <a:pt x="1358" y="971"/>
                  </a:cubicBezTo>
                  <a:cubicBezTo>
                    <a:pt x="1360" y="966"/>
                    <a:pt x="1372" y="971"/>
                    <a:pt x="1372" y="971"/>
                  </a:cubicBezTo>
                  <a:cubicBezTo>
                    <a:pt x="1372" y="971"/>
                    <a:pt x="1375" y="969"/>
                    <a:pt x="1379" y="969"/>
                  </a:cubicBezTo>
                  <a:cubicBezTo>
                    <a:pt x="1382" y="970"/>
                    <a:pt x="1382" y="973"/>
                    <a:pt x="1382" y="973"/>
                  </a:cubicBezTo>
                  <a:cubicBezTo>
                    <a:pt x="1414" y="970"/>
                    <a:pt x="1414" y="970"/>
                    <a:pt x="1414" y="970"/>
                  </a:cubicBezTo>
                  <a:cubicBezTo>
                    <a:pt x="1414" y="970"/>
                    <a:pt x="1418" y="958"/>
                    <a:pt x="1420" y="953"/>
                  </a:cubicBezTo>
                  <a:cubicBezTo>
                    <a:pt x="1422" y="946"/>
                    <a:pt x="1416" y="940"/>
                    <a:pt x="1416" y="940"/>
                  </a:cubicBezTo>
                  <a:cubicBezTo>
                    <a:pt x="1421" y="938"/>
                    <a:pt x="1421" y="938"/>
                    <a:pt x="1421" y="938"/>
                  </a:cubicBezTo>
                  <a:cubicBezTo>
                    <a:pt x="1420" y="923"/>
                    <a:pt x="1420" y="923"/>
                    <a:pt x="1420" y="923"/>
                  </a:cubicBezTo>
                  <a:cubicBezTo>
                    <a:pt x="1420" y="923"/>
                    <a:pt x="1427" y="927"/>
                    <a:pt x="1431" y="927"/>
                  </a:cubicBezTo>
                  <a:cubicBezTo>
                    <a:pt x="1435" y="926"/>
                    <a:pt x="1430" y="918"/>
                    <a:pt x="1430" y="918"/>
                  </a:cubicBezTo>
                  <a:cubicBezTo>
                    <a:pt x="1442" y="909"/>
                    <a:pt x="1442" y="909"/>
                    <a:pt x="1442" y="909"/>
                  </a:cubicBezTo>
                  <a:cubicBezTo>
                    <a:pt x="1442" y="909"/>
                    <a:pt x="1456" y="914"/>
                    <a:pt x="1461" y="912"/>
                  </a:cubicBezTo>
                  <a:cubicBezTo>
                    <a:pt x="1464" y="910"/>
                    <a:pt x="1460" y="906"/>
                    <a:pt x="1461" y="903"/>
                  </a:cubicBezTo>
                  <a:cubicBezTo>
                    <a:pt x="1462" y="902"/>
                    <a:pt x="1469" y="902"/>
                    <a:pt x="1469" y="902"/>
                  </a:cubicBezTo>
                  <a:cubicBezTo>
                    <a:pt x="1460" y="893"/>
                    <a:pt x="1460" y="893"/>
                    <a:pt x="1460" y="893"/>
                  </a:cubicBezTo>
                  <a:cubicBezTo>
                    <a:pt x="1460" y="893"/>
                    <a:pt x="1477" y="886"/>
                    <a:pt x="1479" y="884"/>
                  </a:cubicBezTo>
                  <a:cubicBezTo>
                    <a:pt x="1482" y="882"/>
                    <a:pt x="1478" y="875"/>
                    <a:pt x="1478" y="875"/>
                  </a:cubicBezTo>
                  <a:cubicBezTo>
                    <a:pt x="1478" y="875"/>
                    <a:pt x="1483" y="874"/>
                    <a:pt x="1488" y="872"/>
                  </a:cubicBezTo>
                  <a:cubicBezTo>
                    <a:pt x="1494" y="872"/>
                    <a:pt x="1494" y="878"/>
                    <a:pt x="1503" y="883"/>
                  </a:cubicBezTo>
                  <a:cubicBezTo>
                    <a:pt x="1511" y="887"/>
                    <a:pt x="1523" y="880"/>
                    <a:pt x="1532" y="876"/>
                  </a:cubicBezTo>
                  <a:cubicBezTo>
                    <a:pt x="1532" y="795"/>
                    <a:pt x="1532" y="795"/>
                    <a:pt x="1532" y="795"/>
                  </a:cubicBezTo>
                  <a:cubicBezTo>
                    <a:pt x="1522" y="796"/>
                    <a:pt x="1522" y="796"/>
                    <a:pt x="1522" y="796"/>
                  </a:cubicBezTo>
                  <a:cubicBezTo>
                    <a:pt x="1522" y="796"/>
                    <a:pt x="1526" y="792"/>
                    <a:pt x="1522" y="788"/>
                  </a:cubicBezTo>
                  <a:cubicBezTo>
                    <a:pt x="1520" y="785"/>
                    <a:pt x="1504" y="795"/>
                    <a:pt x="1504" y="795"/>
                  </a:cubicBezTo>
                  <a:cubicBezTo>
                    <a:pt x="1501" y="790"/>
                    <a:pt x="1501" y="790"/>
                    <a:pt x="1501" y="790"/>
                  </a:cubicBezTo>
                  <a:cubicBezTo>
                    <a:pt x="1509" y="767"/>
                    <a:pt x="1509" y="767"/>
                    <a:pt x="1509" y="767"/>
                  </a:cubicBezTo>
                  <a:cubicBezTo>
                    <a:pt x="1515" y="765"/>
                    <a:pt x="1515" y="765"/>
                    <a:pt x="1515" y="765"/>
                  </a:cubicBezTo>
                  <a:cubicBezTo>
                    <a:pt x="1517" y="743"/>
                    <a:pt x="1517" y="743"/>
                    <a:pt x="1517" y="743"/>
                  </a:cubicBezTo>
                  <a:cubicBezTo>
                    <a:pt x="1507" y="740"/>
                    <a:pt x="1507" y="740"/>
                    <a:pt x="1507" y="740"/>
                  </a:cubicBezTo>
                  <a:cubicBezTo>
                    <a:pt x="1502" y="742"/>
                    <a:pt x="1502" y="742"/>
                    <a:pt x="1502" y="742"/>
                  </a:cubicBezTo>
                  <a:cubicBezTo>
                    <a:pt x="1488" y="737"/>
                    <a:pt x="1488" y="737"/>
                    <a:pt x="1488" y="737"/>
                  </a:cubicBezTo>
                  <a:cubicBezTo>
                    <a:pt x="1488" y="737"/>
                    <a:pt x="1491" y="720"/>
                    <a:pt x="1491" y="718"/>
                  </a:cubicBezTo>
                  <a:cubicBezTo>
                    <a:pt x="1491" y="717"/>
                    <a:pt x="1485" y="715"/>
                    <a:pt x="1485" y="715"/>
                  </a:cubicBezTo>
                  <a:cubicBezTo>
                    <a:pt x="1496" y="707"/>
                    <a:pt x="1496" y="707"/>
                    <a:pt x="1496" y="707"/>
                  </a:cubicBezTo>
                  <a:cubicBezTo>
                    <a:pt x="1501" y="702"/>
                    <a:pt x="1501" y="702"/>
                    <a:pt x="1501" y="702"/>
                  </a:cubicBezTo>
                  <a:cubicBezTo>
                    <a:pt x="1510" y="701"/>
                    <a:pt x="1510" y="701"/>
                    <a:pt x="1510" y="701"/>
                  </a:cubicBezTo>
                  <a:cubicBezTo>
                    <a:pt x="1510" y="701"/>
                    <a:pt x="1516" y="692"/>
                    <a:pt x="1520" y="690"/>
                  </a:cubicBezTo>
                  <a:cubicBezTo>
                    <a:pt x="1524" y="688"/>
                    <a:pt x="1522" y="685"/>
                    <a:pt x="1517" y="681"/>
                  </a:cubicBezTo>
                  <a:cubicBezTo>
                    <a:pt x="1513" y="677"/>
                    <a:pt x="1511" y="683"/>
                    <a:pt x="1506" y="685"/>
                  </a:cubicBezTo>
                  <a:cubicBezTo>
                    <a:pt x="1503" y="686"/>
                    <a:pt x="1497" y="686"/>
                    <a:pt x="1497" y="686"/>
                  </a:cubicBezTo>
                  <a:cubicBezTo>
                    <a:pt x="1498" y="690"/>
                    <a:pt x="1498" y="690"/>
                    <a:pt x="1498" y="690"/>
                  </a:cubicBezTo>
                  <a:cubicBezTo>
                    <a:pt x="1482" y="695"/>
                    <a:pt x="1482" y="695"/>
                    <a:pt x="1482" y="695"/>
                  </a:cubicBezTo>
                  <a:cubicBezTo>
                    <a:pt x="1478" y="682"/>
                    <a:pt x="1478" y="682"/>
                    <a:pt x="1478" y="682"/>
                  </a:cubicBezTo>
                  <a:cubicBezTo>
                    <a:pt x="1478" y="682"/>
                    <a:pt x="1488" y="677"/>
                    <a:pt x="1483" y="674"/>
                  </a:cubicBezTo>
                  <a:cubicBezTo>
                    <a:pt x="1478" y="670"/>
                    <a:pt x="1472" y="682"/>
                    <a:pt x="1472" y="682"/>
                  </a:cubicBezTo>
                  <a:cubicBezTo>
                    <a:pt x="1466" y="681"/>
                    <a:pt x="1466" y="681"/>
                    <a:pt x="1466" y="681"/>
                  </a:cubicBezTo>
                  <a:cubicBezTo>
                    <a:pt x="1457" y="685"/>
                    <a:pt x="1457" y="685"/>
                    <a:pt x="1457" y="685"/>
                  </a:cubicBezTo>
                  <a:cubicBezTo>
                    <a:pt x="1460" y="679"/>
                    <a:pt x="1460" y="679"/>
                    <a:pt x="1460" y="679"/>
                  </a:cubicBezTo>
                  <a:cubicBezTo>
                    <a:pt x="1458" y="667"/>
                    <a:pt x="1458" y="667"/>
                    <a:pt x="1458" y="667"/>
                  </a:cubicBezTo>
                  <a:cubicBezTo>
                    <a:pt x="1446" y="669"/>
                    <a:pt x="1446" y="669"/>
                    <a:pt x="1446" y="669"/>
                  </a:cubicBezTo>
                  <a:cubicBezTo>
                    <a:pt x="1455" y="660"/>
                    <a:pt x="1455" y="660"/>
                    <a:pt x="1455" y="660"/>
                  </a:cubicBezTo>
                  <a:cubicBezTo>
                    <a:pt x="1451" y="658"/>
                    <a:pt x="1451" y="658"/>
                    <a:pt x="1451" y="658"/>
                  </a:cubicBezTo>
                  <a:cubicBezTo>
                    <a:pt x="1452" y="650"/>
                    <a:pt x="1452" y="650"/>
                    <a:pt x="1452" y="650"/>
                  </a:cubicBezTo>
                  <a:cubicBezTo>
                    <a:pt x="1465" y="650"/>
                    <a:pt x="1465" y="650"/>
                    <a:pt x="1465" y="650"/>
                  </a:cubicBezTo>
                  <a:cubicBezTo>
                    <a:pt x="1467" y="644"/>
                    <a:pt x="1467" y="644"/>
                    <a:pt x="1467" y="644"/>
                  </a:cubicBezTo>
                  <a:cubicBezTo>
                    <a:pt x="1476" y="646"/>
                    <a:pt x="1476" y="646"/>
                    <a:pt x="1476" y="646"/>
                  </a:cubicBezTo>
                  <a:cubicBezTo>
                    <a:pt x="1478" y="639"/>
                    <a:pt x="1478" y="639"/>
                    <a:pt x="1478" y="639"/>
                  </a:cubicBezTo>
                  <a:cubicBezTo>
                    <a:pt x="1486" y="627"/>
                    <a:pt x="1486" y="627"/>
                    <a:pt x="1486" y="627"/>
                  </a:cubicBezTo>
                  <a:cubicBezTo>
                    <a:pt x="1486" y="627"/>
                    <a:pt x="1489" y="636"/>
                    <a:pt x="1495" y="633"/>
                  </a:cubicBezTo>
                  <a:cubicBezTo>
                    <a:pt x="1500" y="631"/>
                    <a:pt x="1490" y="619"/>
                    <a:pt x="1490" y="619"/>
                  </a:cubicBezTo>
                  <a:cubicBezTo>
                    <a:pt x="1505" y="606"/>
                    <a:pt x="1505" y="606"/>
                    <a:pt x="1505" y="606"/>
                  </a:cubicBezTo>
                  <a:cubicBezTo>
                    <a:pt x="1501" y="599"/>
                    <a:pt x="1501" y="599"/>
                    <a:pt x="1501" y="599"/>
                  </a:cubicBezTo>
                  <a:cubicBezTo>
                    <a:pt x="1509" y="596"/>
                    <a:pt x="1509" y="596"/>
                    <a:pt x="1509" y="596"/>
                  </a:cubicBezTo>
                  <a:cubicBezTo>
                    <a:pt x="1515" y="584"/>
                    <a:pt x="1515" y="584"/>
                    <a:pt x="1515" y="584"/>
                  </a:cubicBezTo>
                  <a:cubicBezTo>
                    <a:pt x="1515" y="584"/>
                    <a:pt x="1521" y="584"/>
                    <a:pt x="1522" y="581"/>
                  </a:cubicBezTo>
                  <a:cubicBezTo>
                    <a:pt x="1524" y="578"/>
                    <a:pt x="1519" y="575"/>
                    <a:pt x="1519" y="575"/>
                  </a:cubicBezTo>
                  <a:cubicBezTo>
                    <a:pt x="1532" y="556"/>
                    <a:pt x="1532" y="556"/>
                    <a:pt x="1532" y="556"/>
                  </a:cubicBezTo>
                  <a:lnTo>
                    <a:pt x="1532" y="0"/>
                  </a:lnTo>
                  <a:close/>
                  <a:moveTo>
                    <a:pt x="375" y="778"/>
                  </a:moveTo>
                  <a:cubicBezTo>
                    <a:pt x="373" y="786"/>
                    <a:pt x="367" y="785"/>
                    <a:pt x="367" y="785"/>
                  </a:cubicBezTo>
                  <a:cubicBezTo>
                    <a:pt x="367" y="785"/>
                    <a:pt x="377" y="803"/>
                    <a:pt x="372" y="806"/>
                  </a:cubicBezTo>
                  <a:cubicBezTo>
                    <a:pt x="366" y="809"/>
                    <a:pt x="357" y="806"/>
                    <a:pt x="357" y="806"/>
                  </a:cubicBezTo>
                  <a:cubicBezTo>
                    <a:pt x="346" y="807"/>
                    <a:pt x="346" y="807"/>
                    <a:pt x="346" y="807"/>
                  </a:cubicBezTo>
                  <a:cubicBezTo>
                    <a:pt x="340" y="816"/>
                    <a:pt x="340" y="816"/>
                    <a:pt x="340" y="816"/>
                  </a:cubicBezTo>
                  <a:cubicBezTo>
                    <a:pt x="340" y="816"/>
                    <a:pt x="350" y="830"/>
                    <a:pt x="341" y="830"/>
                  </a:cubicBezTo>
                  <a:cubicBezTo>
                    <a:pt x="334" y="831"/>
                    <a:pt x="324" y="830"/>
                    <a:pt x="324" y="830"/>
                  </a:cubicBezTo>
                  <a:cubicBezTo>
                    <a:pt x="324" y="818"/>
                    <a:pt x="324" y="818"/>
                    <a:pt x="324" y="818"/>
                  </a:cubicBezTo>
                  <a:cubicBezTo>
                    <a:pt x="316" y="814"/>
                    <a:pt x="316" y="814"/>
                    <a:pt x="316" y="814"/>
                  </a:cubicBezTo>
                  <a:cubicBezTo>
                    <a:pt x="316" y="814"/>
                    <a:pt x="319" y="808"/>
                    <a:pt x="313" y="803"/>
                  </a:cubicBezTo>
                  <a:cubicBezTo>
                    <a:pt x="307" y="798"/>
                    <a:pt x="299" y="792"/>
                    <a:pt x="299" y="792"/>
                  </a:cubicBezTo>
                  <a:cubicBezTo>
                    <a:pt x="299" y="792"/>
                    <a:pt x="299" y="786"/>
                    <a:pt x="295" y="781"/>
                  </a:cubicBezTo>
                  <a:cubicBezTo>
                    <a:pt x="291" y="775"/>
                    <a:pt x="266" y="769"/>
                    <a:pt x="266" y="764"/>
                  </a:cubicBezTo>
                  <a:cubicBezTo>
                    <a:pt x="267" y="758"/>
                    <a:pt x="277" y="754"/>
                    <a:pt x="277" y="754"/>
                  </a:cubicBezTo>
                  <a:cubicBezTo>
                    <a:pt x="275" y="744"/>
                    <a:pt x="275" y="744"/>
                    <a:pt x="275" y="744"/>
                  </a:cubicBezTo>
                  <a:cubicBezTo>
                    <a:pt x="275" y="744"/>
                    <a:pt x="285" y="740"/>
                    <a:pt x="285" y="736"/>
                  </a:cubicBezTo>
                  <a:cubicBezTo>
                    <a:pt x="285" y="730"/>
                    <a:pt x="286" y="722"/>
                    <a:pt x="286" y="722"/>
                  </a:cubicBezTo>
                  <a:cubicBezTo>
                    <a:pt x="291" y="723"/>
                    <a:pt x="297" y="724"/>
                    <a:pt x="297" y="724"/>
                  </a:cubicBezTo>
                  <a:cubicBezTo>
                    <a:pt x="301" y="729"/>
                    <a:pt x="301" y="729"/>
                    <a:pt x="301" y="729"/>
                  </a:cubicBezTo>
                  <a:cubicBezTo>
                    <a:pt x="302" y="726"/>
                    <a:pt x="302" y="726"/>
                    <a:pt x="302" y="726"/>
                  </a:cubicBezTo>
                  <a:cubicBezTo>
                    <a:pt x="310" y="726"/>
                    <a:pt x="310" y="726"/>
                    <a:pt x="310" y="726"/>
                  </a:cubicBezTo>
                  <a:cubicBezTo>
                    <a:pt x="316" y="735"/>
                    <a:pt x="316" y="735"/>
                    <a:pt x="316" y="735"/>
                  </a:cubicBezTo>
                  <a:cubicBezTo>
                    <a:pt x="319" y="732"/>
                    <a:pt x="319" y="732"/>
                    <a:pt x="319" y="732"/>
                  </a:cubicBezTo>
                  <a:cubicBezTo>
                    <a:pt x="325" y="739"/>
                    <a:pt x="325" y="739"/>
                    <a:pt x="325" y="739"/>
                  </a:cubicBezTo>
                  <a:cubicBezTo>
                    <a:pt x="315" y="739"/>
                    <a:pt x="315" y="739"/>
                    <a:pt x="315" y="739"/>
                  </a:cubicBezTo>
                  <a:cubicBezTo>
                    <a:pt x="315" y="739"/>
                    <a:pt x="313" y="742"/>
                    <a:pt x="316" y="743"/>
                  </a:cubicBezTo>
                  <a:cubicBezTo>
                    <a:pt x="319" y="744"/>
                    <a:pt x="321" y="741"/>
                    <a:pt x="321" y="741"/>
                  </a:cubicBezTo>
                  <a:cubicBezTo>
                    <a:pt x="321" y="741"/>
                    <a:pt x="341" y="739"/>
                    <a:pt x="349" y="744"/>
                  </a:cubicBezTo>
                  <a:cubicBezTo>
                    <a:pt x="355" y="751"/>
                    <a:pt x="356" y="755"/>
                    <a:pt x="356" y="755"/>
                  </a:cubicBezTo>
                  <a:cubicBezTo>
                    <a:pt x="366" y="760"/>
                    <a:pt x="366" y="760"/>
                    <a:pt x="366" y="760"/>
                  </a:cubicBezTo>
                  <a:cubicBezTo>
                    <a:pt x="369" y="770"/>
                    <a:pt x="369" y="770"/>
                    <a:pt x="369" y="770"/>
                  </a:cubicBezTo>
                  <a:cubicBezTo>
                    <a:pt x="369" y="770"/>
                    <a:pt x="376" y="771"/>
                    <a:pt x="375" y="778"/>
                  </a:cubicBezTo>
                  <a:close/>
                  <a:moveTo>
                    <a:pt x="464" y="712"/>
                  </a:moveTo>
                  <a:cubicBezTo>
                    <a:pt x="462" y="717"/>
                    <a:pt x="462" y="724"/>
                    <a:pt x="462" y="724"/>
                  </a:cubicBezTo>
                  <a:cubicBezTo>
                    <a:pt x="449" y="726"/>
                    <a:pt x="449" y="726"/>
                    <a:pt x="449" y="726"/>
                  </a:cubicBezTo>
                  <a:cubicBezTo>
                    <a:pt x="449" y="726"/>
                    <a:pt x="454" y="717"/>
                    <a:pt x="446" y="708"/>
                  </a:cubicBezTo>
                  <a:cubicBezTo>
                    <a:pt x="437" y="698"/>
                    <a:pt x="425" y="697"/>
                    <a:pt x="425" y="697"/>
                  </a:cubicBezTo>
                  <a:cubicBezTo>
                    <a:pt x="408" y="694"/>
                    <a:pt x="408" y="694"/>
                    <a:pt x="408" y="694"/>
                  </a:cubicBezTo>
                  <a:cubicBezTo>
                    <a:pt x="388" y="677"/>
                    <a:pt x="388" y="677"/>
                    <a:pt x="388" y="677"/>
                  </a:cubicBezTo>
                  <a:cubicBezTo>
                    <a:pt x="398" y="683"/>
                    <a:pt x="398" y="683"/>
                    <a:pt x="398" y="683"/>
                  </a:cubicBezTo>
                  <a:cubicBezTo>
                    <a:pt x="401" y="683"/>
                    <a:pt x="401" y="683"/>
                    <a:pt x="401" y="683"/>
                  </a:cubicBezTo>
                  <a:cubicBezTo>
                    <a:pt x="401" y="674"/>
                    <a:pt x="401" y="674"/>
                    <a:pt x="401" y="674"/>
                  </a:cubicBezTo>
                  <a:cubicBezTo>
                    <a:pt x="392" y="669"/>
                    <a:pt x="392" y="669"/>
                    <a:pt x="392" y="669"/>
                  </a:cubicBezTo>
                  <a:cubicBezTo>
                    <a:pt x="389" y="667"/>
                    <a:pt x="389" y="667"/>
                    <a:pt x="389" y="667"/>
                  </a:cubicBezTo>
                  <a:cubicBezTo>
                    <a:pt x="381" y="658"/>
                    <a:pt x="381" y="658"/>
                    <a:pt x="381" y="658"/>
                  </a:cubicBezTo>
                  <a:cubicBezTo>
                    <a:pt x="373" y="650"/>
                    <a:pt x="373" y="650"/>
                    <a:pt x="373" y="650"/>
                  </a:cubicBezTo>
                  <a:cubicBezTo>
                    <a:pt x="375" y="650"/>
                    <a:pt x="375" y="650"/>
                    <a:pt x="375" y="650"/>
                  </a:cubicBezTo>
                  <a:cubicBezTo>
                    <a:pt x="384" y="656"/>
                    <a:pt x="384" y="656"/>
                    <a:pt x="384" y="656"/>
                  </a:cubicBezTo>
                  <a:cubicBezTo>
                    <a:pt x="386" y="661"/>
                    <a:pt x="386" y="661"/>
                    <a:pt x="386" y="661"/>
                  </a:cubicBezTo>
                  <a:cubicBezTo>
                    <a:pt x="401" y="669"/>
                    <a:pt x="401" y="669"/>
                    <a:pt x="401" y="669"/>
                  </a:cubicBezTo>
                  <a:cubicBezTo>
                    <a:pt x="401" y="666"/>
                    <a:pt x="401" y="666"/>
                    <a:pt x="401" y="666"/>
                  </a:cubicBezTo>
                  <a:cubicBezTo>
                    <a:pt x="395" y="658"/>
                    <a:pt x="395" y="658"/>
                    <a:pt x="395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85" y="646"/>
                    <a:pt x="385" y="646"/>
                    <a:pt x="385" y="646"/>
                  </a:cubicBezTo>
                  <a:cubicBezTo>
                    <a:pt x="398" y="653"/>
                    <a:pt x="398" y="653"/>
                    <a:pt x="398" y="653"/>
                  </a:cubicBezTo>
                  <a:cubicBezTo>
                    <a:pt x="385" y="638"/>
                    <a:pt x="385" y="638"/>
                    <a:pt x="385" y="638"/>
                  </a:cubicBezTo>
                  <a:cubicBezTo>
                    <a:pt x="385" y="638"/>
                    <a:pt x="401" y="649"/>
                    <a:pt x="402" y="653"/>
                  </a:cubicBezTo>
                  <a:cubicBezTo>
                    <a:pt x="404" y="656"/>
                    <a:pt x="411" y="662"/>
                    <a:pt x="413" y="663"/>
                  </a:cubicBezTo>
                  <a:cubicBezTo>
                    <a:pt x="414" y="663"/>
                    <a:pt x="414" y="660"/>
                    <a:pt x="414" y="660"/>
                  </a:cubicBezTo>
                  <a:cubicBezTo>
                    <a:pt x="414" y="660"/>
                    <a:pt x="407" y="656"/>
                    <a:pt x="408" y="654"/>
                  </a:cubicBezTo>
                  <a:cubicBezTo>
                    <a:pt x="409" y="651"/>
                    <a:pt x="422" y="660"/>
                    <a:pt x="422" y="650"/>
                  </a:cubicBezTo>
                  <a:cubicBezTo>
                    <a:pt x="423" y="641"/>
                    <a:pt x="411" y="632"/>
                    <a:pt x="411" y="632"/>
                  </a:cubicBezTo>
                  <a:cubicBezTo>
                    <a:pt x="405" y="632"/>
                    <a:pt x="405" y="632"/>
                    <a:pt x="405" y="632"/>
                  </a:cubicBezTo>
                  <a:cubicBezTo>
                    <a:pt x="397" y="629"/>
                    <a:pt x="397" y="629"/>
                    <a:pt x="397" y="629"/>
                  </a:cubicBezTo>
                  <a:cubicBezTo>
                    <a:pt x="393" y="629"/>
                    <a:pt x="393" y="629"/>
                    <a:pt x="393" y="629"/>
                  </a:cubicBezTo>
                  <a:cubicBezTo>
                    <a:pt x="404" y="643"/>
                    <a:pt x="404" y="643"/>
                    <a:pt x="404" y="643"/>
                  </a:cubicBezTo>
                  <a:cubicBezTo>
                    <a:pt x="404" y="643"/>
                    <a:pt x="374" y="620"/>
                    <a:pt x="376" y="618"/>
                  </a:cubicBezTo>
                  <a:cubicBezTo>
                    <a:pt x="379" y="615"/>
                    <a:pt x="385" y="620"/>
                    <a:pt x="385" y="620"/>
                  </a:cubicBezTo>
                  <a:cubicBezTo>
                    <a:pt x="385" y="620"/>
                    <a:pt x="390" y="618"/>
                    <a:pt x="393" y="619"/>
                  </a:cubicBezTo>
                  <a:cubicBezTo>
                    <a:pt x="397" y="619"/>
                    <a:pt x="407" y="625"/>
                    <a:pt x="407" y="625"/>
                  </a:cubicBezTo>
                  <a:cubicBezTo>
                    <a:pt x="407" y="625"/>
                    <a:pt x="421" y="622"/>
                    <a:pt x="426" y="632"/>
                  </a:cubicBezTo>
                  <a:cubicBezTo>
                    <a:pt x="433" y="642"/>
                    <a:pt x="424" y="654"/>
                    <a:pt x="429" y="657"/>
                  </a:cubicBezTo>
                  <a:cubicBezTo>
                    <a:pt x="433" y="660"/>
                    <a:pt x="440" y="670"/>
                    <a:pt x="440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8" y="677"/>
                    <a:pt x="448" y="677"/>
                    <a:pt x="448" y="677"/>
                  </a:cubicBezTo>
                  <a:cubicBezTo>
                    <a:pt x="448" y="677"/>
                    <a:pt x="466" y="682"/>
                    <a:pt x="468" y="692"/>
                  </a:cubicBezTo>
                  <a:cubicBezTo>
                    <a:pt x="470" y="702"/>
                    <a:pt x="467" y="707"/>
                    <a:pt x="464" y="71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3" name="Litauen" descr="© INSCALE GmbH, 05.05.2010&#10;http://www.presentationload.com/">
              <a:extLst>
                <a:ext uri="{FF2B5EF4-FFF2-40B4-BE49-F238E27FC236}">
                  <a16:creationId xmlns:a16="http://schemas.microsoft.com/office/drawing/2014/main" id="{41FA55F6-8DB9-EE46-8377-E9170A569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1314" y="3509648"/>
              <a:ext cx="529729" cy="401010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" name="Sp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EFFD3AF0-CFA3-1843-8C92-5D8CC952D9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28478" y="5334821"/>
              <a:ext cx="1506677" cy="1242637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" name="Italien" descr="© INSCALE GmbH, 05.05.2010&#10;http://www.presentationload.com/">
              <a:extLst>
                <a:ext uri="{FF2B5EF4-FFF2-40B4-BE49-F238E27FC236}">
                  <a16:creationId xmlns:a16="http://schemas.microsoft.com/office/drawing/2014/main" id="{43940C29-EB74-654C-AC81-0E5F42E5BE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63553" y="5059231"/>
              <a:ext cx="1407662" cy="1617242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FCE53FAD-B49D-114A-8F48-8D3BBB21AB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529858" y="5691275"/>
              <a:ext cx="47858" cy="41257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" name="Deutsch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8080B04-E69A-C643-A257-81203151C1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50351" y="3808344"/>
              <a:ext cx="909287" cy="1227784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" name="Saudi-Arabien" descr="© INSCALE GmbH, 05.05.2010&#10;http://www.presentationload.com/">
              <a:extLst>
                <a:ext uri="{FF2B5EF4-FFF2-40B4-BE49-F238E27FC236}">
                  <a16:creationId xmlns:a16="http://schemas.microsoft.com/office/drawing/2014/main" id="{40EA2FBF-960D-B249-B720-F96918CB742E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8580" y="6668221"/>
              <a:ext cx="795420" cy="189779"/>
            </a:xfrm>
            <a:custGeom>
              <a:avLst/>
              <a:gdLst/>
              <a:ahLst/>
              <a:cxnLst>
                <a:cxn ang="0">
                  <a:pos x="333" y="80"/>
                </a:cxn>
                <a:cxn ang="0">
                  <a:pos x="333" y="30"/>
                </a:cxn>
                <a:cxn ang="0">
                  <a:pos x="319" y="13"/>
                </a:cxn>
                <a:cxn ang="0">
                  <a:pos x="224" y="11"/>
                </a:cxn>
                <a:cxn ang="0">
                  <a:pos x="122" y="0"/>
                </a:cxn>
                <a:cxn ang="0">
                  <a:pos x="78" y="7"/>
                </a:cxn>
                <a:cxn ang="0">
                  <a:pos x="66" y="29"/>
                </a:cxn>
                <a:cxn ang="0">
                  <a:pos x="15" y="68"/>
                </a:cxn>
                <a:cxn ang="0">
                  <a:pos x="0" y="80"/>
                </a:cxn>
                <a:cxn ang="0">
                  <a:pos x="333" y="80"/>
                </a:cxn>
              </a:cxnLst>
              <a:rect l="0" t="0" r="r" b="b"/>
              <a:pathLst>
                <a:path w="333" h="80">
                  <a:moveTo>
                    <a:pt x="333" y="80"/>
                  </a:moveTo>
                  <a:cubicBezTo>
                    <a:pt x="333" y="30"/>
                    <a:pt x="333" y="30"/>
                    <a:pt x="333" y="30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9" y="13"/>
                    <a:pt x="251" y="13"/>
                    <a:pt x="224" y="11"/>
                  </a:cubicBezTo>
                  <a:cubicBezTo>
                    <a:pt x="197" y="11"/>
                    <a:pt x="135" y="0"/>
                    <a:pt x="122" y="0"/>
                  </a:cubicBezTo>
                  <a:cubicBezTo>
                    <a:pt x="108" y="0"/>
                    <a:pt x="78" y="7"/>
                    <a:pt x="78" y="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25" y="61"/>
                    <a:pt x="15" y="68"/>
                  </a:cubicBezTo>
                  <a:cubicBezTo>
                    <a:pt x="11" y="70"/>
                    <a:pt x="6" y="74"/>
                    <a:pt x="0" y="80"/>
                  </a:cubicBezTo>
                  <a:lnTo>
                    <a:pt x="333" y="8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9" name="Jord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2556CF34-5F6F-8A40-A05E-6560E9DF22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21832" y="6537852"/>
              <a:ext cx="513227" cy="320148"/>
            </a:xfrm>
            <a:custGeom>
              <a:avLst/>
              <a:gdLst/>
              <a:ahLst/>
              <a:cxnLst>
                <a:cxn ang="0">
                  <a:pos x="5" y="128"/>
                </a:cxn>
                <a:cxn ang="0">
                  <a:pos x="7" y="134"/>
                </a:cxn>
                <a:cxn ang="0">
                  <a:pos x="137" y="134"/>
                </a:cxn>
                <a:cxn ang="0">
                  <a:pos x="152" y="122"/>
                </a:cxn>
                <a:cxn ang="0">
                  <a:pos x="203" y="83"/>
                </a:cxn>
                <a:cxn ang="0">
                  <a:pos x="215" y="61"/>
                </a:cxn>
                <a:cxn ang="0">
                  <a:pos x="158" y="0"/>
                </a:cxn>
                <a:cxn ang="0">
                  <a:pos x="76" y="109"/>
                </a:cxn>
                <a:cxn ang="0">
                  <a:pos x="49" y="110"/>
                </a:cxn>
                <a:cxn ang="0">
                  <a:pos x="42" y="105"/>
                </a:cxn>
                <a:cxn ang="0">
                  <a:pos x="34" y="109"/>
                </a:cxn>
                <a:cxn ang="0">
                  <a:pos x="30" y="109"/>
                </a:cxn>
                <a:cxn ang="0">
                  <a:pos x="18" y="99"/>
                </a:cxn>
                <a:cxn ang="0">
                  <a:pos x="5" y="107"/>
                </a:cxn>
                <a:cxn ang="0">
                  <a:pos x="0" y="110"/>
                </a:cxn>
                <a:cxn ang="0">
                  <a:pos x="3" y="120"/>
                </a:cxn>
                <a:cxn ang="0">
                  <a:pos x="5" y="128"/>
                </a:cxn>
              </a:cxnLst>
              <a:rect l="0" t="0" r="r" b="b"/>
              <a:pathLst>
                <a:path w="215" h="134">
                  <a:moveTo>
                    <a:pt x="5" y="128"/>
                  </a:moveTo>
                  <a:cubicBezTo>
                    <a:pt x="7" y="134"/>
                    <a:pt x="7" y="134"/>
                    <a:pt x="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43" y="128"/>
                    <a:pt x="148" y="124"/>
                    <a:pt x="152" y="122"/>
                  </a:cubicBezTo>
                  <a:cubicBezTo>
                    <a:pt x="162" y="115"/>
                    <a:pt x="203" y="83"/>
                    <a:pt x="203" y="83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0"/>
                    <a:pt x="48" y="106"/>
                    <a:pt x="42" y="105"/>
                  </a:cubicBezTo>
                  <a:cubicBezTo>
                    <a:pt x="35" y="105"/>
                    <a:pt x="34" y="109"/>
                    <a:pt x="34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26" y="100"/>
                    <a:pt x="18" y="99"/>
                  </a:cubicBezTo>
                  <a:cubicBezTo>
                    <a:pt x="10" y="99"/>
                    <a:pt x="5" y="107"/>
                    <a:pt x="5" y="10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8"/>
                    <a:pt x="3" y="120"/>
                  </a:cubicBezTo>
                  <a:cubicBezTo>
                    <a:pt x="7" y="123"/>
                    <a:pt x="5" y="128"/>
                    <a:pt x="5" y="128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0" name="Freeform 9" descr="© INSCALE GmbH, 05.05.2010&#10;http://www.presentationload.com/">
              <a:extLst>
                <a:ext uri="{FF2B5EF4-FFF2-40B4-BE49-F238E27FC236}">
                  <a16:creationId xmlns:a16="http://schemas.microsoft.com/office/drawing/2014/main" id="{AF809ACA-1D57-7D48-86F1-A4CAC2CE4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1017" y="5077384"/>
              <a:ext cx="344901" cy="242586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1" name="Freeform 79" descr="© INSCALE GmbH, 05.05.2010&#10;http://www.presentationload.com/">
              <a:extLst>
                <a:ext uri="{FF2B5EF4-FFF2-40B4-BE49-F238E27FC236}">
                  <a16:creationId xmlns:a16="http://schemas.microsoft.com/office/drawing/2014/main" id="{F93E05D2-73D9-D84A-94A9-519D5AB92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3260" y="5561736"/>
              <a:ext cx="207930" cy="26074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9" y="9"/>
                </a:cxn>
                <a:cxn ang="0">
                  <a:pos x="44" y="9"/>
                </a:cxn>
                <a:cxn ang="0">
                  <a:pos x="34" y="2"/>
                </a:cxn>
                <a:cxn ang="0">
                  <a:pos x="32" y="13"/>
                </a:cxn>
                <a:cxn ang="0">
                  <a:pos x="49" y="36"/>
                </a:cxn>
                <a:cxn ang="0">
                  <a:pos x="30" y="32"/>
                </a:cxn>
                <a:cxn ang="0">
                  <a:pos x="13" y="43"/>
                </a:cxn>
                <a:cxn ang="0">
                  <a:pos x="15" y="70"/>
                </a:cxn>
                <a:cxn ang="0">
                  <a:pos x="2" y="78"/>
                </a:cxn>
                <a:cxn ang="0">
                  <a:pos x="3" y="108"/>
                </a:cxn>
                <a:cxn ang="0">
                  <a:pos x="9" y="108"/>
                </a:cxn>
                <a:cxn ang="0">
                  <a:pos x="9" y="127"/>
                </a:cxn>
                <a:cxn ang="0">
                  <a:pos x="0" y="133"/>
                </a:cxn>
                <a:cxn ang="0">
                  <a:pos x="0" y="144"/>
                </a:cxn>
                <a:cxn ang="0">
                  <a:pos x="7" y="148"/>
                </a:cxn>
                <a:cxn ang="0">
                  <a:pos x="19" y="136"/>
                </a:cxn>
                <a:cxn ang="0">
                  <a:pos x="28" y="138"/>
                </a:cxn>
                <a:cxn ang="0">
                  <a:pos x="25" y="159"/>
                </a:cxn>
                <a:cxn ang="0">
                  <a:pos x="34" y="165"/>
                </a:cxn>
                <a:cxn ang="0">
                  <a:pos x="47" y="163"/>
                </a:cxn>
                <a:cxn ang="0">
                  <a:pos x="49" y="170"/>
                </a:cxn>
                <a:cxn ang="0">
                  <a:pos x="72" y="189"/>
                </a:cxn>
                <a:cxn ang="0">
                  <a:pos x="72" y="199"/>
                </a:cxn>
                <a:cxn ang="0">
                  <a:pos x="82" y="205"/>
                </a:cxn>
                <a:cxn ang="0">
                  <a:pos x="93" y="208"/>
                </a:cxn>
                <a:cxn ang="0">
                  <a:pos x="91" y="193"/>
                </a:cxn>
                <a:cxn ang="0">
                  <a:pos x="87" y="174"/>
                </a:cxn>
                <a:cxn ang="0">
                  <a:pos x="82" y="172"/>
                </a:cxn>
                <a:cxn ang="0">
                  <a:pos x="116" y="106"/>
                </a:cxn>
                <a:cxn ang="0">
                  <a:pos x="121" y="108"/>
                </a:cxn>
                <a:cxn ang="0">
                  <a:pos x="121" y="121"/>
                </a:cxn>
                <a:cxn ang="0">
                  <a:pos x="135" y="129"/>
                </a:cxn>
                <a:cxn ang="0">
                  <a:pos x="145" y="122"/>
                </a:cxn>
                <a:cxn ang="0">
                  <a:pos x="140" y="116"/>
                </a:cxn>
                <a:cxn ang="0">
                  <a:pos x="130" y="96"/>
                </a:cxn>
                <a:cxn ang="0">
                  <a:pos x="138" y="90"/>
                </a:cxn>
                <a:cxn ang="0">
                  <a:pos x="146" y="90"/>
                </a:cxn>
                <a:cxn ang="0">
                  <a:pos x="153" y="92"/>
                </a:cxn>
                <a:cxn ang="0">
                  <a:pos x="158" y="83"/>
                </a:cxn>
                <a:cxn ang="0">
                  <a:pos x="164" y="78"/>
                </a:cxn>
                <a:cxn ang="0">
                  <a:pos x="166" y="66"/>
                </a:cxn>
                <a:cxn ang="0">
                  <a:pos x="153" y="63"/>
                </a:cxn>
                <a:cxn ang="0">
                  <a:pos x="120" y="47"/>
                </a:cxn>
                <a:cxn ang="0">
                  <a:pos x="109" y="43"/>
                </a:cxn>
                <a:cxn ang="0">
                  <a:pos x="94" y="30"/>
                </a:cxn>
                <a:cxn ang="0">
                  <a:pos x="78" y="19"/>
                </a:cxn>
                <a:cxn ang="0">
                  <a:pos x="66" y="10"/>
                </a:cxn>
                <a:cxn ang="0">
                  <a:pos x="60" y="0"/>
                </a:cxn>
              </a:cxnLst>
              <a:rect l="0" t="0" r="r" b="b"/>
              <a:pathLst>
                <a:path w="166" h="208">
                  <a:moveTo>
                    <a:pt x="60" y="0"/>
                  </a:moveTo>
                  <a:cubicBezTo>
                    <a:pt x="59" y="9"/>
                    <a:pt x="59" y="9"/>
                    <a:pt x="5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53" y="30"/>
                    <a:pt x="49" y="36"/>
                  </a:cubicBezTo>
                  <a:cubicBezTo>
                    <a:pt x="44" y="42"/>
                    <a:pt x="36" y="32"/>
                    <a:pt x="30" y="32"/>
                  </a:cubicBezTo>
                  <a:cubicBezTo>
                    <a:pt x="21" y="32"/>
                    <a:pt x="15" y="40"/>
                    <a:pt x="13" y="43"/>
                  </a:cubicBezTo>
                  <a:cubicBezTo>
                    <a:pt x="9" y="49"/>
                    <a:pt x="19" y="66"/>
                    <a:pt x="15" y="70"/>
                  </a:cubicBezTo>
                  <a:cubicBezTo>
                    <a:pt x="11" y="72"/>
                    <a:pt x="6" y="72"/>
                    <a:pt x="2" y="78"/>
                  </a:cubicBezTo>
                  <a:cubicBezTo>
                    <a:pt x="0" y="83"/>
                    <a:pt x="3" y="108"/>
                    <a:pt x="3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2" y="199"/>
                    <a:pt x="72" y="199"/>
                    <a:pt x="72" y="199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82" y="172"/>
                    <a:pt x="82" y="172"/>
                    <a:pt x="82" y="172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21" y="108"/>
                    <a:pt x="121" y="108"/>
                    <a:pt x="121" y="108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53" y="63"/>
                    <a:pt x="153" y="63"/>
                    <a:pt x="153" y="63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2" name="Freeform 141" descr="© INSCALE GmbH, 05.05.2010&#10;http://www.presentationload.com/">
              <a:extLst>
                <a:ext uri="{FF2B5EF4-FFF2-40B4-BE49-F238E27FC236}">
                  <a16:creationId xmlns:a16="http://schemas.microsoft.com/office/drawing/2014/main" id="{29987B60-09DE-B649-90F9-CD11C7246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6659" y="5147524"/>
              <a:ext cx="519827" cy="585114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3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F3F863CD-0F50-7045-83C7-04713D0C0D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4838" y="5592658"/>
              <a:ext cx="223776" cy="228166"/>
            </a:xfrm>
            <a:custGeom>
              <a:avLst/>
              <a:gdLst/>
              <a:ahLst/>
              <a:cxnLst>
                <a:cxn ang="0">
                  <a:pos x="63" y="40"/>
                </a:cxn>
                <a:cxn ang="0">
                  <a:pos x="65" y="36"/>
                </a:cxn>
                <a:cxn ang="0">
                  <a:pos x="68" y="29"/>
                </a:cxn>
                <a:cxn ang="0">
                  <a:pos x="66" y="24"/>
                </a:cxn>
                <a:cxn ang="0">
                  <a:pos x="61" y="22"/>
                </a:cxn>
                <a:cxn ang="0">
                  <a:pos x="59" y="21"/>
                </a:cxn>
                <a:cxn ang="0">
                  <a:pos x="54" y="19"/>
                </a:cxn>
                <a:cxn ang="0">
                  <a:pos x="51" y="16"/>
                </a:cxn>
                <a:cxn ang="0">
                  <a:pos x="47" y="15"/>
                </a:cxn>
                <a:cxn ang="0">
                  <a:pos x="44" y="11"/>
                </a:cxn>
                <a:cxn ang="0">
                  <a:pos x="39" y="9"/>
                </a:cxn>
                <a:cxn ang="0">
                  <a:pos x="37" y="8"/>
                </a:cxn>
                <a:cxn ang="0">
                  <a:pos x="34" y="7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1" y="1"/>
                </a:cxn>
                <a:cxn ang="0">
                  <a:pos x="27" y="4"/>
                </a:cxn>
                <a:cxn ang="0">
                  <a:pos x="24" y="9"/>
                </a:cxn>
                <a:cxn ang="0">
                  <a:pos x="25" y="15"/>
                </a:cxn>
                <a:cxn ang="0">
                  <a:pos x="22" y="20"/>
                </a:cxn>
                <a:cxn ang="0">
                  <a:pos x="18" y="24"/>
                </a:cxn>
                <a:cxn ang="0">
                  <a:pos x="10" y="24"/>
                </a:cxn>
                <a:cxn ang="0">
                  <a:pos x="6" y="25"/>
                </a:cxn>
                <a:cxn ang="0">
                  <a:pos x="0" y="27"/>
                </a:cxn>
                <a:cxn ang="0">
                  <a:pos x="5" y="37"/>
                </a:cxn>
                <a:cxn ang="0">
                  <a:pos x="12" y="38"/>
                </a:cxn>
                <a:cxn ang="0">
                  <a:pos x="26" y="48"/>
                </a:cxn>
                <a:cxn ang="0">
                  <a:pos x="29" y="69"/>
                </a:cxn>
                <a:cxn ang="0">
                  <a:pos x="35" y="55"/>
                </a:cxn>
                <a:cxn ang="0">
                  <a:pos x="46" y="47"/>
                </a:cxn>
                <a:cxn ang="0">
                  <a:pos x="58" y="43"/>
                </a:cxn>
                <a:cxn ang="0">
                  <a:pos x="63" y="42"/>
                </a:cxn>
              </a:cxnLst>
              <a:rect l="0" t="0" r="r" b="b"/>
              <a:pathLst>
                <a:path w="68" h="69">
                  <a:moveTo>
                    <a:pt x="63" y="42"/>
                  </a:moveTo>
                  <a:cubicBezTo>
                    <a:pt x="63" y="41"/>
                    <a:pt x="63" y="40"/>
                    <a:pt x="63" y="40"/>
                  </a:cubicBezTo>
                  <a:cubicBezTo>
                    <a:pt x="63" y="40"/>
                    <a:pt x="64" y="39"/>
                    <a:pt x="64" y="38"/>
                  </a:cubicBezTo>
                  <a:cubicBezTo>
                    <a:pt x="64" y="38"/>
                    <a:pt x="65" y="36"/>
                    <a:pt x="65" y="3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8" y="30"/>
                    <a:pt x="68" y="29"/>
                  </a:cubicBezTo>
                  <a:cubicBezTo>
                    <a:pt x="68" y="29"/>
                    <a:pt x="67" y="27"/>
                    <a:pt x="67" y="27"/>
                  </a:cubicBezTo>
                  <a:cubicBezTo>
                    <a:pt x="67" y="27"/>
                    <a:pt x="66" y="24"/>
                    <a:pt x="66" y="24"/>
                  </a:cubicBezTo>
                  <a:cubicBezTo>
                    <a:pt x="65" y="23"/>
                    <a:pt x="63" y="23"/>
                    <a:pt x="63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8" y="16"/>
                    <a:pt x="47" y="15"/>
                    <a:pt x="47" y="15"/>
                  </a:cubicBezTo>
                  <a:cubicBezTo>
                    <a:pt x="47" y="15"/>
                    <a:pt x="47" y="12"/>
                    <a:pt x="47" y="12"/>
                  </a:cubicBezTo>
                  <a:cubicBezTo>
                    <a:pt x="46" y="11"/>
                    <a:pt x="44" y="11"/>
                    <a:pt x="44" y="11"/>
                  </a:cubicBezTo>
                  <a:cubicBezTo>
                    <a:pt x="44" y="11"/>
                    <a:pt x="44" y="9"/>
                    <a:pt x="43" y="9"/>
                  </a:cubicBezTo>
                  <a:cubicBezTo>
                    <a:pt x="42" y="9"/>
                    <a:pt x="40" y="10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8" y="8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2" y="6"/>
                    <a:pt x="33" y="5"/>
                    <a:pt x="34" y="4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1" y="1"/>
                  </a:cubicBezTo>
                  <a:cubicBezTo>
                    <a:pt x="31" y="1"/>
                    <a:pt x="30" y="4"/>
                    <a:pt x="30" y="4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8"/>
                    <a:pt x="24" y="9"/>
                  </a:cubicBezTo>
                  <a:cubicBezTo>
                    <a:pt x="25" y="9"/>
                    <a:pt x="25" y="10"/>
                    <a:pt x="26" y="11"/>
                  </a:cubicBezTo>
                  <a:cubicBezTo>
                    <a:pt x="26" y="11"/>
                    <a:pt x="25" y="15"/>
                    <a:pt x="25" y="15"/>
                  </a:cubicBezTo>
                  <a:cubicBezTo>
                    <a:pt x="25" y="15"/>
                    <a:pt x="23" y="17"/>
                    <a:pt x="22" y="18"/>
                  </a:cubicBezTo>
                  <a:cubicBezTo>
                    <a:pt x="21" y="19"/>
                    <a:pt x="22" y="20"/>
                    <a:pt x="22" y="20"/>
                  </a:cubicBezTo>
                  <a:cubicBezTo>
                    <a:pt x="21" y="21"/>
                    <a:pt x="21" y="22"/>
                    <a:pt x="20" y="23"/>
                  </a:cubicBezTo>
                  <a:cubicBezTo>
                    <a:pt x="20" y="23"/>
                    <a:pt x="18" y="24"/>
                    <a:pt x="1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1" y="36"/>
                    <a:pt x="12" y="38"/>
                  </a:cubicBezTo>
                  <a:cubicBezTo>
                    <a:pt x="14" y="40"/>
                    <a:pt x="15" y="45"/>
                    <a:pt x="15" y="45"/>
                  </a:cubicBezTo>
                  <a:cubicBezTo>
                    <a:pt x="15" y="45"/>
                    <a:pt x="23" y="46"/>
                    <a:pt x="26" y="48"/>
                  </a:cubicBezTo>
                  <a:cubicBezTo>
                    <a:pt x="28" y="52"/>
                    <a:pt x="31" y="59"/>
                    <a:pt x="31" y="5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3" y="58"/>
                    <a:pt x="35" y="55"/>
                  </a:cubicBezTo>
                  <a:cubicBezTo>
                    <a:pt x="37" y="51"/>
                    <a:pt x="42" y="51"/>
                    <a:pt x="42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60" y="43"/>
                    <a:pt x="61" y="43"/>
                  </a:cubicBezTo>
                  <a:cubicBezTo>
                    <a:pt x="62" y="42"/>
                    <a:pt x="63" y="42"/>
                    <a:pt x="63" y="42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4" name="Freeform 7" descr="© INSCALE GmbH, 05.05.2010&#10;http://www.presentationload.com/">
              <a:extLst>
                <a:ext uri="{FF2B5EF4-FFF2-40B4-BE49-F238E27FC236}">
                  <a16:creationId xmlns:a16="http://schemas.microsoft.com/office/drawing/2014/main" id="{0F12AA26-9A8C-D243-8FAD-8ACD6B875E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9195" y="4433787"/>
              <a:ext cx="704656" cy="397709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5" name="Freeform 20" descr="© INSCALE GmbH, 05.05.2010&#10;http://www.presentationload.com/">
              <a:extLst>
                <a:ext uri="{FF2B5EF4-FFF2-40B4-BE49-F238E27FC236}">
                  <a16:creationId xmlns:a16="http://schemas.microsoft.com/office/drawing/2014/main" id="{3D2CD66F-2E2B-FD4B-AABE-3E54572497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30918" y="5130191"/>
              <a:ext cx="668349" cy="613892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6" name="Freeform 26" descr="© INSCALE GmbH, 05.05.2010&#10;http://www.presentationload.com/">
              <a:extLst>
                <a:ext uri="{FF2B5EF4-FFF2-40B4-BE49-F238E27FC236}">
                  <a16:creationId xmlns:a16="http://schemas.microsoft.com/office/drawing/2014/main" id="{1F4AD5A9-1CB7-AE4B-A406-F5C0281171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820" y="4623566"/>
              <a:ext cx="587488" cy="310247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7" name="Freeform 27" descr="© INSCALE GmbH, 05.05.2010&#10;http://www.presentationload.com/">
              <a:extLst>
                <a:ext uri="{FF2B5EF4-FFF2-40B4-BE49-F238E27FC236}">
                  <a16:creationId xmlns:a16="http://schemas.microsoft.com/office/drawing/2014/main" id="{46302BA9-37CC-C045-9471-C3C5ECBCD18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410" y="4762187"/>
              <a:ext cx="716207" cy="478571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8" name="Freeform 32" descr="© INSCALE GmbH, 05.05.2010&#10;http://www.presentationload.com/">
              <a:extLst>
                <a:ext uri="{FF2B5EF4-FFF2-40B4-BE49-F238E27FC236}">
                  <a16:creationId xmlns:a16="http://schemas.microsoft.com/office/drawing/2014/main" id="{FDE6B26E-0DA2-C349-99AB-CE70EEC855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5180" y="4712680"/>
              <a:ext cx="1071010" cy="760763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9" name="Freeform 52" descr="© INSCALE GmbH, 05.05.2010&#10;http://www.presentationload.com/">
              <a:extLst>
                <a:ext uri="{FF2B5EF4-FFF2-40B4-BE49-F238E27FC236}">
                  <a16:creationId xmlns:a16="http://schemas.microsoft.com/office/drawing/2014/main" id="{2D7945EE-E5D4-0C4D-BE10-BFAAC73CAF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4022" y="3836397"/>
              <a:ext cx="1029753" cy="849878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0" name="Frank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4F4FCEBA-5739-0943-B838-DE52D460DB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478" y="4395832"/>
              <a:ext cx="1496774" cy="1554533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1" name="Sch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6D2684C6-DB94-E042-8D36-6E707F59D0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88331" y="1638269"/>
              <a:ext cx="872981" cy="2145322"/>
            </a:xfrm>
            <a:custGeom>
              <a:avLst/>
              <a:gdLst/>
              <a:ahLst/>
              <a:cxnLst>
                <a:cxn ang="0">
                  <a:pos x="336" y="111"/>
                </a:cxn>
                <a:cxn ang="0">
                  <a:pos x="305" y="38"/>
                </a:cxn>
                <a:cxn ang="0">
                  <a:pos x="247" y="2"/>
                </a:cxn>
                <a:cxn ang="0">
                  <a:pos x="194" y="36"/>
                </a:cxn>
                <a:cxn ang="0">
                  <a:pos x="136" y="151"/>
                </a:cxn>
                <a:cxn ang="0">
                  <a:pos x="98" y="268"/>
                </a:cxn>
                <a:cxn ang="0">
                  <a:pos x="33" y="410"/>
                </a:cxn>
                <a:cxn ang="0">
                  <a:pos x="41" y="538"/>
                </a:cxn>
                <a:cxn ang="0">
                  <a:pos x="12" y="671"/>
                </a:cxn>
                <a:cxn ang="0">
                  <a:pos x="9" y="707"/>
                </a:cxn>
                <a:cxn ang="0">
                  <a:pos x="18" y="737"/>
                </a:cxn>
                <a:cxn ang="0">
                  <a:pos x="37" y="779"/>
                </a:cxn>
                <a:cxn ang="0">
                  <a:pos x="52" y="826"/>
                </a:cxn>
                <a:cxn ang="0">
                  <a:pos x="64" y="871"/>
                </a:cxn>
                <a:cxn ang="0">
                  <a:pos x="106" y="895"/>
                </a:cxn>
                <a:cxn ang="0">
                  <a:pos x="172" y="847"/>
                </a:cxn>
                <a:cxn ang="0">
                  <a:pos x="197" y="756"/>
                </a:cxn>
                <a:cxn ang="0">
                  <a:pos x="196" y="719"/>
                </a:cxn>
                <a:cxn ang="0">
                  <a:pos x="192" y="677"/>
                </a:cxn>
                <a:cxn ang="0">
                  <a:pos x="226" y="648"/>
                </a:cxn>
                <a:cxn ang="0">
                  <a:pos x="237" y="628"/>
                </a:cxn>
                <a:cxn ang="0">
                  <a:pos x="267" y="592"/>
                </a:cxn>
                <a:cxn ang="0">
                  <a:pos x="216" y="557"/>
                </a:cxn>
                <a:cxn ang="0">
                  <a:pos x="193" y="502"/>
                </a:cxn>
                <a:cxn ang="0">
                  <a:pos x="201" y="450"/>
                </a:cxn>
                <a:cxn ang="0">
                  <a:pos x="207" y="432"/>
                </a:cxn>
                <a:cxn ang="0">
                  <a:pos x="225" y="405"/>
                </a:cxn>
                <a:cxn ang="0">
                  <a:pos x="233" y="375"/>
                </a:cxn>
                <a:cxn ang="0">
                  <a:pos x="262" y="357"/>
                </a:cxn>
                <a:cxn ang="0">
                  <a:pos x="290" y="333"/>
                </a:cxn>
                <a:cxn ang="0">
                  <a:pos x="309" y="283"/>
                </a:cxn>
                <a:cxn ang="0">
                  <a:pos x="307" y="221"/>
                </a:cxn>
                <a:cxn ang="0">
                  <a:pos x="329" y="199"/>
                </a:cxn>
                <a:cxn ang="0">
                  <a:pos x="365" y="195"/>
                </a:cxn>
                <a:cxn ang="0">
                  <a:pos x="14" y="718"/>
                </a:cxn>
                <a:cxn ang="0">
                  <a:pos x="207" y="765"/>
                </a:cxn>
                <a:cxn ang="0">
                  <a:pos x="190" y="816"/>
                </a:cxn>
                <a:cxn ang="0">
                  <a:pos x="208" y="788"/>
                </a:cxn>
                <a:cxn ang="0">
                  <a:pos x="277" y="731"/>
                </a:cxn>
                <a:cxn ang="0">
                  <a:pos x="248" y="746"/>
                </a:cxn>
                <a:cxn ang="0">
                  <a:pos x="253" y="787"/>
                </a:cxn>
                <a:cxn ang="0">
                  <a:pos x="277" y="750"/>
                </a:cxn>
                <a:cxn ang="0">
                  <a:pos x="281" y="712"/>
                </a:cxn>
                <a:cxn ang="0">
                  <a:pos x="281" y="689"/>
                </a:cxn>
                <a:cxn ang="0">
                  <a:pos x="243" y="630"/>
                </a:cxn>
                <a:cxn ang="0">
                  <a:pos x="258" y="630"/>
                </a:cxn>
                <a:cxn ang="0">
                  <a:pos x="247" y="656"/>
                </a:cxn>
                <a:cxn ang="0">
                  <a:pos x="251" y="636"/>
                </a:cxn>
                <a:cxn ang="0">
                  <a:pos x="241" y="554"/>
                </a:cxn>
                <a:cxn ang="0">
                  <a:pos x="256" y="573"/>
                </a:cxn>
                <a:cxn ang="0">
                  <a:pos x="195" y="740"/>
                </a:cxn>
                <a:cxn ang="0">
                  <a:pos x="205" y="485"/>
                </a:cxn>
                <a:cxn ang="0">
                  <a:pos x="214" y="425"/>
                </a:cxn>
                <a:cxn ang="0">
                  <a:pos x="294" y="343"/>
                </a:cxn>
                <a:cxn ang="0">
                  <a:pos x="307" y="241"/>
                </a:cxn>
                <a:cxn ang="0">
                  <a:pos x="312" y="222"/>
                </a:cxn>
                <a:cxn ang="0">
                  <a:pos x="325" y="217"/>
                </a:cxn>
                <a:cxn ang="0">
                  <a:pos x="356" y="200"/>
                </a:cxn>
              </a:cxnLst>
              <a:rect l="0" t="0" r="r" b="b"/>
              <a:pathLst>
                <a:path w="365" h="899">
                  <a:moveTo>
                    <a:pt x="364" y="188"/>
                  </a:moveTo>
                  <a:cubicBezTo>
                    <a:pt x="364" y="188"/>
                    <a:pt x="359" y="186"/>
                    <a:pt x="358" y="182"/>
                  </a:cubicBezTo>
                  <a:cubicBezTo>
                    <a:pt x="357" y="178"/>
                    <a:pt x="358" y="175"/>
                    <a:pt x="356" y="173"/>
                  </a:cubicBezTo>
                  <a:cubicBezTo>
                    <a:pt x="354" y="172"/>
                    <a:pt x="347" y="171"/>
                    <a:pt x="347" y="167"/>
                  </a:cubicBezTo>
                  <a:cubicBezTo>
                    <a:pt x="348" y="161"/>
                    <a:pt x="348" y="160"/>
                    <a:pt x="348" y="160"/>
                  </a:cubicBezTo>
                  <a:cubicBezTo>
                    <a:pt x="348" y="160"/>
                    <a:pt x="343" y="159"/>
                    <a:pt x="345" y="155"/>
                  </a:cubicBezTo>
                  <a:cubicBezTo>
                    <a:pt x="348" y="150"/>
                    <a:pt x="353" y="147"/>
                    <a:pt x="352" y="144"/>
                  </a:cubicBezTo>
                  <a:cubicBezTo>
                    <a:pt x="350" y="140"/>
                    <a:pt x="348" y="136"/>
                    <a:pt x="348" y="136"/>
                  </a:cubicBezTo>
                  <a:cubicBezTo>
                    <a:pt x="348" y="136"/>
                    <a:pt x="349" y="129"/>
                    <a:pt x="347" y="125"/>
                  </a:cubicBezTo>
                  <a:cubicBezTo>
                    <a:pt x="345" y="122"/>
                    <a:pt x="336" y="117"/>
                    <a:pt x="336" y="111"/>
                  </a:cubicBezTo>
                  <a:cubicBezTo>
                    <a:pt x="336" y="106"/>
                    <a:pt x="337" y="104"/>
                    <a:pt x="337" y="104"/>
                  </a:cubicBezTo>
                  <a:cubicBezTo>
                    <a:pt x="340" y="101"/>
                    <a:pt x="340" y="101"/>
                    <a:pt x="340" y="101"/>
                  </a:cubicBezTo>
                  <a:cubicBezTo>
                    <a:pt x="339" y="95"/>
                    <a:pt x="339" y="95"/>
                    <a:pt x="339" y="95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93"/>
                    <a:pt x="330" y="87"/>
                    <a:pt x="328" y="81"/>
                  </a:cubicBezTo>
                  <a:cubicBezTo>
                    <a:pt x="327" y="77"/>
                    <a:pt x="325" y="74"/>
                    <a:pt x="326" y="69"/>
                  </a:cubicBezTo>
                  <a:cubicBezTo>
                    <a:pt x="327" y="65"/>
                    <a:pt x="332" y="65"/>
                    <a:pt x="330" y="62"/>
                  </a:cubicBezTo>
                  <a:cubicBezTo>
                    <a:pt x="328" y="59"/>
                    <a:pt x="319" y="50"/>
                    <a:pt x="319" y="50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53"/>
                    <a:pt x="314" y="43"/>
                    <a:pt x="305" y="38"/>
                  </a:cubicBezTo>
                  <a:cubicBezTo>
                    <a:pt x="295" y="33"/>
                    <a:pt x="282" y="31"/>
                    <a:pt x="282" y="31"/>
                  </a:cubicBezTo>
                  <a:cubicBezTo>
                    <a:pt x="278" y="27"/>
                    <a:pt x="278" y="27"/>
                    <a:pt x="278" y="27"/>
                  </a:cubicBezTo>
                  <a:cubicBezTo>
                    <a:pt x="274" y="27"/>
                    <a:pt x="274" y="27"/>
                    <a:pt x="274" y="27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0" y="5"/>
                    <a:pt x="250" y="5"/>
                    <a:pt x="250" y="5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30" y="2"/>
                    <a:pt x="237" y="11"/>
                    <a:pt x="238" y="17"/>
                  </a:cubicBezTo>
                  <a:cubicBezTo>
                    <a:pt x="239" y="25"/>
                    <a:pt x="231" y="34"/>
                    <a:pt x="231" y="34"/>
                  </a:cubicBezTo>
                  <a:cubicBezTo>
                    <a:pt x="239" y="38"/>
                    <a:pt x="239" y="38"/>
                    <a:pt x="239" y="38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198" y="41"/>
                    <a:pt x="198" y="41"/>
                    <a:pt x="198" y="41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9" y="56"/>
                    <a:pt x="188" y="61"/>
                  </a:cubicBezTo>
                  <a:cubicBezTo>
                    <a:pt x="186" y="66"/>
                    <a:pt x="183" y="77"/>
                    <a:pt x="183" y="77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4"/>
                    <a:pt x="149" y="101"/>
                    <a:pt x="149" y="106"/>
                  </a:cubicBezTo>
                  <a:cubicBezTo>
                    <a:pt x="148" y="111"/>
                    <a:pt x="140" y="109"/>
                    <a:pt x="140" y="109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7" y="127"/>
                    <a:pt x="148" y="135"/>
                  </a:cubicBezTo>
                  <a:cubicBezTo>
                    <a:pt x="150" y="141"/>
                    <a:pt x="144" y="143"/>
                    <a:pt x="136" y="151"/>
                  </a:cubicBezTo>
                  <a:cubicBezTo>
                    <a:pt x="130" y="157"/>
                    <a:pt x="132" y="162"/>
                    <a:pt x="130" y="169"/>
                  </a:cubicBezTo>
                  <a:cubicBezTo>
                    <a:pt x="128" y="175"/>
                    <a:pt x="123" y="176"/>
                    <a:pt x="123" y="176"/>
                  </a:cubicBezTo>
                  <a:cubicBezTo>
                    <a:pt x="126" y="189"/>
                    <a:pt x="126" y="189"/>
                    <a:pt x="126" y="18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00" y="201"/>
                    <a:pt x="100" y="201"/>
                    <a:pt x="100" y="201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03" y="253"/>
                    <a:pt x="103" y="253"/>
                    <a:pt x="103" y="253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79" y="300"/>
                    <a:pt x="79" y="300"/>
                    <a:pt x="79" y="300"/>
                  </a:cubicBezTo>
                  <a:cubicBezTo>
                    <a:pt x="93" y="310"/>
                    <a:pt x="93" y="310"/>
                    <a:pt x="93" y="310"/>
                  </a:cubicBezTo>
                  <a:cubicBezTo>
                    <a:pt x="94" y="325"/>
                    <a:pt x="94" y="325"/>
                    <a:pt x="94" y="325"/>
                  </a:cubicBezTo>
                  <a:cubicBezTo>
                    <a:pt x="89" y="337"/>
                    <a:pt x="89" y="337"/>
                    <a:pt x="89" y="337"/>
                  </a:cubicBezTo>
                  <a:cubicBezTo>
                    <a:pt x="89" y="337"/>
                    <a:pt x="69" y="331"/>
                    <a:pt x="59" y="334"/>
                  </a:cubicBezTo>
                  <a:cubicBezTo>
                    <a:pt x="47" y="337"/>
                    <a:pt x="35" y="365"/>
                    <a:pt x="35" y="365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30" y="385"/>
                    <a:pt x="30" y="385"/>
                    <a:pt x="30" y="385"/>
                  </a:cubicBezTo>
                  <a:cubicBezTo>
                    <a:pt x="37" y="404"/>
                    <a:pt x="37" y="404"/>
                    <a:pt x="37" y="404"/>
                  </a:cubicBezTo>
                  <a:cubicBezTo>
                    <a:pt x="33" y="410"/>
                    <a:pt x="33" y="410"/>
                    <a:pt x="33" y="410"/>
                  </a:cubicBezTo>
                  <a:cubicBezTo>
                    <a:pt x="36" y="421"/>
                    <a:pt x="36" y="421"/>
                    <a:pt x="36" y="421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41" y="452"/>
                    <a:pt x="41" y="452"/>
                    <a:pt x="41" y="452"/>
                  </a:cubicBezTo>
                  <a:cubicBezTo>
                    <a:pt x="35" y="487"/>
                    <a:pt x="35" y="487"/>
                    <a:pt x="35" y="487"/>
                  </a:cubicBezTo>
                  <a:cubicBezTo>
                    <a:pt x="45" y="497"/>
                    <a:pt x="45" y="497"/>
                    <a:pt x="45" y="497"/>
                  </a:cubicBezTo>
                  <a:cubicBezTo>
                    <a:pt x="45" y="497"/>
                    <a:pt x="50" y="500"/>
                    <a:pt x="54" y="503"/>
                  </a:cubicBezTo>
                  <a:cubicBezTo>
                    <a:pt x="58" y="507"/>
                    <a:pt x="59" y="511"/>
                    <a:pt x="55" y="523"/>
                  </a:cubicBezTo>
                  <a:cubicBezTo>
                    <a:pt x="53" y="535"/>
                    <a:pt x="45" y="529"/>
                    <a:pt x="45" y="529"/>
                  </a:cubicBezTo>
                  <a:cubicBezTo>
                    <a:pt x="36" y="532"/>
                    <a:pt x="36" y="532"/>
                    <a:pt x="36" y="532"/>
                  </a:cubicBezTo>
                  <a:cubicBezTo>
                    <a:pt x="41" y="538"/>
                    <a:pt x="41" y="538"/>
                    <a:pt x="41" y="538"/>
                  </a:cubicBezTo>
                  <a:cubicBezTo>
                    <a:pt x="43" y="547"/>
                    <a:pt x="43" y="547"/>
                    <a:pt x="43" y="547"/>
                  </a:cubicBezTo>
                  <a:cubicBezTo>
                    <a:pt x="43" y="547"/>
                    <a:pt x="49" y="561"/>
                    <a:pt x="51" y="568"/>
                  </a:cubicBezTo>
                  <a:cubicBezTo>
                    <a:pt x="54" y="576"/>
                    <a:pt x="46" y="572"/>
                    <a:pt x="45" y="577"/>
                  </a:cubicBezTo>
                  <a:cubicBezTo>
                    <a:pt x="44" y="581"/>
                    <a:pt x="48" y="584"/>
                    <a:pt x="45" y="597"/>
                  </a:cubicBezTo>
                  <a:cubicBezTo>
                    <a:pt x="41" y="609"/>
                    <a:pt x="30" y="603"/>
                    <a:pt x="26" y="607"/>
                  </a:cubicBezTo>
                  <a:cubicBezTo>
                    <a:pt x="21" y="610"/>
                    <a:pt x="28" y="611"/>
                    <a:pt x="27" y="616"/>
                  </a:cubicBezTo>
                  <a:cubicBezTo>
                    <a:pt x="27" y="620"/>
                    <a:pt x="21" y="619"/>
                    <a:pt x="19" y="623"/>
                  </a:cubicBezTo>
                  <a:cubicBezTo>
                    <a:pt x="16" y="625"/>
                    <a:pt x="25" y="643"/>
                    <a:pt x="25" y="643"/>
                  </a:cubicBezTo>
                  <a:cubicBezTo>
                    <a:pt x="25" y="643"/>
                    <a:pt x="21" y="651"/>
                    <a:pt x="19" y="658"/>
                  </a:cubicBezTo>
                  <a:cubicBezTo>
                    <a:pt x="17" y="665"/>
                    <a:pt x="16" y="671"/>
                    <a:pt x="12" y="671"/>
                  </a:cubicBezTo>
                  <a:cubicBezTo>
                    <a:pt x="8" y="671"/>
                    <a:pt x="11" y="662"/>
                    <a:pt x="10" y="657"/>
                  </a:cubicBezTo>
                  <a:cubicBezTo>
                    <a:pt x="9" y="652"/>
                    <a:pt x="1" y="657"/>
                    <a:pt x="1" y="657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0" y="664"/>
                    <a:pt x="3" y="668"/>
                    <a:pt x="3" y="673"/>
                  </a:cubicBezTo>
                  <a:cubicBezTo>
                    <a:pt x="3" y="676"/>
                    <a:pt x="0" y="679"/>
                    <a:pt x="0" y="679"/>
                  </a:cubicBezTo>
                  <a:cubicBezTo>
                    <a:pt x="0" y="679"/>
                    <a:pt x="5" y="693"/>
                    <a:pt x="5" y="696"/>
                  </a:cubicBezTo>
                  <a:cubicBezTo>
                    <a:pt x="5" y="699"/>
                    <a:pt x="1" y="699"/>
                    <a:pt x="1" y="699"/>
                  </a:cubicBezTo>
                  <a:cubicBezTo>
                    <a:pt x="2" y="703"/>
                    <a:pt x="2" y="703"/>
                    <a:pt x="2" y="703"/>
                  </a:cubicBezTo>
                  <a:cubicBezTo>
                    <a:pt x="2" y="703"/>
                    <a:pt x="6" y="700"/>
                    <a:pt x="9" y="702"/>
                  </a:cubicBezTo>
                  <a:cubicBezTo>
                    <a:pt x="10" y="703"/>
                    <a:pt x="9" y="707"/>
                    <a:pt x="9" y="707"/>
                  </a:cubicBezTo>
                  <a:cubicBezTo>
                    <a:pt x="11" y="707"/>
                    <a:pt x="11" y="707"/>
                    <a:pt x="11" y="707"/>
                  </a:cubicBezTo>
                  <a:cubicBezTo>
                    <a:pt x="14" y="697"/>
                    <a:pt x="14" y="697"/>
                    <a:pt x="14" y="697"/>
                  </a:cubicBezTo>
                  <a:cubicBezTo>
                    <a:pt x="17" y="700"/>
                    <a:pt x="17" y="700"/>
                    <a:pt x="17" y="700"/>
                  </a:cubicBezTo>
                  <a:cubicBezTo>
                    <a:pt x="10" y="710"/>
                    <a:pt x="10" y="710"/>
                    <a:pt x="10" y="710"/>
                  </a:cubicBezTo>
                  <a:cubicBezTo>
                    <a:pt x="10" y="712"/>
                    <a:pt x="10" y="712"/>
                    <a:pt x="10" y="712"/>
                  </a:cubicBezTo>
                  <a:cubicBezTo>
                    <a:pt x="25" y="704"/>
                    <a:pt x="25" y="704"/>
                    <a:pt x="25" y="704"/>
                  </a:cubicBezTo>
                  <a:cubicBezTo>
                    <a:pt x="22" y="709"/>
                    <a:pt x="22" y="709"/>
                    <a:pt x="22" y="709"/>
                  </a:cubicBezTo>
                  <a:cubicBezTo>
                    <a:pt x="25" y="713"/>
                    <a:pt x="25" y="713"/>
                    <a:pt x="25" y="713"/>
                  </a:cubicBezTo>
                  <a:cubicBezTo>
                    <a:pt x="21" y="730"/>
                    <a:pt x="21" y="730"/>
                    <a:pt x="21" y="730"/>
                  </a:cubicBezTo>
                  <a:cubicBezTo>
                    <a:pt x="18" y="737"/>
                    <a:pt x="18" y="737"/>
                    <a:pt x="18" y="737"/>
                  </a:cubicBezTo>
                  <a:cubicBezTo>
                    <a:pt x="22" y="741"/>
                    <a:pt x="22" y="741"/>
                    <a:pt x="22" y="741"/>
                  </a:cubicBezTo>
                  <a:cubicBezTo>
                    <a:pt x="17" y="746"/>
                    <a:pt x="17" y="746"/>
                    <a:pt x="17" y="746"/>
                  </a:cubicBezTo>
                  <a:cubicBezTo>
                    <a:pt x="22" y="746"/>
                    <a:pt x="22" y="746"/>
                    <a:pt x="22" y="746"/>
                  </a:cubicBezTo>
                  <a:cubicBezTo>
                    <a:pt x="24" y="746"/>
                    <a:pt x="26" y="754"/>
                    <a:pt x="26" y="757"/>
                  </a:cubicBezTo>
                  <a:cubicBezTo>
                    <a:pt x="26" y="761"/>
                    <a:pt x="27" y="768"/>
                    <a:pt x="29" y="768"/>
                  </a:cubicBezTo>
                  <a:cubicBezTo>
                    <a:pt x="31" y="768"/>
                    <a:pt x="32" y="761"/>
                    <a:pt x="32" y="761"/>
                  </a:cubicBezTo>
                  <a:cubicBezTo>
                    <a:pt x="32" y="770"/>
                    <a:pt x="32" y="770"/>
                    <a:pt x="32" y="770"/>
                  </a:cubicBezTo>
                  <a:cubicBezTo>
                    <a:pt x="34" y="771"/>
                    <a:pt x="34" y="771"/>
                    <a:pt x="34" y="771"/>
                  </a:cubicBezTo>
                  <a:cubicBezTo>
                    <a:pt x="32" y="777"/>
                    <a:pt x="32" y="777"/>
                    <a:pt x="32" y="777"/>
                  </a:cubicBezTo>
                  <a:cubicBezTo>
                    <a:pt x="37" y="779"/>
                    <a:pt x="37" y="779"/>
                    <a:pt x="37" y="779"/>
                  </a:cubicBezTo>
                  <a:cubicBezTo>
                    <a:pt x="37" y="786"/>
                    <a:pt x="37" y="786"/>
                    <a:pt x="37" y="786"/>
                  </a:cubicBezTo>
                  <a:cubicBezTo>
                    <a:pt x="42" y="791"/>
                    <a:pt x="42" y="791"/>
                    <a:pt x="42" y="791"/>
                  </a:cubicBezTo>
                  <a:cubicBezTo>
                    <a:pt x="42" y="796"/>
                    <a:pt x="42" y="796"/>
                    <a:pt x="42" y="796"/>
                  </a:cubicBezTo>
                  <a:cubicBezTo>
                    <a:pt x="48" y="804"/>
                    <a:pt x="48" y="804"/>
                    <a:pt x="48" y="804"/>
                  </a:cubicBezTo>
                  <a:cubicBezTo>
                    <a:pt x="50" y="803"/>
                    <a:pt x="50" y="803"/>
                    <a:pt x="50" y="803"/>
                  </a:cubicBezTo>
                  <a:cubicBezTo>
                    <a:pt x="50" y="803"/>
                    <a:pt x="52" y="815"/>
                    <a:pt x="55" y="816"/>
                  </a:cubicBezTo>
                  <a:cubicBezTo>
                    <a:pt x="60" y="818"/>
                    <a:pt x="61" y="814"/>
                    <a:pt x="61" y="814"/>
                  </a:cubicBezTo>
                  <a:cubicBezTo>
                    <a:pt x="61" y="814"/>
                    <a:pt x="64" y="822"/>
                    <a:pt x="64" y="825"/>
                  </a:cubicBezTo>
                  <a:cubicBezTo>
                    <a:pt x="64" y="829"/>
                    <a:pt x="58" y="828"/>
                    <a:pt x="58" y="828"/>
                  </a:cubicBezTo>
                  <a:cubicBezTo>
                    <a:pt x="58" y="828"/>
                    <a:pt x="57" y="823"/>
                    <a:pt x="52" y="826"/>
                  </a:cubicBezTo>
                  <a:cubicBezTo>
                    <a:pt x="48" y="830"/>
                    <a:pt x="58" y="834"/>
                    <a:pt x="58" y="834"/>
                  </a:cubicBezTo>
                  <a:cubicBezTo>
                    <a:pt x="58" y="834"/>
                    <a:pt x="61" y="839"/>
                    <a:pt x="59" y="841"/>
                  </a:cubicBezTo>
                  <a:cubicBezTo>
                    <a:pt x="55" y="844"/>
                    <a:pt x="51" y="838"/>
                    <a:pt x="49" y="837"/>
                  </a:cubicBezTo>
                  <a:cubicBezTo>
                    <a:pt x="47" y="835"/>
                    <a:pt x="44" y="835"/>
                    <a:pt x="43" y="836"/>
                  </a:cubicBezTo>
                  <a:cubicBezTo>
                    <a:pt x="42" y="837"/>
                    <a:pt x="47" y="839"/>
                    <a:pt x="47" y="839"/>
                  </a:cubicBezTo>
                  <a:cubicBezTo>
                    <a:pt x="48" y="844"/>
                    <a:pt x="48" y="844"/>
                    <a:pt x="48" y="844"/>
                  </a:cubicBezTo>
                  <a:cubicBezTo>
                    <a:pt x="48" y="844"/>
                    <a:pt x="54" y="852"/>
                    <a:pt x="58" y="856"/>
                  </a:cubicBezTo>
                  <a:cubicBezTo>
                    <a:pt x="61" y="861"/>
                    <a:pt x="61" y="865"/>
                    <a:pt x="61" y="865"/>
                  </a:cubicBezTo>
                  <a:cubicBezTo>
                    <a:pt x="65" y="866"/>
                    <a:pt x="65" y="866"/>
                    <a:pt x="65" y="866"/>
                  </a:cubicBezTo>
                  <a:cubicBezTo>
                    <a:pt x="64" y="871"/>
                    <a:pt x="64" y="871"/>
                    <a:pt x="64" y="871"/>
                  </a:cubicBezTo>
                  <a:cubicBezTo>
                    <a:pt x="64" y="871"/>
                    <a:pt x="67" y="871"/>
                    <a:pt x="69" y="877"/>
                  </a:cubicBezTo>
                  <a:cubicBezTo>
                    <a:pt x="71" y="881"/>
                    <a:pt x="64" y="882"/>
                    <a:pt x="64" y="882"/>
                  </a:cubicBezTo>
                  <a:cubicBezTo>
                    <a:pt x="64" y="888"/>
                    <a:pt x="64" y="888"/>
                    <a:pt x="64" y="888"/>
                  </a:cubicBezTo>
                  <a:cubicBezTo>
                    <a:pt x="64" y="888"/>
                    <a:pt x="67" y="891"/>
                    <a:pt x="66" y="894"/>
                  </a:cubicBezTo>
                  <a:cubicBezTo>
                    <a:pt x="65" y="896"/>
                    <a:pt x="62" y="893"/>
                    <a:pt x="62" y="893"/>
                  </a:cubicBezTo>
                  <a:cubicBezTo>
                    <a:pt x="61" y="897"/>
                    <a:pt x="61" y="897"/>
                    <a:pt x="61" y="897"/>
                  </a:cubicBezTo>
                  <a:cubicBezTo>
                    <a:pt x="65" y="896"/>
                    <a:pt x="65" y="896"/>
                    <a:pt x="65" y="896"/>
                  </a:cubicBezTo>
                  <a:cubicBezTo>
                    <a:pt x="65" y="896"/>
                    <a:pt x="78" y="899"/>
                    <a:pt x="82" y="899"/>
                  </a:cubicBezTo>
                  <a:cubicBezTo>
                    <a:pt x="85" y="899"/>
                    <a:pt x="91" y="895"/>
                    <a:pt x="97" y="893"/>
                  </a:cubicBezTo>
                  <a:cubicBezTo>
                    <a:pt x="103" y="891"/>
                    <a:pt x="106" y="895"/>
                    <a:pt x="106" y="895"/>
                  </a:cubicBezTo>
                  <a:cubicBezTo>
                    <a:pt x="112" y="894"/>
                    <a:pt x="112" y="894"/>
                    <a:pt x="112" y="894"/>
                  </a:cubicBezTo>
                  <a:cubicBezTo>
                    <a:pt x="112" y="894"/>
                    <a:pt x="117" y="885"/>
                    <a:pt x="118" y="880"/>
                  </a:cubicBezTo>
                  <a:cubicBezTo>
                    <a:pt x="119" y="876"/>
                    <a:pt x="111" y="875"/>
                    <a:pt x="111" y="869"/>
                  </a:cubicBezTo>
                  <a:cubicBezTo>
                    <a:pt x="111" y="865"/>
                    <a:pt x="118" y="854"/>
                    <a:pt x="120" y="852"/>
                  </a:cubicBezTo>
                  <a:cubicBezTo>
                    <a:pt x="123" y="851"/>
                    <a:pt x="129" y="855"/>
                    <a:pt x="131" y="854"/>
                  </a:cubicBezTo>
                  <a:cubicBezTo>
                    <a:pt x="133" y="852"/>
                    <a:pt x="129" y="844"/>
                    <a:pt x="129" y="844"/>
                  </a:cubicBezTo>
                  <a:cubicBezTo>
                    <a:pt x="147" y="842"/>
                    <a:pt x="147" y="842"/>
                    <a:pt x="147" y="842"/>
                  </a:cubicBezTo>
                  <a:cubicBezTo>
                    <a:pt x="155" y="844"/>
                    <a:pt x="155" y="844"/>
                    <a:pt x="155" y="844"/>
                  </a:cubicBezTo>
                  <a:cubicBezTo>
                    <a:pt x="161" y="839"/>
                    <a:pt x="161" y="839"/>
                    <a:pt x="161" y="839"/>
                  </a:cubicBezTo>
                  <a:cubicBezTo>
                    <a:pt x="172" y="847"/>
                    <a:pt x="172" y="847"/>
                    <a:pt x="172" y="847"/>
                  </a:cubicBezTo>
                  <a:cubicBezTo>
                    <a:pt x="172" y="847"/>
                    <a:pt x="176" y="838"/>
                    <a:pt x="178" y="837"/>
                  </a:cubicBezTo>
                  <a:cubicBezTo>
                    <a:pt x="179" y="835"/>
                    <a:pt x="181" y="820"/>
                    <a:pt x="181" y="820"/>
                  </a:cubicBezTo>
                  <a:cubicBezTo>
                    <a:pt x="184" y="810"/>
                    <a:pt x="184" y="810"/>
                    <a:pt x="184" y="810"/>
                  </a:cubicBezTo>
                  <a:cubicBezTo>
                    <a:pt x="188" y="807"/>
                    <a:pt x="188" y="807"/>
                    <a:pt x="188" y="807"/>
                  </a:cubicBezTo>
                  <a:cubicBezTo>
                    <a:pt x="192" y="791"/>
                    <a:pt x="192" y="791"/>
                    <a:pt x="192" y="791"/>
                  </a:cubicBezTo>
                  <a:cubicBezTo>
                    <a:pt x="190" y="785"/>
                    <a:pt x="190" y="785"/>
                    <a:pt x="190" y="785"/>
                  </a:cubicBezTo>
                  <a:cubicBezTo>
                    <a:pt x="190" y="785"/>
                    <a:pt x="193" y="784"/>
                    <a:pt x="194" y="781"/>
                  </a:cubicBezTo>
                  <a:cubicBezTo>
                    <a:pt x="195" y="777"/>
                    <a:pt x="191" y="775"/>
                    <a:pt x="191" y="775"/>
                  </a:cubicBezTo>
                  <a:cubicBezTo>
                    <a:pt x="192" y="761"/>
                    <a:pt x="192" y="761"/>
                    <a:pt x="192" y="761"/>
                  </a:cubicBezTo>
                  <a:cubicBezTo>
                    <a:pt x="192" y="761"/>
                    <a:pt x="195" y="762"/>
                    <a:pt x="197" y="756"/>
                  </a:cubicBezTo>
                  <a:cubicBezTo>
                    <a:pt x="200" y="751"/>
                    <a:pt x="191" y="746"/>
                    <a:pt x="191" y="746"/>
                  </a:cubicBezTo>
                  <a:cubicBezTo>
                    <a:pt x="193" y="744"/>
                    <a:pt x="193" y="744"/>
                    <a:pt x="193" y="744"/>
                  </a:cubicBezTo>
                  <a:cubicBezTo>
                    <a:pt x="194" y="735"/>
                    <a:pt x="194" y="735"/>
                    <a:pt x="194" y="735"/>
                  </a:cubicBezTo>
                  <a:cubicBezTo>
                    <a:pt x="192" y="728"/>
                    <a:pt x="192" y="728"/>
                    <a:pt x="192" y="728"/>
                  </a:cubicBezTo>
                  <a:cubicBezTo>
                    <a:pt x="188" y="728"/>
                    <a:pt x="188" y="728"/>
                    <a:pt x="188" y="728"/>
                  </a:cubicBezTo>
                  <a:cubicBezTo>
                    <a:pt x="188" y="728"/>
                    <a:pt x="188" y="726"/>
                    <a:pt x="191" y="725"/>
                  </a:cubicBezTo>
                  <a:cubicBezTo>
                    <a:pt x="195" y="725"/>
                    <a:pt x="198" y="728"/>
                    <a:pt x="198" y="728"/>
                  </a:cubicBezTo>
                  <a:cubicBezTo>
                    <a:pt x="197" y="722"/>
                    <a:pt x="197" y="722"/>
                    <a:pt x="197" y="722"/>
                  </a:cubicBezTo>
                  <a:cubicBezTo>
                    <a:pt x="193" y="720"/>
                    <a:pt x="193" y="720"/>
                    <a:pt x="193" y="720"/>
                  </a:cubicBezTo>
                  <a:cubicBezTo>
                    <a:pt x="196" y="719"/>
                    <a:pt x="196" y="719"/>
                    <a:pt x="196" y="719"/>
                  </a:cubicBezTo>
                  <a:cubicBezTo>
                    <a:pt x="196" y="719"/>
                    <a:pt x="196" y="711"/>
                    <a:pt x="198" y="707"/>
                  </a:cubicBezTo>
                  <a:cubicBezTo>
                    <a:pt x="201" y="703"/>
                    <a:pt x="192" y="698"/>
                    <a:pt x="192" y="698"/>
                  </a:cubicBezTo>
                  <a:cubicBezTo>
                    <a:pt x="195" y="697"/>
                    <a:pt x="195" y="697"/>
                    <a:pt x="195" y="697"/>
                  </a:cubicBezTo>
                  <a:cubicBezTo>
                    <a:pt x="192" y="692"/>
                    <a:pt x="192" y="692"/>
                    <a:pt x="192" y="692"/>
                  </a:cubicBezTo>
                  <a:cubicBezTo>
                    <a:pt x="192" y="692"/>
                    <a:pt x="198" y="694"/>
                    <a:pt x="201" y="687"/>
                  </a:cubicBezTo>
                  <a:cubicBezTo>
                    <a:pt x="204" y="679"/>
                    <a:pt x="183" y="679"/>
                    <a:pt x="183" y="679"/>
                  </a:cubicBezTo>
                  <a:cubicBezTo>
                    <a:pt x="182" y="682"/>
                    <a:pt x="182" y="682"/>
                    <a:pt x="182" y="682"/>
                  </a:cubicBezTo>
                  <a:cubicBezTo>
                    <a:pt x="176" y="681"/>
                    <a:pt x="176" y="681"/>
                    <a:pt x="176" y="681"/>
                  </a:cubicBezTo>
                  <a:cubicBezTo>
                    <a:pt x="176" y="677"/>
                    <a:pt x="176" y="677"/>
                    <a:pt x="176" y="677"/>
                  </a:cubicBezTo>
                  <a:cubicBezTo>
                    <a:pt x="192" y="677"/>
                    <a:pt x="192" y="677"/>
                    <a:pt x="192" y="677"/>
                  </a:cubicBezTo>
                  <a:cubicBezTo>
                    <a:pt x="195" y="677"/>
                    <a:pt x="201" y="680"/>
                    <a:pt x="201" y="680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2" y="668"/>
                    <a:pt x="202" y="668"/>
                    <a:pt x="202" y="668"/>
                  </a:cubicBezTo>
                  <a:cubicBezTo>
                    <a:pt x="208" y="672"/>
                    <a:pt x="208" y="672"/>
                    <a:pt x="208" y="672"/>
                  </a:cubicBezTo>
                  <a:cubicBezTo>
                    <a:pt x="208" y="672"/>
                    <a:pt x="212" y="671"/>
                    <a:pt x="213" y="671"/>
                  </a:cubicBezTo>
                  <a:cubicBezTo>
                    <a:pt x="214" y="671"/>
                    <a:pt x="218" y="666"/>
                    <a:pt x="218" y="666"/>
                  </a:cubicBezTo>
                  <a:cubicBezTo>
                    <a:pt x="218" y="661"/>
                    <a:pt x="218" y="661"/>
                    <a:pt x="218" y="661"/>
                  </a:cubicBezTo>
                  <a:cubicBezTo>
                    <a:pt x="222" y="662"/>
                    <a:pt x="222" y="662"/>
                    <a:pt x="222" y="662"/>
                  </a:cubicBezTo>
                  <a:cubicBezTo>
                    <a:pt x="223" y="647"/>
                    <a:pt x="223" y="647"/>
                    <a:pt x="223" y="647"/>
                  </a:cubicBezTo>
                  <a:cubicBezTo>
                    <a:pt x="226" y="648"/>
                    <a:pt x="226" y="648"/>
                    <a:pt x="226" y="648"/>
                  </a:cubicBezTo>
                  <a:cubicBezTo>
                    <a:pt x="228" y="658"/>
                    <a:pt x="228" y="658"/>
                    <a:pt x="228" y="658"/>
                  </a:cubicBezTo>
                  <a:cubicBezTo>
                    <a:pt x="235" y="659"/>
                    <a:pt x="235" y="659"/>
                    <a:pt x="235" y="659"/>
                  </a:cubicBezTo>
                  <a:cubicBezTo>
                    <a:pt x="237" y="649"/>
                    <a:pt x="237" y="649"/>
                    <a:pt x="237" y="649"/>
                  </a:cubicBezTo>
                  <a:cubicBezTo>
                    <a:pt x="237" y="649"/>
                    <a:pt x="239" y="649"/>
                    <a:pt x="241" y="648"/>
                  </a:cubicBezTo>
                  <a:cubicBezTo>
                    <a:pt x="242" y="647"/>
                    <a:pt x="242" y="643"/>
                    <a:pt x="242" y="643"/>
                  </a:cubicBezTo>
                  <a:cubicBezTo>
                    <a:pt x="246" y="642"/>
                    <a:pt x="246" y="642"/>
                    <a:pt x="246" y="642"/>
                  </a:cubicBezTo>
                  <a:cubicBezTo>
                    <a:pt x="248" y="640"/>
                    <a:pt x="248" y="640"/>
                    <a:pt x="248" y="640"/>
                  </a:cubicBezTo>
                  <a:cubicBezTo>
                    <a:pt x="245" y="639"/>
                    <a:pt x="245" y="639"/>
                    <a:pt x="245" y="639"/>
                  </a:cubicBezTo>
                  <a:cubicBezTo>
                    <a:pt x="243" y="633"/>
                    <a:pt x="243" y="633"/>
                    <a:pt x="243" y="633"/>
                  </a:cubicBezTo>
                  <a:cubicBezTo>
                    <a:pt x="237" y="628"/>
                    <a:pt x="237" y="628"/>
                    <a:pt x="237" y="628"/>
                  </a:cubicBezTo>
                  <a:cubicBezTo>
                    <a:pt x="239" y="625"/>
                    <a:pt x="239" y="625"/>
                    <a:pt x="239" y="625"/>
                  </a:cubicBezTo>
                  <a:cubicBezTo>
                    <a:pt x="244" y="625"/>
                    <a:pt x="244" y="625"/>
                    <a:pt x="244" y="625"/>
                  </a:cubicBezTo>
                  <a:cubicBezTo>
                    <a:pt x="258" y="610"/>
                    <a:pt x="258" y="610"/>
                    <a:pt x="258" y="610"/>
                  </a:cubicBezTo>
                  <a:cubicBezTo>
                    <a:pt x="258" y="607"/>
                    <a:pt x="258" y="607"/>
                    <a:pt x="258" y="607"/>
                  </a:cubicBezTo>
                  <a:cubicBezTo>
                    <a:pt x="266" y="601"/>
                    <a:pt x="266" y="601"/>
                    <a:pt x="266" y="601"/>
                  </a:cubicBezTo>
                  <a:cubicBezTo>
                    <a:pt x="267" y="600"/>
                    <a:pt x="267" y="600"/>
                    <a:pt x="267" y="600"/>
                  </a:cubicBezTo>
                  <a:cubicBezTo>
                    <a:pt x="259" y="600"/>
                    <a:pt x="259" y="600"/>
                    <a:pt x="259" y="600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67" y="592"/>
                    <a:pt x="267" y="592"/>
                    <a:pt x="267" y="592"/>
                  </a:cubicBezTo>
                  <a:cubicBezTo>
                    <a:pt x="261" y="588"/>
                    <a:pt x="261" y="588"/>
                    <a:pt x="261" y="588"/>
                  </a:cubicBezTo>
                  <a:cubicBezTo>
                    <a:pt x="256" y="578"/>
                    <a:pt x="256" y="578"/>
                    <a:pt x="256" y="578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5" y="578"/>
                    <a:pt x="242" y="570"/>
                    <a:pt x="242" y="570"/>
                  </a:cubicBezTo>
                  <a:cubicBezTo>
                    <a:pt x="242" y="566"/>
                    <a:pt x="242" y="566"/>
                    <a:pt x="242" y="566"/>
                  </a:cubicBezTo>
                  <a:cubicBezTo>
                    <a:pt x="241" y="564"/>
                    <a:pt x="241" y="564"/>
                    <a:pt x="241" y="564"/>
                  </a:cubicBezTo>
                  <a:cubicBezTo>
                    <a:pt x="237" y="565"/>
                    <a:pt x="237" y="565"/>
                    <a:pt x="237" y="565"/>
                  </a:cubicBezTo>
                  <a:cubicBezTo>
                    <a:pt x="227" y="554"/>
                    <a:pt x="227" y="554"/>
                    <a:pt x="227" y="554"/>
                  </a:cubicBezTo>
                  <a:cubicBezTo>
                    <a:pt x="227" y="554"/>
                    <a:pt x="228" y="550"/>
                    <a:pt x="225" y="549"/>
                  </a:cubicBezTo>
                  <a:cubicBezTo>
                    <a:pt x="221" y="548"/>
                    <a:pt x="216" y="557"/>
                    <a:pt x="216" y="557"/>
                  </a:cubicBezTo>
                  <a:cubicBezTo>
                    <a:pt x="213" y="552"/>
                    <a:pt x="213" y="552"/>
                    <a:pt x="213" y="552"/>
                  </a:cubicBezTo>
                  <a:cubicBezTo>
                    <a:pt x="213" y="552"/>
                    <a:pt x="215" y="550"/>
                    <a:pt x="213" y="548"/>
                  </a:cubicBezTo>
                  <a:cubicBezTo>
                    <a:pt x="210" y="546"/>
                    <a:pt x="198" y="548"/>
                    <a:pt x="198" y="548"/>
                  </a:cubicBezTo>
                  <a:cubicBezTo>
                    <a:pt x="205" y="541"/>
                    <a:pt x="205" y="541"/>
                    <a:pt x="205" y="541"/>
                  </a:cubicBezTo>
                  <a:cubicBezTo>
                    <a:pt x="200" y="534"/>
                    <a:pt x="200" y="534"/>
                    <a:pt x="200" y="534"/>
                  </a:cubicBezTo>
                  <a:cubicBezTo>
                    <a:pt x="196" y="533"/>
                    <a:pt x="196" y="533"/>
                    <a:pt x="196" y="533"/>
                  </a:cubicBezTo>
                  <a:cubicBezTo>
                    <a:pt x="198" y="525"/>
                    <a:pt x="198" y="525"/>
                    <a:pt x="198" y="525"/>
                  </a:cubicBezTo>
                  <a:cubicBezTo>
                    <a:pt x="196" y="515"/>
                    <a:pt x="196" y="515"/>
                    <a:pt x="196" y="515"/>
                  </a:cubicBezTo>
                  <a:cubicBezTo>
                    <a:pt x="196" y="515"/>
                    <a:pt x="198" y="509"/>
                    <a:pt x="198" y="506"/>
                  </a:cubicBezTo>
                  <a:cubicBezTo>
                    <a:pt x="198" y="504"/>
                    <a:pt x="193" y="502"/>
                    <a:pt x="193" y="502"/>
                  </a:cubicBezTo>
                  <a:cubicBezTo>
                    <a:pt x="195" y="491"/>
                    <a:pt x="195" y="491"/>
                    <a:pt x="195" y="491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6" y="488"/>
                    <a:pt x="196" y="488"/>
                    <a:pt x="196" y="488"/>
                  </a:cubicBezTo>
                  <a:cubicBezTo>
                    <a:pt x="192" y="479"/>
                    <a:pt x="192" y="479"/>
                    <a:pt x="192" y="479"/>
                  </a:cubicBezTo>
                  <a:cubicBezTo>
                    <a:pt x="198" y="483"/>
                    <a:pt x="198" y="483"/>
                    <a:pt x="198" y="483"/>
                  </a:cubicBezTo>
                  <a:cubicBezTo>
                    <a:pt x="201" y="479"/>
                    <a:pt x="201" y="479"/>
                    <a:pt x="201" y="479"/>
                  </a:cubicBezTo>
                  <a:cubicBezTo>
                    <a:pt x="201" y="479"/>
                    <a:pt x="200" y="475"/>
                    <a:pt x="198" y="473"/>
                  </a:cubicBezTo>
                  <a:cubicBezTo>
                    <a:pt x="195" y="472"/>
                    <a:pt x="197" y="464"/>
                    <a:pt x="197" y="464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201" y="450"/>
                    <a:pt x="201" y="450"/>
                    <a:pt x="201" y="450"/>
                  </a:cubicBezTo>
                  <a:cubicBezTo>
                    <a:pt x="206" y="448"/>
                    <a:pt x="206" y="448"/>
                    <a:pt x="206" y="448"/>
                  </a:cubicBezTo>
                  <a:cubicBezTo>
                    <a:pt x="206" y="445"/>
                    <a:pt x="206" y="445"/>
                    <a:pt x="206" y="445"/>
                  </a:cubicBezTo>
                  <a:cubicBezTo>
                    <a:pt x="200" y="445"/>
                    <a:pt x="200" y="445"/>
                    <a:pt x="200" y="445"/>
                  </a:cubicBezTo>
                  <a:cubicBezTo>
                    <a:pt x="199" y="441"/>
                    <a:pt x="199" y="441"/>
                    <a:pt x="199" y="441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196" y="432"/>
                    <a:pt x="196" y="432"/>
                    <a:pt x="196" y="432"/>
                  </a:cubicBezTo>
                  <a:cubicBezTo>
                    <a:pt x="194" y="430"/>
                    <a:pt x="194" y="430"/>
                    <a:pt x="194" y="430"/>
                  </a:cubicBezTo>
                  <a:cubicBezTo>
                    <a:pt x="199" y="428"/>
                    <a:pt x="199" y="428"/>
                    <a:pt x="199" y="428"/>
                  </a:cubicBezTo>
                  <a:cubicBezTo>
                    <a:pt x="202" y="434"/>
                    <a:pt x="202" y="434"/>
                    <a:pt x="202" y="434"/>
                  </a:cubicBezTo>
                  <a:cubicBezTo>
                    <a:pt x="207" y="432"/>
                    <a:pt x="207" y="432"/>
                    <a:pt x="207" y="432"/>
                  </a:cubicBezTo>
                  <a:cubicBezTo>
                    <a:pt x="205" y="430"/>
                    <a:pt x="205" y="430"/>
                    <a:pt x="205" y="430"/>
                  </a:cubicBezTo>
                  <a:cubicBezTo>
                    <a:pt x="207" y="427"/>
                    <a:pt x="207" y="427"/>
                    <a:pt x="207" y="427"/>
                  </a:cubicBezTo>
                  <a:cubicBezTo>
                    <a:pt x="207" y="427"/>
                    <a:pt x="212" y="427"/>
                    <a:pt x="212" y="425"/>
                  </a:cubicBezTo>
                  <a:cubicBezTo>
                    <a:pt x="212" y="418"/>
                    <a:pt x="212" y="418"/>
                    <a:pt x="212" y="418"/>
                  </a:cubicBezTo>
                  <a:cubicBezTo>
                    <a:pt x="213" y="414"/>
                    <a:pt x="213" y="414"/>
                    <a:pt x="213" y="414"/>
                  </a:cubicBezTo>
                  <a:cubicBezTo>
                    <a:pt x="213" y="414"/>
                    <a:pt x="211" y="408"/>
                    <a:pt x="213" y="408"/>
                  </a:cubicBezTo>
                  <a:cubicBezTo>
                    <a:pt x="215" y="407"/>
                    <a:pt x="216" y="410"/>
                    <a:pt x="216" y="410"/>
                  </a:cubicBezTo>
                  <a:cubicBezTo>
                    <a:pt x="221" y="407"/>
                    <a:pt x="221" y="407"/>
                    <a:pt x="221" y="407"/>
                  </a:cubicBezTo>
                  <a:cubicBezTo>
                    <a:pt x="221" y="407"/>
                    <a:pt x="218" y="403"/>
                    <a:pt x="221" y="401"/>
                  </a:cubicBezTo>
                  <a:cubicBezTo>
                    <a:pt x="222" y="400"/>
                    <a:pt x="225" y="405"/>
                    <a:pt x="225" y="405"/>
                  </a:cubicBezTo>
                  <a:cubicBezTo>
                    <a:pt x="229" y="399"/>
                    <a:pt x="229" y="399"/>
                    <a:pt x="229" y="399"/>
                  </a:cubicBezTo>
                  <a:cubicBezTo>
                    <a:pt x="225" y="397"/>
                    <a:pt x="225" y="397"/>
                    <a:pt x="225" y="397"/>
                  </a:cubicBezTo>
                  <a:cubicBezTo>
                    <a:pt x="228" y="396"/>
                    <a:pt x="228" y="396"/>
                    <a:pt x="228" y="396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22" y="395"/>
                    <a:pt x="222" y="395"/>
                    <a:pt x="222" y="395"/>
                  </a:cubicBezTo>
                  <a:cubicBezTo>
                    <a:pt x="226" y="392"/>
                    <a:pt x="226" y="392"/>
                    <a:pt x="226" y="392"/>
                  </a:cubicBezTo>
                  <a:cubicBezTo>
                    <a:pt x="231" y="380"/>
                    <a:pt x="231" y="380"/>
                    <a:pt x="231" y="380"/>
                  </a:cubicBezTo>
                  <a:cubicBezTo>
                    <a:pt x="234" y="380"/>
                    <a:pt x="234" y="380"/>
                    <a:pt x="234" y="380"/>
                  </a:cubicBezTo>
                  <a:cubicBezTo>
                    <a:pt x="239" y="377"/>
                    <a:pt x="239" y="377"/>
                    <a:pt x="239" y="377"/>
                  </a:cubicBezTo>
                  <a:cubicBezTo>
                    <a:pt x="233" y="375"/>
                    <a:pt x="233" y="375"/>
                    <a:pt x="233" y="375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43" y="378"/>
                    <a:pt x="243" y="378"/>
                    <a:pt x="243" y="378"/>
                  </a:cubicBezTo>
                  <a:cubicBezTo>
                    <a:pt x="243" y="378"/>
                    <a:pt x="244" y="374"/>
                    <a:pt x="246" y="371"/>
                  </a:cubicBezTo>
                  <a:cubicBezTo>
                    <a:pt x="248" y="368"/>
                    <a:pt x="249" y="361"/>
                    <a:pt x="249" y="361"/>
                  </a:cubicBezTo>
                  <a:cubicBezTo>
                    <a:pt x="249" y="361"/>
                    <a:pt x="251" y="362"/>
                    <a:pt x="254" y="360"/>
                  </a:cubicBezTo>
                  <a:cubicBezTo>
                    <a:pt x="256" y="359"/>
                    <a:pt x="255" y="353"/>
                    <a:pt x="255" y="35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61" y="363"/>
                    <a:pt x="261" y="363"/>
                    <a:pt x="261" y="363"/>
                  </a:cubicBezTo>
                  <a:cubicBezTo>
                    <a:pt x="263" y="361"/>
                    <a:pt x="263" y="361"/>
                    <a:pt x="263" y="361"/>
                  </a:cubicBezTo>
                  <a:cubicBezTo>
                    <a:pt x="262" y="357"/>
                    <a:pt x="262" y="357"/>
                    <a:pt x="262" y="357"/>
                  </a:cubicBezTo>
                  <a:cubicBezTo>
                    <a:pt x="270" y="348"/>
                    <a:pt x="270" y="348"/>
                    <a:pt x="270" y="34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8" y="344"/>
                    <a:pt x="278" y="344"/>
                    <a:pt x="278" y="344"/>
                  </a:cubicBezTo>
                  <a:cubicBezTo>
                    <a:pt x="278" y="340"/>
                    <a:pt x="278" y="340"/>
                    <a:pt x="278" y="340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1" y="334"/>
                    <a:pt x="281" y="334"/>
                    <a:pt x="281" y="334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0" y="333"/>
                    <a:pt x="290" y="333"/>
                    <a:pt x="290" y="333"/>
                  </a:cubicBezTo>
                  <a:cubicBezTo>
                    <a:pt x="290" y="333"/>
                    <a:pt x="293" y="325"/>
                    <a:pt x="294" y="321"/>
                  </a:cubicBezTo>
                  <a:cubicBezTo>
                    <a:pt x="295" y="318"/>
                    <a:pt x="293" y="313"/>
                    <a:pt x="293" y="313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9" y="302"/>
                    <a:pt x="299" y="302"/>
                    <a:pt x="299" y="3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06" y="288"/>
                    <a:pt x="306" y="288"/>
                    <a:pt x="306" y="288"/>
                  </a:cubicBezTo>
                  <a:cubicBezTo>
                    <a:pt x="304" y="286"/>
                    <a:pt x="304" y="286"/>
                    <a:pt x="304" y="286"/>
                  </a:cubicBezTo>
                  <a:cubicBezTo>
                    <a:pt x="308" y="285"/>
                    <a:pt x="308" y="285"/>
                    <a:pt x="308" y="285"/>
                  </a:cubicBezTo>
                  <a:cubicBezTo>
                    <a:pt x="309" y="283"/>
                    <a:pt x="309" y="283"/>
                    <a:pt x="309" y="283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295" y="277"/>
                    <a:pt x="295" y="277"/>
                    <a:pt x="295" y="277"/>
                  </a:cubicBezTo>
                  <a:cubicBezTo>
                    <a:pt x="298" y="269"/>
                    <a:pt x="298" y="269"/>
                    <a:pt x="298" y="269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98" y="259"/>
                    <a:pt x="298" y="259"/>
                    <a:pt x="298" y="259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3" y="246"/>
                    <a:pt x="293" y="238"/>
                    <a:pt x="295" y="234"/>
                  </a:cubicBezTo>
                  <a:cubicBezTo>
                    <a:pt x="296" y="230"/>
                    <a:pt x="304" y="231"/>
                    <a:pt x="309" y="229"/>
                  </a:cubicBezTo>
                  <a:cubicBezTo>
                    <a:pt x="315" y="226"/>
                    <a:pt x="307" y="221"/>
                    <a:pt x="307" y="221"/>
                  </a:cubicBezTo>
                  <a:cubicBezTo>
                    <a:pt x="313" y="219"/>
                    <a:pt x="313" y="219"/>
                    <a:pt x="313" y="219"/>
                  </a:cubicBezTo>
                  <a:cubicBezTo>
                    <a:pt x="313" y="216"/>
                    <a:pt x="313" y="216"/>
                    <a:pt x="313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5" y="196"/>
                    <a:pt x="315" y="196"/>
                    <a:pt x="315" y="196"/>
                  </a:cubicBezTo>
                  <a:cubicBezTo>
                    <a:pt x="319" y="196"/>
                    <a:pt x="319" y="196"/>
                    <a:pt x="319" y="196"/>
                  </a:cubicBezTo>
                  <a:cubicBezTo>
                    <a:pt x="322" y="201"/>
                    <a:pt x="322" y="201"/>
                    <a:pt x="322" y="201"/>
                  </a:cubicBezTo>
                  <a:cubicBezTo>
                    <a:pt x="326" y="201"/>
                    <a:pt x="326" y="201"/>
                    <a:pt x="326" y="201"/>
                  </a:cubicBezTo>
                  <a:cubicBezTo>
                    <a:pt x="324" y="193"/>
                    <a:pt x="324" y="193"/>
                    <a:pt x="324" y="193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6" y="201"/>
                    <a:pt x="336" y="201"/>
                    <a:pt x="336" y="201"/>
                  </a:cubicBezTo>
                  <a:cubicBezTo>
                    <a:pt x="337" y="205"/>
                    <a:pt x="337" y="205"/>
                    <a:pt x="337" y="205"/>
                  </a:cubicBezTo>
                  <a:cubicBezTo>
                    <a:pt x="340" y="200"/>
                    <a:pt x="340" y="200"/>
                    <a:pt x="340" y="200"/>
                  </a:cubicBezTo>
                  <a:cubicBezTo>
                    <a:pt x="339" y="196"/>
                    <a:pt x="339" y="196"/>
                    <a:pt x="339" y="196"/>
                  </a:cubicBezTo>
                  <a:cubicBezTo>
                    <a:pt x="350" y="196"/>
                    <a:pt x="350" y="196"/>
                    <a:pt x="350" y="196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4" y="188"/>
                  </a:lnTo>
                  <a:close/>
                  <a:moveTo>
                    <a:pt x="14" y="718"/>
                  </a:moveTo>
                  <a:cubicBezTo>
                    <a:pt x="21" y="719"/>
                    <a:pt x="21" y="719"/>
                    <a:pt x="21" y="719"/>
                  </a:cubicBezTo>
                  <a:cubicBezTo>
                    <a:pt x="22" y="712"/>
                    <a:pt x="22" y="712"/>
                    <a:pt x="22" y="712"/>
                  </a:cubicBezTo>
                  <a:cubicBezTo>
                    <a:pt x="19" y="709"/>
                    <a:pt x="19" y="709"/>
                    <a:pt x="19" y="709"/>
                  </a:cubicBezTo>
                  <a:cubicBezTo>
                    <a:pt x="17" y="712"/>
                    <a:pt x="17" y="712"/>
                    <a:pt x="17" y="712"/>
                  </a:cubicBezTo>
                  <a:cubicBezTo>
                    <a:pt x="16" y="712"/>
                    <a:pt x="16" y="712"/>
                    <a:pt x="16" y="712"/>
                  </a:cubicBezTo>
                  <a:cubicBezTo>
                    <a:pt x="8" y="720"/>
                    <a:pt x="8" y="720"/>
                    <a:pt x="8" y="720"/>
                  </a:cubicBezTo>
                  <a:cubicBezTo>
                    <a:pt x="14" y="721"/>
                    <a:pt x="14" y="721"/>
                    <a:pt x="14" y="721"/>
                  </a:cubicBezTo>
                  <a:lnTo>
                    <a:pt x="14" y="718"/>
                  </a:lnTo>
                  <a:close/>
                  <a:moveTo>
                    <a:pt x="20" y="727"/>
                  </a:moveTo>
                  <a:cubicBezTo>
                    <a:pt x="19" y="723"/>
                    <a:pt x="19" y="723"/>
                    <a:pt x="19" y="723"/>
                  </a:cubicBezTo>
                  <a:cubicBezTo>
                    <a:pt x="11" y="725"/>
                    <a:pt x="11" y="725"/>
                    <a:pt x="11" y="725"/>
                  </a:cubicBezTo>
                  <a:cubicBezTo>
                    <a:pt x="13" y="728"/>
                    <a:pt x="13" y="728"/>
                    <a:pt x="13" y="728"/>
                  </a:cubicBezTo>
                  <a:cubicBezTo>
                    <a:pt x="13" y="730"/>
                    <a:pt x="13" y="730"/>
                    <a:pt x="13" y="730"/>
                  </a:cubicBezTo>
                  <a:cubicBezTo>
                    <a:pt x="16" y="730"/>
                    <a:pt x="16" y="730"/>
                    <a:pt x="16" y="730"/>
                  </a:cubicBezTo>
                  <a:cubicBezTo>
                    <a:pt x="17" y="727"/>
                    <a:pt x="17" y="727"/>
                    <a:pt x="17" y="727"/>
                  </a:cubicBezTo>
                  <a:lnTo>
                    <a:pt x="20" y="727"/>
                  </a:lnTo>
                  <a:close/>
                  <a:moveTo>
                    <a:pt x="211" y="760"/>
                  </a:moveTo>
                  <a:cubicBezTo>
                    <a:pt x="207" y="765"/>
                    <a:pt x="207" y="765"/>
                    <a:pt x="207" y="765"/>
                  </a:cubicBezTo>
                  <a:cubicBezTo>
                    <a:pt x="208" y="771"/>
                    <a:pt x="208" y="771"/>
                    <a:pt x="208" y="771"/>
                  </a:cubicBezTo>
                  <a:cubicBezTo>
                    <a:pt x="207" y="771"/>
                    <a:pt x="207" y="771"/>
                    <a:pt x="207" y="771"/>
                  </a:cubicBezTo>
                  <a:cubicBezTo>
                    <a:pt x="207" y="773"/>
                    <a:pt x="207" y="773"/>
                    <a:pt x="207" y="773"/>
                  </a:cubicBezTo>
                  <a:cubicBezTo>
                    <a:pt x="205" y="783"/>
                    <a:pt x="205" y="783"/>
                    <a:pt x="205" y="783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0" y="792"/>
                    <a:pt x="200" y="792"/>
                    <a:pt x="200" y="792"/>
                  </a:cubicBezTo>
                  <a:cubicBezTo>
                    <a:pt x="198" y="792"/>
                    <a:pt x="198" y="792"/>
                    <a:pt x="198" y="792"/>
                  </a:cubicBezTo>
                  <a:cubicBezTo>
                    <a:pt x="198" y="792"/>
                    <a:pt x="195" y="797"/>
                    <a:pt x="194" y="801"/>
                  </a:cubicBezTo>
                  <a:cubicBezTo>
                    <a:pt x="193" y="804"/>
                    <a:pt x="194" y="807"/>
                    <a:pt x="193" y="808"/>
                  </a:cubicBezTo>
                  <a:cubicBezTo>
                    <a:pt x="193" y="810"/>
                    <a:pt x="190" y="812"/>
                    <a:pt x="190" y="816"/>
                  </a:cubicBezTo>
                  <a:cubicBezTo>
                    <a:pt x="190" y="821"/>
                    <a:pt x="190" y="821"/>
                    <a:pt x="190" y="821"/>
                  </a:cubicBezTo>
                  <a:cubicBezTo>
                    <a:pt x="193" y="823"/>
                    <a:pt x="193" y="823"/>
                    <a:pt x="193" y="823"/>
                  </a:cubicBezTo>
                  <a:cubicBezTo>
                    <a:pt x="192" y="836"/>
                    <a:pt x="192" y="836"/>
                    <a:pt x="192" y="836"/>
                  </a:cubicBezTo>
                  <a:cubicBezTo>
                    <a:pt x="192" y="836"/>
                    <a:pt x="196" y="833"/>
                    <a:pt x="197" y="830"/>
                  </a:cubicBezTo>
                  <a:cubicBezTo>
                    <a:pt x="198" y="825"/>
                    <a:pt x="197" y="824"/>
                    <a:pt x="197" y="822"/>
                  </a:cubicBezTo>
                  <a:cubicBezTo>
                    <a:pt x="197" y="820"/>
                    <a:pt x="199" y="817"/>
                    <a:pt x="200" y="815"/>
                  </a:cubicBezTo>
                  <a:cubicBezTo>
                    <a:pt x="201" y="813"/>
                    <a:pt x="200" y="807"/>
                    <a:pt x="200" y="807"/>
                  </a:cubicBezTo>
                  <a:cubicBezTo>
                    <a:pt x="204" y="796"/>
                    <a:pt x="204" y="796"/>
                    <a:pt x="204" y="796"/>
                  </a:cubicBezTo>
                  <a:cubicBezTo>
                    <a:pt x="206" y="796"/>
                    <a:pt x="206" y="796"/>
                    <a:pt x="206" y="796"/>
                  </a:cubicBezTo>
                  <a:cubicBezTo>
                    <a:pt x="208" y="788"/>
                    <a:pt x="208" y="788"/>
                    <a:pt x="208" y="788"/>
                  </a:cubicBezTo>
                  <a:cubicBezTo>
                    <a:pt x="207" y="785"/>
                    <a:pt x="207" y="785"/>
                    <a:pt x="207" y="785"/>
                  </a:cubicBezTo>
                  <a:cubicBezTo>
                    <a:pt x="209" y="783"/>
                    <a:pt x="209" y="783"/>
                    <a:pt x="209" y="783"/>
                  </a:cubicBezTo>
                  <a:cubicBezTo>
                    <a:pt x="208" y="782"/>
                    <a:pt x="208" y="782"/>
                    <a:pt x="208" y="782"/>
                  </a:cubicBezTo>
                  <a:cubicBezTo>
                    <a:pt x="210" y="779"/>
                    <a:pt x="210" y="779"/>
                    <a:pt x="210" y="779"/>
                  </a:cubicBezTo>
                  <a:cubicBezTo>
                    <a:pt x="209" y="777"/>
                    <a:pt x="209" y="777"/>
                    <a:pt x="209" y="777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4" y="763"/>
                    <a:pt x="214" y="763"/>
                    <a:pt x="214" y="763"/>
                  </a:cubicBezTo>
                  <a:lnTo>
                    <a:pt x="211" y="760"/>
                  </a:lnTo>
                  <a:close/>
                  <a:moveTo>
                    <a:pt x="277" y="731"/>
                  </a:moveTo>
                  <a:cubicBezTo>
                    <a:pt x="281" y="724"/>
                    <a:pt x="281" y="724"/>
                    <a:pt x="281" y="724"/>
                  </a:cubicBezTo>
                  <a:cubicBezTo>
                    <a:pt x="278" y="718"/>
                    <a:pt x="278" y="718"/>
                    <a:pt x="278" y="718"/>
                  </a:cubicBezTo>
                  <a:cubicBezTo>
                    <a:pt x="272" y="719"/>
                    <a:pt x="272" y="719"/>
                    <a:pt x="272" y="719"/>
                  </a:cubicBezTo>
                  <a:cubicBezTo>
                    <a:pt x="270" y="724"/>
                    <a:pt x="270" y="724"/>
                    <a:pt x="270" y="724"/>
                  </a:cubicBezTo>
                  <a:cubicBezTo>
                    <a:pt x="270" y="719"/>
                    <a:pt x="270" y="719"/>
                    <a:pt x="270" y="719"/>
                  </a:cubicBezTo>
                  <a:cubicBezTo>
                    <a:pt x="270" y="719"/>
                    <a:pt x="267" y="719"/>
                    <a:pt x="266" y="720"/>
                  </a:cubicBezTo>
                  <a:cubicBezTo>
                    <a:pt x="264" y="721"/>
                    <a:pt x="263" y="724"/>
                    <a:pt x="263" y="724"/>
                  </a:cubicBezTo>
                  <a:cubicBezTo>
                    <a:pt x="263" y="724"/>
                    <a:pt x="262" y="723"/>
                    <a:pt x="259" y="726"/>
                  </a:cubicBezTo>
                  <a:cubicBezTo>
                    <a:pt x="257" y="729"/>
                    <a:pt x="253" y="739"/>
                    <a:pt x="253" y="739"/>
                  </a:cubicBezTo>
                  <a:cubicBezTo>
                    <a:pt x="253" y="739"/>
                    <a:pt x="248" y="741"/>
                    <a:pt x="248" y="746"/>
                  </a:cubicBezTo>
                  <a:cubicBezTo>
                    <a:pt x="247" y="753"/>
                    <a:pt x="253" y="753"/>
                    <a:pt x="253" y="757"/>
                  </a:cubicBezTo>
                  <a:cubicBezTo>
                    <a:pt x="251" y="762"/>
                    <a:pt x="249" y="763"/>
                    <a:pt x="249" y="763"/>
                  </a:cubicBezTo>
                  <a:cubicBezTo>
                    <a:pt x="251" y="765"/>
                    <a:pt x="251" y="765"/>
                    <a:pt x="251" y="765"/>
                  </a:cubicBezTo>
                  <a:cubicBezTo>
                    <a:pt x="251" y="772"/>
                    <a:pt x="251" y="772"/>
                    <a:pt x="251" y="772"/>
                  </a:cubicBezTo>
                  <a:cubicBezTo>
                    <a:pt x="254" y="773"/>
                    <a:pt x="254" y="773"/>
                    <a:pt x="254" y="773"/>
                  </a:cubicBezTo>
                  <a:cubicBezTo>
                    <a:pt x="254" y="776"/>
                    <a:pt x="254" y="776"/>
                    <a:pt x="254" y="776"/>
                  </a:cubicBezTo>
                  <a:cubicBezTo>
                    <a:pt x="254" y="776"/>
                    <a:pt x="257" y="775"/>
                    <a:pt x="257" y="776"/>
                  </a:cubicBezTo>
                  <a:cubicBezTo>
                    <a:pt x="257" y="777"/>
                    <a:pt x="255" y="778"/>
                    <a:pt x="255" y="778"/>
                  </a:cubicBezTo>
                  <a:cubicBezTo>
                    <a:pt x="255" y="782"/>
                    <a:pt x="255" y="782"/>
                    <a:pt x="255" y="782"/>
                  </a:cubicBezTo>
                  <a:cubicBezTo>
                    <a:pt x="255" y="783"/>
                    <a:pt x="253" y="787"/>
                    <a:pt x="253" y="787"/>
                  </a:cubicBezTo>
                  <a:cubicBezTo>
                    <a:pt x="258" y="785"/>
                    <a:pt x="258" y="785"/>
                    <a:pt x="258" y="785"/>
                  </a:cubicBezTo>
                  <a:cubicBezTo>
                    <a:pt x="261" y="779"/>
                    <a:pt x="261" y="779"/>
                    <a:pt x="261" y="779"/>
                  </a:cubicBezTo>
                  <a:cubicBezTo>
                    <a:pt x="260" y="779"/>
                    <a:pt x="260" y="779"/>
                    <a:pt x="260" y="779"/>
                  </a:cubicBezTo>
                  <a:cubicBezTo>
                    <a:pt x="261" y="774"/>
                    <a:pt x="261" y="774"/>
                    <a:pt x="261" y="774"/>
                  </a:cubicBezTo>
                  <a:cubicBezTo>
                    <a:pt x="262" y="772"/>
                    <a:pt x="262" y="772"/>
                    <a:pt x="262" y="772"/>
                  </a:cubicBezTo>
                  <a:cubicBezTo>
                    <a:pt x="261" y="772"/>
                    <a:pt x="261" y="772"/>
                    <a:pt x="261" y="772"/>
                  </a:cubicBezTo>
                  <a:cubicBezTo>
                    <a:pt x="266" y="766"/>
                    <a:pt x="266" y="766"/>
                    <a:pt x="266" y="766"/>
                  </a:cubicBezTo>
                  <a:cubicBezTo>
                    <a:pt x="271" y="763"/>
                    <a:pt x="271" y="763"/>
                    <a:pt x="271" y="763"/>
                  </a:cubicBezTo>
                  <a:cubicBezTo>
                    <a:pt x="271" y="758"/>
                    <a:pt x="271" y="758"/>
                    <a:pt x="271" y="758"/>
                  </a:cubicBezTo>
                  <a:cubicBezTo>
                    <a:pt x="277" y="750"/>
                    <a:pt x="277" y="750"/>
                    <a:pt x="277" y="750"/>
                  </a:cubicBezTo>
                  <a:cubicBezTo>
                    <a:pt x="274" y="750"/>
                    <a:pt x="274" y="750"/>
                    <a:pt x="274" y="750"/>
                  </a:cubicBezTo>
                  <a:cubicBezTo>
                    <a:pt x="271" y="746"/>
                    <a:pt x="271" y="746"/>
                    <a:pt x="271" y="746"/>
                  </a:cubicBezTo>
                  <a:cubicBezTo>
                    <a:pt x="271" y="746"/>
                    <a:pt x="273" y="743"/>
                    <a:pt x="274" y="740"/>
                  </a:cubicBezTo>
                  <a:cubicBezTo>
                    <a:pt x="274" y="738"/>
                    <a:pt x="271" y="735"/>
                    <a:pt x="271" y="735"/>
                  </a:cubicBezTo>
                  <a:cubicBezTo>
                    <a:pt x="272" y="730"/>
                    <a:pt x="272" y="730"/>
                    <a:pt x="272" y="730"/>
                  </a:cubicBezTo>
                  <a:lnTo>
                    <a:pt x="277" y="731"/>
                  </a:lnTo>
                  <a:close/>
                  <a:moveTo>
                    <a:pt x="280" y="719"/>
                  </a:moveTo>
                  <a:cubicBezTo>
                    <a:pt x="282" y="721"/>
                    <a:pt x="282" y="721"/>
                    <a:pt x="282" y="721"/>
                  </a:cubicBezTo>
                  <a:cubicBezTo>
                    <a:pt x="286" y="711"/>
                    <a:pt x="286" y="711"/>
                    <a:pt x="286" y="711"/>
                  </a:cubicBezTo>
                  <a:cubicBezTo>
                    <a:pt x="281" y="712"/>
                    <a:pt x="281" y="712"/>
                    <a:pt x="281" y="712"/>
                  </a:cubicBezTo>
                  <a:lnTo>
                    <a:pt x="280" y="719"/>
                  </a:lnTo>
                  <a:close/>
                  <a:moveTo>
                    <a:pt x="286" y="715"/>
                  </a:moveTo>
                  <a:cubicBezTo>
                    <a:pt x="290" y="715"/>
                    <a:pt x="290" y="715"/>
                    <a:pt x="290" y="715"/>
                  </a:cubicBezTo>
                  <a:cubicBezTo>
                    <a:pt x="291" y="712"/>
                    <a:pt x="291" y="712"/>
                    <a:pt x="291" y="712"/>
                  </a:cubicBezTo>
                  <a:cubicBezTo>
                    <a:pt x="288" y="712"/>
                    <a:pt x="288" y="712"/>
                    <a:pt x="288" y="712"/>
                  </a:cubicBezTo>
                  <a:lnTo>
                    <a:pt x="286" y="715"/>
                  </a:lnTo>
                  <a:close/>
                  <a:moveTo>
                    <a:pt x="282" y="691"/>
                  </a:moveTo>
                  <a:cubicBezTo>
                    <a:pt x="287" y="688"/>
                    <a:pt x="287" y="688"/>
                    <a:pt x="287" y="688"/>
                  </a:cubicBezTo>
                  <a:cubicBezTo>
                    <a:pt x="280" y="684"/>
                    <a:pt x="280" y="684"/>
                    <a:pt x="280" y="684"/>
                  </a:cubicBezTo>
                  <a:cubicBezTo>
                    <a:pt x="281" y="689"/>
                    <a:pt x="281" y="689"/>
                    <a:pt x="281" y="689"/>
                  </a:cubicBezTo>
                  <a:lnTo>
                    <a:pt x="282" y="691"/>
                  </a:lnTo>
                  <a:close/>
                  <a:moveTo>
                    <a:pt x="243" y="630"/>
                  </a:moveTo>
                  <a:cubicBezTo>
                    <a:pt x="255" y="631"/>
                    <a:pt x="255" y="631"/>
                    <a:pt x="255" y="631"/>
                  </a:cubicBezTo>
                  <a:cubicBezTo>
                    <a:pt x="256" y="630"/>
                    <a:pt x="256" y="630"/>
                    <a:pt x="256" y="630"/>
                  </a:cubicBezTo>
                  <a:cubicBezTo>
                    <a:pt x="254" y="626"/>
                    <a:pt x="254" y="626"/>
                    <a:pt x="254" y="626"/>
                  </a:cubicBezTo>
                  <a:cubicBezTo>
                    <a:pt x="251" y="625"/>
                    <a:pt x="251" y="625"/>
                    <a:pt x="251" y="625"/>
                  </a:cubicBezTo>
                  <a:cubicBezTo>
                    <a:pt x="248" y="626"/>
                    <a:pt x="248" y="626"/>
                    <a:pt x="248" y="626"/>
                  </a:cubicBezTo>
                  <a:cubicBezTo>
                    <a:pt x="249" y="628"/>
                    <a:pt x="249" y="628"/>
                    <a:pt x="249" y="628"/>
                  </a:cubicBezTo>
                  <a:cubicBezTo>
                    <a:pt x="243" y="628"/>
                    <a:pt x="243" y="628"/>
                    <a:pt x="243" y="628"/>
                  </a:cubicBezTo>
                  <a:lnTo>
                    <a:pt x="243" y="630"/>
                  </a:lnTo>
                  <a:close/>
                  <a:moveTo>
                    <a:pt x="254" y="615"/>
                  </a:moveTo>
                  <a:cubicBezTo>
                    <a:pt x="253" y="620"/>
                    <a:pt x="253" y="620"/>
                    <a:pt x="253" y="620"/>
                  </a:cubicBezTo>
                  <a:cubicBezTo>
                    <a:pt x="258" y="617"/>
                    <a:pt x="258" y="617"/>
                    <a:pt x="258" y="617"/>
                  </a:cubicBezTo>
                  <a:lnTo>
                    <a:pt x="254" y="615"/>
                  </a:lnTo>
                  <a:close/>
                  <a:moveTo>
                    <a:pt x="266" y="610"/>
                  </a:moveTo>
                  <a:cubicBezTo>
                    <a:pt x="265" y="607"/>
                    <a:pt x="265" y="607"/>
                    <a:pt x="265" y="607"/>
                  </a:cubicBezTo>
                  <a:cubicBezTo>
                    <a:pt x="259" y="610"/>
                    <a:pt x="259" y="610"/>
                    <a:pt x="259" y="610"/>
                  </a:cubicBezTo>
                  <a:cubicBezTo>
                    <a:pt x="262" y="612"/>
                    <a:pt x="262" y="612"/>
                    <a:pt x="262" y="612"/>
                  </a:cubicBezTo>
                  <a:lnTo>
                    <a:pt x="266" y="610"/>
                  </a:lnTo>
                  <a:close/>
                  <a:moveTo>
                    <a:pt x="258" y="630"/>
                  </a:moveTo>
                  <a:cubicBezTo>
                    <a:pt x="261" y="629"/>
                    <a:pt x="261" y="629"/>
                    <a:pt x="261" y="629"/>
                  </a:cubicBezTo>
                  <a:cubicBezTo>
                    <a:pt x="258" y="626"/>
                    <a:pt x="258" y="626"/>
                    <a:pt x="258" y="626"/>
                  </a:cubicBezTo>
                  <a:lnTo>
                    <a:pt x="258" y="630"/>
                  </a:lnTo>
                  <a:close/>
                  <a:moveTo>
                    <a:pt x="249" y="651"/>
                  </a:moveTo>
                  <a:cubicBezTo>
                    <a:pt x="253" y="644"/>
                    <a:pt x="253" y="644"/>
                    <a:pt x="253" y="644"/>
                  </a:cubicBezTo>
                  <a:cubicBezTo>
                    <a:pt x="250" y="643"/>
                    <a:pt x="250" y="643"/>
                    <a:pt x="250" y="643"/>
                  </a:cubicBezTo>
                  <a:cubicBezTo>
                    <a:pt x="246" y="649"/>
                    <a:pt x="246" y="649"/>
                    <a:pt x="246" y="649"/>
                  </a:cubicBezTo>
                  <a:lnTo>
                    <a:pt x="249" y="651"/>
                  </a:lnTo>
                  <a:close/>
                  <a:moveTo>
                    <a:pt x="245" y="653"/>
                  </a:moveTo>
                  <a:cubicBezTo>
                    <a:pt x="244" y="656"/>
                    <a:pt x="245" y="658"/>
                    <a:pt x="247" y="656"/>
                  </a:cubicBezTo>
                  <a:cubicBezTo>
                    <a:pt x="249" y="653"/>
                    <a:pt x="246" y="651"/>
                    <a:pt x="245" y="653"/>
                  </a:cubicBezTo>
                  <a:close/>
                  <a:moveTo>
                    <a:pt x="238" y="652"/>
                  </a:moveTo>
                  <a:cubicBezTo>
                    <a:pt x="241" y="653"/>
                    <a:pt x="241" y="653"/>
                    <a:pt x="241" y="653"/>
                  </a:cubicBezTo>
                  <a:cubicBezTo>
                    <a:pt x="243" y="649"/>
                    <a:pt x="243" y="649"/>
                    <a:pt x="243" y="649"/>
                  </a:cubicBezTo>
                  <a:cubicBezTo>
                    <a:pt x="242" y="649"/>
                    <a:pt x="242" y="649"/>
                    <a:pt x="242" y="649"/>
                  </a:cubicBezTo>
                  <a:lnTo>
                    <a:pt x="238" y="652"/>
                  </a:lnTo>
                  <a:close/>
                  <a:moveTo>
                    <a:pt x="251" y="632"/>
                  </a:moveTo>
                  <a:cubicBezTo>
                    <a:pt x="249" y="633"/>
                    <a:pt x="249" y="633"/>
                    <a:pt x="249" y="633"/>
                  </a:cubicBezTo>
                  <a:cubicBezTo>
                    <a:pt x="246" y="635"/>
                    <a:pt x="246" y="635"/>
                    <a:pt x="246" y="635"/>
                  </a:cubicBezTo>
                  <a:cubicBezTo>
                    <a:pt x="251" y="636"/>
                    <a:pt x="251" y="636"/>
                    <a:pt x="251" y="636"/>
                  </a:cubicBezTo>
                  <a:lnTo>
                    <a:pt x="251" y="632"/>
                  </a:lnTo>
                  <a:close/>
                  <a:moveTo>
                    <a:pt x="229" y="662"/>
                  </a:moveTo>
                  <a:cubicBezTo>
                    <a:pt x="229" y="664"/>
                    <a:pt x="229" y="664"/>
                    <a:pt x="229" y="664"/>
                  </a:cubicBezTo>
                  <a:cubicBezTo>
                    <a:pt x="232" y="666"/>
                    <a:pt x="232" y="666"/>
                    <a:pt x="232" y="666"/>
                  </a:cubicBezTo>
                  <a:cubicBezTo>
                    <a:pt x="231" y="661"/>
                    <a:pt x="231" y="661"/>
                    <a:pt x="231" y="661"/>
                  </a:cubicBezTo>
                  <a:lnTo>
                    <a:pt x="229" y="662"/>
                  </a:lnTo>
                  <a:close/>
                  <a:moveTo>
                    <a:pt x="246" y="562"/>
                  </a:moveTo>
                  <a:cubicBezTo>
                    <a:pt x="244" y="562"/>
                    <a:pt x="244" y="562"/>
                    <a:pt x="244" y="562"/>
                  </a:cubicBezTo>
                  <a:cubicBezTo>
                    <a:pt x="243" y="558"/>
                    <a:pt x="243" y="558"/>
                    <a:pt x="243" y="558"/>
                  </a:cubicBezTo>
                  <a:cubicBezTo>
                    <a:pt x="241" y="554"/>
                    <a:pt x="241" y="554"/>
                    <a:pt x="241" y="554"/>
                  </a:cubicBezTo>
                  <a:cubicBezTo>
                    <a:pt x="240" y="554"/>
                    <a:pt x="240" y="554"/>
                    <a:pt x="240" y="554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6" y="567"/>
                    <a:pt x="246" y="567"/>
                    <a:pt x="246" y="567"/>
                  </a:cubicBezTo>
                  <a:lnTo>
                    <a:pt x="246" y="562"/>
                  </a:lnTo>
                  <a:close/>
                  <a:moveTo>
                    <a:pt x="245" y="571"/>
                  </a:moveTo>
                  <a:cubicBezTo>
                    <a:pt x="248" y="572"/>
                    <a:pt x="249" y="569"/>
                    <a:pt x="246" y="569"/>
                  </a:cubicBezTo>
                  <a:cubicBezTo>
                    <a:pt x="243" y="569"/>
                    <a:pt x="243" y="571"/>
                    <a:pt x="245" y="571"/>
                  </a:cubicBezTo>
                  <a:close/>
                  <a:moveTo>
                    <a:pt x="253" y="571"/>
                  </a:moveTo>
                  <a:cubicBezTo>
                    <a:pt x="250" y="571"/>
                    <a:pt x="250" y="574"/>
                    <a:pt x="253" y="576"/>
                  </a:cubicBezTo>
                  <a:cubicBezTo>
                    <a:pt x="255" y="577"/>
                    <a:pt x="256" y="576"/>
                    <a:pt x="256" y="573"/>
                  </a:cubicBezTo>
                  <a:cubicBezTo>
                    <a:pt x="255" y="571"/>
                    <a:pt x="254" y="571"/>
                    <a:pt x="253" y="571"/>
                  </a:cubicBezTo>
                  <a:close/>
                  <a:moveTo>
                    <a:pt x="200" y="696"/>
                  </a:moveTo>
                  <a:cubicBezTo>
                    <a:pt x="199" y="693"/>
                    <a:pt x="199" y="693"/>
                    <a:pt x="199" y="693"/>
                  </a:cubicBezTo>
                  <a:cubicBezTo>
                    <a:pt x="198" y="693"/>
                    <a:pt x="198" y="693"/>
                    <a:pt x="198" y="69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202" y="698"/>
                    <a:pt x="202" y="698"/>
                    <a:pt x="202" y="698"/>
                  </a:cubicBezTo>
                  <a:lnTo>
                    <a:pt x="200" y="696"/>
                  </a:lnTo>
                  <a:close/>
                  <a:moveTo>
                    <a:pt x="198" y="739"/>
                  </a:moveTo>
                  <a:cubicBezTo>
                    <a:pt x="195" y="736"/>
                    <a:pt x="195" y="736"/>
                    <a:pt x="195" y="736"/>
                  </a:cubicBezTo>
                  <a:cubicBezTo>
                    <a:pt x="195" y="740"/>
                    <a:pt x="195" y="740"/>
                    <a:pt x="195" y="740"/>
                  </a:cubicBezTo>
                  <a:lnTo>
                    <a:pt x="198" y="739"/>
                  </a:lnTo>
                  <a:close/>
                  <a:moveTo>
                    <a:pt x="266" y="598"/>
                  </a:moveTo>
                  <a:cubicBezTo>
                    <a:pt x="263" y="596"/>
                    <a:pt x="263" y="596"/>
                    <a:pt x="263" y="596"/>
                  </a:cubicBezTo>
                  <a:cubicBezTo>
                    <a:pt x="261" y="598"/>
                    <a:pt x="261" y="598"/>
                    <a:pt x="261" y="598"/>
                  </a:cubicBezTo>
                  <a:lnTo>
                    <a:pt x="266" y="598"/>
                  </a:lnTo>
                  <a:close/>
                  <a:moveTo>
                    <a:pt x="205" y="485"/>
                  </a:moveTo>
                  <a:cubicBezTo>
                    <a:pt x="206" y="482"/>
                    <a:pt x="206" y="482"/>
                    <a:pt x="206" y="482"/>
                  </a:cubicBezTo>
                  <a:cubicBezTo>
                    <a:pt x="202" y="479"/>
                    <a:pt x="202" y="479"/>
                    <a:pt x="202" y="479"/>
                  </a:cubicBezTo>
                  <a:cubicBezTo>
                    <a:pt x="200" y="482"/>
                    <a:pt x="200" y="482"/>
                    <a:pt x="200" y="482"/>
                  </a:cubicBezTo>
                  <a:lnTo>
                    <a:pt x="205" y="485"/>
                  </a:lnTo>
                  <a:close/>
                  <a:moveTo>
                    <a:pt x="199" y="439"/>
                  </a:moveTo>
                  <a:cubicBezTo>
                    <a:pt x="201" y="439"/>
                    <a:pt x="201" y="439"/>
                    <a:pt x="201" y="439"/>
                  </a:cubicBezTo>
                  <a:cubicBezTo>
                    <a:pt x="200" y="432"/>
                    <a:pt x="200" y="432"/>
                    <a:pt x="200" y="432"/>
                  </a:cubicBezTo>
                  <a:cubicBezTo>
                    <a:pt x="198" y="431"/>
                    <a:pt x="198" y="431"/>
                    <a:pt x="198" y="431"/>
                  </a:cubicBezTo>
                  <a:lnTo>
                    <a:pt x="199" y="439"/>
                  </a:lnTo>
                  <a:close/>
                  <a:moveTo>
                    <a:pt x="217" y="421"/>
                  </a:moveTo>
                  <a:cubicBezTo>
                    <a:pt x="216" y="419"/>
                    <a:pt x="216" y="419"/>
                    <a:pt x="216" y="419"/>
                  </a:cubicBezTo>
                  <a:cubicBezTo>
                    <a:pt x="214" y="419"/>
                    <a:pt x="214" y="419"/>
                    <a:pt x="214" y="419"/>
                  </a:cubicBezTo>
                  <a:cubicBezTo>
                    <a:pt x="214" y="421"/>
                    <a:pt x="214" y="421"/>
                    <a:pt x="214" y="421"/>
                  </a:cubicBezTo>
                  <a:cubicBezTo>
                    <a:pt x="214" y="425"/>
                    <a:pt x="214" y="425"/>
                    <a:pt x="214" y="425"/>
                  </a:cubicBezTo>
                  <a:lnTo>
                    <a:pt x="217" y="421"/>
                  </a:lnTo>
                  <a:close/>
                  <a:moveTo>
                    <a:pt x="220" y="411"/>
                  </a:moveTo>
                  <a:cubicBezTo>
                    <a:pt x="215" y="412"/>
                    <a:pt x="214" y="415"/>
                    <a:pt x="216" y="416"/>
                  </a:cubicBezTo>
                  <a:cubicBezTo>
                    <a:pt x="220" y="418"/>
                    <a:pt x="223" y="411"/>
                    <a:pt x="220" y="411"/>
                  </a:cubicBezTo>
                  <a:close/>
                  <a:moveTo>
                    <a:pt x="234" y="392"/>
                  </a:moveTo>
                  <a:cubicBezTo>
                    <a:pt x="232" y="384"/>
                    <a:pt x="232" y="384"/>
                    <a:pt x="232" y="384"/>
                  </a:cubicBezTo>
                  <a:cubicBezTo>
                    <a:pt x="231" y="393"/>
                    <a:pt x="231" y="393"/>
                    <a:pt x="231" y="393"/>
                  </a:cubicBezTo>
                  <a:lnTo>
                    <a:pt x="234" y="392"/>
                  </a:lnTo>
                  <a:close/>
                  <a:moveTo>
                    <a:pt x="294" y="340"/>
                  </a:moveTo>
                  <a:cubicBezTo>
                    <a:pt x="294" y="343"/>
                    <a:pt x="294" y="343"/>
                    <a:pt x="294" y="343"/>
                  </a:cubicBezTo>
                  <a:cubicBezTo>
                    <a:pt x="297" y="342"/>
                    <a:pt x="297" y="342"/>
                    <a:pt x="297" y="342"/>
                  </a:cubicBezTo>
                  <a:cubicBezTo>
                    <a:pt x="296" y="336"/>
                    <a:pt x="296" y="336"/>
                    <a:pt x="296" y="336"/>
                  </a:cubicBezTo>
                  <a:lnTo>
                    <a:pt x="294" y="340"/>
                  </a:lnTo>
                  <a:close/>
                  <a:moveTo>
                    <a:pt x="293" y="335"/>
                  </a:moveTo>
                  <a:cubicBezTo>
                    <a:pt x="290" y="340"/>
                    <a:pt x="294" y="336"/>
                    <a:pt x="294" y="336"/>
                  </a:cubicBezTo>
                  <a:cubicBezTo>
                    <a:pt x="296" y="333"/>
                    <a:pt x="295" y="331"/>
                    <a:pt x="293" y="335"/>
                  </a:cubicBezTo>
                  <a:close/>
                  <a:moveTo>
                    <a:pt x="298" y="236"/>
                  </a:moveTo>
                  <a:cubicBezTo>
                    <a:pt x="300" y="240"/>
                    <a:pt x="300" y="240"/>
                    <a:pt x="300" y="240"/>
                  </a:cubicBezTo>
                  <a:cubicBezTo>
                    <a:pt x="306" y="242"/>
                    <a:pt x="306" y="242"/>
                    <a:pt x="306" y="242"/>
                  </a:cubicBezTo>
                  <a:cubicBezTo>
                    <a:pt x="307" y="241"/>
                    <a:pt x="307" y="241"/>
                    <a:pt x="307" y="241"/>
                  </a:cubicBezTo>
                  <a:cubicBezTo>
                    <a:pt x="304" y="239"/>
                    <a:pt x="304" y="239"/>
                    <a:pt x="304" y="239"/>
                  </a:cubicBezTo>
                  <a:cubicBezTo>
                    <a:pt x="305" y="236"/>
                    <a:pt x="305" y="236"/>
                    <a:pt x="305" y="236"/>
                  </a:cubicBezTo>
                  <a:cubicBezTo>
                    <a:pt x="303" y="235"/>
                    <a:pt x="303" y="235"/>
                    <a:pt x="303" y="235"/>
                  </a:cubicBezTo>
                  <a:cubicBezTo>
                    <a:pt x="302" y="237"/>
                    <a:pt x="302" y="237"/>
                    <a:pt x="302" y="237"/>
                  </a:cubicBezTo>
                  <a:cubicBezTo>
                    <a:pt x="302" y="235"/>
                    <a:pt x="302" y="235"/>
                    <a:pt x="302" y="235"/>
                  </a:cubicBezTo>
                  <a:lnTo>
                    <a:pt x="298" y="236"/>
                  </a:lnTo>
                  <a:close/>
                  <a:moveTo>
                    <a:pt x="312" y="222"/>
                  </a:moveTo>
                  <a:cubicBezTo>
                    <a:pt x="315" y="226"/>
                    <a:pt x="315" y="226"/>
                    <a:pt x="315" y="226"/>
                  </a:cubicBezTo>
                  <a:cubicBezTo>
                    <a:pt x="314" y="221"/>
                    <a:pt x="314" y="221"/>
                    <a:pt x="314" y="221"/>
                  </a:cubicBezTo>
                  <a:lnTo>
                    <a:pt x="312" y="222"/>
                  </a:lnTo>
                  <a:close/>
                  <a:moveTo>
                    <a:pt x="320" y="227"/>
                  </a:moveTo>
                  <a:cubicBezTo>
                    <a:pt x="322" y="224"/>
                    <a:pt x="322" y="224"/>
                    <a:pt x="322" y="224"/>
                  </a:cubicBezTo>
                  <a:cubicBezTo>
                    <a:pt x="317" y="225"/>
                    <a:pt x="317" y="225"/>
                    <a:pt x="317" y="225"/>
                  </a:cubicBezTo>
                  <a:lnTo>
                    <a:pt x="320" y="227"/>
                  </a:lnTo>
                  <a:close/>
                  <a:moveTo>
                    <a:pt x="322" y="222"/>
                  </a:moveTo>
                  <a:cubicBezTo>
                    <a:pt x="326" y="222"/>
                    <a:pt x="326" y="222"/>
                    <a:pt x="326" y="222"/>
                  </a:cubicBezTo>
                  <a:cubicBezTo>
                    <a:pt x="326" y="221"/>
                    <a:pt x="326" y="221"/>
                    <a:pt x="326" y="221"/>
                  </a:cubicBezTo>
                  <a:cubicBezTo>
                    <a:pt x="322" y="220"/>
                    <a:pt x="322" y="220"/>
                    <a:pt x="322" y="220"/>
                  </a:cubicBezTo>
                  <a:lnTo>
                    <a:pt x="322" y="222"/>
                  </a:lnTo>
                  <a:close/>
                  <a:moveTo>
                    <a:pt x="325" y="217"/>
                  </a:moveTo>
                  <a:cubicBezTo>
                    <a:pt x="326" y="213"/>
                    <a:pt x="326" y="213"/>
                    <a:pt x="326" y="213"/>
                  </a:cubicBezTo>
                  <a:cubicBezTo>
                    <a:pt x="322" y="215"/>
                    <a:pt x="322" y="215"/>
                    <a:pt x="322" y="215"/>
                  </a:cubicBezTo>
                  <a:lnTo>
                    <a:pt x="325" y="217"/>
                  </a:lnTo>
                  <a:close/>
                  <a:moveTo>
                    <a:pt x="319" y="219"/>
                  </a:moveTo>
                  <a:cubicBezTo>
                    <a:pt x="317" y="218"/>
                    <a:pt x="315" y="219"/>
                    <a:pt x="315" y="219"/>
                  </a:cubicBezTo>
                  <a:cubicBezTo>
                    <a:pt x="315" y="219"/>
                    <a:pt x="314" y="220"/>
                    <a:pt x="316" y="221"/>
                  </a:cubicBezTo>
                  <a:cubicBezTo>
                    <a:pt x="319" y="221"/>
                    <a:pt x="320" y="220"/>
                    <a:pt x="319" y="219"/>
                  </a:cubicBezTo>
                  <a:close/>
                  <a:moveTo>
                    <a:pt x="354" y="202"/>
                  </a:moveTo>
                  <a:cubicBezTo>
                    <a:pt x="356" y="202"/>
                    <a:pt x="356" y="202"/>
                    <a:pt x="356" y="202"/>
                  </a:cubicBezTo>
                  <a:cubicBezTo>
                    <a:pt x="356" y="200"/>
                    <a:pt x="356" y="200"/>
                    <a:pt x="356" y="200"/>
                  </a:cubicBezTo>
                  <a:cubicBezTo>
                    <a:pt x="354" y="200"/>
                    <a:pt x="354" y="200"/>
                    <a:pt x="354" y="200"/>
                  </a:cubicBezTo>
                  <a:lnTo>
                    <a:pt x="354" y="20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R="0" lvl="0" indent="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F7636D6-9045-8046-846A-18BC3CC14DDE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3909322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ogo Ass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Rectangle 185">
            <a:extLst>
              <a:ext uri="{FF2B5EF4-FFF2-40B4-BE49-F238E27FC236}">
                <a16:creationId xmlns:a16="http://schemas.microsoft.com/office/drawing/2014/main" id="{1B24D510-5F04-0D4B-B09A-D6FCD87783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Title 1">
            <a:extLst>
              <a:ext uri="{FF2B5EF4-FFF2-40B4-BE49-F238E27FC236}">
                <a16:creationId xmlns:a16="http://schemas.microsoft.com/office/drawing/2014/main" id="{B4E0AB8A-C16B-0643-9066-4140FF474C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414646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Australia</a:t>
            </a:r>
            <a:endParaRPr lang="en-US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4082BEC-B4E6-FE42-BA53-0A153B0313EF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8D485D-A667-DC44-81C7-6C226C580FE2}"/>
              </a:ext>
            </a:extLst>
          </p:cNvPr>
          <p:cNvGrpSpPr/>
          <p:nvPr userDrawn="1"/>
        </p:nvGrpSpPr>
        <p:grpSpPr>
          <a:xfrm>
            <a:off x="5431819" y="436846"/>
            <a:ext cx="6482275" cy="6091887"/>
            <a:chOff x="4450184" y="1201437"/>
            <a:chExt cx="4115592" cy="3867735"/>
          </a:xfrm>
        </p:grpSpPr>
        <p:sp>
          <p:nvSpPr>
            <p:cNvPr id="40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855A842-ED5E-FC49-8364-51EC1BEA1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53826" y="2119391"/>
              <a:ext cx="298048" cy="319287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64723A-BE31-6844-985A-D547D9335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40660" y="1760190"/>
              <a:ext cx="875119" cy="667601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454AC9-7431-764C-8C87-1600E42D9A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44805" y="4165732"/>
              <a:ext cx="1020971" cy="903440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0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67FFB33-9871-F545-B50A-649B547DEA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0184" y="1201437"/>
              <a:ext cx="2625353" cy="119732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3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0681EDE-9C74-6F43-8ED8-F3F305B1B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83103" y="2231865"/>
              <a:ext cx="199754" cy="108847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17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A1A585E-4A6A-9546-8ED2-224C1E87B9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33351" y="2409652"/>
              <a:ext cx="2282917" cy="244908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0941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70960D-A87D-FC4E-BA86-5B8E0C3BBE6B}"/>
              </a:ext>
            </a:extLst>
          </p:cNvPr>
          <p:cNvSpPr txBox="1"/>
          <p:nvPr userDrawn="1"/>
        </p:nvSpPr>
        <p:spPr>
          <a:xfrm>
            <a:off x="462013" y="2723949"/>
            <a:ext cx="22619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 use the maps.</a:t>
            </a:r>
            <a:br>
              <a:rPr lang="en-US" sz="1200" dirty="0"/>
            </a:br>
            <a:r>
              <a:rPr lang="en-US" sz="1200" dirty="0"/>
              <a:t>1. Click view on the top toolbar &gt;Select Master&gt;Select Slide Master.</a:t>
            </a:r>
          </a:p>
          <a:p>
            <a:endParaRPr lang="en-US" sz="1200" dirty="0"/>
          </a:p>
          <a:p>
            <a:r>
              <a:rPr lang="en-US" sz="1200" dirty="0"/>
              <a:t>2. In Slide Master View you can now select the map and copy it to your clipboard.</a:t>
            </a:r>
          </a:p>
          <a:p>
            <a:endParaRPr lang="en-US" sz="1200" dirty="0"/>
          </a:p>
          <a:p>
            <a:r>
              <a:rPr lang="en-US" sz="1200" dirty="0"/>
              <a:t>3.Once copied close the master page.</a:t>
            </a:r>
          </a:p>
          <a:p>
            <a:endParaRPr lang="en-US" sz="1200" dirty="0"/>
          </a:p>
          <a:p>
            <a:r>
              <a:rPr lang="en-US" sz="1200" dirty="0"/>
              <a:t>4. The map can then be pasted onto a slide of your choosing.</a:t>
            </a:r>
          </a:p>
          <a:p>
            <a:endParaRPr lang="en-US" sz="1200" dirty="0"/>
          </a:p>
          <a:p>
            <a:r>
              <a:rPr lang="en-US" sz="1200" dirty="0"/>
              <a:t>5.Areas of the map can then be </a:t>
            </a:r>
            <a:r>
              <a:rPr lang="en-US" sz="1200" dirty="0" err="1"/>
              <a:t>coloured</a:t>
            </a:r>
            <a:r>
              <a:rPr lang="en-US" sz="1200" dirty="0"/>
              <a:t> using Kingspan </a:t>
            </a:r>
            <a:r>
              <a:rPr lang="en-US" sz="1200" dirty="0" err="1"/>
              <a:t>colours</a:t>
            </a:r>
            <a:r>
              <a:rPr lang="en-US" sz="1200" dirty="0"/>
              <a:t> to suit your topic.</a:t>
            </a:r>
          </a:p>
        </p:txBody>
      </p:sp>
    </p:spTree>
    <p:extLst>
      <p:ext uri="{BB962C8B-B14F-4D97-AF65-F5344CB8AC3E}">
        <p14:creationId xmlns:p14="http://schemas.microsoft.com/office/powerpoint/2010/main" val="3028797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3850"/>
            <a:ext cx="10934497" cy="55722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592263"/>
            <a:ext cx="3554209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Category Title here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5" y="2121145"/>
            <a:ext cx="3554205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white as the </a:t>
            </a:r>
            <a:r>
              <a:rPr lang="en-US" dirty="0" err="1"/>
              <a:t>colour</a:t>
            </a:r>
            <a:r>
              <a:rPr lang="en-US" dirty="0"/>
              <a:t> and place inside the blue circle.</a:t>
            </a:r>
          </a:p>
          <a:p>
            <a:r>
              <a:rPr lang="en-US" dirty="0"/>
              <a:t>Any unwanted Icons can be masked with a simple white box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4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5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4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4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5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3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4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FDD0A0D-4813-0442-B7A9-81BFB4829B0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697802F-0840-EE48-B35C-9CB300CE1D8F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Subtitle 2">
            <a:extLst>
              <a:ext uri="{FF2B5EF4-FFF2-40B4-BE49-F238E27FC236}">
                <a16:creationId xmlns:a16="http://schemas.microsoft.com/office/drawing/2014/main" id="{26402C3C-F59C-3A42-B015-2EA68FBF825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864233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CFCF589-AF37-934C-9D77-389344C39EC6}"/>
              </a:ext>
            </a:extLst>
          </p:cNvPr>
          <p:cNvSpPr/>
          <p:nvPr userDrawn="1"/>
        </p:nvSpPr>
        <p:spPr>
          <a:xfrm>
            <a:off x="4187824" y="0"/>
            <a:ext cx="8004175" cy="685800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9148"/>
            <a:ext cx="3322921" cy="8213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con Slide Titl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7" y="1592262"/>
            <a:ext cx="3321608" cy="3860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Copy</a:t>
            </a:r>
            <a:endParaRPr lang="en-US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7816" y="2121144"/>
            <a:ext cx="3321608" cy="3582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r>
              <a:rPr lang="en-US" dirty="0"/>
              <a:t>To add icons select Insert from the top tool bar and choose icons.</a:t>
            </a:r>
          </a:p>
          <a:p>
            <a:r>
              <a:rPr lang="en-US" dirty="0"/>
              <a:t>Icons can be searched for in the pop-up window.</a:t>
            </a:r>
          </a:p>
          <a:p>
            <a:r>
              <a:rPr lang="en-US" dirty="0"/>
              <a:t>Once inserted choose Kingspan Blue as the </a:t>
            </a:r>
            <a:r>
              <a:rPr lang="en-US" dirty="0" err="1"/>
              <a:t>colour</a:t>
            </a:r>
            <a:r>
              <a:rPr lang="en-US" dirty="0"/>
              <a:t> and place inside the white circle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F8BDEF0-0DF3-A941-B545-F75A1F25777D}"/>
              </a:ext>
            </a:extLst>
          </p:cNvPr>
          <p:cNvSpPr/>
          <p:nvPr userDrawn="1"/>
        </p:nvSpPr>
        <p:spPr>
          <a:xfrm>
            <a:off x="4627709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483DDFA-2698-0E40-8219-61E22A7FF697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332288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71414C0-1DE5-D049-B493-8D6D951E58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32288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00843F6-ACFC-2142-B5F3-BED1638A2EA7}"/>
              </a:ext>
            </a:extLst>
          </p:cNvPr>
          <p:cNvSpPr/>
          <p:nvPr userDrawn="1"/>
        </p:nvSpPr>
        <p:spPr>
          <a:xfrm>
            <a:off x="6500471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2552433-C3CC-D94E-85F4-5075F71A02C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05050" y="2811983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FE43EF0-F7CF-1744-9008-72BC0A29F3E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05050" y="3102984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1E6B33-BDC4-B946-8205-4A8B4258FE57}"/>
              </a:ext>
            </a:extLst>
          </p:cNvPr>
          <p:cNvSpPr/>
          <p:nvPr userDrawn="1"/>
        </p:nvSpPr>
        <p:spPr>
          <a:xfrm>
            <a:off x="4627709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F95523B-4E15-874E-88FA-9461BE2333B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2288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94F11E2-EB8A-CE46-A7E4-6647640BD2A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332288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80F91C-6B09-EE4E-95E3-3E49508933BC}"/>
              </a:ext>
            </a:extLst>
          </p:cNvPr>
          <p:cNvSpPr/>
          <p:nvPr userDrawn="1"/>
        </p:nvSpPr>
        <p:spPr>
          <a:xfrm>
            <a:off x="6500471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34204DC-102A-024A-93EB-35F512AF794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5050" y="4939722"/>
            <a:ext cx="1654663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5407B8-3842-6249-98B0-77A5E97F476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5050" y="5230723"/>
            <a:ext cx="1654663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B656DD2-F860-D941-BBEF-0C742CF6B0E9}"/>
              </a:ext>
            </a:extLst>
          </p:cNvPr>
          <p:cNvSpPr/>
          <p:nvPr userDrawn="1"/>
        </p:nvSpPr>
        <p:spPr>
          <a:xfrm>
            <a:off x="8294102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AB5C3CB-1484-B041-A62F-7F0CD2EA328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98681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2190752-B0AC-C64F-90FE-7FA0560770A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998681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8255A49-69D3-5448-8C59-DB63B6CB0917}"/>
              </a:ext>
            </a:extLst>
          </p:cNvPr>
          <p:cNvSpPr/>
          <p:nvPr userDrawn="1"/>
        </p:nvSpPr>
        <p:spPr>
          <a:xfrm>
            <a:off x="10166864" y="1592263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078F48-69C2-A642-9298-18A806F8E079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9871443" y="2811983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0C7BAD9-6876-5040-9514-F0A2FAD15B8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871443" y="3102984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CAD889C-8C67-7C41-B71F-077DCBF5ADF3}"/>
              </a:ext>
            </a:extLst>
          </p:cNvPr>
          <p:cNvSpPr/>
          <p:nvPr userDrawn="1"/>
        </p:nvSpPr>
        <p:spPr>
          <a:xfrm>
            <a:off x="8294102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33EB2E2-A92F-384B-BA0B-D51B4E0A597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998681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4D817E-302C-4B4C-91B3-E69D664609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998681" y="5230723"/>
            <a:ext cx="1692275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29D419-6C31-E44C-BF16-E863F3BF76F7}"/>
              </a:ext>
            </a:extLst>
          </p:cNvPr>
          <p:cNvSpPr/>
          <p:nvPr userDrawn="1"/>
        </p:nvSpPr>
        <p:spPr>
          <a:xfrm>
            <a:off x="10166864" y="3720002"/>
            <a:ext cx="1121147" cy="11211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6C5ABC99-4341-994E-B231-94FA3B958F4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9871443" y="4939722"/>
            <a:ext cx="1692275" cy="24827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192CF8E-2E23-0E40-B5E7-244EFFDA8CF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871443" y="5230723"/>
            <a:ext cx="1696670" cy="4730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BC67C90-EE5C-624B-803D-A24E2B956D1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9B69D5E-ED9C-544E-A604-69F54D7871C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Subtitle 2">
            <a:extLst>
              <a:ext uri="{FF2B5EF4-FFF2-40B4-BE49-F238E27FC236}">
                <a16:creationId xmlns:a16="http://schemas.microsoft.com/office/drawing/2014/main" id="{9C1708ED-C33A-E546-BF47-ADC82014D16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D0268A4-3A87-5D4C-AF1D-0FE814E58E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263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 in progress i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A0AD9CA-DD4F-6849-9EBD-847328BAD8DE}"/>
              </a:ext>
            </a:extLst>
          </p:cNvPr>
          <p:cNvSpPr/>
          <p:nvPr userDrawn="1"/>
        </p:nvSpPr>
        <p:spPr>
          <a:xfrm>
            <a:off x="890524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DBA820-B79F-8940-93B5-9A3B88CEEBE6}"/>
              </a:ext>
            </a:extLst>
          </p:cNvPr>
          <p:cNvSpPr/>
          <p:nvPr userDrawn="1"/>
        </p:nvSpPr>
        <p:spPr>
          <a:xfrm>
            <a:off x="27608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12DD1A3-2ECA-2941-93A2-23BA1BB974D6}"/>
              </a:ext>
            </a:extLst>
          </p:cNvPr>
          <p:cNvSpPr/>
          <p:nvPr userDrawn="1"/>
        </p:nvSpPr>
        <p:spPr>
          <a:xfrm>
            <a:off x="458968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4DA6F6B-A360-834A-B6A1-672292E771E1}"/>
              </a:ext>
            </a:extLst>
          </p:cNvPr>
          <p:cNvSpPr/>
          <p:nvPr userDrawn="1"/>
        </p:nvSpPr>
        <p:spPr>
          <a:xfrm>
            <a:off x="6489841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1162878-B24C-CB4E-82D5-450D8A9335EA}"/>
              </a:ext>
            </a:extLst>
          </p:cNvPr>
          <p:cNvSpPr/>
          <p:nvPr userDrawn="1"/>
        </p:nvSpPr>
        <p:spPr>
          <a:xfrm>
            <a:off x="8313789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4B2BB32-0183-9442-AD45-3D1F3A7510B4}"/>
              </a:ext>
            </a:extLst>
          </p:cNvPr>
          <p:cNvSpPr/>
          <p:nvPr userDrawn="1"/>
        </p:nvSpPr>
        <p:spPr>
          <a:xfrm>
            <a:off x="10167527" y="3300585"/>
            <a:ext cx="1121147" cy="1121147"/>
          </a:xfrm>
          <a:prstGeom prst="ellipse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21566"/>
            <a:ext cx="10934496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8A2391B-7CB4-D048-93B2-01298DBE852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4797425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B9895C84-2A29-B648-9FCB-581D7A666A5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5265738"/>
            <a:ext cx="1725410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C4372F70-3F92-984D-A1D6-64A68A41CC4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491189" y="4797425"/>
            <a:ext cx="169663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11357760-943B-E346-879B-5120DFBB54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91189" y="5265738"/>
            <a:ext cx="169663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AB36158F-1BCC-9142-AC83-0549E61597E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29614" y="4797425"/>
            <a:ext cx="1694949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A6B674D9-7291-2045-937A-0C8BE04CBCD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29614" y="5265738"/>
            <a:ext cx="1694949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D345FC74-CE8E-024B-9255-A89BBBAAAF2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06540" y="4797425"/>
            <a:ext cx="1658034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77946A5A-2264-094F-849A-D29C2FE0346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06540" y="5265738"/>
            <a:ext cx="1658034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2B8AE223-BAE7-584D-B3CF-E89FCAF2D75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006465" y="4797425"/>
            <a:ext cx="171747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6FD89598-B46E-E149-80A9-FFF06C86794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006465" y="5265738"/>
            <a:ext cx="1717472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E9C16BF4-14AA-904F-8536-6397929D2C9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9873766" y="4797425"/>
            <a:ext cx="1694346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D10C066C-33CD-ED43-90D0-B8F060FE81F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9873766" y="5265738"/>
            <a:ext cx="1694346" cy="9715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bod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8F9FF5E-F6CE-BD44-8EE0-5F95979213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C5920A3-68C0-0748-B9EC-F7A9A8E276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Subtitle 2">
            <a:extLst>
              <a:ext uri="{FF2B5EF4-FFF2-40B4-BE49-F238E27FC236}">
                <a16:creationId xmlns:a16="http://schemas.microsoft.com/office/drawing/2014/main" id="{496FCA75-A150-5D4F-9612-55D226FB00C1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51629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/ Full imag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20398F-41B1-254F-B568-04DEFB3C6104}"/>
              </a:ext>
            </a:extLst>
          </p:cNvPr>
          <p:cNvSpPr/>
          <p:nvPr userDrawn="1"/>
        </p:nvSpPr>
        <p:spPr>
          <a:xfrm rot="10800000">
            <a:off x="0" y="-2"/>
            <a:ext cx="12192000" cy="3038169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91FA1-813F-8F4E-86BF-FC7CCEF71501}"/>
              </a:ext>
            </a:extLst>
          </p:cNvPr>
          <p:cNvSpPr/>
          <p:nvPr userDrawn="1"/>
        </p:nvSpPr>
        <p:spPr>
          <a:xfrm rot="5400000">
            <a:off x="-72046" y="49874"/>
            <a:ext cx="6880172" cy="6736080"/>
          </a:xfrm>
          <a:prstGeom prst="rect">
            <a:avLst/>
          </a:prstGeom>
          <a:gradFill>
            <a:gsLst>
              <a:gs pos="100000">
                <a:srgbClr val="09417A"/>
              </a:gs>
              <a:gs pos="0">
                <a:srgbClr val="09417A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8F45E72-0801-7C49-B54F-64B74E45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96C47C-CD7B-8D41-B508-578FAF4085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E99403-802B-6841-A2F7-D58FA08AEE5B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09600" y="1510584"/>
            <a:ext cx="10953135" cy="44379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9C2F46-1389-2049-AB66-BA0E4767FF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808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566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50221498-D76C-9D46-8117-7D1CD9CCFD9D}"/>
              </a:ext>
            </a:extLst>
          </p:cNvPr>
          <p:cNvGrpSpPr/>
          <p:nvPr userDrawn="1"/>
        </p:nvGrpSpPr>
        <p:grpSpPr>
          <a:xfrm>
            <a:off x="4380509" y="0"/>
            <a:ext cx="1580322" cy="1530453"/>
            <a:chOff x="3896140" y="405538"/>
            <a:chExt cx="1580322" cy="1530453"/>
          </a:xfrm>
        </p:grpSpPr>
        <p:pic>
          <p:nvPicPr>
            <p:cNvPr id="171" name="Picture 17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B4151B7-F01F-374F-8B4D-364EFD86D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D03FE6D7-884E-4346-A059-29EF66582267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rop Alert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2A0DFDF4-CB46-E44C-8524-19425DC1D40E}"/>
              </a:ext>
            </a:extLst>
          </p:cNvPr>
          <p:cNvGrpSpPr/>
          <p:nvPr userDrawn="1"/>
        </p:nvGrpSpPr>
        <p:grpSpPr>
          <a:xfrm>
            <a:off x="3002939" y="17780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8151A87E-6F08-4549-8747-60C02D058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3814486B-6A38-C94F-9F28-F6AD94B777BD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wnload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6327C041-6C19-0D40-8131-83A9E8761B0D}"/>
              </a:ext>
            </a:extLst>
          </p:cNvPr>
          <p:cNvGrpSpPr/>
          <p:nvPr userDrawn="1"/>
        </p:nvGrpSpPr>
        <p:grpSpPr>
          <a:xfrm>
            <a:off x="5765810" y="4526"/>
            <a:ext cx="1580322" cy="1521875"/>
            <a:chOff x="3896140" y="2169250"/>
            <a:chExt cx="1580322" cy="152187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5B6E4E08-78D2-5047-A763-15DD8BA7F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67DAD732-6E72-6F49-AEEA-EB1DCA3ABA02}"/>
                </a:ext>
              </a:extLst>
            </p:cNvPr>
            <p:cNvSpPr txBox="1"/>
            <p:nvPr/>
          </p:nvSpPr>
          <p:spPr>
            <a:xfrm>
              <a:off x="3896140" y="341412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livery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7BAF2BF-FC4F-7A47-931E-C102C8E4ED68}"/>
              </a:ext>
            </a:extLst>
          </p:cNvPr>
          <p:cNvGrpSpPr/>
          <p:nvPr userDrawn="1"/>
        </p:nvGrpSpPr>
        <p:grpSpPr>
          <a:xfrm>
            <a:off x="1657712" y="17780"/>
            <a:ext cx="1580322" cy="1715119"/>
            <a:chOff x="5750970" y="405538"/>
            <a:chExt cx="1580322" cy="1715119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BEA6BFED-D760-7B4B-BB1C-1C0C638F3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F2AC0507-B105-9346-AF0E-F30AB2E9F994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</a:t>
              </a:r>
              <a:br>
                <a:rPr lang="en-US" sz="1200" dirty="0"/>
              </a:br>
              <a:r>
                <a:rPr lang="en-US" sz="1200" dirty="0"/>
                <a:t>Laundry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21BE7CE9-4172-684F-98D5-AC6A445EBE72}"/>
              </a:ext>
            </a:extLst>
          </p:cNvPr>
          <p:cNvGrpSpPr/>
          <p:nvPr userDrawn="1"/>
        </p:nvGrpSpPr>
        <p:grpSpPr>
          <a:xfrm>
            <a:off x="343232" y="17780"/>
            <a:ext cx="1580322" cy="1530453"/>
            <a:chOff x="9480376" y="405538"/>
            <a:chExt cx="1580322" cy="153045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1BD92CC-9411-5A4D-92A5-09ADB3048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FF1C0D68-D998-F544-9F55-84604A8B60C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D83F1AA7-2B9D-7349-9035-2A35C1360550}"/>
              </a:ext>
            </a:extLst>
          </p:cNvPr>
          <p:cNvGrpSpPr/>
          <p:nvPr userDrawn="1"/>
        </p:nvGrpSpPr>
        <p:grpSpPr>
          <a:xfrm>
            <a:off x="343232" y="1755612"/>
            <a:ext cx="1580322" cy="1530453"/>
            <a:chOff x="367748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2D8BFC2-1175-094B-9C79-38ED104B5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812A1409-5044-5948-BB0A-4B1B269DCA2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ail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79E740CC-3137-2A40-BAD8-D000A1C1C02E}"/>
              </a:ext>
            </a:extLst>
          </p:cNvPr>
          <p:cNvGrpSpPr/>
          <p:nvPr userDrawn="1"/>
        </p:nvGrpSpPr>
        <p:grpSpPr>
          <a:xfrm>
            <a:off x="1657712" y="1746390"/>
            <a:ext cx="1580322" cy="1537449"/>
            <a:chOff x="367748" y="3968750"/>
            <a:chExt cx="1580322" cy="1537449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4924E03-F555-EA49-B9A5-BB5FF5DFD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3FEC2C78-5095-1E45-BFA8-4B8EC71AC8B4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AF990BDE-4D1C-244D-BB84-60F0668432E4}"/>
              </a:ext>
            </a:extLst>
          </p:cNvPr>
          <p:cNvGrpSpPr/>
          <p:nvPr userDrawn="1"/>
        </p:nvGrpSpPr>
        <p:grpSpPr>
          <a:xfrm>
            <a:off x="3026228" y="1755395"/>
            <a:ext cx="1580322" cy="1536771"/>
            <a:chOff x="3896140" y="2169250"/>
            <a:chExt cx="1580322" cy="1536771"/>
          </a:xfrm>
        </p:grpSpPr>
        <p:pic>
          <p:nvPicPr>
            <p:cNvPr id="192" name="Picture 191" descr="A close up of a logo&#10;&#10;Description automatically generated">
              <a:extLst>
                <a:ext uri="{FF2B5EF4-FFF2-40B4-BE49-F238E27FC236}">
                  <a16:creationId xmlns:a16="http://schemas.microsoft.com/office/drawing/2014/main" id="{920A2D21-906C-B04B-93CD-4B613B1E2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81834B9E-B48D-E74C-8D3A-2F00C0BE87EF}"/>
                </a:ext>
              </a:extLst>
            </p:cNvPr>
            <p:cNvSpPr txBox="1"/>
            <p:nvPr/>
          </p:nvSpPr>
          <p:spPr>
            <a:xfrm>
              <a:off x="3896140" y="342902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powerment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07B9FEBE-2129-1F44-B28B-B4B2A4149EFA}"/>
              </a:ext>
            </a:extLst>
          </p:cNvPr>
          <p:cNvGrpSpPr/>
          <p:nvPr userDrawn="1"/>
        </p:nvGrpSpPr>
        <p:grpSpPr>
          <a:xfrm>
            <a:off x="4361877" y="1755395"/>
            <a:ext cx="1580322" cy="1537449"/>
            <a:chOff x="367748" y="3968750"/>
            <a:chExt cx="1580322" cy="1537449"/>
          </a:xfrm>
        </p:grpSpPr>
        <p:pic>
          <p:nvPicPr>
            <p:cNvPr id="195" name="Picture 194" descr="A close up of a logo&#10;&#10;Description automatically generated">
              <a:extLst>
                <a:ext uri="{FF2B5EF4-FFF2-40B4-BE49-F238E27FC236}">
                  <a16:creationId xmlns:a16="http://schemas.microsoft.com/office/drawing/2014/main" id="{B6122C6F-CA89-B542-B16B-F39E290940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EB889A1-4936-B646-B959-B5261EEE7D5F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 Solutions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D656741-A054-4B42-B0DC-9D8462D4B712}"/>
              </a:ext>
            </a:extLst>
          </p:cNvPr>
          <p:cNvGrpSpPr/>
          <p:nvPr userDrawn="1"/>
        </p:nvGrpSpPr>
        <p:grpSpPr>
          <a:xfrm>
            <a:off x="5778373" y="1757471"/>
            <a:ext cx="1580322" cy="1534695"/>
            <a:chOff x="367748" y="2169250"/>
            <a:chExt cx="1580322" cy="1534695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9667614-6800-AA4C-B0ED-C7234C9FB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39DE722-46F4-EB4F-BEC1-C3AB835B01B6}"/>
                </a:ext>
              </a:extLst>
            </p:cNvPr>
            <p:cNvSpPr txBox="1"/>
            <p:nvPr/>
          </p:nvSpPr>
          <p:spPr>
            <a:xfrm>
              <a:off x="367748" y="342694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-Commerce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9C7A2839-6BC5-FF4D-8FD2-2A6F2D07C943}"/>
              </a:ext>
            </a:extLst>
          </p:cNvPr>
          <p:cNvGrpSpPr/>
          <p:nvPr userDrawn="1"/>
        </p:nvGrpSpPr>
        <p:grpSpPr>
          <a:xfrm>
            <a:off x="9951671" y="12953"/>
            <a:ext cx="1580322" cy="1705069"/>
            <a:chOff x="2063552" y="2169250"/>
            <a:chExt cx="1580322" cy="1705069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131737B1-A25C-8C45-B911-402571C5B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8F8B36C-5349-A340-BAD2-D47ADF48D2BC}"/>
                </a:ext>
              </a:extLst>
            </p:cNvPr>
            <p:cNvSpPr txBox="1"/>
            <p:nvPr/>
          </p:nvSpPr>
          <p:spPr>
            <a:xfrm>
              <a:off x="2063552" y="3412654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vironmentally</a:t>
              </a:r>
              <a:br>
                <a:rPr lang="en-US" sz="1200" dirty="0"/>
              </a:br>
              <a:r>
                <a:rPr lang="en-US" sz="1200" dirty="0"/>
                <a:t>Friendly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C46B788A-1DD8-B24A-863E-49E117037287}"/>
              </a:ext>
            </a:extLst>
          </p:cNvPr>
          <p:cNvGrpSpPr/>
          <p:nvPr userDrawn="1"/>
        </p:nvGrpSpPr>
        <p:grpSpPr>
          <a:xfrm>
            <a:off x="8546269" y="12953"/>
            <a:ext cx="1580322" cy="1537586"/>
            <a:chOff x="5750970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176440D8-6923-B244-9019-D0B47FFA1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0FC9591F-D7A3-3446-AC27-887E2468013B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fficiency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6F226A5-4C34-DA48-B111-62BD12AB6AC6}"/>
              </a:ext>
            </a:extLst>
          </p:cNvPr>
          <p:cNvGrpSpPr/>
          <p:nvPr userDrawn="1"/>
        </p:nvGrpSpPr>
        <p:grpSpPr>
          <a:xfrm>
            <a:off x="7143380" y="5144"/>
            <a:ext cx="1580322" cy="1537449"/>
            <a:chOff x="3896140" y="3968750"/>
            <a:chExt cx="1580322" cy="1537449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E03209AE-D236-2A44-80BB-8E73D7E36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5BEEF663-F7FC-654B-B091-81F93758B4C6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asy to Install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830B4AA5-EB34-D54D-9427-80C0D93EC6C0}"/>
              </a:ext>
            </a:extLst>
          </p:cNvPr>
          <p:cNvGrpSpPr/>
          <p:nvPr userDrawn="1"/>
        </p:nvGrpSpPr>
        <p:grpSpPr>
          <a:xfrm>
            <a:off x="9951671" y="1737034"/>
            <a:ext cx="1580322" cy="1537449"/>
            <a:chOff x="5750970" y="3968750"/>
            <a:chExt cx="1580322" cy="1537449"/>
          </a:xfrm>
        </p:grpSpPr>
        <p:pic>
          <p:nvPicPr>
            <p:cNvPr id="210" name="Picture 209" descr="A close up of a logo&#10;&#10;Description automatically generated">
              <a:extLst>
                <a:ext uri="{FF2B5EF4-FFF2-40B4-BE49-F238E27FC236}">
                  <a16:creationId xmlns:a16="http://schemas.microsoft.com/office/drawing/2014/main" id="{5BF55BCB-C1B5-CF41-A2BA-CCF7951A1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0C2898CF-EA1E-3C4B-96DD-AC28D7AE2C95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lexi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6206C2B-32F1-A14F-92C4-3E56CDBC5A4D}"/>
              </a:ext>
            </a:extLst>
          </p:cNvPr>
          <p:cNvGrpSpPr/>
          <p:nvPr userDrawn="1"/>
        </p:nvGrpSpPr>
        <p:grpSpPr>
          <a:xfrm>
            <a:off x="343232" y="3311573"/>
            <a:ext cx="1580322" cy="1530453"/>
            <a:chOff x="9480376" y="405538"/>
            <a:chExt cx="1580322" cy="1530453"/>
          </a:xfrm>
        </p:grpSpPr>
        <p:pic>
          <p:nvPicPr>
            <p:cNvPr id="213" name="Picture 212" descr="A close up of a logo&#10;&#10;Description automatically generated">
              <a:extLst>
                <a:ext uri="{FF2B5EF4-FFF2-40B4-BE49-F238E27FC236}">
                  <a16:creationId xmlns:a16="http://schemas.microsoft.com/office/drawing/2014/main" id="{628B300F-A10E-164D-BCAC-63D99147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7EB8851-1CAF-6D4C-83BE-B5C6CBB5E2F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ll Volume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B649E25E-258F-8840-887B-C1B937A38644}"/>
              </a:ext>
            </a:extLst>
          </p:cNvPr>
          <p:cNvGrpSpPr/>
          <p:nvPr userDrawn="1"/>
        </p:nvGrpSpPr>
        <p:grpSpPr>
          <a:xfrm>
            <a:off x="1657712" y="3316021"/>
            <a:ext cx="1580322" cy="1537449"/>
            <a:chOff x="7667309" y="3968750"/>
            <a:chExt cx="1580322" cy="1537449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C6D27AE4-4053-B446-910A-CD22888D7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39687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65616293-1E72-D444-BDF1-821275DEE285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utur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0A61EC18-1016-5148-BE26-965D6AC37F63}"/>
              </a:ext>
            </a:extLst>
          </p:cNvPr>
          <p:cNvGrpSpPr/>
          <p:nvPr userDrawn="1"/>
        </p:nvGrpSpPr>
        <p:grpSpPr>
          <a:xfrm>
            <a:off x="3094381" y="3300493"/>
            <a:ext cx="1440000" cy="1720296"/>
            <a:chOff x="4433924" y="448331"/>
            <a:chExt cx="1440000" cy="1720296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DEF2D25F-F0BB-0F42-AEF8-E84570108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33924" y="448331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CF5EAB-07DF-884D-B55B-4B57C3C05E79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 </a:t>
              </a:r>
              <a:br>
                <a:rPr lang="en-US" sz="1200" dirty="0"/>
              </a:br>
              <a:r>
                <a:rPr lang="en-US" sz="1200" dirty="0"/>
                <a:t>Perform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458D89A9-681A-F34A-A299-1532CC14C896}"/>
              </a:ext>
            </a:extLst>
          </p:cNvPr>
          <p:cNvGrpSpPr/>
          <p:nvPr userDrawn="1"/>
        </p:nvGrpSpPr>
        <p:grpSpPr>
          <a:xfrm>
            <a:off x="4455882" y="3300491"/>
            <a:ext cx="1440000" cy="1554196"/>
            <a:chOff x="5837032" y="429765"/>
            <a:chExt cx="1440000" cy="1554196"/>
          </a:xfrm>
        </p:grpSpPr>
        <p:pic>
          <p:nvPicPr>
            <p:cNvPr id="222" name="Picture 221" descr="A close up of a logo&#10;&#10;Description automatically generated">
              <a:extLst>
                <a:ext uri="{FF2B5EF4-FFF2-40B4-BE49-F238E27FC236}">
                  <a16:creationId xmlns:a16="http://schemas.microsoft.com/office/drawing/2014/main" id="{916335E0-EA23-1144-9FE8-32AB12966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A5F7A08E-84F4-3243-A2D4-EFF9E66F59C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safe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5D3D33E9-A3BD-4A4E-B4FD-73D621549651}"/>
              </a:ext>
            </a:extLst>
          </p:cNvPr>
          <p:cNvGrpSpPr/>
          <p:nvPr userDrawn="1"/>
        </p:nvGrpSpPr>
        <p:grpSpPr>
          <a:xfrm>
            <a:off x="9951671" y="3300491"/>
            <a:ext cx="1580322" cy="1537586"/>
            <a:chOff x="2063552" y="3968613"/>
            <a:chExt cx="1580322" cy="1537586"/>
          </a:xfrm>
        </p:grpSpPr>
        <p:pic>
          <p:nvPicPr>
            <p:cNvPr id="225" name="Picture 224" descr="A close up of a logo&#10;&#10;Description automatically generated">
              <a:extLst>
                <a:ext uri="{FF2B5EF4-FFF2-40B4-BE49-F238E27FC236}">
                  <a16:creationId xmlns:a16="http://schemas.microsoft.com/office/drawing/2014/main" id="{114BC0DF-DC48-014D-9BC3-25BB74871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0B99956C-D3BA-404C-9CD6-DAA3CA16EEE7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 Leaks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B36408F-664E-5648-92B3-179713A1FD42}"/>
              </a:ext>
            </a:extLst>
          </p:cNvPr>
          <p:cNvGrpSpPr/>
          <p:nvPr userDrawn="1"/>
        </p:nvGrpSpPr>
        <p:grpSpPr>
          <a:xfrm>
            <a:off x="343232" y="4961419"/>
            <a:ext cx="1580322" cy="1524154"/>
            <a:chOff x="2063552" y="2169250"/>
            <a:chExt cx="1580322" cy="1524154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BB727CEE-5917-4A45-971A-11DEC8154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1146F023-6429-7745-A118-B157919F0521}"/>
                </a:ext>
              </a:extLst>
            </p:cNvPr>
            <p:cNvSpPr txBox="1"/>
            <p:nvPr/>
          </p:nvSpPr>
          <p:spPr>
            <a:xfrm>
              <a:off x="2063552" y="34164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ursing Hom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A815FBA7-AA68-6B46-B8CC-9DEBE411081F}"/>
              </a:ext>
            </a:extLst>
          </p:cNvPr>
          <p:cNvGrpSpPr/>
          <p:nvPr userDrawn="1"/>
        </p:nvGrpSpPr>
        <p:grpSpPr>
          <a:xfrm>
            <a:off x="8540353" y="3286257"/>
            <a:ext cx="1580322" cy="1552865"/>
            <a:chOff x="5750970" y="2148717"/>
            <a:chExt cx="1580322" cy="1552865"/>
          </a:xfrm>
        </p:grpSpPr>
        <p:pic>
          <p:nvPicPr>
            <p:cNvPr id="231" name="Picture 230" descr="A close up of a sign&#10;&#10;Description automatically generated">
              <a:extLst>
                <a:ext uri="{FF2B5EF4-FFF2-40B4-BE49-F238E27FC236}">
                  <a16:creationId xmlns:a16="http://schemas.microsoft.com/office/drawing/2014/main" id="{79000ED5-2632-6644-AFCE-3B042D75B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48717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E2AAB9CC-EF37-4B4E-9FD4-5E54F541EF64}"/>
                </a:ext>
              </a:extLst>
            </p:cNvPr>
            <p:cNvSpPr txBox="1"/>
            <p:nvPr/>
          </p:nvSpPr>
          <p:spPr>
            <a:xfrm>
              <a:off x="5750970" y="342458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odular System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95496837-8DB8-F34A-9A21-0C5DECD346B2}"/>
              </a:ext>
            </a:extLst>
          </p:cNvPr>
          <p:cNvGrpSpPr/>
          <p:nvPr userDrawn="1"/>
        </p:nvGrpSpPr>
        <p:grpSpPr>
          <a:xfrm>
            <a:off x="1657712" y="4955120"/>
            <a:ext cx="1580322" cy="1537586"/>
            <a:chOff x="2063552" y="3968613"/>
            <a:chExt cx="1580322" cy="1537586"/>
          </a:xfrm>
        </p:grpSpPr>
        <p:pic>
          <p:nvPicPr>
            <p:cNvPr id="234" name="Picture 23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038BA89-A93D-2D45-AC2F-F062A0380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72C0688E-FFAE-5445-B3CA-C9DC4A423080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ise Free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6C482F69-F0EE-9B4B-A3AA-8ED0E10855C9}"/>
              </a:ext>
            </a:extLst>
          </p:cNvPr>
          <p:cNvGrpSpPr/>
          <p:nvPr userDrawn="1"/>
        </p:nvGrpSpPr>
        <p:grpSpPr>
          <a:xfrm>
            <a:off x="7147415" y="3307624"/>
            <a:ext cx="1580322" cy="1530453"/>
            <a:chOff x="5750970" y="405538"/>
            <a:chExt cx="1580322" cy="1530453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05961423-9164-E44F-89AA-4703489EB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057027C5-2881-6D41-B37A-6EB5F95F9D6B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ulti-Company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1EDC3AD-C4DF-7C4D-8D19-AD54564BF376}"/>
              </a:ext>
            </a:extLst>
          </p:cNvPr>
          <p:cNvGrpSpPr/>
          <p:nvPr userDrawn="1"/>
        </p:nvGrpSpPr>
        <p:grpSpPr>
          <a:xfrm>
            <a:off x="5752381" y="3322404"/>
            <a:ext cx="1580322" cy="1719741"/>
            <a:chOff x="2980152" y="3322404"/>
            <a:chExt cx="1580322" cy="1719741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53CAC480-8A14-E942-AF0D-3479B89C3169}"/>
                </a:ext>
              </a:extLst>
            </p:cNvPr>
            <p:cNvSpPr txBox="1"/>
            <p:nvPr/>
          </p:nvSpPr>
          <p:spPr>
            <a:xfrm>
              <a:off x="2980152" y="458048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Low Thermal Conductivity</a:t>
              </a:r>
            </a:p>
          </p:txBody>
        </p:sp>
        <p:pic>
          <p:nvPicPr>
            <p:cNvPr id="241" name="Picture 240" descr="A close up of a logo&#10;&#10;Description automatically generated">
              <a:extLst>
                <a:ext uri="{FF2B5EF4-FFF2-40B4-BE49-F238E27FC236}">
                  <a16:creationId xmlns:a16="http://schemas.microsoft.com/office/drawing/2014/main" id="{BDCA369E-9F57-9843-A26C-551A65D49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73066" y="3322404"/>
              <a:ext cx="1440000" cy="1440000"/>
            </a:xfrm>
            <a:prstGeom prst="rect">
              <a:avLst/>
            </a:prstGeom>
          </p:spPr>
        </p:pic>
      </p:grpSp>
      <p:pic>
        <p:nvPicPr>
          <p:cNvPr id="242" name="Picture 241" descr="A close up of a logo&#10;&#10;Description automatically generated">
            <a:extLst>
              <a:ext uri="{FF2B5EF4-FFF2-40B4-BE49-F238E27FC236}">
                <a16:creationId xmlns:a16="http://schemas.microsoft.com/office/drawing/2014/main" id="{4C306442-58F5-5A47-AFC2-5A4559620D11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4823" y="1761923"/>
            <a:ext cx="1440000" cy="1440000"/>
          </a:xfrm>
          <a:prstGeom prst="rect">
            <a:avLst/>
          </a:prstGeom>
        </p:spPr>
      </p:pic>
      <p:pic>
        <p:nvPicPr>
          <p:cNvPr id="243" name="Picture 242" descr="A close up of a logo&#10;&#10;Description automatically generated">
            <a:extLst>
              <a:ext uri="{FF2B5EF4-FFF2-40B4-BE49-F238E27FC236}">
                <a16:creationId xmlns:a16="http://schemas.microsoft.com/office/drawing/2014/main" id="{37C829E3-2E24-A14D-ABCA-3B0A5AA92299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2763" y="1767617"/>
            <a:ext cx="1440000" cy="1440000"/>
          </a:xfrm>
          <a:prstGeom prst="rect">
            <a:avLst/>
          </a:prstGeom>
        </p:spPr>
      </p:pic>
      <p:sp>
        <p:nvSpPr>
          <p:cNvPr id="244" name="TextBox 243">
            <a:extLst>
              <a:ext uri="{FF2B5EF4-FFF2-40B4-BE49-F238E27FC236}">
                <a16:creationId xmlns:a16="http://schemas.microsoft.com/office/drawing/2014/main" id="{4CFF9556-6CB0-E748-8A9C-BCB871C1A852}"/>
              </a:ext>
            </a:extLst>
          </p:cNvPr>
          <p:cNvSpPr txBox="1"/>
          <p:nvPr userDrawn="1"/>
        </p:nvSpPr>
        <p:spPr>
          <a:xfrm>
            <a:off x="715466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07805582-7E54-DD4A-9271-9561F3DA171B}"/>
              </a:ext>
            </a:extLst>
          </p:cNvPr>
          <p:cNvSpPr txBox="1"/>
          <p:nvPr userDrawn="1"/>
        </p:nvSpPr>
        <p:spPr>
          <a:xfrm>
            <a:off x="854260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</p:spTree>
    <p:extLst>
      <p:ext uri="{BB962C8B-B14F-4D97-AF65-F5344CB8AC3E}">
        <p14:creationId xmlns:p14="http://schemas.microsoft.com/office/powerpoint/2010/main" val="1206425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05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E0753F-4CF5-0249-99E2-78D9368551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267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A191C85-8222-C049-9D1C-4D066189C0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704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2375" t="27833" r="42531" b="51236"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80083D-ED1D-A14E-AB59-11EE03FDC6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540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</a:t>
            </a:r>
            <a:r>
              <a:rPr lang="en-GB" dirty="0" err="1"/>
              <a:t>Klargester</a:t>
            </a:r>
            <a:r>
              <a:rPr lang="en-GB" dirty="0"/>
              <a:t> brand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14E8BA2-96AA-D443-B26D-17071E739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678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Use this logo placement. For Co-branded slides mentioning the Planet Passionate.</a:t>
            </a:r>
          </a:p>
          <a:p>
            <a:pPr lvl="0"/>
            <a:r>
              <a:rPr lang="en-GB" dirty="0"/>
              <a:t>Alternatively Click View&gt;MASTER&gt;Slide Master</a:t>
            </a:r>
            <a:br>
              <a:rPr lang="en-GB" dirty="0"/>
            </a:br>
            <a:r>
              <a:rPr lang="en-GB" dirty="0"/>
              <a:t>-Select the logo and copy to clipboard.</a:t>
            </a:r>
            <a:br>
              <a:rPr lang="en-GB" dirty="0"/>
            </a:br>
            <a:r>
              <a:rPr lang="en-GB" dirty="0"/>
              <a:t>-Close master and paste on a slide of your choosing.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9DDE4E-439C-584A-9367-471280FC2F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839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2D56AAE-6755-884D-9729-A3748131BB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128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A39A48A-1B62-F642-8CA6-53864C1F171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EB265DC-753B-A04E-AEED-322969FA79D3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Subtitle 2">
            <a:extLst>
              <a:ext uri="{FF2B5EF4-FFF2-40B4-BE49-F238E27FC236}">
                <a16:creationId xmlns:a16="http://schemas.microsoft.com/office/drawing/2014/main" id="{FBA345E0-EE21-5C40-9A9E-7CBADF7B171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95459B0-3CE0-F742-A537-8BB9245B20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835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600"/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683EF78-36EB-B347-8002-51E747491FD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210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9615A174-4F8A-2F4B-9A8E-80A3491D38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478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7CF87F0-7E8F-904C-8D99-7DBEEF328B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228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D5FF9B05-B734-3C45-83E4-FDCEFC88B1C7}"/>
              </a:ext>
            </a:extLst>
          </p:cNvPr>
          <p:cNvGrpSpPr/>
          <p:nvPr userDrawn="1"/>
        </p:nvGrpSpPr>
        <p:grpSpPr>
          <a:xfrm>
            <a:off x="2992453" y="1617206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C4E3C020-A2BA-FB48-BB4C-F1C06698B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AAFEBB2E-BF9F-EA4E-9E9F-8FC47713F20C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cesses &amp; Data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B251DC2-41E1-3B4F-BC53-EF5605D64E9E}"/>
              </a:ext>
            </a:extLst>
          </p:cNvPr>
          <p:cNvGrpSpPr/>
          <p:nvPr userDrawn="1"/>
        </p:nvGrpSpPr>
        <p:grpSpPr>
          <a:xfrm>
            <a:off x="1621801" y="1622141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79B6A91C-1C58-324E-A8D3-8C58CF090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DC0F5970-5AE7-1A4B-BCBA-2320E932293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ject Tracking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320A5C4F-2848-8F4C-94DB-9D8E9FFE1133}"/>
              </a:ext>
            </a:extLst>
          </p:cNvPr>
          <p:cNvGrpSpPr/>
          <p:nvPr userDrawn="1"/>
        </p:nvGrpSpPr>
        <p:grpSpPr>
          <a:xfrm>
            <a:off x="4406194" y="1610210"/>
            <a:ext cx="1580322" cy="1722115"/>
            <a:chOff x="5750970" y="3968750"/>
            <a:chExt cx="1580322" cy="172211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1189C764-F6DB-FE45-9AB2-63E7DBC1C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74960FCF-5DDF-7B4D-BE10-E4DC4F857604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umping </a:t>
              </a:r>
              <a:br>
                <a:rPr lang="en-US" sz="1200" dirty="0"/>
              </a:br>
              <a:r>
                <a:rPr lang="en-US" sz="1200" dirty="0"/>
                <a:t>Stations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187FBFA-B3A4-254E-A187-F4E2EFCA49D6}"/>
              </a:ext>
            </a:extLst>
          </p:cNvPr>
          <p:cNvGrpSpPr/>
          <p:nvPr userDrawn="1"/>
        </p:nvGrpSpPr>
        <p:grpSpPr>
          <a:xfrm>
            <a:off x="5748340" y="1619297"/>
            <a:ext cx="1580322" cy="1530453"/>
            <a:chOff x="3896140" y="405538"/>
            <a:chExt cx="1580322" cy="1530453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0FD9866B-EC00-C043-8824-E82A94C72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9027EFED-85E1-D549-BAB5-9A2B9FE20D31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 Control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E19EF0FC-78B3-1B4E-B9B3-FA249C9CC8A8}"/>
              </a:ext>
            </a:extLst>
          </p:cNvPr>
          <p:cNvGrpSpPr/>
          <p:nvPr userDrawn="1"/>
        </p:nvGrpSpPr>
        <p:grpSpPr>
          <a:xfrm>
            <a:off x="7158370" y="1607240"/>
            <a:ext cx="1580322" cy="1532435"/>
            <a:chOff x="7667309" y="2169250"/>
            <a:chExt cx="1580322" cy="1532435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0364D460-89CF-2047-A881-C6B0203A3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3A7B073D-7A15-BF4A-936D-0AA7A7118E5A}"/>
                </a:ext>
              </a:extLst>
            </p:cNvPr>
            <p:cNvSpPr txBox="1"/>
            <p:nvPr/>
          </p:nvSpPr>
          <p:spPr>
            <a:xfrm>
              <a:off x="7667309" y="342468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1DE3D6AA-67AD-164A-803F-586500EDB5A2}"/>
              </a:ext>
            </a:extLst>
          </p:cNvPr>
          <p:cNvGrpSpPr/>
          <p:nvPr userDrawn="1"/>
        </p:nvGrpSpPr>
        <p:grpSpPr>
          <a:xfrm>
            <a:off x="365149" y="1625181"/>
            <a:ext cx="1580322" cy="1530453"/>
            <a:chOff x="9480376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8727F5C-3D5B-124D-8161-B468684C9B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26C3FF5-ABAD-4949-BA71-EB4D618BE55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ortable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760EC1A-EBE2-6F4D-B23F-9258112B15BA}"/>
              </a:ext>
            </a:extLst>
          </p:cNvPr>
          <p:cNvGrpSpPr/>
          <p:nvPr userDrawn="1"/>
        </p:nvGrpSpPr>
        <p:grpSpPr>
          <a:xfrm>
            <a:off x="8531671" y="1607240"/>
            <a:ext cx="1580322" cy="1519720"/>
            <a:chOff x="7667309" y="2169250"/>
            <a:chExt cx="1580322" cy="1519720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4686F63-1BCA-FC4E-9E27-3CB984408C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5462DC1F-8C40-DB48-991F-49E5A02E8052}"/>
                </a:ext>
              </a:extLst>
            </p:cNvPr>
            <p:cNvSpPr txBox="1"/>
            <p:nvPr/>
          </p:nvSpPr>
          <p:spPr>
            <a:xfrm>
              <a:off x="7667309" y="341197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cycling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2FE3-1BA6-1340-8FA3-F3FF7C50AE60}"/>
              </a:ext>
            </a:extLst>
          </p:cNvPr>
          <p:cNvGrpSpPr/>
          <p:nvPr userDrawn="1"/>
        </p:nvGrpSpPr>
        <p:grpSpPr>
          <a:xfrm>
            <a:off x="9943929" y="1613389"/>
            <a:ext cx="1580322" cy="1534270"/>
            <a:chOff x="3896140" y="2169250"/>
            <a:chExt cx="1580322" cy="1534270"/>
          </a:xfrm>
        </p:grpSpPr>
        <p:pic>
          <p:nvPicPr>
            <p:cNvPr id="192" name="Picture 19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FCBBFB0-F7D6-304F-AE1A-F29DE2973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CF9AA23D-4538-4344-9C30-AB3CE2029482}"/>
                </a:ext>
              </a:extLst>
            </p:cNvPr>
            <p:cNvSpPr txBox="1"/>
            <p:nvPr/>
          </p:nvSpPr>
          <p:spPr>
            <a:xfrm>
              <a:off x="3896140" y="342652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ainwater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626DB841-8413-B249-A985-397E6F8C5918}"/>
              </a:ext>
            </a:extLst>
          </p:cNvPr>
          <p:cNvGrpSpPr/>
          <p:nvPr userDrawn="1"/>
        </p:nvGrpSpPr>
        <p:grpSpPr>
          <a:xfrm>
            <a:off x="364907" y="3334873"/>
            <a:ext cx="1580322" cy="1702577"/>
            <a:chOff x="9480376" y="2169250"/>
            <a:chExt cx="1580322" cy="1702577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B90CF042-2A6F-0A42-BD3F-CEAE17D81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27D6A808-E45D-154E-8799-26F7374C48C8}"/>
                </a:ext>
              </a:extLst>
            </p:cNvPr>
            <p:cNvSpPr txBox="1"/>
            <p:nvPr/>
          </p:nvSpPr>
          <p:spPr>
            <a:xfrm>
              <a:off x="9480376" y="34101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gulations Compliant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0723FB96-6C9E-AD4E-9E0B-0C9080331A47}"/>
              </a:ext>
            </a:extLst>
          </p:cNvPr>
          <p:cNvGrpSpPr/>
          <p:nvPr userDrawn="1"/>
        </p:nvGrpSpPr>
        <p:grpSpPr>
          <a:xfrm>
            <a:off x="1694588" y="3335589"/>
            <a:ext cx="1580322" cy="1537586"/>
            <a:chOff x="7667309" y="3968613"/>
            <a:chExt cx="1580322" cy="1537586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B2590BB-C06E-0247-B2BF-98D76BA90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1D1B94C6-3AA0-414C-BE2C-D42D7D0E737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aves Money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822D493-F8E1-F347-8D07-88EA0FA4A027}"/>
              </a:ext>
            </a:extLst>
          </p:cNvPr>
          <p:cNvGrpSpPr/>
          <p:nvPr userDrawn="1"/>
        </p:nvGrpSpPr>
        <p:grpSpPr>
          <a:xfrm>
            <a:off x="9940811" y="3331694"/>
            <a:ext cx="1580322" cy="1537449"/>
            <a:chOff x="9480376" y="3968750"/>
            <a:chExt cx="1580322" cy="1537449"/>
          </a:xfrm>
        </p:grpSpPr>
        <p:pic>
          <p:nvPicPr>
            <p:cNvPr id="201" name="Picture 200" descr="A close up of a sign&#10;&#10;Description automatically generated">
              <a:extLst>
                <a:ext uri="{FF2B5EF4-FFF2-40B4-BE49-F238E27FC236}">
                  <a16:creationId xmlns:a16="http://schemas.microsoft.com/office/drawing/2014/main" id="{D8D500D4-2091-D141-82C4-58D2928E9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E61E58B-2A00-5A4D-821E-7A7F9A895651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utions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43B416DE-BA12-4B44-8994-2A96850E7344}"/>
              </a:ext>
            </a:extLst>
          </p:cNvPr>
          <p:cNvGrpSpPr/>
          <p:nvPr userDrawn="1"/>
        </p:nvGrpSpPr>
        <p:grpSpPr>
          <a:xfrm>
            <a:off x="348263" y="5007655"/>
            <a:ext cx="1580322" cy="1537586"/>
            <a:chOff x="2063552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DDCA9CEF-8587-B841-896C-91455A6CE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2774260C-04D7-EF4E-BCE3-C29A5358D0B2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mall Footprint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B9B2FDF0-C1D7-6442-B9CC-BF01348A9D2A}"/>
              </a:ext>
            </a:extLst>
          </p:cNvPr>
          <p:cNvGrpSpPr/>
          <p:nvPr userDrawn="1"/>
        </p:nvGrpSpPr>
        <p:grpSpPr>
          <a:xfrm>
            <a:off x="8538251" y="3338690"/>
            <a:ext cx="1580322" cy="1530453"/>
            <a:chOff x="3896140" y="405538"/>
            <a:chExt cx="1580322" cy="1530453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C028BE95-2B6D-714B-8F76-039F58A76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AA82EC1F-5879-054A-9B10-84D405848878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hallow Dig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17D212F4-38F1-904F-9465-CFE2BA9A864E}"/>
              </a:ext>
            </a:extLst>
          </p:cNvPr>
          <p:cNvGrpSpPr/>
          <p:nvPr userDrawn="1"/>
        </p:nvGrpSpPr>
        <p:grpSpPr>
          <a:xfrm>
            <a:off x="4381418" y="3331694"/>
            <a:ext cx="1580322" cy="1537449"/>
            <a:chOff x="2063552" y="3968750"/>
            <a:chExt cx="1580322" cy="1537449"/>
          </a:xfrm>
        </p:grpSpPr>
        <p:pic>
          <p:nvPicPr>
            <p:cNvPr id="210" name="Picture 20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5C86CA9-BD63-F041-90F5-2B9F44622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40DE84B5-0AD6-3C4E-9262-045C36511B3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9B01FA4-39B4-F14E-B2AF-41D44DD00344}"/>
              </a:ext>
            </a:extLst>
          </p:cNvPr>
          <p:cNvGrpSpPr/>
          <p:nvPr userDrawn="1"/>
        </p:nvGrpSpPr>
        <p:grpSpPr>
          <a:xfrm>
            <a:off x="5780961" y="3331694"/>
            <a:ext cx="1580322" cy="1530453"/>
            <a:chOff x="2063552" y="405538"/>
            <a:chExt cx="1580322" cy="1530453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05123355-5585-C44D-8DD2-355D8A788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F5C72FF9-43EC-C645-9BCB-796FCA96B54B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0CDC5290-D307-224D-B1BD-859A0685A92B}"/>
              </a:ext>
            </a:extLst>
          </p:cNvPr>
          <p:cNvGrpSpPr/>
          <p:nvPr userDrawn="1"/>
        </p:nvGrpSpPr>
        <p:grpSpPr>
          <a:xfrm>
            <a:off x="7139575" y="3331694"/>
            <a:ext cx="1580322" cy="1533162"/>
            <a:chOff x="7667309" y="2169250"/>
            <a:chExt cx="1580322" cy="1533162"/>
          </a:xfrm>
        </p:grpSpPr>
        <p:pic>
          <p:nvPicPr>
            <p:cNvPr id="216" name="Picture 21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8007F9AE-54C8-6046-8B24-86DB14EED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A8C2A97D-4925-6F4D-B883-11C673198F20}"/>
                </a:ext>
              </a:extLst>
            </p:cNvPr>
            <p:cNvSpPr txBox="1"/>
            <p:nvPr/>
          </p:nvSpPr>
          <p:spPr>
            <a:xfrm>
              <a:off x="7667309" y="342541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cure Login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38E2671E-0AC0-F64A-916E-7168528EB017}"/>
              </a:ext>
            </a:extLst>
          </p:cNvPr>
          <p:cNvGrpSpPr/>
          <p:nvPr userDrawn="1"/>
        </p:nvGrpSpPr>
        <p:grpSpPr>
          <a:xfrm>
            <a:off x="3011106" y="3338345"/>
            <a:ext cx="1580322" cy="1722115"/>
            <a:chOff x="367748" y="3968750"/>
            <a:chExt cx="1580322" cy="1722115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2DAC62A9-89E8-9D42-8FEA-1A0D5E2C4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52932A-4C25-FF40-A317-8F0F82775CE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rvice &amp; Mainten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283C09C6-E58E-1B4B-AE0E-250F7BA6013E}"/>
              </a:ext>
            </a:extLst>
          </p:cNvPr>
          <p:cNvGrpSpPr/>
          <p:nvPr userDrawn="1"/>
        </p:nvGrpSpPr>
        <p:grpSpPr>
          <a:xfrm>
            <a:off x="1636940" y="5011222"/>
            <a:ext cx="1580322" cy="1530453"/>
            <a:chOff x="5750970" y="405538"/>
            <a:chExt cx="1580322" cy="1530453"/>
          </a:xfrm>
        </p:grpSpPr>
        <p:pic>
          <p:nvPicPr>
            <p:cNvPr id="222" name="Picture 221" descr="A picture containing clock, drawing&#10;&#10;Description automatically generated">
              <a:extLst>
                <a:ext uri="{FF2B5EF4-FFF2-40B4-BE49-F238E27FC236}">
                  <a16:creationId xmlns:a16="http://schemas.microsoft.com/office/drawing/2014/main" id="{092E7878-B49C-E442-AC66-75B1B2A83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C2B30F84-6783-254E-BA7B-4F65CC1A13EE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cial Offer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AA8DBC51-2D8C-F041-98FE-A6C3C2CAD5A2}"/>
              </a:ext>
            </a:extLst>
          </p:cNvPr>
          <p:cNvGrpSpPr/>
          <p:nvPr userDrawn="1"/>
        </p:nvGrpSpPr>
        <p:grpSpPr>
          <a:xfrm>
            <a:off x="5768685" y="5007655"/>
            <a:ext cx="1580322" cy="1537586"/>
            <a:chOff x="9480376" y="3968613"/>
            <a:chExt cx="1580322" cy="1537586"/>
          </a:xfrm>
        </p:grpSpPr>
        <p:pic>
          <p:nvPicPr>
            <p:cNvPr id="225" name="Picture 224" descr="A close up of a sign&#10;&#10;Description automatically generated">
              <a:extLst>
                <a:ext uri="{FF2B5EF4-FFF2-40B4-BE49-F238E27FC236}">
                  <a16:creationId xmlns:a16="http://schemas.microsoft.com/office/drawing/2014/main" id="{ED0835FD-FFC1-764A-9945-99103A8F9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C7DBCD7C-2EA8-DF4B-9FF4-034C4D4CE8BD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te Visit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F8677F9F-1009-1C47-BFDC-4A288375C333}"/>
              </a:ext>
            </a:extLst>
          </p:cNvPr>
          <p:cNvGrpSpPr/>
          <p:nvPr userDrawn="1"/>
        </p:nvGrpSpPr>
        <p:grpSpPr>
          <a:xfrm>
            <a:off x="8543219" y="5011222"/>
            <a:ext cx="1580322" cy="1530453"/>
            <a:chOff x="9480376" y="405538"/>
            <a:chExt cx="1580322" cy="1530453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6BC42775-981F-E244-A04C-7F84D3509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C70A05B1-78E9-6E4A-BDFC-728EF7BDE40F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trength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E5501891-2A00-2748-9864-8C1FDE7676CE}"/>
              </a:ext>
            </a:extLst>
          </p:cNvPr>
          <p:cNvGrpSpPr/>
          <p:nvPr userDrawn="1"/>
        </p:nvGrpSpPr>
        <p:grpSpPr>
          <a:xfrm>
            <a:off x="4367367" y="5008814"/>
            <a:ext cx="1580322" cy="1535268"/>
            <a:chOff x="3896140" y="2169250"/>
            <a:chExt cx="1580322" cy="1535268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B9A467E9-44FF-8B47-BFEF-C83E4B84E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7F018EDF-9D26-DB4E-92AE-DB0377544BF3}"/>
                </a:ext>
              </a:extLst>
            </p:cNvPr>
            <p:cNvSpPr txBox="1"/>
            <p:nvPr/>
          </p:nvSpPr>
          <p:spPr>
            <a:xfrm>
              <a:off x="3896140" y="342751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ar Powered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8AC17010-A3BD-784A-AAFE-2DB0F00957E5}"/>
              </a:ext>
            </a:extLst>
          </p:cNvPr>
          <p:cNvGrpSpPr/>
          <p:nvPr userDrawn="1"/>
        </p:nvGrpSpPr>
        <p:grpSpPr>
          <a:xfrm>
            <a:off x="7125524" y="5028537"/>
            <a:ext cx="1580322" cy="1704771"/>
            <a:chOff x="7667309" y="2169250"/>
            <a:chExt cx="1580322" cy="170477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5B873053-38F6-474E-930F-327E70A53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FF696787-2BE6-974F-836C-75EE5D892D89}"/>
                </a:ext>
              </a:extLst>
            </p:cNvPr>
            <p:cNvSpPr txBox="1"/>
            <p:nvPr/>
          </p:nvSpPr>
          <p:spPr>
            <a:xfrm>
              <a:off x="7667309" y="341235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ngle Piece System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1DCDABB0-46F8-0C4E-9E5B-987D611089FD}"/>
              </a:ext>
            </a:extLst>
          </p:cNvPr>
          <p:cNvGrpSpPr/>
          <p:nvPr userDrawn="1"/>
        </p:nvGrpSpPr>
        <p:grpSpPr>
          <a:xfrm>
            <a:off x="3081267" y="5002145"/>
            <a:ext cx="1440000" cy="1548606"/>
            <a:chOff x="447469" y="435355"/>
            <a:chExt cx="1440000" cy="1548606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120CE43A-E423-CD4D-A369-014543A1F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469" y="435355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31917F9E-AF1F-6143-B212-E2D90BC72999}"/>
                </a:ext>
              </a:extLst>
            </p:cNvPr>
            <p:cNvSpPr txBox="1"/>
            <p:nvPr/>
          </p:nvSpPr>
          <p:spPr>
            <a:xfrm>
              <a:off x="623888" y="1706962"/>
              <a:ext cx="10933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ed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E428DF4-B435-C54D-A86C-981018C62D88}"/>
              </a:ext>
            </a:extLst>
          </p:cNvPr>
          <p:cNvGrpSpPr/>
          <p:nvPr userDrawn="1"/>
        </p:nvGrpSpPr>
        <p:grpSpPr>
          <a:xfrm>
            <a:off x="9935378" y="4912057"/>
            <a:ext cx="1580322" cy="1728783"/>
            <a:chOff x="2980152" y="439844"/>
            <a:chExt cx="1580322" cy="1728783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DBBD4DFA-1A7C-C04D-8851-983348BB9835}"/>
                </a:ext>
              </a:extLst>
            </p:cNvPr>
            <p:cNvSpPr txBox="1"/>
            <p:nvPr/>
          </p:nvSpPr>
          <p:spPr>
            <a:xfrm>
              <a:off x="2980152" y="17069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241" name="Picture 24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36CB3935-6F60-AA44-B73D-49F280D85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71607" y="439844"/>
              <a:ext cx="1440001" cy="1440001"/>
            </a:xfrm>
            <a:prstGeom prst="rect">
              <a:avLst/>
            </a:prstGeom>
          </p:spPr>
        </p:pic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4E0594-3FC5-284C-8CA8-142703B2E5C8}"/>
              </a:ext>
            </a:extLst>
          </p:cNvPr>
          <p:cNvGrpSpPr/>
          <p:nvPr userDrawn="1"/>
        </p:nvGrpSpPr>
        <p:grpSpPr>
          <a:xfrm>
            <a:off x="2988608" y="32068"/>
            <a:ext cx="1580322" cy="1530453"/>
            <a:chOff x="9480376" y="405538"/>
            <a:chExt cx="1580322" cy="1530453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71AE286F-954F-4A43-AE0F-7D522CDF4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07592D84-2A7D-5A41-B872-17BC093CFDFB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ur Values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9D662942-B567-8D4C-982A-9B579FA1D5C2}"/>
              </a:ext>
            </a:extLst>
          </p:cNvPr>
          <p:cNvGrpSpPr/>
          <p:nvPr userDrawn="1"/>
        </p:nvGrpSpPr>
        <p:grpSpPr>
          <a:xfrm>
            <a:off x="367748" y="32068"/>
            <a:ext cx="1580322" cy="1530453"/>
            <a:chOff x="7667309" y="405538"/>
            <a:chExt cx="1580322" cy="1530453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28C6A8B0-0869-5D4B-88AB-B1C66AD22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396C7199-7469-024C-8A76-CDCB271DBA0D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Odour</a:t>
              </a:r>
              <a:r>
                <a:rPr lang="en-US" sz="1200" dirty="0"/>
                <a:t> Free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0E488593-FAD3-8F44-8F34-07D25BED6DBB}"/>
              </a:ext>
            </a:extLst>
          </p:cNvPr>
          <p:cNvGrpSpPr/>
          <p:nvPr userDrawn="1"/>
        </p:nvGrpSpPr>
        <p:grpSpPr>
          <a:xfrm>
            <a:off x="1622444" y="33832"/>
            <a:ext cx="1580322" cy="1531754"/>
            <a:chOff x="7667309" y="2169250"/>
            <a:chExt cx="1580322" cy="1531754"/>
          </a:xfrm>
        </p:grpSpPr>
        <p:pic>
          <p:nvPicPr>
            <p:cNvPr id="249" name="Picture 248" descr="A close up of a logo&#10;&#10;Description automatically generated">
              <a:extLst>
                <a:ext uri="{FF2B5EF4-FFF2-40B4-BE49-F238E27FC236}">
                  <a16:creationId xmlns:a16="http://schemas.microsoft.com/office/drawing/2014/main" id="{4C160267-0103-8843-AECF-D6336149C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CA58BF1D-0A20-2A4F-8307-1F2613CB743B}"/>
                </a:ext>
              </a:extLst>
            </p:cNvPr>
            <p:cNvSpPr txBox="1"/>
            <p:nvPr/>
          </p:nvSpPr>
          <p:spPr>
            <a:xfrm>
              <a:off x="7667309" y="34240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ffic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C2A1B2BB-A4DA-6048-81B4-ADF88CCE01F5}"/>
              </a:ext>
            </a:extLst>
          </p:cNvPr>
          <p:cNvGrpSpPr/>
          <p:nvPr userDrawn="1"/>
        </p:nvGrpSpPr>
        <p:grpSpPr>
          <a:xfrm>
            <a:off x="8533073" y="32068"/>
            <a:ext cx="1580322" cy="1530453"/>
            <a:chOff x="2063552" y="405538"/>
            <a:chExt cx="1580322" cy="1530453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F3C3B792-8EB9-0141-9595-2247AE002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0681653-5B27-2743-9DCD-810057A26B41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hon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E226A9B4-8892-DE46-86E7-4A69C0FE21EF}"/>
              </a:ext>
            </a:extLst>
          </p:cNvPr>
          <p:cNvGrpSpPr/>
          <p:nvPr userDrawn="1"/>
        </p:nvGrpSpPr>
        <p:grpSpPr>
          <a:xfrm>
            <a:off x="9976412" y="33982"/>
            <a:ext cx="1580322" cy="1522052"/>
            <a:chOff x="9480376" y="2169250"/>
            <a:chExt cx="1580322" cy="1522052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B207A063-F812-314B-9FDF-09F49A4E3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9A94FDB4-6307-E441-8D4A-86777CB963BF}"/>
                </a:ext>
              </a:extLst>
            </p:cNvPr>
            <p:cNvSpPr txBox="1"/>
            <p:nvPr/>
          </p:nvSpPr>
          <p:spPr>
            <a:xfrm>
              <a:off x="9480376" y="341430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lastic Bottle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C63AFDD5-CE96-3D48-A605-D5B370572B40}"/>
              </a:ext>
            </a:extLst>
          </p:cNvPr>
          <p:cNvGrpSpPr/>
          <p:nvPr userDrawn="1"/>
        </p:nvGrpSpPr>
        <p:grpSpPr>
          <a:xfrm>
            <a:off x="4368417" y="32068"/>
            <a:ext cx="1580322" cy="1522478"/>
            <a:chOff x="2063552" y="2169250"/>
            <a:chExt cx="1580322" cy="1522478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8A5A345F-615C-7F48-BFF3-A4B0C04977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A0E364DB-97AF-BB45-AA03-22E802AC1877}"/>
                </a:ext>
              </a:extLst>
            </p:cNvPr>
            <p:cNvSpPr txBox="1"/>
            <p:nvPr/>
          </p:nvSpPr>
          <p:spPr>
            <a:xfrm>
              <a:off x="2063552" y="341472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artnerships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E289086-3E8C-764E-AB0A-BC7D77A51BE2}"/>
              </a:ext>
            </a:extLst>
          </p:cNvPr>
          <p:cNvGrpSpPr/>
          <p:nvPr userDrawn="1"/>
        </p:nvGrpSpPr>
        <p:grpSpPr>
          <a:xfrm>
            <a:off x="7156962" y="29028"/>
            <a:ext cx="1580322" cy="1537449"/>
            <a:chOff x="9480376" y="3968750"/>
            <a:chExt cx="1580322" cy="1537449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092241A2-D0FC-5544-8D04-B17D89817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E8ADB606-7C54-8C42-BE14-8B1EC8A3AC95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ace of Mind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02530772-90EE-7C4B-9564-3CD7B6036C55}"/>
              </a:ext>
            </a:extLst>
          </p:cNvPr>
          <p:cNvGrpSpPr/>
          <p:nvPr userDrawn="1"/>
        </p:nvGrpSpPr>
        <p:grpSpPr>
          <a:xfrm>
            <a:off x="5733766" y="32068"/>
            <a:ext cx="1580322" cy="1530453"/>
            <a:chOff x="3896140" y="405538"/>
            <a:chExt cx="1580322" cy="153045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7C029809-6AC7-F347-A4BC-A64858600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789C6533-C103-6F46-9A12-42288513CF2B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destri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58992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6E69647-C502-C441-87EF-3977815DA1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809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B8647F-9952-F446-B6D5-8D7125A485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595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589FAB-72DB-3C47-8A59-E513229C35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737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8B147F-3449-9841-98AE-A51B6A4FB3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763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719F52-3F4D-094F-A7E3-CAB8AD389D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257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F9FCBF-D3C7-5348-A691-5634596B9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7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C036A99-9230-1D44-BD35-B76E66776C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422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F004747-33C9-704E-A2E6-F4C6141C8D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545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0E04F-D46A-C744-A629-DAA67A0816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6252" y="6304866"/>
            <a:ext cx="2254404" cy="4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827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35017B9-77BC-284B-A42C-A296E825A7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520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4570AEBB-C30B-E44D-9111-0AE6C330D3A1}"/>
              </a:ext>
            </a:extLst>
          </p:cNvPr>
          <p:cNvGrpSpPr/>
          <p:nvPr userDrawn="1"/>
        </p:nvGrpSpPr>
        <p:grpSpPr>
          <a:xfrm>
            <a:off x="9944851" y="1769165"/>
            <a:ext cx="1580322" cy="1515700"/>
            <a:chOff x="3896140" y="2169250"/>
            <a:chExt cx="1580322" cy="1515700"/>
          </a:xfrm>
        </p:grpSpPr>
        <p:pic>
          <p:nvPicPr>
            <p:cNvPr id="36" name="Picture 35" descr="A picture containing drawing, clock&#10;&#10;Description automatically generated">
              <a:extLst>
                <a:ext uri="{FF2B5EF4-FFF2-40B4-BE49-F238E27FC236}">
                  <a16:creationId xmlns:a16="http://schemas.microsoft.com/office/drawing/2014/main" id="{9B4BEC6F-AA4F-A545-8C87-99FC179FE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2EA73C-C1ED-5045-B0FB-E4EC61EF34B3}"/>
                </a:ext>
              </a:extLst>
            </p:cNvPr>
            <p:cNvSpPr txBox="1"/>
            <p:nvPr/>
          </p:nvSpPr>
          <p:spPr>
            <a:xfrm>
              <a:off x="3896140" y="340795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ndow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79E4E6E-41B0-9446-BB0C-E30038A9309E}"/>
              </a:ext>
            </a:extLst>
          </p:cNvPr>
          <p:cNvGrpSpPr/>
          <p:nvPr userDrawn="1"/>
        </p:nvGrpSpPr>
        <p:grpSpPr>
          <a:xfrm>
            <a:off x="8598934" y="1775549"/>
            <a:ext cx="1580322" cy="1533056"/>
            <a:chOff x="9480376" y="2169250"/>
            <a:chExt cx="1580322" cy="1533056"/>
          </a:xfrm>
        </p:grpSpPr>
        <p:pic>
          <p:nvPicPr>
            <p:cNvPr id="39" name="Picture 38" descr="A close up of a logo&#10;&#10;Description automatically generated">
              <a:extLst>
                <a:ext uri="{FF2B5EF4-FFF2-40B4-BE49-F238E27FC236}">
                  <a16:creationId xmlns:a16="http://schemas.microsoft.com/office/drawing/2014/main" id="{03BB665C-F40D-8243-9AB6-4B3C48B35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3309480-8DC9-B248-B035-23DB4C3CC6C1}"/>
                </a:ext>
              </a:extLst>
            </p:cNvPr>
            <p:cNvSpPr txBox="1"/>
            <p:nvPr/>
          </p:nvSpPr>
          <p:spPr>
            <a:xfrm>
              <a:off x="9480376" y="3425307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eather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84A8CE6-D7F9-0C41-825A-3122941CC914}"/>
              </a:ext>
            </a:extLst>
          </p:cNvPr>
          <p:cNvGrpSpPr/>
          <p:nvPr userDrawn="1"/>
        </p:nvGrpSpPr>
        <p:grpSpPr>
          <a:xfrm>
            <a:off x="5819456" y="1775053"/>
            <a:ext cx="1580322" cy="1530453"/>
            <a:chOff x="7667309" y="405538"/>
            <a:chExt cx="1580322" cy="1530453"/>
          </a:xfrm>
        </p:grpSpPr>
        <p:pic>
          <p:nvPicPr>
            <p:cNvPr id="42" name="Picture 4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1D98900-CCDA-0446-B28C-EEB537139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C9FAB1A-EDF7-414E-BF78-85CCF32BBEB0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rning/Alert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F5734D8-F6F6-3F4B-85FA-5E4D75B1CA78}"/>
              </a:ext>
            </a:extLst>
          </p:cNvPr>
          <p:cNvGrpSpPr/>
          <p:nvPr userDrawn="1"/>
        </p:nvGrpSpPr>
        <p:grpSpPr>
          <a:xfrm>
            <a:off x="4438655" y="1775549"/>
            <a:ext cx="1580322" cy="1533019"/>
            <a:chOff x="2063552" y="2169250"/>
            <a:chExt cx="1580322" cy="1533019"/>
          </a:xfrm>
        </p:grpSpPr>
        <p:pic>
          <p:nvPicPr>
            <p:cNvPr id="45" name="Picture 44" descr="A close up of a logo&#10;&#10;Description automatically generated">
              <a:extLst>
                <a:ext uri="{FF2B5EF4-FFF2-40B4-BE49-F238E27FC236}">
                  <a16:creationId xmlns:a16="http://schemas.microsoft.com/office/drawing/2014/main" id="{3979F712-4AE5-E949-8186-E7C0E850A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82D9F6E-808A-7246-8A5A-53E0CE58A2A2}"/>
                </a:ext>
              </a:extLst>
            </p:cNvPr>
            <p:cNvSpPr txBox="1"/>
            <p:nvPr/>
          </p:nvSpPr>
          <p:spPr>
            <a:xfrm>
              <a:off x="2063552" y="342527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&amp; Energy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B4F476E-2BA4-1E42-B910-5C33EE507D8D}"/>
              </a:ext>
            </a:extLst>
          </p:cNvPr>
          <p:cNvGrpSpPr/>
          <p:nvPr userDrawn="1"/>
        </p:nvGrpSpPr>
        <p:grpSpPr>
          <a:xfrm>
            <a:off x="7204917" y="1775053"/>
            <a:ext cx="1580322" cy="1906781"/>
            <a:chOff x="367748" y="3968750"/>
            <a:chExt cx="1580322" cy="1906781"/>
          </a:xfrm>
        </p:grpSpPr>
        <p:pic>
          <p:nvPicPr>
            <p:cNvPr id="48" name="Picture 4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13E6C-A104-D643-98BD-2DD1F33BC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9CC41FE-F107-FF4F-A8E7-3565BC178BD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Management Solutions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6B109DB-4D5A-C34E-A718-8FCB29DE4150}"/>
              </a:ext>
            </a:extLst>
          </p:cNvPr>
          <p:cNvGrpSpPr/>
          <p:nvPr userDrawn="1"/>
        </p:nvGrpSpPr>
        <p:grpSpPr>
          <a:xfrm>
            <a:off x="312763" y="3548264"/>
            <a:ext cx="1580322" cy="1518425"/>
            <a:chOff x="367748" y="2169250"/>
            <a:chExt cx="1580322" cy="1518425"/>
          </a:xfrm>
        </p:grpSpPr>
        <p:pic>
          <p:nvPicPr>
            <p:cNvPr id="51" name="Picture 50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412C461-D680-D741-AE16-55D5F4E81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717BF53-325B-2944-A211-D3A206BB23FB}"/>
                </a:ext>
              </a:extLst>
            </p:cNvPr>
            <p:cNvSpPr txBox="1"/>
            <p:nvPr/>
          </p:nvSpPr>
          <p:spPr>
            <a:xfrm>
              <a:off x="367748" y="34106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reles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1D43B28-E605-0544-A061-94103551D3D1}"/>
              </a:ext>
            </a:extLst>
          </p:cNvPr>
          <p:cNvGrpSpPr/>
          <p:nvPr userDrawn="1"/>
        </p:nvGrpSpPr>
        <p:grpSpPr>
          <a:xfrm>
            <a:off x="1679887" y="3544218"/>
            <a:ext cx="1580322" cy="1530453"/>
            <a:chOff x="7667309" y="405538"/>
            <a:chExt cx="1580322" cy="1530453"/>
          </a:xfrm>
        </p:grpSpPr>
        <p:pic>
          <p:nvPicPr>
            <p:cNvPr id="54" name="Picture 5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AECA182-8441-FC4F-B691-A4C74ABFE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5B7E7D3-FF4E-BA4D-A5CD-308BCDC14E8A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C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FEDC0B3-04D1-BF44-B969-DA25682FD9F3}"/>
              </a:ext>
            </a:extLst>
          </p:cNvPr>
          <p:cNvGrpSpPr/>
          <p:nvPr userDrawn="1"/>
        </p:nvGrpSpPr>
        <p:grpSpPr>
          <a:xfrm>
            <a:off x="5855089" y="3524350"/>
            <a:ext cx="1580322" cy="1715118"/>
            <a:chOff x="9480376" y="2169250"/>
            <a:chExt cx="1580322" cy="1715118"/>
          </a:xfrm>
        </p:grpSpPr>
        <p:pic>
          <p:nvPicPr>
            <p:cNvPr id="57" name="Picture 56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2AF0BEC-24E7-DB41-B840-6DFD23E22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8A03034-D395-EF45-89D8-8D2B795E39D0}"/>
                </a:ext>
              </a:extLst>
            </p:cNvPr>
            <p:cNvSpPr txBox="1"/>
            <p:nvPr/>
          </p:nvSpPr>
          <p:spPr>
            <a:xfrm>
              <a:off x="9480376" y="342270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10 Year Guarantee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C0E630D-6D57-2E47-A620-08F55FBA8DDE}"/>
              </a:ext>
            </a:extLst>
          </p:cNvPr>
          <p:cNvGrpSpPr/>
          <p:nvPr userDrawn="1"/>
        </p:nvGrpSpPr>
        <p:grpSpPr>
          <a:xfrm>
            <a:off x="3088827" y="3524350"/>
            <a:ext cx="1580322" cy="1715119"/>
            <a:chOff x="367748" y="405538"/>
            <a:chExt cx="1580322" cy="1715119"/>
          </a:xfrm>
        </p:grpSpPr>
        <p:pic>
          <p:nvPicPr>
            <p:cNvPr id="60" name="Picture 59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31C3E95A-31BC-7842-9595-6F21301F3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F8DD463-B058-E44A-A31A-97584612D06D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60 Years Experience</a:t>
              </a:r>
              <a:endParaRPr lang="en-US" sz="1200" dirty="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534A86F-6563-3E4F-95F3-C2B67DD91F4F}"/>
              </a:ext>
            </a:extLst>
          </p:cNvPr>
          <p:cNvGrpSpPr/>
          <p:nvPr userDrawn="1"/>
        </p:nvGrpSpPr>
        <p:grpSpPr>
          <a:xfrm>
            <a:off x="4469628" y="3514411"/>
            <a:ext cx="1580322" cy="1715119"/>
            <a:chOff x="367748" y="405538"/>
            <a:chExt cx="1580322" cy="1715119"/>
          </a:xfrm>
        </p:grpSpPr>
        <p:pic>
          <p:nvPicPr>
            <p:cNvPr id="63" name="Picture 62" descr="A close up of a logo&#10;&#10;Description automatically generated">
              <a:extLst>
                <a:ext uri="{FF2B5EF4-FFF2-40B4-BE49-F238E27FC236}">
                  <a16:creationId xmlns:a16="http://schemas.microsoft.com/office/drawing/2014/main" id="{781CD0E7-DCB1-C743-8C05-526044B2E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523E7290-B2D2-5E49-874A-9E3DB1AE76A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5 Year</a:t>
              </a:r>
              <a:br>
                <a:rPr lang="en-US" sz="1200" dirty="0"/>
              </a:br>
              <a:r>
                <a:rPr lang="en-US" sz="1200" dirty="0"/>
                <a:t>Guarantee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C21E6CA-E0FC-AC4F-9C44-985FF310F44D}"/>
              </a:ext>
            </a:extLst>
          </p:cNvPr>
          <p:cNvGrpSpPr/>
          <p:nvPr userDrawn="1"/>
        </p:nvGrpSpPr>
        <p:grpSpPr>
          <a:xfrm>
            <a:off x="425327" y="1785108"/>
            <a:ext cx="1439941" cy="1698626"/>
            <a:chOff x="425327" y="14365"/>
            <a:chExt cx="1439941" cy="1698626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17BE41B-859D-1F4E-BAE0-77DC661C0ED1}"/>
                </a:ext>
              </a:extLst>
            </p:cNvPr>
            <p:cNvSpPr txBox="1"/>
            <p:nvPr/>
          </p:nvSpPr>
          <p:spPr>
            <a:xfrm>
              <a:off x="617127" y="1251326"/>
              <a:ext cx="10933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Value of Space</a:t>
              </a:r>
            </a:p>
          </p:txBody>
        </p:sp>
        <p:pic>
          <p:nvPicPr>
            <p:cNvPr id="67" name="Picture 66" descr="A close up of a logo&#10;&#10;Description automatically generated">
              <a:extLst>
                <a:ext uri="{FF2B5EF4-FFF2-40B4-BE49-F238E27FC236}">
                  <a16:creationId xmlns:a16="http://schemas.microsoft.com/office/drawing/2014/main" id="{A7B9F8DA-DE54-5244-88F4-F73738E7E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5327" y="14365"/>
              <a:ext cx="1439941" cy="1439941"/>
            </a:xfrm>
            <a:prstGeom prst="rect">
              <a:avLst/>
            </a:prstGeom>
          </p:spPr>
        </p:pic>
      </p:grpSp>
      <p:pic>
        <p:nvPicPr>
          <p:cNvPr id="68" name="Picture 67" descr="A close up of a logo&#10;&#10;Description automatically generated">
            <a:extLst>
              <a:ext uri="{FF2B5EF4-FFF2-40B4-BE49-F238E27FC236}">
                <a16:creationId xmlns:a16="http://schemas.microsoft.com/office/drawing/2014/main" id="{1C1C2472-D34D-D743-83E9-472FDDE9ACD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3720" y="1770743"/>
            <a:ext cx="1440000" cy="1440000"/>
          </a:xfrm>
          <a:prstGeom prst="rect">
            <a:avLst/>
          </a:prstGeom>
        </p:spPr>
      </p:pic>
      <p:pic>
        <p:nvPicPr>
          <p:cNvPr id="69" name="Picture 68" descr="A close up of a logo&#10;&#10;Description automatically generated">
            <a:extLst>
              <a:ext uri="{FF2B5EF4-FFF2-40B4-BE49-F238E27FC236}">
                <a16:creationId xmlns:a16="http://schemas.microsoft.com/office/drawing/2014/main" id="{1A8D4D40-5926-7E4E-9409-346D94F9A48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7840" y="1770743"/>
            <a:ext cx="1440000" cy="14400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501BCBFB-16E0-674E-8BFA-C2B8B84A3463}"/>
              </a:ext>
            </a:extLst>
          </p:cNvPr>
          <p:cNvSpPr txBox="1"/>
          <p:nvPr userDrawn="1"/>
        </p:nvSpPr>
        <p:spPr>
          <a:xfrm>
            <a:off x="194118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DCBDD38-CEDC-4C45-9F16-63397D74B2D5}"/>
              </a:ext>
            </a:extLst>
          </p:cNvPr>
          <p:cNvSpPr txBox="1"/>
          <p:nvPr userDrawn="1"/>
        </p:nvSpPr>
        <p:spPr>
          <a:xfrm>
            <a:off x="326706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A73E3EA-1058-0945-B47B-B01E5F27DF8C}"/>
              </a:ext>
            </a:extLst>
          </p:cNvPr>
          <p:cNvGrpSpPr/>
          <p:nvPr userDrawn="1"/>
        </p:nvGrpSpPr>
        <p:grpSpPr>
          <a:xfrm>
            <a:off x="418424" y="9898"/>
            <a:ext cx="1440001" cy="1717254"/>
            <a:chOff x="4441292" y="451373"/>
            <a:chExt cx="1440001" cy="1717254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9029692-0A8B-9946-AE15-00C1B5C63887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107" name="Picture 106" descr="A picture containing object, clock&#10;&#10;Description automatically generated">
              <a:extLst>
                <a:ext uri="{FF2B5EF4-FFF2-40B4-BE49-F238E27FC236}">
                  <a16:creationId xmlns:a16="http://schemas.microsoft.com/office/drawing/2014/main" id="{7A1BE080-7C5A-CD46-A875-A8840BBA2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41292" y="451373"/>
              <a:ext cx="1440001" cy="1440001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CD871D3-5D9B-C445-B58A-3F400D10C036}"/>
              </a:ext>
            </a:extLst>
          </p:cNvPr>
          <p:cNvGrpSpPr/>
          <p:nvPr userDrawn="1"/>
        </p:nvGrpSpPr>
        <p:grpSpPr>
          <a:xfrm>
            <a:off x="3015807" y="0"/>
            <a:ext cx="1580322" cy="1530453"/>
            <a:chOff x="2063552" y="405538"/>
            <a:chExt cx="1580322" cy="1530453"/>
          </a:xfrm>
        </p:grpSpPr>
        <p:pic>
          <p:nvPicPr>
            <p:cNvPr id="109" name="Picture 10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5E5B0A6-749C-B448-A592-2864D8A39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E521F28-9561-AD44-B722-533CBBE7DDCF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chnology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BB9F985-9B0F-E047-B510-1BB9EF36F33E}"/>
              </a:ext>
            </a:extLst>
          </p:cNvPr>
          <p:cNvGrpSpPr/>
          <p:nvPr userDrawn="1"/>
        </p:nvGrpSpPr>
        <p:grpSpPr>
          <a:xfrm>
            <a:off x="8563826" y="20904"/>
            <a:ext cx="1580322" cy="1501025"/>
            <a:chOff x="5750970" y="2169250"/>
            <a:chExt cx="1580322" cy="1501025"/>
          </a:xfrm>
        </p:grpSpPr>
        <p:pic>
          <p:nvPicPr>
            <p:cNvPr id="112" name="Picture 111" descr="A close up of a logo&#10;&#10;Description automatically generated">
              <a:extLst>
                <a:ext uri="{FF2B5EF4-FFF2-40B4-BE49-F238E27FC236}">
                  <a16:creationId xmlns:a16="http://schemas.microsoft.com/office/drawing/2014/main" id="{83428831-0B07-C443-A5D9-527124647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FB0C301-92BC-E541-B57F-525F1CEE2CEA}"/>
                </a:ext>
              </a:extLst>
            </p:cNvPr>
            <p:cNvSpPr txBox="1"/>
            <p:nvPr/>
          </p:nvSpPr>
          <p:spPr>
            <a:xfrm>
              <a:off x="5750970" y="33932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rusted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A064281-FE15-D047-AB93-75FFD984539C}"/>
              </a:ext>
            </a:extLst>
          </p:cNvPr>
          <p:cNvGrpSpPr/>
          <p:nvPr userDrawn="1"/>
        </p:nvGrpSpPr>
        <p:grpSpPr>
          <a:xfrm>
            <a:off x="4381418" y="1961"/>
            <a:ext cx="1580322" cy="1537449"/>
            <a:chOff x="3896140" y="3968750"/>
            <a:chExt cx="1580322" cy="1537449"/>
          </a:xfrm>
        </p:grpSpPr>
        <p:pic>
          <p:nvPicPr>
            <p:cNvPr id="115" name="Picture 114" descr="A close up of a logo&#10;&#10;Description automatically generated">
              <a:extLst>
                <a:ext uri="{FF2B5EF4-FFF2-40B4-BE49-F238E27FC236}">
                  <a16:creationId xmlns:a16="http://schemas.microsoft.com/office/drawing/2014/main" id="{7A4E366A-C689-9F45-9BE2-7565B861A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3E2AF2E-D974-BC44-82F4-AAA15C760FD0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lemetry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F05FAF8-30CF-B54D-A9D8-9AD47435166B}"/>
              </a:ext>
            </a:extLst>
          </p:cNvPr>
          <p:cNvGrpSpPr/>
          <p:nvPr userDrawn="1"/>
        </p:nvGrpSpPr>
        <p:grpSpPr>
          <a:xfrm>
            <a:off x="5774501" y="0"/>
            <a:ext cx="1580322" cy="1555646"/>
            <a:chOff x="1638370" y="428315"/>
            <a:chExt cx="1580322" cy="1555646"/>
          </a:xfrm>
        </p:grpSpPr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60DA4B5-6EAA-E84C-AD7B-B149EBD9CD91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in</a:t>
              </a:r>
            </a:p>
          </p:txBody>
        </p:sp>
        <p:pic>
          <p:nvPicPr>
            <p:cNvPr id="119" name="Picture 11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A2C1789-8CA5-0B48-A125-F634DA7011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01611" y="428315"/>
              <a:ext cx="1441450" cy="1441450"/>
            </a:xfrm>
            <a:prstGeom prst="rect">
              <a:avLst/>
            </a:prstGeom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52128973-2794-CD4A-967B-7EA3F6DA1F82}"/>
              </a:ext>
            </a:extLst>
          </p:cNvPr>
          <p:cNvGrpSpPr/>
          <p:nvPr userDrawn="1"/>
        </p:nvGrpSpPr>
        <p:grpSpPr>
          <a:xfrm>
            <a:off x="1699390" y="0"/>
            <a:ext cx="1440000" cy="1738862"/>
            <a:chOff x="5837032" y="429765"/>
            <a:chExt cx="1440000" cy="1738862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1E22EBBD-946D-EE4B-A99A-9BC7B6497A4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Saving</a:t>
              </a:r>
            </a:p>
          </p:txBody>
        </p:sp>
        <p:pic>
          <p:nvPicPr>
            <p:cNvPr id="122" name="Picture 121" descr="A close up of a sign&#10;&#10;Description automatically generated">
              <a:extLst>
                <a:ext uri="{FF2B5EF4-FFF2-40B4-BE49-F238E27FC236}">
                  <a16:creationId xmlns:a16="http://schemas.microsoft.com/office/drawing/2014/main" id="{8C332DCE-70D7-B94D-A86F-41FCCE60F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0E466CF5-77E6-2849-825F-BCE63DDCA0FC}"/>
              </a:ext>
            </a:extLst>
          </p:cNvPr>
          <p:cNvGrpSpPr/>
          <p:nvPr userDrawn="1"/>
        </p:nvGrpSpPr>
        <p:grpSpPr>
          <a:xfrm>
            <a:off x="7139575" y="9709"/>
            <a:ext cx="1580322" cy="1548606"/>
            <a:chOff x="1638370" y="435355"/>
            <a:chExt cx="1580322" cy="1548606"/>
          </a:xfrm>
        </p:grpSpPr>
        <p:pic>
          <p:nvPicPr>
            <p:cNvPr id="124" name="Picture 123" descr="A close up of a logo&#10;&#10;Description automatically generated">
              <a:extLst>
                <a:ext uri="{FF2B5EF4-FFF2-40B4-BE49-F238E27FC236}">
                  <a16:creationId xmlns:a16="http://schemas.microsoft.com/office/drawing/2014/main" id="{29C8F395-99FF-CB41-9A35-870DA67F2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53119" y="435355"/>
              <a:ext cx="1440000" cy="1440000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11004237-79D8-FF41-BB20-F72958AB83CA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ermal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132D0852-F109-4840-8B7D-22633932F88B}"/>
              </a:ext>
            </a:extLst>
          </p:cNvPr>
          <p:cNvGrpSpPr/>
          <p:nvPr userDrawn="1"/>
        </p:nvGrpSpPr>
        <p:grpSpPr>
          <a:xfrm>
            <a:off x="9951586" y="0"/>
            <a:ext cx="1580322" cy="1530453"/>
            <a:chOff x="3896140" y="405538"/>
            <a:chExt cx="1580322" cy="1530453"/>
          </a:xfrm>
        </p:grpSpPr>
        <p:pic>
          <p:nvPicPr>
            <p:cNvPr id="127" name="Picture 126" descr="A close up of a sign&#10;&#10;Description automatically generated">
              <a:extLst>
                <a:ext uri="{FF2B5EF4-FFF2-40B4-BE49-F238E27FC236}">
                  <a16:creationId xmlns:a16="http://schemas.microsoft.com/office/drawing/2014/main" id="{F253349E-D85B-1A40-A086-F689B655B8B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8875A09-5C32-D144-B13C-55E5EB13EEC9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User interfa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26188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F91D14A-A905-AC48-BE7D-61AA9BB0CE0B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2625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6541C1A-BB93-3E44-9370-0C023B673D5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2625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260227-57F8-2644-B85D-64F25A1789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760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8FD18CE-A7CC-0342-99A8-D08B8CBC5F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38763" y="6309320"/>
            <a:ext cx="2261893" cy="43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06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BB4072D-3150-684F-96E4-3E2B94E27921}"/>
              </a:ext>
            </a:extLst>
          </p:cNvPr>
          <p:cNvGrpSpPr/>
          <p:nvPr userDrawn="1"/>
        </p:nvGrpSpPr>
        <p:grpSpPr>
          <a:xfrm>
            <a:off x="374053" y="-12529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0D6FCC16-AC36-7B41-9B9B-3B1A96FD6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4262DF0-E744-6041-AAE9-9D127B7A9AC3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lerts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D6B311C-FDD8-7A4A-9E1B-4E8579537454}"/>
              </a:ext>
            </a:extLst>
          </p:cNvPr>
          <p:cNvGrpSpPr/>
          <p:nvPr userDrawn="1"/>
        </p:nvGrpSpPr>
        <p:grpSpPr>
          <a:xfrm>
            <a:off x="8541224" y="3305151"/>
            <a:ext cx="1580322" cy="1608757"/>
            <a:chOff x="5750970" y="2169250"/>
            <a:chExt cx="1580322" cy="1608757"/>
          </a:xfrm>
        </p:grpSpPr>
        <p:pic>
          <p:nvPicPr>
            <p:cNvPr id="174" name="Picture 173" descr="A close up of a logo&#10;&#10;Description automatically generated">
              <a:extLst>
                <a:ext uri="{FF2B5EF4-FFF2-40B4-BE49-F238E27FC236}">
                  <a16:creationId xmlns:a16="http://schemas.microsoft.com/office/drawing/2014/main" id="{545988BF-965C-AA47-9425-0D6D6D39B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535BD7F4-24A1-0747-87AF-EF4D15762673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se Study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5088489E-7174-F243-A7AA-497CA2725050}"/>
              </a:ext>
            </a:extLst>
          </p:cNvPr>
          <p:cNvGrpSpPr/>
          <p:nvPr userDrawn="1"/>
        </p:nvGrpSpPr>
        <p:grpSpPr>
          <a:xfrm>
            <a:off x="5767441" y="1746216"/>
            <a:ext cx="1580322" cy="1715119"/>
            <a:chOff x="367748" y="405538"/>
            <a:chExt cx="1580322" cy="1715119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9684B06A-814D-4241-89C0-3A6DA490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93807C27-7A76-734F-9F6C-D956CCFA4A62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</a:t>
              </a:r>
            </a:p>
            <a:p>
              <a:pPr algn="ctr"/>
              <a:r>
                <a:rPr lang="en-US" sz="1200" dirty="0"/>
                <a:t>Service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064A34D-C51B-FA46-AAF8-C7D071096ECE}"/>
              </a:ext>
            </a:extLst>
          </p:cNvPr>
          <p:cNvGrpSpPr/>
          <p:nvPr userDrawn="1"/>
        </p:nvGrpSpPr>
        <p:grpSpPr>
          <a:xfrm>
            <a:off x="5773190" y="-28593"/>
            <a:ext cx="1580322" cy="1566045"/>
            <a:chOff x="367748" y="2169250"/>
            <a:chExt cx="1580322" cy="1566045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95E333A6-653E-F645-8071-A8B53C73A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E3DF9503-1188-EF42-874E-90566CC4A8DD}"/>
                </a:ext>
              </a:extLst>
            </p:cNvPr>
            <p:cNvSpPr txBox="1"/>
            <p:nvPr/>
          </p:nvSpPr>
          <p:spPr>
            <a:xfrm>
              <a:off x="367748" y="345829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rand DNA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89866316-E303-0344-BE71-8D9017A98606}"/>
              </a:ext>
            </a:extLst>
          </p:cNvPr>
          <p:cNvGrpSpPr/>
          <p:nvPr userDrawn="1"/>
        </p:nvGrpSpPr>
        <p:grpSpPr>
          <a:xfrm>
            <a:off x="7138849" y="1746216"/>
            <a:ext cx="1580322" cy="1553763"/>
            <a:chOff x="5750970" y="2169250"/>
            <a:chExt cx="1580322" cy="155376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E241773-9743-8D49-ACAA-E64CE7684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46513CAC-B56C-2E49-BFC1-44A1F6A2B074}"/>
                </a:ext>
              </a:extLst>
            </p:cNvPr>
            <p:cNvSpPr txBox="1"/>
            <p:nvPr/>
          </p:nvSpPr>
          <p:spPr>
            <a:xfrm>
              <a:off x="5750970" y="344601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llaboration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7AD6A17-ED90-6547-A570-1EAE684B017F}"/>
              </a:ext>
            </a:extLst>
          </p:cNvPr>
          <p:cNvGrpSpPr/>
          <p:nvPr userDrawn="1"/>
        </p:nvGrpSpPr>
        <p:grpSpPr>
          <a:xfrm>
            <a:off x="390557" y="3313364"/>
            <a:ext cx="1580322" cy="1537449"/>
            <a:chOff x="9480376" y="3968750"/>
            <a:chExt cx="1580322" cy="1537449"/>
          </a:xfrm>
        </p:grpSpPr>
        <p:pic>
          <p:nvPicPr>
            <p:cNvPr id="186" name="Picture 18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B6D36BF-1E77-B047-A477-9B1A19440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5CDFDBC-E158-B549-BB68-75DB5E0F1ED6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act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8D4F745E-0219-0346-8DD9-592D94CD0F1A}"/>
              </a:ext>
            </a:extLst>
          </p:cNvPr>
          <p:cNvGrpSpPr/>
          <p:nvPr userDrawn="1"/>
        </p:nvGrpSpPr>
        <p:grpSpPr>
          <a:xfrm>
            <a:off x="7155839" y="-23657"/>
            <a:ext cx="1580322" cy="1537586"/>
            <a:chOff x="5750970" y="3968613"/>
            <a:chExt cx="1580322" cy="1537586"/>
          </a:xfrm>
        </p:grpSpPr>
        <p:pic>
          <p:nvPicPr>
            <p:cNvPr id="189" name="Picture 188" descr="A close up of a logo&#10;&#10;Description automatically generated">
              <a:extLst>
                <a:ext uri="{FF2B5EF4-FFF2-40B4-BE49-F238E27FC236}">
                  <a16:creationId xmlns:a16="http://schemas.microsoft.com/office/drawing/2014/main" id="{5BEC7397-EA5B-8047-8142-35A4E2846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E0E91293-FA98-274D-A2CA-30660D44AC83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acteria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FF8C05F-938E-3540-AE08-1D6175D46C00}"/>
              </a:ext>
            </a:extLst>
          </p:cNvPr>
          <p:cNvGrpSpPr/>
          <p:nvPr userDrawn="1"/>
        </p:nvGrpSpPr>
        <p:grpSpPr>
          <a:xfrm>
            <a:off x="1627715" y="3302734"/>
            <a:ext cx="1580322" cy="1740157"/>
            <a:chOff x="7667309" y="2169250"/>
            <a:chExt cx="1580322" cy="1740157"/>
          </a:xfrm>
        </p:grpSpPr>
        <p:pic>
          <p:nvPicPr>
            <p:cNvPr id="192" name="Picture 191" descr="A close up of a sign&#10;&#10;Description automatically generated">
              <a:extLst>
                <a:ext uri="{FF2B5EF4-FFF2-40B4-BE49-F238E27FC236}">
                  <a16:creationId xmlns:a16="http://schemas.microsoft.com/office/drawing/2014/main" id="{2BE03BB0-45C2-824D-9534-7FAB7C4E66C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D4D9A9BA-AAC4-B544-A6DC-868CB55D999B}"/>
                </a:ext>
              </a:extLst>
            </p:cNvPr>
            <p:cNvSpPr txBox="1"/>
            <p:nvPr/>
          </p:nvSpPr>
          <p:spPr>
            <a:xfrm>
              <a:off x="7667309" y="344774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pliant Solution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56138BC7-748A-D049-82ED-CAE61EC15437}"/>
              </a:ext>
            </a:extLst>
          </p:cNvPr>
          <p:cNvGrpSpPr/>
          <p:nvPr userDrawn="1"/>
        </p:nvGrpSpPr>
        <p:grpSpPr>
          <a:xfrm>
            <a:off x="374053" y="1763790"/>
            <a:ext cx="1580322" cy="1530453"/>
            <a:chOff x="367748" y="405538"/>
            <a:chExt cx="1580322" cy="1530453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64632124-D98E-4C47-B909-97AA1F99C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561DC6A-9438-874F-AA4C-5AEC225CF95B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lendar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588EF020-AE7A-2B48-9265-38C1075295F9}"/>
              </a:ext>
            </a:extLst>
          </p:cNvPr>
          <p:cNvGrpSpPr/>
          <p:nvPr userDrawn="1"/>
        </p:nvGrpSpPr>
        <p:grpSpPr>
          <a:xfrm>
            <a:off x="1637039" y="1750338"/>
            <a:ext cx="1580322" cy="1530453"/>
            <a:chOff x="2063552" y="405538"/>
            <a:chExt cx="1580322" cy="1530453"/>
          </a:xfrm>
        </p:grpSpPr>
        <p:pic>
          <p:nvPicPr>
            <p:cNvPr id="198" name="Picture 197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16375AE-E24C-3744-9A70-E2C84CEEB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35A4F2E9-4BE7-1E4B-B530-BC1CD4ADCE1C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art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910D802-A6C8-274C-9C65-47AFAC4CFE8B}"/>
              </a:ext>
            </a:extLst>
          </p:cNvPr>
          <p:cNvGrpSpPr/>
          <p:nvPr userDrawn="1"/>
        </p:nvGrpSpPr>
        <p:grpSpPr>
          <a:xfrm>
            <a:off x="1643847" y="-28593"/>
            <a:ext cx="1580322" cy="1722252"/>
            <a:chOff x="367748" y="3968613"/>
            <a:chExt cx="1580322" cy="1722252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2B8E77AE-2D9B-4A47-8684-1C0D40558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37909" y="3968613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7C81AE6-3996-7647-A9B4-8438B7CFC46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ccredited Installer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08690EF9-DDDF-1F40-818B-75754B172961}"/>
              </a:ext>
            </a:extLst>
          </p:cNvPr>
          <p:cNvGrpSpPr/>
          <p:nvPr userDrawn="1"/>
        </p:nvGrpSpPr>
        <p:grpSpPr>
          <a:xfrm>
            <a:off x="3000586" y="1746216"/>
            <a:ext cx="1580322" cy="1537449"/>
            <a:chOff x="5750970" y="3968750"/>
            <a:chExt cx="1580322" cy="1537449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6594CE0C-26AF-A047-A3D6-A9C611F7E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1164C9F6-C764-5E40-B736-75839445A2D1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unication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FCA607D7-2C8C-3D4B-B351-BBA093EE00BE}"/>
              </a:ext>
            </a:extLst>
          </p:cNvPr>
          <p:cNvGrpSpPr/>
          <p:nvPr userDrawn="1"/>
        </p:nvGrpSpPr>
        <p:grpSpPr>
          <a:xfrm>
            <a:off x="4369981" y="1746216"/>
            <a:ext cx="1580322" cy="1537586"/>
            <a:chOff x="7667309" y="3968613"/>
            <a:chExt cx="1580322" cy="1537586"/>
          </a:xfrm>
        </p:grpSpPr>
        <p:pic>
          <p:nvPicPr>
            <p:cNvPr id="207" name="Picture 206" descr="A close up of a sign&#10;&#10;Description automatically generated">
              <a:extLst>
                <a:ext uri="{FF2B5EF4-FFF2-40B4-BE49-F238E27FC236}">
                  <a16:creationId xmlns:a16="http://schemas.microsoft.com/office/drawing/2014/main" id="{A290880F-F450-4B44-9E67-E63D21ABC8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4CE1E15B-D5EC-FB44-95DA-0FE4DCD2172E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ed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DA3EF250-8F71-4F44-B1B0-3FFF284AD16D}"/>
              </a:ext>
            </a:extLst>
          </p:cNvPr>
          <p:cNvGrpSpPr/>
          <p:nvPr userDrawn="1"/>
        </p:nvGrpSpPr>
        <p:grpSpPr>
          <a:xfrm>
            <a:off x="4378756" y="3320360"/>
            <a:ext cx="1580322" cy="1530453"/>
            <a:chOff x="5750970" y="405538"/>
            <a:chExt cx="1580322" cy="1530453"/>
          </a:xfrm>
        </p:grpSpPr>
        <p:pic>
          <p:nvPicPr>
            <p:cNvPr id="210" name="Picture 209" descr="A close up of a sign&#10;&#10;Description automatically generated">
              <a:extLst>
                <a:ext uri="{FF2B5EF4-FFF2-40B4-BE49-F238E27FC236}">
                  <a16:creationId xmlns:a16="http://schemas.microsoft.com/office/drawing/2014/main" id="{BBF960DB-5E07-EB4D-BC48-1A5EF2910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A6D742A9-6A61-054A-9CDC-5E9FA42210F8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ertificate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DFAEBC59-2894-9C47-8523-D8693974B992}"/>
              </a:ext>
            </a:extLst>
          </p:cNvPr>
          <p:cNvGrpSpPr/>
          <p:nvPr userDrawn="1"/>
        </p:nvGrpSpPr>
        <p:grpSpPr>
          <a:xfrm>
            <a:off x="8534296" y="1742769"/>
            <a:ext cx="1580322" cy="1564192"/>
            <a:chOff x="2063552" y="2169250"/>
            <a:chExt cx="1580322" cy="1564192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F922517B-CA2F-6346-B1BA-B6F47E903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5FE21AD-85C6-D345-9A10-7B46BEA32814}"/>
                </a:ext>
              </a:extLst>
            </p:cNvPr>
            <p:cNvSpPr txBox="1"/>
            <p:nvPr/>
          </p:nvSpPr>
          <p:spPr>
            <a:xfrm>
              <a:off x="2063552" y="345644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B8F8ED8-D362-9043-A3D6-7462ACC1CE05}"/>
              </a:ext>
            </a:extLst>
          </p:cNvPr>
          <p:cNvGrpSpPr/>
          <p:nvPr userDrawn="1"/>
        </p:nvGrpSpPr>
        <p:grpSpPr>
          <a:xfrm>
            <a:off x="3004181" y="-22880"/>
            <a:ext cx="1580322" cy="1544397"/>
            <a:chOff x="9480376" y="2169250"/>
            <a:chExt cx="1580322" cy="1544397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F1BAC1CF-C9BB-2D4F-9500-7BB40CF84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D6299A57-6EF6-664C-BE40-A9AACB5631BD}"/>
                </a:ext>
              </a:extLst>
            </p:cNvPr>
            <p:cNvSpPr txBox="1"/>
            <p:nvPr/>
          </p:nvSpPr>
          <p:spPr>
            <a:xfrm>
              <a:off x="9480376" y="343664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d Blu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A917B2A9-4483-0C4E-B212-56D00A07DDEC}"/>
              </a:ext>
            </a:extLst>
          </p:cNvPr>
          <p:cNvGrpSpPr/>
          <p:nvPr userDrawn="1"/>
        </p:nvGrpSpPr>
        <p:grpSpPr>
          <a:xfrm>
            <a:off x="3001276" y="3313364"/>
            <a:ext cx="1580322" cy="1537449"/>
            <a:chOff x="5750970" y="3968750"/>
            <a:chExt cx="1580322" cy="1537449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CBA9383E-7B9F-B647-A0C8-4D320BE8F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AC9539E8-2107-DC4D-9FEA-ED7CB940FDF8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ivils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57A30889-B007-AD40-85E4-F6F17A1F1D52}"/>
              </a:ext>
            </a:extLst>
          </p:cNvPr>
          <p:cNvGrpSpPr/>
          <p:nvPr userDrawn="1"/>
        </p:nvGrpSpPr>
        <p:grpSpPr>
          <a:xfrm>
            <a:off x="5767441" y="3302734"/>
            <a:ext cx="1580322" cy="1722252"/>
            <a:chOff x="7667309" y="3968613"/>
            <a:chExt cx="1580322" cy="1722252"/>
          </a:xfrm>
        </p:grpSpPr>
        <p:pic>
          <p:nvPicPr>
            <p:cNvPr id="222" name="Picture 221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8D68CAAC-0F8A-3248-B6FC-B6C507489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73A02D73-85E4-D54E-B75C-5B46FFAF3D1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mmercial </a:t>
              </a:r>
              <a:br>
                <a:rPr lang="en-US" sz="1200" dirty="0"/>
              </a:br>
              <a:r>
                <a:rPr lang="en-US" sz="1200" dirty="0"/>
                <a:t>Focu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C6939DA3-B198-C44D-A756-96A1E60EB82A}"/>
              </a:ext>
            </a:extLst>
          </p:cNvPr>
          <p:cNvGrpSpPr/>
          <p:nvPr userDrawn="1"/>
        </p:nvGrpSpPr>
        <p:grpSpPr>
          <a:xfrm>
            <a:off x="7141403" y="3313364"/>
            <a:ext cx="1580322" cy="1746998"/>
            <a:chOff x="5750970" y="2169250"/>
            <a:chExt cx="1580322" cy="1746998"/>
          </a:xfrm>
        </p:grpSpPr>
        <p:pic>
          <p:nvPicPr>
            <p:cNvPr id="225" name="Picture 224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4708964-CE3F-9D48-8BBA-2CFD73C8D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B23F0FC8-6B3E-0944-9F32-860C86EFC6FA}"/>
                </a:ext>
              </a:extLst>
            </p:cNvPr>
            <p:cNvSpPr txBox="1"/>
            <p:nvPr/>
          </p:nvSpPr>
          <p:spPr>
            <a:xfrm>
              <a:off x="5750970" y="345458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Containerised</a:t>
              </a:r>
              <a:r>
                <a:rPr lang="en-US" sz="1200" dirty="0"/>
                <a:t> Design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D8D3B16F-07A5-B944-A6E5-5DC37CA04E3C}"/>
              </a:ext>
            </a:extLst>
          </p:cNvPr>
          <p:cNvGrpSpPr/>
          <p:nvPr userDrawn="1"/>
        </p:nvGrpSpPr>
        <p:grpSpPr>
          <a:xfrm>
            <a:off x="4369981" y="-14955"/>
            <a:ext cx="1580322" cy="1537586"/>
            <a:chOff x="2063552" y="3968613"/>
            <a:chExt cx="1580322" cy="1537586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2788A875-5726-6B42-B1D9-4DAF20BCC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28B723FF-C4D0-5245-B84D-8D72732425F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gricultur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5EFF25D9-F93F-7148-9B95-038D2822567D}"/>
              </a:ext>
            </a:extLst>
          </p:cNvPr>
          <p:cNvGrpSpPr/>
          <p:nvPr userDrawn="1"/>
        </p:nvGrpSpPr>
        <p:grpSpPr>
          <a:xfrm>
            <a:off x="8541224" y="-26646"/>
            <a:ext cx="1580322" cy="1565539"/>
            <a:chOff x="7667309" y="405538"/>
            <a:chExt cx="1580322" cy="1565539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E4A0CF04-4EC5-814B-9421-725F8B1E1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2E0C3064-CD98-1B45-A64E-168C14E6084B}"/>
                </a:ext>
              </a:extLst>
            </p:cNvPr>
            <p:cNvSpPr txBox="1"/>
            <p:nvPr/>
          </p:nvSpPr>
          <p:spPr>
            <a:xfrm>
              <a:off x="7667309" y="169407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Bus Stop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A640E644-110F-8C49-9371-6D9238ABE916}"/>
              </a:ext>
            </a:extLst>
          </p:cNvPr>
          <p:cNvGrpSpPr/>
          <p:nvPr userDrawn="1"/>
        </p:nvGrpSpPr>
        <p:grpSpPr>
          <a:xfrm>
            <a:off x="9960528" y="3320360"/>
            <a:ext cx="1580322" cy="1740001"/>
            <a:chOff x="2063552" y="2169250"/>
            <a:chExt cx="1580322" cy="174000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838E1618-59F8-FD4E-A284-7D0B04246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3EB45999-6401-CD4F-A88E-21C4FB74114C}"/>
                </a:ext>
              </a:extLst>
            </p:cNvPr>
            <p:cNvSpPr txBox="1"/>
            <p:nvPr/>
          </p:nvSpPr>
          <p:spPr>
            <a:xfrm>
              <a:off x="2063552" y="344758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centration Less Than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211471AA-4E2C-6045-8300-C5AAE621AEE5}"/>
              </a:ext>
            </a:extLst>
          </p:cNvPr>
          <p:cNvGrpSpPr/>
          <p:nvPr userDrawn="1"/>
        </p:nvGrpSpPr>
        <p:grpSpPr>
          <a:xfrm>
            <a:off x="9954108" y="1742769"/>
            <a:ext cx="1580322" cy="1537449"/>
            <a:chOff x="367748" y="3968750"/>
            <a:chExt cx="1580322" cy="1537449"/>
          </a:xfrm>
        </p:grpSpPr>
        <p:pic>
          <p:nvPicPr>
            <p:cNvPr id="237" name="Picture 236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22C9C45-18CD-7A42-922D-4ED8DAE8A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5500F41A-2337-484C-8F87-3EFC5157C486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rols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5E2A23B-F9F0-2249-A919-88854DE225BB}"/>
              </a:ext>
            </a:extLst>
          </p:cNvPr>
          <p:cNvGrpSpPr/>
          <p:nvPr userDrawn="1"/>
        </p:nvGrpSpPr>
        <p:grpSpPr>
          <a:xfrm>
            <a:off x="9954108" y="-24119"/>
            <a:ext cx="1580322" cy="1566138"/>
            <a:chOff x="367748" y="2169250"/>
            <a:chExt cx="1580322" cy="1566138"/>
          </a:xfrm>
        </p:grpSpPr>
        <p:pic>
          <p:nvPicPr>
            <p:cNvPr id="240" name="Picture 23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7790CCC-4BC9-994E-B5EC-2E60C341C7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C9E76F3C-BBAC-5845-B4C8-74EA95D89503}"/>
                </a:ext>
              </a:extLst>
            </p:cNvPr>
            <p:cNvSpPr txBox="1"/>
            <p:nvPr/>
          </p:nvSpPr>
          <p:spPr>
            <a:xfrm>
              <a:off x="367748" y="345838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A93816-B89C-4948-9307-37A1BA81EE01}"/>
              </a:ext>
            </a:extLst>
          </p:cNvPr>
          <p:cNvGrpSpPr/>
          <p:nvPr userDrawn="1"/>
        </p:nvGrpSpPr>
        <p:grpSpPr>
          <a:xfrm>
            <a:off x="7143380" y="5092727"/>
            <a:ext cx="1580322" cy="1806074"/>
            <a:chOff x="3896140" y="3968613"/>
            <a:chExt cx="1580322" cy="1806074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AAF03E1D-6D2B-CC42-810D-332EBE69A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966301" y="3968613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B280E7F6-3DD1-DB4C-A9D3-245B50D94576}"/>
                </a:ext>
              </a:extLst>
            </p:cNvPr>
            <p:cNvSpPr txBox="1"/>
            <p:nvPr/>
          </p:nvSpPr>
          <p:spPr>
            <a:xfrm>
              <a:off x="3896140" y="531302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uble </a:t>
              </a:r>
              <a:br>
                <a:rPr lang="en-US" sz="1200" dirty="0"/>
              </a:br>
              <a:r>
                <a:rPr lang="en-US" sz="1200" dirty="0"/>
                <a:t>Bunded Tank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1160E0BC-312B-5749-8E2C-788C647D52D7}"/>
              </a:ext>
            </a:extLst>
          </p:cNvPr>
          <p:cNvGrpSpPr/>
          <p:nvPr userDrawn="1"/>
        </p:nvGrpSpPr>
        <p:grpSpPr>
          <a:xfrm>
            <a:off x="8535621" y="5084886"/>
            <a:ext cx="1580322" cy="1608757"/>
            <a:chOff x="7667309" y="2169250"/>
            <a:chExt cx="1580322" cy="1608757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4BEA655A-CE87-DB47-A33B-39D7B43F0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0189D3BC-84F9-1C43-AF9C-F6C71B68E32C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sign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6C2E3B41-B23F-1140-B5DE-19AE0335E465}"/>
              </a:ext>
            </a:extLst>
          </p:cNvPr>
          <p:cNvGrpSpPr/>
          <p:nvPr userDrawn="1"/>
        </p:nvGrpSpPr>
        <p:grpSpPr>
          <a:xfrm>
            <a:off x="367748" y="5076640"/>
            <a:ext cx="1580322" cy="1608757"/>
            <a:chOff x="367748" y="2169250"/>
            <a:chExt cx="1580322" cy="1608757"/>
          </a:xfrm>
        </p:grpSpPr>
        <p:pic>
          <p:nvPicPr>
            <p:cNvPr id="249" name="Picture 24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9CD3CFDD-9B01-1944-90CC-690882E16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B77E6B8C-3EEE-4A4C-B119-88D10C831E79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hurch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3080C162-9ACA-9649-AAA4-E3919FA0CE94}"/>
              </a:ext>
            </a:extLst>
          </p:cNvPr>
          <p:cNvGrpSpPr/>
          <p:nvPr userDrawn="1"/>
        </p:nvGrpSpPr>
        <p:grpSpPr>
          <a:xfrm>
            <a:off x="2989227" y="5076640"/>
            <a:ext cx="1580322" cy="1608757"/>
            <a:chOff x="3896140" y="2169250"/>
            <a:chExt cx="1580322" cy="1608757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BA99FADF-C9C2-744B-ABD7-2E0E24957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D9DEAC2-E13E-DB45-A6EF-B3096BAF7954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ampsit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4E0500C9-7689-B441-9E80-8B1C10481232}"/>
              </a:ext>
            </a:extLst>
          </p:cNvPr>
          <p:cNvGrpSpPr/>
          <p:nvPr userDrawn="1"/>
        </p:nvGrpSpPr>
        <p:grpSpPr>
          <a:xfrm>
            <a:off x="1625854" y="5080465"/>
            <a:ext cx="1580322" cy="1587504"/>
            <a:chOff x="3896140" y="3968750"/>
            <a:chExt cx="1580322" cy="1587504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A390A808-7B12-DD4F-A3E1-6CDEFC9DF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14D3C6B5-5606-3A4D-A141-6F4FD65FCFB9}"/>
                </a:ext>
              </a:extLst>
            </p:cNvPr>
            <p:cNvSpPr txBox="1"/>
            <p:nvPr/>
          </p:nvSpPr>
          <p:spPr>
            <a:xfrm>
              <a:off x="3896140" y="527925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truction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340B1088-F5C2-A94E-B775-3FF347DFDE02}"/>
              </a:ext>
            </a:extLst>
          </p:cNvPr>
          <p:cNvGrpSpPr/>
          <p:nvPr userDrawn="1"/>
        </p:nvGrpSpPr>
        <p:grpSpPr>
          <a:xfrm>
            <a:off x="5771791" y="5084886"/>
            <a:ext cx="1580322" cy="1608757"/>
            <a:chOff x="367748" y="2169250"/>
            <a:chExt cx="1580322" cy="1608757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F3160-7693-B647-AAD3-A5F94A711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0B8FD068-3704-A245-A241-3C8A27766E0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ustomer Service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739299A-FCC2-C040-95C6-C2EC211988EB}"/>
              </a:ext>
            </a:extLst>
          </p:cNvPr>
          <p:cNvGrpSpPr/>
          <p:nvPr userDrawn="1"/>
        </p:nvGrpSpPr>
        <p:grpSpPr>
          <a:xfrm>
            <a:off x="4380509" y="5076640"/>
            <a:ext cx="1580322" cy="1608757"/>
            <a:chOff x="367748" y="2169250"/>
            <a:chExt cx="1580322" cy="1608757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8A7E159B-B9AF-4149-A50F-9D2CE9CF7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C576CB03-2114-7D4E-B4F0-4283DF408470}"/>
                </a:ext>
              </a:extLst>
            </p:cNvPr>
            <p:cNvSpPr txBox="1"/>
            <p:nvPr/>
          </p:nvSpPr>
          <p:spPr>
            <a:xfrm>
              <a:off x="367748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tacts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CEBABC10-0D3B-3E4B-9843-901E63CE1B78}"/>
              </a:ext>
            </a:extLst>
          </p:cNvPr>
          <p:cNvGrpSpPr/>
          <p:nvPr userDrawn="1"/>
        </p:nvGrpSpPr>
        <p:grpSpPr>
          <a:xfrm>
            <a:off x="9976412" y="5084886"/>
            <a:ext cx="1580322" cy="1793423"/>
            <a:chOff x="3896140" y="405538"/>
            <a:chExt cx="1580322" cy="179342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1038D68E-F995-FD46-BFDA-8976A03C1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D1593DD-E3EB-7144-8247-78BA446326BD}"/>
                </a:ext>
              </a:extLst>
            </p:cNvPr>
            <p:cNvSpPr txBox="1"/>
            <p:nvPr/>
          </p:nvSpPr>
          <p:spPr>
            <a:xfrm>
              <a:off x="3896140" y="173729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Water 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7519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50221498-D76C-9D46-8117-7D1CD9CCFD9D}"/>
              </a:ext>
            </a:extLst>
          </p:cNvPr>
          <p:cNvGrpSpPr/>
          <p:nvPr userDrawn="1"/>
        </p:nvGrpSpPr>
        <p:grpSpPr>
          <a:xfrm>
            <a:off x="4380509" y="0"/>
            <a:ext cx="1580322" cy="1530453"/>
            <a:chOff x="3896140" y="405538"/>
            <a:chExt cx="1580322" cy="1530453"/>
          </a:xfrm>
        </p:grpSpPr>
        <p:pic>
          <p:nvPicPr>
            <p:cNvPr id="171" name="Picture 17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B4151B7-F01F-374F-8B4D-364EFD86D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D03FE6D7-884E-4346-A059-29EF66582267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rop Alert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2A0DFDF4-CB46-E44C-8524-19425DC1D40E}"/>
              </a:ext>
            </a:extLst>
          </p:cNvPr>
          <p:cNvGrpSpPr/>
          <p:nvPr userDrawn="1"/>
        </p:nvGrpSpPr>
        <p:grpSpPr>
          <a:xfrm>
            <a:off x="3002939" y="17780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8151A87E-6F08-4549-8747-60C02D058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3814486B-6A38-C94F-9F28-F6AD94B777BD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wnload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6327C041-6C19-0D40-8131-83A9E8761B0D}"/>
              </a:ext>
            </a:extLst>
          </p:cNvPr>
          <p:cNvGrpSpPr/>
          <p:nvPr userDrawn="1"/>
        </p:nvGrpSpPr>
        <p:grpSpPr>
          <a:xfrm>
            <a:off x="5765810" y="4526"/>
            <a:ext cx="1580322" cy="1521875"/>
            <a:chOff x="3896140" y="2169250"/>
            <a:chExt cx="1580322" cy="152187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5B6E4E08-78D2-5047-A763-15DD8BA7F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67DAD732-6E72-6F49-AEEA-EB1DCA3ABA02}"/>
                </a:ext>
              </a:extLst>
            </p:cNvPr>
            <p:cNvSpPr txBox="1"/>
            <p:nvPr/>
          </p:nvSpPr>
          <p:spPr>
            <a:xfrm>
              <a:off x="3896140" y="341412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elivery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7BAF2BF-FC4F-7A47-931E-C102C8E4ED68}"/>
              </a:ext>
            </a:extLst>
          </p:cNvPr>
          <p:cNvGrpSpPr/>
          <p:nvPr userDrawn="1"/>
        </p:nvGrpSpPr>
        <p:grpSpPr>
          <a:xfrm>
            <a:off x="1657712" y="17780"/>
            <a:ext cx="1580322" cy="1715119"/>
            <a:chOff x="5750970" y="405538"/>
            <a:chExt cx="1580322" cy="1715119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BEA6BFED-D760-7B4B-BB1C-1C0C638F3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F2AC0507-B105-9346-AF0E-F30AB2E9F994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 </a:t>
              </a:r>
              <a:br>
                <a:rPr lang="en-US" sz="1200" dirty="0"/>
              </a:br>
              <a:r>
                <a:rPr lang="en-US" sz="1200" dirty="0"/>
                <a:t>Laundry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21BE7CE9-4172-684F-98D5-AC6A445EBE72}"/>
              </a:ext>
            </a:extLst>
          </p:cNvPr>
          <p:cNvGrpSpPr/>
          <p:nvPr userDrawn="1"/>
        </p:nvGrpSpPr>
        <p:grpSpPr>
          <a:xfrm>
            <a:off x="343232" y="17780"/>
            <a:ext cx="1580322" cy="1530453"/>
            <a:chOff x="9480376" y="405538"/>
            <a:chExt cx="1580322" cy="1530453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91BD92CC-9411-5A4D-92A5-09ADB3048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FF1C0D68-D998-F544-9F55-84604A8B60C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omestic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D83F1AA7-2B9D-7349-9035-2A35C1360550}"/>
              </a:ext>
            </a:extLst>
          </p:cNvPr>
          <p:cNvGrpSpPr/>
          <p:nvPr userDrawn="1"/>
        </p:nvGrpSpPr>
        <p:grpSpPr>
          <a:xfrm>
            <a:off x="343232" y="1755612"/>
            <a:ext cx="1580322" cy="1530453"/>
            <a:chOff x="367748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2D8BFC2-1175-094B-9C79-38ED104B5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812A1409-5044-5948-BB0A-4B1B269DCA2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ail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79E740CC-3137-2A40-BAD8-D000A1C1C02E}"/>
              </a:ext>
            </a:extLst>
          </p:cNvPr>
          <p:cNvGrpSpPr/>
          <p:nvPr userDrawn="1"/>
        </p:nvGrpSpPr>
        <p:grpSpPr>
          <a:xfrm>
            <a:off x="1657712" y="1746390"/>
            <a:ext cx="1580322" cy="1537449"/>
            <a:chOff x="367748" y="3968750"/>
            <a:chExt cx="1580322" cy="1537449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4924E03-F555-EA49-B9A5-BB5FF5DFD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3FEC2C78-5095-1E45-BFA8-4B8EC71AC8B4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AF990BDE-4D1C-244D-BB84-60F0668432E4}"/>
              </a:ext>
            </a:extLst>
          </p:cNvPr>
          <p:cNvGrpSpPr/>
          <p:nvPr userDrawn="1"/>
        </p:nvGrpSpPr>
        <p:grpSpPr>
          <a:xfrm>
            <a:off x="3026228" y="1755395"/>
            <a:ext cx="1580322" cy="1536771"/>
            <a:chOff x="3896140" y="2169250"/>
            <a:chExt cx="1580322" cy="1536771"/>
          </a:xfrm>
        </p:grpSpPr>
        <p:pic>
          <p:nvPicPr>
            <p:cNvPr id="192" name="Picture 191" descr="A close up of a logo&#10;&#10;Description automatically generated">
              <a:extLst>
                <a:ext uri="{FF2B5EF4-FFF2-40B4-BE49-F238E27FC236}">
                  <a16:creationId xmlns:a16="http://schemas.microsoft.com/office/drawing/2014/main" id="{920A2D21-906C-B04B-93CD-4B613B1E2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81834B9E-B48D-E74C-8D3A-2F00C0BE87EF}"/>
                </a:ext>
              </a:extLst>
            </p:cNvPr>
            <p:cNvSpPr txBox="1"/>
            <p:nvPr/>
          </p:nvSpPr>
          <p:spPr>
            <a:xfrm>
              <a:off x="3896140" y="342902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mpowerment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07B9FEBE-2129-1F44-B28B-B4B2A4149EFA}"/>
              </a:ext>
            </a:extLst>
          </p:cNvPr>
          <p:cNvGrpSpPr/>
          <p:nvPr userDrawn="1"/>
        </p:nvGrpSpPr>
        <p:grpSpPr>
          <a:xfrm>
            <a:off x="4361877" y="1755395"/>
            <a:ext cx="1580322" cy="1537449"/>
            <a:chOff x="367748" y="3968750"/>
            <a:chExt cx="1580322" cy="1537449"/>
          </a:xfrm>
        </p:grpSpPr>
        <p:pic>
          <p:nvPicPr>
            <p:cNvPr id="195" name="Picture 194" descr="A close up of a logo&#10;&#10;Description automatically generated">
              <a:extLst>
                <a:ext uri="{FF2B5EF4-FFF2-40B4-BE49-F238E27FC236}">
                  <a16:creationId xmlns:a16="http://schemas.microsoft.com/office/drawing/2014/main" id="{B6122C6F-CA89-B542-B16B-F39E290940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EB889A1-4936-B646-B959-B5261EEE7D5F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ergy Solutions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D656741-A054-4B42-B0DC-9D8462D4B712}"/>
              </a:ext>
            </a:extLst>
          </p:cNvPr>
          <p:cNvGrpSpPr/>
          <p:nvPr userDrawn="1"/>
        </p:nvGrpSpPr>
        <p:grpSpPr>
          <a:xfrm>
            <a:off x="5778373" y="1757471"/>
            <a:ext cx="1580322" cy="1534695"/>
            <a:chOff x="367748" y="2169250"/>
            <a:chExt cx="1580322" cy="1534695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9667614-6800-AA4C-B0ED-C7234C9FB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39DE722-46F4-EB4F-BEC1-C3AB835B01B6}"/>
                </a:ext>
              </a:extLst>
            </p:cNvPr>
            <p:cNvSpPr txBox="1"/>
            <p:nvPr/>
          </p:nvSpPr>
          <p:spPr>
            <a:xfrm>
              <a:off x="367748" y="342694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-Commerce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9C7A2839-6BC5-FF4D-8FD2-2A6F2D07C943}"/>
              </a:ext>
            </a:extLst>
          </p:cNvPr>
          <p:cNvGrpSpPr/>
          <p:nvPr userDrawn="1"/>
        </p:nvGrpSpPr>
        <p:grpSpPr>
          <a:xfrm>
            <a:off x="9951671" y="12953"/>
            <a:ext cx="1580322" cy="1705069"/>
            <a:chOff x="2063552" y="2169250"/>
            <a:chExt cx="1580322" cy="1705069"/>
          </a:xfrm>
        </p:grpSpPr>
        <p:pic>
          <p:nvPicPr>
            <p:cNvPr id="201" name="Picture 200" descr="A close up of a logo&#10;&#10;Description automatically generated">
              <a:extLst>
                <a:ext uri="{FF2B5EF4-FFF2-40B4-BE49-F238E27FC236}">
                  <a16:creationId xmlns:a16="http://schemas.microsoft.com/office/drawing/2014/main" id="{131737B1-A25C-8C45-B911-402571C5B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8F8B36C-5349-A340-BAD2-D47ADF48D2BC}"/>
                </a:ext>
              </a:extLst>
            </p:cNvPr>
            <p:cNvSpPr txBox="1"/>
            <p:nvPr/>
          </p:nvSpPr>
          <p:spPr>
            <a:xfrm>
              <a:off x="2063552" y="3412654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nvironmentally</a:t>
              </a:r>
              <a:br>
                <a:rPr lang="en-US" sz="1200" dirty="0"/>
              </a:br>
              <a:r>
                <a:rPr lang="en-US" sz="1200" dirty="0"/>
                <a:t>Friendly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C46B788A-1DD8-B24A-863E-49E117037287}"/>
              </a:ext>
            </a:extLst>
          </p:cNvPr>
          <p:cNvGrpSpPr/>
          <p:nvPr userDrawn="1"/>
        </p:nvGrpSpPr>
        <p:grpSpPr>
          <a:xfrm>
            <a:off x="8546269" y="12953"/>
            <a:ext cx="1580322" cy="1537586"/>
            <a:chOff x="5750970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176440D8-6923-B244-9019-D0B47FFA1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21131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0FC9591F-D7A3-3446-AC27-887E2468013B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fficiency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6F226A5-4C34-DA48-B111-62BD12AB6AC6}"/>
              </a:ext>
            </a:extLst>
          </p:cNvPr>
          <p:cNvGrpSpPr/>
          <p:nvPr userDrawn="1"/>
        </p:nvGrpSpPr>
        <p:grpSpPr>
          <a:xfrm>
            <a:off x="7143380" y="5144"/>
            <a:ext cx="1580322" cy="1537449"/>
            <a:chOff x="3896140" y="3968750"/>
            <a:chExt cx="1580322" cy="1537449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E03209AE-D236-2A44-80BB-8E73D7E36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5BEEF663-F7FC-654B-B091-81F93758B4C6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asy to Install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830B4AA5-EB34-D54D-9427-80C0D93EC6C0}"/>
              </a:ext>
            </a:extLst>
          </p:cNvPr>
          <p:cNvGrpSpPr/>
          <p:nvPr userDrawn="1"/>
        </p:nvGrpSpPr>
        <p:grpSpPr>
          <a:xfrm>
            <a:off x="9951671" y="1737034"/>
            <a:ext cx="1580322" cy="1537449"/>
            <a:chOff x="5750970" y="3968750"/>
            <a:chExt cx="1580322" cy="1537449"/>
          </a:xfrm>
        </p:grpSpPr>
        <p:pic>
          <p:nvPicPr>
            <p:cNvPr id="210" name="Picture 209" descr="A close up of a logo&#10;&#10;Description automatically generated">
              <a:extLst>
                <a:ext uri="{FF2B5EF4-FFF2-40B4-BE49-F238E27FC236}">
                  <a16:creationId xmlns:a16="http://schemas.microsoft.com/office/drawing/2014/main" id="{5BF55BCB-C1B5-CF41-A2BA-CCF7951A1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0C2898CF-EA1E-3C4B-96DD-AC28D7AE2C95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lexi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6206C2B-32F1-A14F-92C4-3E56CDBC5A4D}"/>
              </a:ext>
            </a:extLst>
          </p:cNvPr>
          <p:cNvGrpSpPr/>
          <p:nvPr userDrawn="1"/>
        </p:nvGrpSpPr>
        <p:grpSpPr>
          <a:xfrm>
            <a:off x="343232" y="3311573"/>
            <a:ext cx="1580322" cy="1530453"/>
            <a:chOff x="9480376" y="405538"/>
            <a:chExt cx="1580322" cy="1530453"/>
          </a:xfrm>
        </p:grpSpPr>
        <p:pic>
          <p:nvPicPr>
            <p:cNvPr id="213" name="Picture 212" descr="A close up of a logo&#10;&#10;Description automatically generated">
              <a:extLst>
                <a:ext uri="{FF2B5EF4-FFF2-40B4-BE49-F238E27FC236}">
                  <a16:creationId xmlns:a16="http://schemas.microsoft.com/office/drawing/2014/main" id="{628B300F-A10E-164D-BCAC-63D99147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7EB8851-1CAF-6D4C-83BE-B5C6CBB5E2FE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ll Volume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B649E25E-258F-8840-887B-C1B937A38644}"/>
              </a:ext>
            </a:extLst>
          </p:cNvPr>
          <p:cNvGrpSpPr/>
          <p:nvPr userDrawn="1"/>
        </p:nvGrpSpPr>
        <p:grpSpPr>
          <a:xfrm>
            <a:off x="1657712" y="3316021"/>
            <a:ext cx="1580322" cy="1537449"/>
            <a:chOff x="7667309" y="3968750"/>
            <a:chExt cx="1580322" cy="1537449"/>
          </a:xfrm>
        </p:grpSpPr>
        <p:pic>
          <p:nvPicPr>
            <p:cNvPr id="216" name="Picture 215" descr="A close up of a logo&#10;&#10;Description automatically generated">
              <a:extLst>
                <a:ext uri="{FF2B5EF4-FFF2-40B4-BE49-F238E27FC236}">
                  <a16:creationId xmlns:a16="http://schemas.microsoft.com/office/drawing/2014/main" id="{C6D27AE4-4053-B446-910A-CD22888D7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39687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65616293-1E72-D444-BDF1-821275DEE285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uture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0A61EC18-1016-5148-BE26-965D6AC37F63}"/>
              </a:ext>
            </a:extLst>
          </p:cNvPr>
          <p:cNvGrpSpPr/>
          <p:nvPr userDrawn="1"/>
        </p:nvGrpSpPr>
        <p:grpSpPr>
          <a:xfrm>
            <a:off x="3094381" y="3300493"/>
            <a:ext cx="1440000" cy="1720296"/>
            <a:chOff x="4433924" y="448331"/>
            <a:chExt cx="1440000" cy="1720296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DEF2D25F-F0BB-0F42-AEF8-E84570108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433924" y="448331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CF5EAB-07DF-884D-B55B-4B57C3C05E79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 </a:t>
              </a:r>
              <a:br>
                <a:rPr lang="en-US" sz="1200" dirty="0"/>
              </a:br>
              <a:r>
                <a:rPr lang="en-US" sz="1200" dirty="0"/>
                <a:t>Perform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458D89A9-681A-F34A-A299-1532CC14C896}"/>
              </a:ext>
            </a:extLst>
          </p:cNvPr>
          <p:cNvGrpSpPr/>
          <p:nvPr userDrawn="1"/>
        </p:nvGrpSpPr>
        <p:grpSpPr>
          <a:xfrm>
            <a:off x="4455882" y="3300491"/>
            <a:ext cx="1440000" cy="1554196"/>
            <a:chOff x="5837032" y="429765"/>
            <a:chExt cx="1440000" cy="1554196"/>
          </a:xfrm>
        </p:grpSpPr>
        <p:pic>
          <p:nvPicPr>
            <p:cNvPr id="222" name="Picture 221" descr="A close up of a logo&#10;&#10;Description automatically generated">
              <a:extLst>
                <a:ext uri="{FF2B5EF4-FFF2-40B4-BE49-F238E27FC236}">
                  <a16:creationId xmlns:a16="http://schemas.microsoft.com/office/drawing/2014/main" id="{916335E0-EA23-1144-9FE8-32AB12966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A5F7A08E-84F4-3243-A2D4-EFF9E66F59C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Firesafe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5D3D33E9-A3BD-4A4E-B4FD-73D621549651}"/>
              </a:ext>
            </a:extLst>
          </p:cNvPr>
          <p:cNvGrpSpPr/>
          <p:nvPr userDrawn="1"/>
        </p:nvGrpSpPr>
        <p:grpSpPr>
          <a:xfrm>
            <a:off x="9951671" y="3300491"/>
            <a:ext cx="1580322" cy="1537586"/>
            <a:chOff x="2063552" y="3968613"/>
            <a:chExt cx="1580322" cy="1537586"/>
          </a:xfrm>
        </p:grpSpPr>
        <p:pic>
          <p:nvPicPr>
            <p:cNvPr id="225" name="Picture 224" descr="A close up of a logo&#10;&#10;Description automatically generated">
              <a:extLst>
                <a:ext uri="{FF2B5EF4-FFF2-40B4-BE49-F238E27FC236}">
                  <a16:creationId xmlns:a16="http://schemas.microsoft.com/office/drawing/2014/main" id="{114BC0DF-DC48-014D-9BC3-25BB74871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0B99956C-D3BA-404C-9CD6-DAA3CA16EEE7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 Leaks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B36408F-664E-5648-92B3-179713A1FD42}"/>
              </a:ext>
            </a:extLst>
          </p:cNvPr>
          <p:cNvGrpSpPr/>
          <p:nvPr userDrawn="1"/>
        </p:nvGrpSpPr>
        <p:grpSpPr>
          <a:xfrm>
            <a:off x="343232" y="4961419"/>
            <a:ext cx="1580322" cy="1524154"/>
            <a:chOff x="2063552" y="2169250"/>
            <a:chExt cx="1580322" cy="1524154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BB727CEE-5917-4A45-971A-11DEC8154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1146F023-6429-7745-A118-B157919F0521}"/>
                </a:ext>
              </a:extLst>
            </p:cNvPr>
            <p:cNvSpPr txBox="1"/>
            <p:nvPr/>
          </p:nvSpPr>
          <p:spPr>
            <a:xfrm>
              <a:off x="2063552" y="34164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ursing Home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A815FBA7-AA68-6B46-B8CC-9DEBE411081F}"/>
              </a:ext>
            </a:extLst>
          </p:cNvPr>
          <p:cNvGrpSpPr/>
          <p:nvPr userDrawn="1"/>
        </p:nvGrpSpPr>
        <p:grpSpPr>
          <a:xfrm>
            <a:off x="8540353" y="3286257"/>
            <a:ext cx="1580322" cy="1552865"/>
            <a:chOff x="5750970" y="2148717"/>
            <a:chExt cx="1580322" cy="1552865"/>
          </a:xfrm>
        </p:grpSpPr>
        <p:pic>
          <p:nvPicPr>
            <p:cNvPr id="231" name="Picture 230" descr="A close up of a sign&#10;&#10;Description automatically generated">
              <a:extLst>
                <a:ext uri="{FF2B5EF4-FFF2-40B4-BE49-F238E27FC236}">
                  <a16:creationId xmlns:a16="http://schemas.microsoft.com/office/drawing/2014/main" id="{79000ED5-2632-6644-AFCE-3B042D75B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821131" y="2148717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E2AAB9CC-EF37-4B4E-9FD4-5E54F541EF64}"/>
                </a:ext>
              </a:extLst>
            </p:cNvPr>
            <p:cNvSpPr txBox="1"/>
            <p:nvPr/>
          </p:nvSpPr>
          <p:spPr>
            <a:xfrm>
              <a:off x="5750970" y="342458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odular System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95496837-8DB8-F34A-9A21-0C5DECD346B2}"/>
              </a:ext>
            </a:extLst>
          </p:cNvPr>
          <p:cNvGrpSpPr/>
          <p:nvPr userDrawn="1"/>
        </p:nvGrpSpPr>
        <p:grpSpPr>
          <a:xfrm>
            <a:off x="1657712" y="4955120"/>
            <a:ext cx="1580322" cy="1537586"/>
            <a:chOff x="2063552" y="3968613"/>
            <a:chExt cx="1580322" cy="1537586"/>
          </a:xfrm>
        </p:grpSpPr>
        <p:pic>
          <p:nvPicPr>
            <p:cNvPr id="234" name="Picture 23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038BA89-A93D-2D45-AC2F-F062A0380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72C0688E-FFAE-5445-B3CA-C9DC4A423080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oise Free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6C482F69-F0EE-9B4B-A3AA-8ED0E10855C9}"/>
              </a:ext>
            </a:extLst>
          </p:cNvPr>
          <p:cNvGrpSpPr/>
          <p:nvPr userDrawn="1"/>
        </p:nvGrpSpPr>
        <p:grpSpPr>
          <a:xfrm>
            <a:off x="7147415" y="3307624"/>
            <a:ext cx="1580322" cy="1530453"/>
            <a:chOff x="5750970" y="405538"/>
            <a:chExt cx="1580322" cy="1530453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05961423-9164-E44F-89AA-4703489EB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057027C5-2881-6D41-B37A-6EB5F95F9D6B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Multi-Company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1EDC3AD-C4DF-7C4D-8D19-AD54564BF376}"/>
              </a:ext>
            </a:extLst>
          </p:cNvPr>
          <p:cNvGrpSpPr/>
          <p:nvPr userDrawn="1"/>
        </p:nvGrpSpPr>
        <p:grpSpPr>
          <a:xfrm>
            <a:off x="5752381" y="3322404"/>
            <a:ext cx="1580322" cy="1719741"/>
            <a:chOff x="2980152" y="3322404"/>
            <a:chExt cx="1580322" cy="1719741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53CAC480-8A14-E942-AF0D-3479B89C3169}"/>
                </a:ext>
              </a:extLst>
            </p:cNvPr>
            <p:cNvSpPr txBox="1"/>
            <p:nvPr/>
          </p:nvSpPr>
          <p:spPr>
            <a:xfrm>
              <a:off x="2980152" y="458048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Low Thermal Conductivity</a:t>
              </a:r>
            </a:p>
          </p:txBody>
        </p:sp>
        <p:pic>
          <p:nvPicPr>
            <p:cNvPr id="241" name="Picture 240" descr="A close up of a logo&#10;&#10;Description automatically generated">
              <a:extLst>
                <a:ext uri="{FF2B5EF4-FFF2-40B4-BE49-F238E27FC236}">
                  <a16:creationId xmlns:a16="http://schemas.microsoft.com/office/drawing/2014/main" id="{BDCA369E-9F57-9843-A26C-551A65D49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3066" y="3322404"/>
              <a:ext cx="1440000" cy="1440000"/>
            </a:xfrm>
            <a:prstGeom prst="rect">
              <a:avLst/>
            </a:prstGeom>
          </p:spPr>
        </p:pic>
      </p:grpSp>
      <p:pic>
        <p:nvPicPr>
          <p:cNvPr id="242" name="Picture 241" descr="A close up of a logo&#10;&#10;Description automatically generated">
            <a:extLst>
              <a:ext uri="{FF2B5EF4-FFF2-40B4-BE49-F238E27FC236}">
                <a16:creationId xmlns:a16="http://schemas.microsoft.com/office/drawing/2014/main" id="{4C306442-58F5-5A47-AFC2-5A4559620D11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7224823" y="1761923"/>
            <a:ext cx="1440000" cy="1440000"/>
          </a:xfrm>
          <a:prstGeom prst="rect">
            <a:avLst/>
          </a:prstGeom>
        </p:spPr>
      </p:pic>
      <p:pic>
        <p:nvPicPr>
          <p:cNvPr id="243" name="Picture 242" descr="A close up of a logo&#10;&#10;Description automatically generated">
            <a:extLst>
              <a:ext uri="{FF2B5EF4-FFF2-40B4-BE49-F238E27FC236}">
                <a16:creationId xmlns:a16="http://schemas.microsoft.com/office/drawing/2014/main" id="{37C829E3-2E24-A14D-ABCA-3B0A5AA92299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8612763" y="1767617"/>
            <a:ext cx="1440000" cy="1440000"/>
          </a:xfrm>
          <a:prstGeom prst="rect">
            <a:avLst/>
          </a:prstGeom>
        </p:spPr>
      </p:pic>
      <p:sp>
        <p:nvSpPr>
          <p:cNvPr id="244" name="TextBox 243">
            <a:extLst>
              <a:ext uri="{FF2B5EF4-FFF2-40B4-BE49-F238E27FC236}">
                <a16:creationId xmlns:a16="http://schemas.microsoft.com/office/drawing/2014/main" id="{4CFF9556-6CB0-E748-8A9C-BCB871C1A852}"/>
              </a:ext>
            </a:extLst>
          </p:cNvPr>
          <p:cNvSpPr txBox="1"/>
          <p:nvPr userDrawn="1"/>
        </p:nvSpPr>
        <p:spPr>
          <a:xfrm>
            <a:off x="715466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07805582-7E54-DD4A-9271-9561F3DA171B}"/>
              </a:ext>
            </a:extLst>
          </p:cNvPr>
          <p:cNvSpPr txBox="1"/>
          <p:nvPr userDrawn="1"/>
        </p:nvSpPr>
        <p:spPr>
          <a:xfrm>
            <a:off x="8542602" y="3019856"/>
            <a:ext cx="158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-Commerce</a:t>
            </a:r>
          </a:p>
        </p:txBody>
      </p:sp>
    </p:spTree>
    <p:extLst>
      <p:ext uri="{BB962C8B-B14F-4D97-AF65-F5344CB8AC3E}">
        <p14:creationId xmlns:p14="http://schemas.microsoft.com/office/powerpoint/2010/main" val="1202038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D5FF9B05-B734-3C45-83E4-FDCEFC88B1C7}"/>
              </a:ext>
            </a:extLst>
          </p:cNvPr>
          <p:cNvGrpSpPr/>
          <p:nvPr userDrawn="1"/>
        </p:nvGrpSpPr>
        <p:grpSpPr>
          <a:xfrm>
            <a:off x="2992453" y="1617206"/>
            <a:ext cx="1580322" cy="1530453"/>
            <a:chOff x="7667309" y="405538"/>
            <a:chExt cx="1580322" cy="1530453"/>
          </a:xfrm>
        </p:grpSpPr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C4E3C020-A2BA-FB48-BB4C-F1C06698B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AAFEBB2E-BF9F-EA4E-9E9F-8FC47713F20C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cesses &amp; Data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6B251DC2-41E1-3B4F-BC53-EF5605D64E9E}"/>
              </a:ext>
            </a:extLst>
          </p:cNvPr>
          <p:cNvGrpSpPr/>
          <p:nvPr userDrawn="1"/>
        </p:nvGrpSpPr>
        <p:grpSpPr>
          <a:xfrm>
            <a:off x="1621801" y="1622141"/>
            <a:ext cx="1580322" cy="1530453"/>
            <a:chOff x="9480376" y="405538"/>
            <a:chExt cx="1580322" cy="1530453"/>
          </a:xfrm>
        </p:grpSpPr>
        <p:pic>
          <p:nvPicPr>
            <p:cNvPr id="174" name="Picture 173" descr="A close up of a sign&#10;&#10;Description automatically generated">
              <a:extLst>
                <a:ext uri="{FF2B5EF4-FFF2-40B4-BE49-F238E27FC236}">
                  <a16:creationId xmlns:a16="http://schemas.microsoft.com/office/drawing/2014/main" id="{79B6A91C-1C58-324E-A8D3-8C58CF090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DC0F5970-5AE7-1A4B-BCBA-2320E932293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roject Tracking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320A5C4F-2848-8F4C-94DB-9D8E9FFE1133}"/>
              </a:ext>
            </a:extLst>
          </p:cNvPr>
          <p:cNvGrpSpPr/>
          <p:nvPr userDrawn="1"/>
        </p:nvGrpSpPr>
        <p:grpSpPr>
          <a:xfrm>
            <a:off x="4406194" y="1610210"/>
            <a:ext cx="1580322" cy="1722115"/>
            <a:chOff x="5750970" y="3968750"/>
            <a:chExt cx="1580322" cy="1722115"/>
          </a:xfrm>
        </p:grpSpPr>
        <p:pic>
          <p:nvPicPr>
            <p:cNvPr id="177" name="Picture 176" descr="A close up of a logo&#10;&#10;Description automatically generated">
              <a:extLst>
                <a:ext uri="{FF2B5EF4-FFF2-40B4-BE49-F238E27FC236}">
                  <a16:creationId xmlns:a16="http://schemas.microsoft.com/office/drawing/2014/main" id="{1189C764-F6DB-FE45-9AB2-63E7DBC1C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21131" y="3968750"/>
              <a:ext cx="1440000" cy="1440000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74960FCF-5DDF-7B4D-BE10-E4DC4F857604}"/>
                </a:ext>
              </a:extLst>
            </p:cNvPr>
            <p:cNvSpPr txBox="1"/>
            <p:nvPr/>
          </p:nvSpPr>
          <p:spPr>
            <a:xfrm>
              <a:off x="5750970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umping </a:t>
              </a:r>
              <a:br>
                <a:rPr lang="en-US" sz="1200" dirty="0"/>
              </a:br>
              <a:r>
                <a:rPr lang="en-US" sz="1200" dirty="0"/>
                <a:t>Stations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187FBFA-B3A4-254E-A187-F4E2EFCA49D6}"/>
              </a:ext>
            </a:extLst>
          </p:cNvPr>
          <p:cNvGrpSpPr/>
          <p:nvPr userDrawn="1"/>
        </p:nvGrpSpPr>
        <p:grpSpPr>
          <a:xfrm>
            <a:off x="5748340" y="1619297"/>
            <a:ext cx="1580322" cy="1530453"/>
            <a:chOff x="3896140" y="405538"/>
            <a:chExt cx="1580322" cy="1530453"/>
          </a:xfrm>
        </p:grpSpPr>
        <p:pic>
          <p:nvPicPr>
            <p:cNvPr id="180" name="Picture 179" descr="A close up of a logo&#10;&#10;Description automatically generated">
              <a:extLst>
                <a:ext uri="{FF2B5EF4-FFF2-40B4-BE49-F238E27FC236}">
                  <a16:creationId xmlns:a16="http://schemas.microsoft.com/office/drawing/2014/main" id="{0FD9866B-EC00-C043-8824-E82A94C72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9027EFED-85E1-D549-BAB5-9A2B9FE20D31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 Control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E19EF0FC-78B3-1B4E-B9B3-FA249C9CC8A8}"/>
              </a:ext>
            </a:extLst>
          </p:cNvPr>
          <p:cNvGrpSpPr/>
          <p:nvPr userDrawn="1"/>
        </p:nvGrpSpPr>
        <p:grpSpPr>
          <a:xfrm>
            <a:off x="7158370" y="1607240"/>
            <a:ext cx="1580322" cy="1532435"/>
            <a:chOff x="7667309" y="2169250"/>
            <a:chExt cx="1580322" cy="1532435"/>
          </a:xfrm>
        </p:grpSpPr>
        <p:pic>
          <p:nvPicPr>
            <p:cNvPr id="183" name="Picture 182" descr="A close up of a logo&#10;&#10;Description automatically generated">
              <a:extLst>
                <a:ext uri="{FF2B5EF4-FFF2-40B4-BE49-F238E27FC236}">
                  <a16:creationId xmlns:a16="http://schemas.microsoft.com/office/drawing/2014/main" id="{0364D460-89CF-2047-A881-C6B0203A3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3A7B073D-7A15-BF4A-936D-0AA7A7118E5A}"/>
                </a:ext>
              </a:extLst>
            </p:cNvPr>
            <p:cNvSpPr txBox="1"/>
            <p:nvPr/>
          </p:nvSpPr>
          <p:spPr>
            <a:xfrm>
              <a:off x="7667309" y="342468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Quality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1DE3D6AA-67AD-164A-803F-586500EDB5A2}"/>
              </a:ext>
            </a:extLst>
          </p:cNvPr>
          <p:cNvGrpSpPr/>
          <p:nvPr userDrawn="1"/>
        </p:nvGrpSpPr>
        <p:grpSpPr>
          <a:xfrm>
            <a:off x="365149" y="1625181"/>
            <a:ext cx="1580322" cy="1530453"/>
            <a:chOff x="9480376" y="405538"/>
            <a:chExt cx="1580322" cy="1530453"/>
          </a:xfrm>
        </p:grpSpPr>
        <p:pic>
          <p:nvPicPr>
            <p:cNvPr id="186" name="Picture 185" descr="A close up of a logo&#10;&#10;Description automatically generated">
              <a:extLst>
                <a:ext uri="{FF2B5EF4-FFF2-40B4-BE49-F238E27FC236}">
                  <a16:creationId xmlns:a16="http://schemas.microsoft.com/office/drawing/2014/main" id="{78727F5C-3D5B-124D-8161-B468684C9B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26C3FF5-ABAD-4949-BA71-EB4D618BE554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ortable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760EC1A-EBE2-6F4D-B23F-9258112B15BA}"/>
              </a:ext>
            </a:extLst>
          </p:cNvPr>
          <p:cNvGrpSpPr/>
          <p:nvPr userDrawn="1"/>
        </p:nvGrpSpPr>
        <p:grpSpPr>
          <a:xfrm>
            <a:off x="8531671" y="1607240"/>
            <a:ext cx="1580322" cy="1519720"/>
            <a:chOff x="7667309" y="2169250"/>
            <a:chExt cx="1580322" cy="1519720"/>
          </a:xfrm>
        </p:grpSpPr>
        <p:pic>
          <p:nvPicPr>
            <p:cNvPr id="189" name="Picture 18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4686F63-1BCA-FC4E-9E27-3CB984408C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5462DC1F-8C40-DB48-991F-49E5A02E8052}"/>
                </a:ext>
              </a:extLst>
            </p:cNvPr>
            <p:cNvSpPr txBox="1"/>
            <p:nvPr/>
          </p:nvSpPr>
          <p:spPr>
            <a:xfrm>
              <a:off x="7667309" y="341197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cycling</a:t>
              </a: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2FE3-1BA6-1340-8FA3-F3FF7C50AE60}"/>
              </a:ext>
            </a:extLst>
          </p:cNvPr>
          <p:cNvGrpSpPr/>
          <p:nvPr userDrawn="1"/>
        </p:nvGrpSpPr>
        <p:grpSpPr>
          <a:xfrm>
            <a:off x="9943929" y="1613389"/>
            <a:ext cx="1580322" cy="1534270"/>
            <a:chOff x="3896140" y="2169250"/>
            <a:chExt cx="1580322" cy="1534270"/>
          </a:xfrm>
        </p:grpSpPr>
        <p:pic>
          <p:nvPicPr>
            <p:cNvPr id="192" name="Picture 19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7FCBBFB0-F7D6-304F-AE1A-F29DE2973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CF9AA23D-4538-4344-9C30-AB3CE2029482}"/>
                </a:ext>
              </a:extLst>
            </p:cNvPr>
            <p:cNvSpPr txBox="1"/>
            <p:nvPr/>
          </p:nvSpPr>
          <p:spPr>
            <a:xfrm>
              <a:off x="3896140" y="342652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ainwater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626DB841-8413-B249-A985-397E6F8C5918}"/>
              </a:ext>
            </a:extLst>
          </p:cNvPr>
          <p:cNvGrpSpPr/>
          <p:nvPr userDrawn="1"/>
        </p:nvGrpSpPr>
        <p:grpSpPr>
          <a:xfrm>
            <a:off x="364907" y="3334873"/>
            <a:ext cx="1580322" cy="1702577"/>
            <a:chOff x="9480376" y="2169250"/>
            <a:chExt cx="1580322" cy="1702577"/>
          </a:xfrm>
        </p:grpSpPr>
        <p:pic>
          <p:nvPicPr>
            <p:cNvPr id="195" name="Picture 194" descr="A close up of a sign&#10;&#10;Description automatically generated">
              <a:extLst>
                <a:ext uri="{FF2B5EF4-FFF2-40B4-BE49-F238E27FC236}">
                  <a16:creationId xmlns:a16="http://schemas.microsoft.com/office/drawing/2014/main" id="{B90CF042-2A6F-0A42-BD3F-CEAE17D81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27D6A808-E45D-154E-8799-26F7374C48C8}"/>
                </a:ext>
              </a:extLst>
            </p:cNvPr>
            <p:cNvSpPr txBox="1"/>
            <p:nvPr/>
          </p:nvSpPr>
          <p:spPr>
            <a:xfrm>
              <a:off x="9480376" y="34101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gulations Compliant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0723FB96-6C9E-AD4E-9E0B-0C9080331A47}"/>
              </a:ext>
            </a:extLst>
          </p:cNvPr>
          <p:cNvGrpSpPr/>
          <p:nvPr userDrawn="1"/>
        </p:nvGrpSpPr>
        <p:grpSpPr>
          <a:xfrm>
            <a:off x="1694588" y="3335589"/>
            <a:ext cx="1580322" cy="1537586"/>
            <a:chOff x="7667309" y="3968613"/>
            <a:chExt cx="1580322" cy="1537586"/>
          </a:xfrm>
        </p:grpSpPr>
        <p:pic>
          <p:nvPicPr>
            <p:cNvPr id="198" name="Picture 197" descr="A close up of a logo&#10;&#10;Description automatically generated">
              <a:extLst>
                <a:ext uri="{FF2B5EF4-FFF2-40B4-BE49-F238E27FC236}">
                  <a16:creationId xmlns:a16="http://schemas.microsoft.com/office/drawing/2014/main" id="{AB2590BB-C06E-0247-B2BF-98D76BA90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737470" y="3968613"/>
              <a:ext cx="1440000" cy="1440000"/>
            </a:xfrm>
            <a:prstGeom prst="rect">
              <a:avLst/>
            </a:prstGeom>
          </p:spPr>
        </p:pic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1D1B94C6-3AA0-414C-BE2C-D42D7D0E7372}"/>
                </a:ext>
              </a:extLst>
            </p:cNvPr>
            <p:cNvSpPr txBox="1"/>
            <p:nvPr/>
          </p:nvSpPr>
          <p:spPr>
            <a:xfrm>
              <a:off x="7667309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aves Money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822D493-F8E1-F347-8D07-88EA0FA4A027}"/>
              </a:ext>
            </a:extLst>
          </p:cNvPr>
          <p:cNvGrpSpPr/>
          <p:nvPr userDrawn="1"/>
        </p:nvGrpSpPr>
        <p:grpSpPr>
          <a:xfrm>
            <a:off x="9940811" y="3331694"/>
            <a:ext cx="1580322" cy="1537449"/>
            <a:chOff x="9480376" y="3968750"/>
            <a:chExt cx="1580322" cy="1537449"/>
          </a:xfrm>
        </p:grpSpPr>
        <p:pic>
          <p:nvPicPr>
            <p:cNvPr id="201" name="Picture 200" descr="A close up of a sign&#10;&#10;Description automatically generated">
              <a:extLst>
                <a:ext uri="{FF2B5EF4-FFF2-40B4-BE49-F238E27FC236}">
                  <a16:creationId xmlns:a16="http://schemas.microsoft.com/office/drawing/2014/main" id="{D8D500D4-2091-D141-82C4-58D2928E9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E61E58B-2A00-5A4D-821E-7A7F9A895651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utions</a:t>
              </a: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43B416DE-BA12-4B44-8994-2A96850E7344}"/>
              </a:ext>
            </a:extLst>
          </p:cNvPr>
          <p:cNvGrpSpPr/>
          <p:nvPr userDrawn="1"/>
        </p:nvGrpSpPr>
        <p:grpSpPr>
          <a:xfrm>
            <a:off x="348263" y="5007655"/>
            <a:ext cx="1580322" cy="1537586"/>
            <a:chOff x="2063552" y="3968613"/>
            <a:chExt cx="1580322" cy="1537586"/>
          </a:xfrm>
        </p:grpSpPr>
        <p:pic>
          <p:nvPicPr>
            <p:cNvPr id="204" name="Picture 203" descr="A close up of a logo&#10;&#10;Description automatically generated">
              <a:extLst>
                <a:ext uri="{FF2B5EF4-FFF2-40B4-BE49-F238E27FC236}">
                  <a16:creationId xmlns:a16="http://schemas.microsoft.com/office/drawing/2014/main" id="{DDCA9CEF-8587-B841-896C-91455A6CE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133713" y="3968613"/>
              <a:ext cx="1440000" cy="1440000"/>
            </a:xfrm>
            <a:prstGeom prst="rect">
              <a:avLst/>
            </a:prstGeom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2774260C-04D7-EF4E-BCE3-C29A5358D0B2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mall Footprint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B9B2FDF0-C1D7-6442-B9CC-BF01348A9D2A}"/>
              </a:ext>
            </a:extLst>
          </p:cNvPr>
          <p:cNvGrpSpPr/>
          <p:nvPr userDrawn="1"/>
        </p:nvGrpSpPr>
        <p:grpSpPr>
          <a:xfrm>
            <a:off x="8538251" y="3338690"/>
            <a:ext cx="1580322" cy="1530453"/>
            <a:chOff x="3896140" y="405538"/>
            <a:chExt cx="1580322" cy="1530453"/>
          </a:xfrm>
        </p:grpSpPr>
        <p:pic>
          <p:nvPicPr>
            <p:cNvPr id="207" name="Picture 206" descr="A close up of a logo&#10;&#10;Description automatically generated">
              <a:extLst>
                <a:ext uri="{FF2B5EF4-FFF2-40B4-BE49-F238E27FC236}">
                  <a16:creationId xmlns:a16="http://schemas.microsoft.com/office/drawing/2014/main" id="{C028BE95-2B6D-714B-8F76-039F58A76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AA82EC1F-5879-054A-9B10-84D405848878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hallow Dig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17D212F4-38F1-904F-9465-CFE2BA9A864E}"/>
              </a:ext>
            </a:extLst>
          </p:cNvPr>
          <p:cNvGrpSpPr/>
          <p:nvPr userDrawn="1"/>
        </p:nvGrpSpPr>
        <p:grpSpPr>
          <a:xfrm>
            <a:off x="4381418" y="3331694"/>
            <a:ext cx="1580322" cy="1537449"/>
            <a:chOff x="2063552" y="3968750"/>
            <a:chExt cx="1580322" cy="1537449"/>
          </a:xfrm>
        </p:grpSpPr>
        <p:pic>
          <p:nvPicPr>
            <p:cNvPr id="210" name="Picture 20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25C86CA9-BD63-F041-90F5-2B9F44622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133713" y="3968750"/>
              <a:ext cx="1440000" cy="1440000"/>
            </a:xfrm>
            <a:prstGeom prst="rect">
              <a:avLst/>
            </a:prstGeom>
          </p:spPr>
        </p:pic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40DE84B5-0AD6-3C4E-9262-045C36511B3D}"/>
                </a:ext>
              </a:extLst>
            </p:cNvPr>
            <p:cNvSpPr txBox="1"/>
            <p:nvPr/>
          </p:nvSpPr>
          <p:spPr>
            <a:xfrm>
              <a:off x="2063552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E9B01FA4-39B4-F14E-B2AF-41D44DD00344}"/>
              </a:ext>
            </a:extLst>
          </p:cNvPr>
          <p:cNvGrpSpPr/>
          <p:nvPr userDrawn="1"/>
        </p:nvGrpSpPr>
        <p:grpSpPr>
          <a:xfrm>
            <a:off x="5780961" y="3331694"/>
            <a:ext cx="1580322" cy="1530453"/>
            <a:chOff x="2063552" y="405538"/>
            <a:chExt cx="1580322" cy="1530453"/>
          </a:xfrm>
        </p:grpSpPr>
        <p:pic>
          <p:nvPicPr>
            <p:cNvPr id="213" name="Picture 212" descr="A close up of a sign&#10;&#10;Description automatically generated">
              <a:extLst>
                <a:ext uri="{FF2B5EF4-FFF2-40B4-BE49-F238E27FC236}">
                  <a16:creationId xmlns:a16="http://schemas.microsoft.com/office/drawing/2014/main" id="{05123355-5585-C44D-8DD2-355D8A788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F5C72FF9-43EC-C645-9BCB-796FCA96B54B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calability</a:t>
              </a: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0CDC5290-D307-224D-B1BD-859A0685A92B}"/>
              </a:ext>
            </a:extLst>
          </p:cNvPr>
          <p:cNvGrpSpPr/>
          <p:nvPr userDrawn="1"/>
        </p:nvGrpSpPr>
        <p:grpSpPr>
          <a:xfrm>
            <a:off x="7139575" y="3331694"/>
            <a:ext cx="1580322" cy="1533162"/>
            <a:chOff x="7667309" y="2169250"/>
            <a:chExt cx="1580322" cy="1533162"/>
          </a:xfrm>
        </p:grpSpPr>
        <p:pic>
          <p:nvPicPr>
            <p:cNvPr id="216" name="Picture 215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8007F9AE-54C8-6046-8B24-86DB14EED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A8C2A97D-4925-6F4D-B883-11C673198F20}"/>
                </a:ext>
              </a:extLst>
            </p:cNvPr>
            <p:cNvSpPr txBox="1"/>
            <p:nvPr/>
          </p:nvSpPr>
          <p:spPr>
            <a:xfrm>
              <a:off x="7667309" y="342541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cure Login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38E2671E-0AC0-F64A-916E-7168528EB017}"/>
              </a:ext>
            </a:extLst>
          </p:cNvPr>
          <p:cNvGrpSpPr/>
          <p:nvPr userDrawn="1"/>
        </p:nvGrpSpPr>
        <p:grpSpPr>
          <a:xfrm>
            <a:off x="3011106" y="3338345"/>
            <a:ext cx="1580322" cy="1722115"/>
            <a:chOff x="367748" y="3968750"/>
            <a:chExt cx="1580322" cy="1722115"/>
          </a:xfrm>
        </p:grpSpPr>
        <p:pic>
          <p:nvPicPr>
            <p:cNvPr id="219" name="Picture 218" descr="A close up of a logo&#10;&#10;Description automatically generated">
              <a:extLst>
                <a:ext uri="{FF2B5EF4-FFF2-40B4-BE49-F238E27FC236}">
                  <a16:creationId xmlns:a16="http://schemas.microsoft.com/office/drawing/2014/main" id="{2DAC62A9-89E8-9D42-8FEA-1A0D5E2C4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B52932A-4C25-FF40-A317-8F0F82775CE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ervice &amp; Maintenance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283C09C6-E58E-1B4B-AE0E-250F7BA6013E}"/>
              </a:ext>
            </a:extLst>
          </p:cNvPr>
          <p:cNvGrpSpPr/>
          <p:nvPr userDrawn="1"/>
        </p:nvGrpSpPr>
        <p:grpSpPr>
          <a:xfrm>
            <a:off x="1636940" y="5011222"/>
            <a:ext cx="1580322" cy="1530453"/>
            <a:chOff x="5750970" y="405538"/>
            <a:chExt cx="1580322" cy="1530453"/>
          </a:xfrm>
        </p:grpSpPr>
        <p:pic>
          <p:nvPicPr>
            <p:cNvPr id="222" name="Picture 221" descr="A picture containing clock, drawing&#10;&#10;Description automatically generated">
              <a:extLst>
                <a:ext uri="{FF2B5EF4-FFF2-40B4-BE49-F238E27FC236}">
                  <a16:creationId xmlns:a16="http://schemas.microsoft.com/office/drawing/2014/main" id="{092E7878-B49C-E442-AC66-75B1B2A83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21131" y="405538"/>
              <a:ext cx="1440000" cy="1440000"/>
            </a:xfrm>
            <a:prstGeom prst="rect">
              <a:avLst/>
            </a:prstGeom>
          </p:spPr>
        </p:pic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C2B30F84-6783-254E-BA7B-4F65CC1A13EE}"/>
                </a:ext>
              </a:extLst>
            </p:cNvPr>
            <p:cNvSpPr txBox="1"/>
            <p:nvPr/>
          </p:nvSpPr>
          <p:spPr>
            <a:xfrm>
              <a:off x="575097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cial Offers</a:t>
              </a: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AA8DBC51-2D8C-F041-98FE-A6C3C2CAD5A2}"/>
              </a:ext>
            </a:extLst>
          </p:cNvPr>
          <p:cNvGrpSpPr/>
          <p:nvPr userDrawn="1"/>
        </p:nvGrpSpPr>
        <p:grpSpPr>
          <a:xfrm>
            <a:off x="5768685" y="5007655"/>
            <a:ext cx="1580322" cy="1537586"/>
            <a:chOff x="9480376" y="3968613"/>
            <a:chExt cx="1580322" cy="1537586"/>
          </a:xfrm>
        </p:grpSpPr>
        <p:pic>
          <p:nvPicPr>
            <p:cNvPr id="225" name="Picture 224" descr="A close up of a sign&#10;&#10;Description automatically generated">
              <a:extLst>
                <a:ext uri="{FF2B5EF4-FFF2-40B4-BE49-F238E27FC236}">
                  <a16:creationId xmlns:a16="http://schemas.microsoft.com/office/drawing/2014/main" id="{ED0835FD-FFC1-764A-9945-99103A8F9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550537" y="3968613"/>
              <a:ext cx="1440000" cy="1440000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C7DBCD7C-2EA8-DF4B-9FF4-034C4D4CE8BD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te Visit</a:t>
              </a: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F8677F9F-1009-1C47-BFDC-4A288375C333}"/>
              </a:ext>
            </a:extLst>
          </p:cNvPr>
          <p:cNvGrpSpPr/>
          <p:nvPr userDrawn="1"/>
        </p:nvGrpSpPr>
        <p:grpSpPr>
          <a:xfrm>
            <a:off x="8543219" y="5011222"/>
            <a:ext cx="1580322" cy="1530453"/>
            <a:chOff x="9480376" y="405538"/>
            <a:chExt cx="1580322" cy="1530453"/>
          </a:xfrm>
        </p:grpSpPr>
        <p:pic>
          <p:nvPicPr>
            <p:cNvPr id="228" name="Picture 227" descr="A close up of a logo&#10;&#10;Description automatically generated">
              <a:extLst>
                <a:ext uri="{FF2B5EF4-FFF2-40B4-BE49-F238E27FC236}">
                  <a16:creationId xmlns:a16="http://schemas.microsoft.com/office/drawing/2014/main" id="{6BC42775-981F-E244-A04C-7F84D3509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C70A05B1-78E9-6E4A-BDFC-728EF7BDE40F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trength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E5501891-2A00-2748-9864-8C1FDE7676CE}"/>
              </a:ext>
            </a:extLst>
          </p:cNvPr>
          <p:cNvGrpSpPr/>
          <p:nvPr userDrawn="1"/>
        </p:nvGrpSpPr>
        <p:grpSpPr>
          <a:xfrm>
            <a:off x="4367367" y="5008814"/>
            <a:ext cx="1580322" cy="1535268"/>
            <a:chOff x="3896140" y="2169250"/>
            <a:chExt cx="1580322" cy="1535268"/>
          </a:xfrm>
        </p:grpSpPr>
        <p:pic>
          <p:nvPicPr>
            <p:cNvPr id="231" name="Picture 23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B9A467E9-44FF-8B47-BFEF-C83E4B84E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7F018EDF-9D26-DB4E-92AE-DB0377544BF3}"/>
                </a:ext>
              </a:extLst>
            </p:cNvPr>
            <p:cNvSpPr txBox="1"/>
            <p:nvPr/>
          </p:nvSpPr>
          <p:spPr>
            <a:xfrm>
              <a:off x="3896140" y="342751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ar Powered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8AC17010-A3BD-784A-AAFE-2DB0F00957E5}"/>
              </a:ext>
            </a:extLst>
          </p:cNvPr>
          <p:cNvGrpSpPr/>
          <p:nvPr userDrawn="1"/>
        </p:nvGrpSpPr>
        <p:grpSpPr>
          <a:xfrm>
            <a:off x="7125524" y="5028537"/>
            <a:ext cx="1580322" cy="1704771"/>
            <a:chOff x="7667309" y="2169250"/>
            <a:chExt cx="1580322" cy="1704771"/>
          </a:xfrm>
        </p:grpSpPr>
        <p:pic>
          <p:nvPicPr>
            <p:cNvPr id="234" name="Picture 233" descr="A close up of a logo&#10;&#10;Description automatically generated">
              <a:extLst>
                <a:ext uri="{FF2B5EF4-FFF2-40B4-BE49-F238E27FC236}">
                  <a16:creationId xmlns:a16="http://schemas.microsoft.com/office/drawing/2014/main" id="{5B873053-38F6-474E-930F-327E70A53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FF696787-2BE6-974F-836C-75EE5D892D89}"/>
                </a:ext>
              </a:extLst>
            </p:cNvPr>
            <p:cNvSpPr txBox="1"/>
            <p:nvPr/>
          </p:nvSpPr>
          <p:spPr>
            <a:xfrm>
              <a:off x="7667309" y="3412356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ingle Piece System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1DCDABB0-46F8-0C4E-9E5B-987D611089FD}"/>
              </a:ext>
            </a:extLst>
          </p:cNvPr>
          <p:cNvGrpSpPr/>
          <p:nvPr userDrawn="1"/>
        </p:nvGrpSpPr>
        <p:grpSpPr>
          <a:xfrm>
            <a:off x="3081267" y="5002145"/>
            <a:ext cx="1440000" cy="1548606"/>
            <a:chOff x="447469" y="435355"/>
            <a:chExt cx="1440000" cy="1548606"/>
          </a:xfrm>
        </p:grpSpPr>
        <p:pic>
          <p:nvPicPr>
            <p:cNvPr id="237" name="Picture 236" descr="A close up of a logo&#10;&#10;Description automatically generated">
              <a:extLst>
                <a:ext uri="{FF2B5EF4-FFF2-40B4-BE49-F238E27FC236}">
                  <a16:creationId xmlns:a16="http://schemas.microsoft.com/office/drawing/2014/main" id="{120CE43A-E423-CD4D-A369-014543A1F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47469" y="435355"/>
              <a:ext cx="1440000" cy="1440000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31917F9E-AF1F-6143-B212-E2D90BC72999}"/>
                </a:ext>
              </a:extLst>
            </p:cNvPr>
            <p:cNvSpPr txBox="1"/>
            <p:nvPr/>
          </p:nvSpPr>
          <p:spPr>
            <a:xfrm>
              <a:off x="623888" y="1706962"/>
              <a:ext cx="10933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eed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E428DF4-B435-C54D-A86C-981018C62D88}"/>
              </a:ext>
            </a:extLst>
          </p:cNvPr>
          <p:cNvGrpSpPr/>
          <p:nvPr userDrawn="1"/>
        </p:nvGrpSpPr>
        <p:grpSpPr>
          <a:xfrm>
            <a:off x="9935378" y="4912057"/>
            <a:ext cx="1580322" cy="1728783"/>
            <a:chOff x="2980152" y="439844"/>
            <a:chExt cx="1580322" cy="1728783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DBBD4DFA-1A7C-C04D-8851-983348BB9835}"/>
                </a:ext>
              </a:extLst>
            </p:cNvPr>
            <p:cNvSpPr txBox="1"/>
            <p:nvPr/>
          </p:nvSpPr>
          <p:spPr>
            <a:xfrm>
              <a:off x="2980152" y="170696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241" name="Picture 240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36CB3935-6F60-AA44-B73D-49F280D85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71607" y="439844"/>
              <a:ext cx="1440001" cy="1440001"/>
            </a:xfrm>
            <a:prstGeom prst="rect">
              <a:avLst/>
            </a:prstGeom>
          </p:spPr>
        </p:pic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4E0594-3FC5-284C-8CA8-142703B2E5C8}"/>
              </a:ext>
            </a:extLst>
          </p:cNvPr>
          <p:cNvGrpSpPr/>
          <p:nvPr userDrawn="1"/>
        </p:nvGrpSpPr>
        <p:grpSpPr>
          <a:xfrm>
            <a:off x="2988608" y="32068"/>
            <a:ext cx="1580322" cy="1530453"/>
            <a:chOff x="9480376" y="405538"/>
            <a:chExt cx="1580322" cy="1530453"/>
          </a:xfrm>
        </p:grpSpPr>
        <p:pic>
          <p:nvPicPr>
            <p:cNvPr id="243" name="Picture 242" descr="A close up of a logo&#10;&#10;Description automatically generated">
              <a:extLst>
                <a:ext uri="{FF2B5EF4-FFF2-40B4-BE49-F238E27FC236}">
                  <a16:creationId xmlns:a16="http://schemas.microsoft.com/office/drawing/2014/main" id="{71AE286F-954F-4A43-AE0F-7D522CDF4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9550537" y="405538"/>
              <a:ext cx="1440000" cy="1440000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07592D84-2A7D-5A41-B872-17BC093CFDFB}"/>
                </a:ext>
              </a:extLst>
            </p:cNvPr>
            <p:cNvSpPr txBox="1"/>
            <p:nvPr/>
          </p:nvSpPr>
          <p:spPr>
            <a:xfrm>
              <a:off x="9480376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ur Values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9D662942-B567-8D4C-982A-9B579FA1D5C2}"/>
              </a:ext>
            </a:extLst>
          </p:cNvPr>
          <p:cNvGrpSpPr/>
          <p:nvPr userDrawn="1"/>
        </p:nvGrpSpPr>
        <p:grpSpPr>
          <a:xfrm>
            <a:off x="367748" y="32068"/>
            <a:ext cx="1580322" cy="1530453"/>
            <a:chOff x="7667309" y="405538"/>
            <a:chExt cx="1580322" cy="1530453"/>
          </a:xfrm>
        </p:grpSpPr>
        <p:pic>
          <p:nvPicPr>
            <p:cNvPr id="246" name="Picture 245" descr="A close up of a logo&#10;&#10;Description automatically generated">
              <a:extLst>
                <a:ext uri="{FF2B5EF4-FFF2-40B4-BE49-F238E27FC236}">
                  <a16:creationId xmlns:a16="http://schemas.microsoft.com/office/drawing/2014/main" id="{28C6A8B0-0869-5D4B-88AB-B1C66AD22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396C7199-7469-024C-8A76-CDCB271DBA0D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/>
                <a:t>Odour</a:t>
              </a:r>
              <a:r>
                <a:rPr lang="en-US" sz="1200" dirty="0"/>
                <a:t> Free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0E488593-FAD3-8F44-8F34-07D25BED6DBB}"/>
              </a:ext>
            </a:extLst>
          </p:cNvPr>
          <p:cNvGrpSpPr/>
          <p:nvPr userDrawn="1"/>
        </p:nvGrpSpPr>
        <p:grpSpPr>
          <a:xfrm>
            <a:off x="1622444" y="33832"/>
            <a:ext cx="1580322" cy="1531754"/>
            <a:chOff x="7667309" y="2169250"/>
            <a:chExt cx="1580322" cy="1531754"/>
          </a:xfrm>
        </p:grpSpPr>
        <p:pic>
          <p:nvPicPr>
            <p:cNvPr id="249" name="Picture 248" descr="A close up of a logo&#10;&#10;Description automatically generated">
              <a:extLst>
                <a:ext uri="{FF2B5EF4-FFF2-40B4-BE49-F238E27FC236}">
                  <a16:creationId xmlns:a16="http://schemas.microsoft.com/office/drawing/2014/main" id="{4C160267-0103-8843-AECF-D6336149C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737470" y="2169250"/>
              <a:ext cx="1440000" cy="1440000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CA58BF1D-0A20-2A4F-8307-1F2613CB743B}"/>
                </a:ext>
              </a:extLst>
            </p:cNvPr>
            <p:cNvSpPr txBox="1"/>
            <p:nvPr/>
          </p:nvSpPr>
          <p:spPr>
            <a:xfrm>
              <a:off x="7667309" y="3424005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ffice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C2A1B2BB-A4DA-6048-81B4-ADF88CCE01F5}"/>
              </a:ext>
            </a:extLst>
          </p:cNvPr>
          <p:cNvGrpSpPr/>
          <p:nvPr userDrawn="1"/>
        </p:nvGrpSpPr>
        <p:grpSpPr>
          <a:xfrm>
            <a:off x="8533073" y="32068"/>
            <a:ext cx="1580322" cy="1530453"/>
            <a:chOff x="2063552" y="405538"/>
            <a:chExt cx="1580322" cy="1530453"/>
          </a:xfrm>
        </p:grpSpPr>
        <p:pic>
          <p:nvPicPr>
            <p:cNvPr id="252" name="Picture 251" descr="A close up of a logo&#10;&#10;Description automatically generated">
              <a:extLst>
                <a:ext uri="{FF2B5EF4-FFF2-40B4-BE49-F238E27FC236}">
                  <a16:creationId xmlns:a16="http://schemas.microsoft.com/office/drawing/2014/main" id="{F3C3B792-8EB9-0141-9595-2247AE002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0681653-5B27-2743-9DCD-810057A26B41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hon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E226A9B4-8892-DE46-86E7-4A69C0FE21EF}"/>
              </a:ext>
            </a:extLst>
          </p:cNvPr>
          <p:cNvGrpSpPr/>
          <p:nvPr userDrawn="1"/>
        </p:nvGrpSpPr>
        <p:grpSpPr>
          <a:xfrm>
            <a:off x="9976412" y="33982"/>
            <a:ext cx="1580322" cy="1522052"/>
            <a:chOff x="9480376" y="2169250"/>
            <a:chExt cx="1580322" cy="1522052"/>
          </a:xfrm>
        </p:grpSpPr>
        <p:pic>
          <p:nvPicPr>
            <p:cNvPr id="255" name="Picture 254" descr="A close up of a logo&#10;&#10;Description automatically generated">
              <a:extLst>
                <a:ext uri="{FF2B5EF4-FFF2-40B4-BE49-F238E27FC236}">
                  <a16:creationId xmlns:a16="http://schemas.microsoft.com/office/drawing/2014/main" id="{B207A063-F812-314B-9FDF-09F49A4E3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9A94FDB4-6307-E441-8D4A-86777CB963BF}"/>
                </a:ext>
              </a:extLst>
            </p:cNvPr>
            <p:cNvSpPr txBox="1"/>
            <p:nvPr/>
          </p:nvSpPr>
          <p:spPr>
            <a:xfrm>
              <a:off x="9480376" y="3414303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lastic Bottle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C63AFDD5-CE96-3D48-A605-D5B370572B40}"/>
              </a:ext>
            </a:extLst>
          </p:cNvPr>
          <p:cNvGrpSpPr/>
          <p:nvPr userDrawn="1"/>
        </p:nvGrpSpPr>
        <p:grpSpPr>
          <a:xfrm>
            <a:off x="4368417" y="32068"/>
            <a:ext cx="1580322" cy="1522478"/>
            <a:chOff x="2063552" y="2169250"/>
            <a:chExt cx="1580322" cy="1522478"/>
          </a:xfrm>
        </p:grpSpPr>
        <p:pic>
          <p:nvPicPr>
            <p:cNvPr id="258" name="Picture 257" descr="A close up of a logo&#10;&#10;Description automatically generated">
              <a:extLst>
                <a:ext uri="{FF2B5EF4-FFF2-40B4-BE49-F238E27FC236}">
                  <a16:creationId xmlns:a16="http://schemas.microsoft.com/office/drawing/2014/main" id="{8A5A345F-615C-7F48-BFF3-A4B0C04977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A0E364DB-97AF-BB45-AA03-22E802AC1877}"/>
                </a:ext>
              </a:extLst>
            </p:cNvPr>
            <p:cNvSpPr txBox="1"/>
            <p:nvPr/>
          </p:nvSpPr>
          <p:spPr>
            <a:xfrm>
              <a:off x="2063552" y="3414729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artnerships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9E289086-3E8C-764E-AB0A-BC7D77A51BE2}"/>
              </a:ext>
            </a:extLst>
          </p:cNvPr>
          <p:cNvGrpSpPr/>
          <p:nvPr userDrawn="1"/>
        </p:nvGrpSpPr>
        <p:grpSpPr>
          <a:xfrm>
            <a:off x="7156962" y="29028"/>
            <a:ext cx="1580322" cy="1537449"/>
            <a:chOff x="9480376" y="3968750"/>
            <a:chExt cx="1580322" cy="1537449"/>
          </a:xfrm>
        </p:grpSpPr>
        <p:pic>
          <p:nvPicPr>
            <p:cNvPr id="261" name="Picture 260" descr="A close up of a logo&#10;&#10;Description automatically generated">
              <a:extLst>
                <a:ext uri="{FF2B5EF4-FFF2-40B4-BE49-F238E27FC236}">
                  <a16:creationId xmlns:a16="http://schemas.microsoft.com/office/drawing/2014/main" id="{092241A2-D0FC-5544-8D04-B17D89817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9550537" y="3968750"/>
              <a:ext cx="1440000" cy="1440000"/>
            </a:xfrm>
            <a:prstGeom prst="rect">
              <a:avLst/>
            </a:prstGeom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E8ADB606-7C54-8C42-BE14-8B1EC8A3AC95}"/>
                </a:ext>
              </a:extLst>
            </p:cNvPr>
            <p:cNvSpPr txBox="1"/>
            <p:nvPr/>
          </p:nvSpPr>
          <p:spPr>
            <a:xfrm>
              <a:off x="9480376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ace of Mind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02530772-90EE-7C4B-9564-3CD7B6036C55}"/>
              </a:ext>
            </a:extLst>
          </p:cNvPr>
          <p:cNvGrpSpPr/>
          <p:nvPr userDrawn="1"/>
        </p:nvGrpSpPr>
        <p:grpSpPr>
          <a:xfrm>
            <a:off x="5733766" y="32068"/>
            <a:ext cx="1580322" cy="1530453"/>
            <a:chOff x="3896140" y="405538"/>
            <a:chExt cx="1580322" cy="1530453"/>
          </a:xfrm>
        </p:grpSpPr>
        <p:pic>
          <p:nvPicPr>
            <p:cNvPr id="264" name="Picture 263" descr="A close up of a logo&#10;&#10;Description automatically generated">
              <a:extLst>
                <a:ext uri="{FF2B5EF4-FFF2-40B4-BE49-F238E27FC236}">
                  <a16:creationId xmlns:a16="http://schemas.microsoft.com/office/drawing/2014/main" id="{7C029809-6AC7-F347-A4BC-A64858600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789C6533-C103-6F46-9A12-42288513CF2B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destri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8713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4570AEBB-C30B-E44D-9111-0AE6C330D3A1}"/>
              </a:ext>
            </a:extLst>
          </p:cNvPr>
          <p:cNvGrpSpPr/>
          <p:nvPr userDrawn="1"/>
        </p:nvGrpSpPr>
        <p:grpSpPr>
          <a:xfrm>
            <a:off x="9944851" y="1769165"/>
            <a:ext cx="1580322" cy="1515700"/>
            <a:chOff x="3896140" y="2169250"/>
            <a:chExt cx="1580322" cy="1515700"/>
          </a:xfrm>
        </p:grpSpPr>
        <p:pic>
          <p:nvPicPr>
            <p:cNvPr id="36" name="Picture 35" descr="A picture containing drawing, clock&#10;&#10;Description automatically generated">
              <a:extLst>
                <a:ext uri="{FF2B5EF4-FFF2-40B4-BE49-F238E27FC236}">
                  <a16:creationId xmlns:a16="http://schemas.microsoft.com/office/drawing/2014/main" id="{9B4BEC6F-AA4F-A545-8C87-99FC179FE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66301" y="2169250"/>
              <a:ext cx="1440000" cy="144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2EA73C-C1ED-5045-B0FB-E4EC61EF34B3}"/>
                </a:ext>
              </a:extLst>
            </p:cNvPr>
            <p:cNvSpPr txBox="1"/>
            <p:nvPr/>
          </p:nvSpPr>
          <p:spPr>
            <a:xfrm>
              <a:off x="3896140" y="3407951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ndow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79E4E6E-41B0-9446-BB0C-E30038A9309E}"/>
              </a:ext>
            </a:extLst>
          </p:cNvPr>
          <p:cNvGrpSpPr/>
          <p:nvPr userDrawn="1"/>
        </p:nvGrpSpPr>
        <p:grpSpPr>
          <a:xfrm>
            <a:off x="8598934" y="1775549"/>
            <a:ext cx="1580322" cy="1533056"/>
            <a:chOff x="9480376" y="2169250"/>
            <a:chExt cx="1580322" cy="1533056"/>
          </a:xfrm>
        </p:grpSpPr>
        <p:pic>
          <p:nvPicPr>
            <p:cNvPr id="39" name="Picture 38" descr="A close up of a logo&#10;&#10;Description automatically generated">
              <a:extLst>
                <a:ext uri="{FF2B5EF4-FFF2-40B4-BE49-F238E27FC236}">
                  <a16:creationId xmlns:a16="http://schemas.microsoft.com/office/drawing/2014/main" id="{03BB665C-F40D-8243-9AB6-4B3C48B35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3309480-8DC9-B248-B035-23DB4C3CC6C1}"/>
                </a:ext>
              </a:extLst>
            </p:cNvPr>
            <p:cNvSpPr txBox="1"/>
            <p:nvPr/>
          </p:nvSpPr>
          <p:spPr>
            <a:xfrm>
              <a:off x="9480376" y="3425307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eather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84A8CE6-D7F9-0C41-825A-3122941CC914}"/>
              </a:ext>
            </a:extLst>
          </p:cNvPr>
          <p:cNvGrpSpPr/>
          <p:nvPr userDrawn="1"/>
        </p:nvGrpSpPr>
        <p:grpSpPr>
          <a:xfrm>
            <a:off x="5819456" y="1775053"/>
            <a:ext cx="1580322" cy="1530453"/>
            <a:chOff x="7667309" y="405538"/>
            <a:chExt cx="1580322" cy="1530453"/>
          </a:xfrm>
        </p:grpSpPr>
        <p:pic>
          <p:nvPicPr>
            <p:cNvPr id="42" name="Picture 4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1D98900-CCDA-0446-B28C-EEB537139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C9FAB1A-EDF7-414E-BF78-85CCF32BBEB0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rning/Alert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F5734D8-F6F6-3F4B-85FA-5E4D75B1CA78}"/>
              </a:ext>
            </a:extLst>
          </p:cNvPr>
          <p:cNvGrpSpPr/>
          <p:nvPr userDrawn="1"/>
        </p:nvGrpSpPr>
        <p:grpSpPr>
          <a:xfrm>
            <a:off x="4438655" y="1775549"/>
            <a:ext cx="1580322" cy="1533019"/>
            <a:chOff x="2063552" y="2169250"/>
            <a:chExt cx="1580322" cy="1533019"/>
          </a:xfrm>
        </p:grpSpPr>
        <p:pic>
          <p:nvPicPr>
            <p:cNvPr id="45" name="Picture 44" descr="A close up of a logo&#10;&#10;Description automatically generated">
              <a:extLst>
                <a:ext uri="{FF2B5EF4-FFF2-40B4-BE49-F238E27FC236}">
                  <a16:creationId xmlns:a16="http://schemas.microsoft.com/office/drawing/2014/main" id="{3979F712-4AE5-E949-8186-E7C0E850A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133713" y="2169250"/>
              <a:ext cx="1440000" cy="144000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82D9F6E-808A-7246-8A5A-53E0CE58A2A2}"/>
                </a:ext>
              </a:extLst>
            </p:cNvPr>
            <p:cNvSpPr txBox="1"/>
            <p:nvPr/>
          </p:nvSpPr>
          <p:spPr>
            <a:xfrm>
              <a:off x="2063552" y="342527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&amp; Energy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B4F476E-2BA4-1E42-B910-5C33EE507D8D}"/>
              </a:ext>
            </a:extLst>
          </p:cNvPr>
          <p:cNvGrpSpPr/>
          <p:nvPr userDrawn="1"/>
        </p:nvGrpSpPr>
        <p:grpSpPr>
          <a:xfrm>
            <a:off x="7204917" y="1775053"/>
            <a:ext cx="1580322" cy="1906781"/>
            <a:chOff x="367748" y="3968750"/>
            <a:chExt cx="1580322" cy="1906781"/>
          </a:xfrm>
        </p:grpSpPr>
        <p:pic>
          <p:nvPicPr>
            <p:cNvPr id="48" name="Picture 47" descr="A close up of a logo&#10;&#10;Description automatically generated">
              <a:extLst>
                <a:ext uri="{FF2B5EF4-FFF2-40B4-BE49-F238E27FC236}">
                  <a16:creationId xmlns:a16="http://schemas.microsoft.com/office/drawing/2014/main" id="{D8113E6C-A104-D643-98BD-2DD1F33BC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7909" y="3968750"/>
              <a:ext cx="1440000" cy="1440000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9CC41FE-F107-FF4F-A8E7-3565BC178BD5}"/>
                </a:ext>
              </a:extLst>
            </p:cNvPr>
            <p:cNvSpPr txBox="1"/>
            <p:nvPr/>
          </p:nvSpPr>
          <p:spPr>
            <a:xfrm>
              <a:off x="367748" y="5229200"/>
              <a:ext cx="15803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ater Management Solutions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6B109DB-4D5A-C34E-A718-8FCB29DE4150}"/>
              </a:ext>
            </a:extLst>
          </p:cNvPr>
          <p:cNvGrpSpPr/>
          <p:nvPr userDrawn="1"/>
        </p:nvGrpSpPr>
        <p:grpSpPr>
          <a:xfrm>
            <a:off x="312763" y="3548264"/>
            <a:ext cx="1580322" cy="1518425"/>
            <a:chOff x="367748" y="2169250"/>
            <a:chExt cx="1580322" cy="1518425"/>
          </a:xfrm>
        </p:grpSpPr>
        <p:pic>
          <p:nvPicPr>
            <p:cNvPr id="51" name="Picture 50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412C461-D680-D741-AE16-55D5F4E81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909" y="2169250"/>
              <a:ext cx="1440000" cy="144000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717BF53-325B-2944-A211-D3A206BB23FB}"/>
                </a:ext>
              </a:extLst>
            </p:cNvPr>
            <p:cNvSpPr txBox="1"/>
            <p:nvPr/>
          </p:nvSpPr>
          <p:spPr>
            <a:xfrm>
              <a:off x="367748" y="34106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reles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1D43B28-E605-0544-A061-94103551D3D1}"/>
              </a:ext>
            </a:extLst>
          </p:cNvPr>
          <p:cNvGrpSpPr/>
          <p:nvPr userDrawn="1"/>
        </p:nvGrpSpPr>
        <p:grpSpPr>
          <a:xfrm>
            <a:off x="1679887" y="3544218"/>
            <a:ext cx="1580322" cy="1530453"/>
            <a:chOff x="7667309" y="405538"/>
            <a:chExt cx="1580322" cy="1530453"/>
          </a:xfrm>
        </p:grpSpPr>
        <p:pic>
          <p:nvPicPr>
            <p:cNvPr id="54" name="Picture 53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CAECA182-8441-FC4F-B691-A4C74ABFE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7470" y="405538"/>
              <a:ext cx="1440000" cy="144000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5B7E7D3-FF4E-BA4D-A5CD-308BCDC14E8A}"/>
                </a:ext>
              </a:extLst>
            </p:cNvPr>
            <p:cNvSpPr txBox="1"/>
            <p:nvPr/>
          </p:nvSpPr>
          <p:spPr>
            <a:xfrm>
              <a:off x="7667309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C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FEDC0B3-04D1-BF44-B969-DA25682FD9F3}"/>
              </a:ext>
            </a:extLst>
          </p:cNvPr>
          <p:cNvGrpSpPr/>
          <p:nvPr userDrawn="1"/>
        </p:nvGrpSpPr>
        <p:grpSpPr>
          <a:xfrm>
            <a:off x="5855089" y="3524350"/>
            <a:ext cx="1580322" cy="1715118"/>
            <a:chOff x="9480376" y="2169250"/>
            <a:chExt cx="1580322" cy="1715118"/>
          </a:xfrm>
        </p:grpSpPr>
        <p:pic>
          <p:nvPicPr>
            <p:cNvPr id="57" name="Picture 56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D2AF0BEC-24E7-DB41-B840-6DFD23E22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550537" y="2169250"/>
              <a:ext cx="1440000" cy="1440000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8A03034-D395-EF45-89D8-8D2B795E39D0}"/>
                </a:ext>
              </a:extLst>
            </p:cNvPr>
            <p:cNvSpPr txBox="1"/>
            <p:nvPr/>
          </p:nvSpPr>
          <p:spPr>
            <a:xfrm>
              <a:off x="9480376" y="3422703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10 Year Guarantee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C0E630D-6D57-2E47-A620-08F55FBA8DDE}"/>
              </a:ext>
            </a:extLst>
          </p:cNvPr>
          <p:cNvGrpSpPr/>
          <p:nvPr userDrawn="1"/>
        </p:nvGrpSpPr>
        <p:grpSpPr>
          <a:xfrm>
            <a:off x="3088827" y="3524350"/>
            <a:ext cx="1580322" cy="1715119"/>
            <a:chOff x="367748" y="405538"/>
            <a:chExt cx="1580322" cy="1715119"/>
          </a:xfrm>
        </p:grpSpPr>
        <p:pic>
          <p:nvPicPr>
            <p:cNvPr id="60" name="Picture 59" descr="A picture containing device&#10;&#10;Description automatically generated">
              <a:extLst>
                <a:ext uri="{FF2B5EF4-FFF2-40B4-BE49-F238E27FC236}">
                  <a16:creationId xmlns:a16="http://schemas.microsoft.com/office/drawing/2014/main" id="{31C3E95A-31BC-7842-9595-6F21301F3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F8DD463-B058-E44A-A31A-97584612D06D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60 Years Experience</a:t>
              </a:r>
              <a:endParaRPr lang="en-US" sz="1200" dirty="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534A86F-6563-3E4F-95F3-C2B67DD91F4F}"/>
              </a:ext>
            </a:extLst>
          </p:cNvPr>
          <p:cNvGrpSpPr/>
          <p:nvPr userDrawn="1"/>
        </p:nvGrpSpPr>
        <p:grpSpPr>
          <a:xfrm>
            <a:off x="4469628" y="3514411"/>
            <a:ext cx="1580322" cy="1715119"/>
            <a:chOff x="367748" y="405538"/>
            <a:chExt cx="1580322" cy="1715119"/>
          </a:xfrm>
        </p:grpSpPr>
        <p:pic>
          <p:nvPicPr>
            <p:cNvPr id="63" name="Picture 62" descr="A close up of a logo&#10;&#10;Description automatically generated">
              <a:extLst>
                <a:ext uri="{FF2B5EF4-FFF2-40B4-BE49-F238E27FC236}">
                  <a16:creationId xmlns:a16="http://schemas.microsoft.com/office/drawing/2014/main" id="{781CD0E7-DCB1-C743-8C05-526044B2E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7909" y="405538"/>
              <a:ext cx="1440000" cy="1440000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523E7290-B2D2-5E49-874A-9E3DB1AE76A3}"/>
                </a:ext>
              </a:extLst>
            </p:cNvPr>
            <p:cNvSpPr txBox="1"/>
            <p:nvPr/>
          </p:nvSpPr>
          <p:spPr>
            <a:xfrm>
              <a:off x="367748" y="16589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5 Year</a:t>
              </a:r>
              <a:br>
                <a:rPr lang="en-US" sz="1200" dirty="0"/>
              </a:br>
              <a:r>
                <a:rPr lang="en-US" sz="1200" dirty="0"/>
                <a:t>Guarantee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C21E6CA-E0FC-AC4F-9C44-985FF310F44D}"/>
              </a:ext>
            </a:extLst>
          </p:cNvPr>
          <p:cNvGrpSpPr/>
          <p:nvPr userDrawn="1"/>
        </p:nvGrpSpPr>
        <p:grpSpPr>
          <a:xfrm>
            <a:off x="425327" y="1785108"/>
            <a:ext cx="1439941" cy="1698626"/>
            <a:chOff x="425327" y="14365"/>
            <a:chExt cx="1439941" cy="1698626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17BE41B-859D-1F4E-BAE0-77DC661C0ED1}"/>
                </a:ext>
              </a:extLst>
            </p:cNvPr>
            <p:cNvSpPr txBox="1"/>
            <p:nvPr/>
          </p:nvSpPr>
          <p:spPr>
            <a:xfrm>
              <a:off x="617127" y="1251326"/>
              <a:ext cx="10933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Value of Space</a:t>
              </a:r>
            </a:p>
          </p:txBody>
        </p:sp>
        <p:pic>
          <p:nvPicPr>
            <p:cNvPr id="67" name="Picture 66" descr="A close up of a logo&#10;&#10;Description automatically generated">
              <a:extLst>
                <a:ext uri="{FF2B5EF4-FFF2-40B4-BE49-F238E27FC236}">
                  <a16:creationId xmlns:a16="http://schemas.microsoft.com/office/drawing/2014/main" id="{A7B9F8DA-DE54-5244-88F4-F73738E7E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25327" y="14365"/>
              <a:ext cx="1439941" cy="1439941"/>
            </a:xfrm>
            <a:prstGeom prst="rect">
              <a:avLst/>
            </a:prstGeom>
          </p:spPr>
        </p:pic>
      </p:grpSp>
      <p:pic>
        <p:nvPicPr>
          <p:cNvPr id="68" name="Picture 67" descr="A close up of a logo&#10;&#10;Description automatically generated">
            <a:extLst>
              <a:ext uri="{FF2B5EF4-FFF2-40B4-BE49-F238E27FC236}">
                <a16:creationId xmlns:a16="http://schemas.microsoft.com/office/drawing/2014/main" id="{1C1C2472-D34D-D743-83E9-472FDDE9ACD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093720" y="1770743"/>
            <a:ext cx="1440000" cy="1440000"/>
          </a:xfrm>
          <a:prstGeom prst="rect">
            <a:avLst/>
          </a:prstGeom>
        </p:spPr>
      </p:pic>
      <p:pic>
        <p:nvPicPr>
          <p:cNvPr id="69" name="Picture 68" descr="A close up of a logo&#10;&#10;Description automatically generated">
            <a:extLst>
              <a:ext uri="{FF2B5EF4-FFF2-40B4-BE49-F238E27FC236}">
                <a16:creationId xmlns:a16="http://schemas.microsoft.com/office/drawing/2014/main" id="{1A8D4D40-5926-7E4E-9409-346D94F9A48B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767840" y="1770743"/>
            <a:ext cx="1440000" cy="14400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501BCBFB-16E0-674E-8BFA-C2B8B84A3463}"/>
              </a:ext>
            </a:extLst>
          </p:cNvPr>
          <p:cNvSpPr txBox="1"/>
          <p:nvPr userDrawn="1"/>
        </p:nvSpPr>
        <p:spPr>
          <a:xfrm>
            <a:off x="194118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DCBDD38-CEDC-4C45-9F16-63397D74B2D5}"/>
              </a:ext>
            </a:extLst>
          </p:cNvPr>
          <p:cNvSpPr txBox="1"/>
          <p:nvPr userDrawn="1"/>
        </p:nvSpPr>
        <p:spPr>
          <a:xfrm>
            <a:off x="3267068" y="3037309"/>
            <a:ext cx="109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Value of Space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A73E3EA-1058-0945-B47B-B01E5F27DF8C}"/>
              </a:ext>
            </a:extLst>
          </p:cNvPr>
          <p:cNvGrpSpPr/>
          <p:nvPr userDrawn="1"/>
        </p:nvGrpSpPr>
        <p:grpSpPr>
          <a:xfrm>
            <a:off x="418424" y="9898"/>
            <a:ext cx="1440001" cy="1717254"/>
            <a:chOff x="4441292" y="451373"/>
            <a:chExt cx="1440001" cy="1717254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9029692-0A8B-9946-AE15-00C1B5C63887}"/>
                </a:ext>
              </a:extLst>
            </p:cNvPr>
            <p:cNvSpPr txBox="1"/>
            <p:nvPr/>
          </p:nvSpPr>
          <p:spPr>
            <a:xfrm>
              <a:off x="4587532" y="1706962"/>
              <a:ext cx="12042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</a:t>
              </a:r>
              <a:br>
                <a:rPr lang="en-US" sz="1200" dirty="0"/>
              </a:br>
              <a:r>
                <a:rPr lang="en-US" sz="1200" dirty="0"/>
                <a:t>Saving</a:t>
              </a:r>
            </a:p>
          </p:txBody>
        </p:sp>
        <p:pic>
          <p:nvPicPr>
            <p:cNvPr id="107" name="Picture 106" descr="A picture containing object, clock&#10;&#10;Description automatically generated">
              <a:extLst>
                <a:ext uri="{FF2B5EF4-FFF2-40B4-BE49-F238E27FC236}">
                  <a16:creationId xmlns:a16="http://schemas.microsoft.com/office/drawing/2014/main" id="{7A1BE080-7C5A-CD46-A875-A8840BBA2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441292" y="451373"/>
              <a:ext cx="1440001" cy="1440001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CD871D3-5D9B-C445-B58A-3F400D10C036}"/>
              </a:ext>
            </a:extLst>
          </p:cNvPr>
          <p:cNvGrpSpPr/>
          <p:nvPr userDrawn="1"/>
        </p:nvGrpSpPr>
        <p:grpSpPr>
          <a:xfrm>
            <a:off x="3015807" y="0"/>
            <a:ext cx="1580322" cy="1530453"/>
            <a:chOff x="2063552" y="405538"/>
            <a:chExt cx="1580322" cy="1530453"/>
          </a:xfrm>
        </p:grpSpPr>
        <p:pic>
          <p:nvPicPr>
            <p:cNvPr id="109" name="Picture 10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D5E5B0A6-749C-B448-A592-2864D8A39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133713" y="405538"/>
              <a:ext cx="1440000" cy="1440000"/>
            </a:xfrm>
            <a:prstGeom prst="rect">
              <a:avLst/>
            </a:prstGeom>
          </p:spPr>
        </p:pic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E521F28-9561-AD44-B722-533CBBE7DDCF}"/>
                </a:ext>
              </a:extLst>
            </p:cNvPr>
            <p:cNvSpPr txBox="1"/>
            <p:nvPr/>
          </p:nvSpPr>
          <p:spPr>
            <a:xfrm>
              <a:off x="2063552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chnology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BB9F985-9B0F-E047-B510-1BB9EF36F33E}"/>
              </a:ext>
            </a:extLst>
          </p:cNvPr>
          <p:cNvGrpSpPr/>
          <p:nvPr userDrawn="1"/>
        </p:nvGrpSpPr>
        <p:grpSpPr>
          <a:xfrm>
            <a:off x="8563826" y="20904"/>
            <a:ext cx="1580322" cy="1501025"/>
            <a:chOff x="5750970" y="2169250"/>
            <a:chExt cx="1580322" cy="1501025"/>
          </a:xfrm>
        </p:grpSpPr>
        <p:pic>
          <p:nvPicPr>
            <p:cNvPr id="112" name="Picture 111" descr="A close up of a logo&#10;&#10;Description automatically generated">
              <a:extLst>
                <a:ext uri="{FF2B5EF4-FFF2-40B4-BE49-F238E27FC236}">
                  <a16:creationId xmlns:a16="http://schemas.microsoft.com/office/drawing/2014/main" id="{83428831-0B07-C443-A5D9-527124647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821131" y="2169250"/>
              <a:ext cx="1440000" cy="1440000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FB0C301-92BC-E541-B57F-525F1CEE2CEA}"/>
                </a:ext>
              </a:extLst>
            </p:cNvPr>
            <p:cNvSpPr txBox="1"/>
            <p:nvPr/>
          </p:nvSpPr>
          <p:spPr>
            <a:xfrm>
              <a:off x="5750970" y="3393276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rusted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A064281-FE15-D047-AB93-75FFD984539C}"/>
              </a:ext>
            </a:extLst>
          </p:cNvPr>
          <p:cNvGrpSpPr/>
          <p:nvPr userDrawn="1"/>
        </p:nvGrpSpPr>
        <p:grpSpPr>
          <a:xfrm>
            <a:off x="4381418" y="1961"/>
            <a:ext cx="1580322" cy="1537449"/>
            <a:chOff x="3896140" y="3968750"/>
            <a:chExt cx="1580322" cy="1537449"/>
          </a:xfrm>
        </p:grpSpPr>
        <p:pic>
          <p:nvPicPr>
            <p:cNvPr id="115" name="Picture 114" descr="A close up of a logo&#10;&#10;Description automatically generated">
              <a:extLst>
                <a:ext uri="{FF2B5EF4-FFF2-40B4-BE49-F238E27FC236}">
                  <a16:creationId xmlns:a16="http://schemas.microsoft.com/office/drawing/2014/main" id="{7A4E366A-C689-9F45-9BE2-7565B861A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966301" y="3968750"/>
              <a:ext cx="1440000" cy="14400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3E2AF2E-D974-BC44-82F4-AAA15C760FD0}"/>
                </a:ext>
              </a:extLst>
            </p:cNvPr>
            <p:cNvSpPr txBox="1"/>
            <p:nvPr/>
          </p:nvSpPr>
          <p:spPr>
            <a:xfrm>
              <a:off x="3896140" y="52292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lemetry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F05FAF8-30CF-B54D-A9D8-9AD47435166B}"/>
              </a:ext>
            </a:extLst>
          </p:cNvPr>
          <p:cNvGrpSpPr/>
          <p:nvPr userDrawn="1"/>
        </p:nvGrpSpPr>
        <p:grpSpPr>
          <a:xfrm>
            <a:off x="5774501" y="0"/>
            <a:ext cx="1580322" cy="1555646"/>
            <a:chOff x="1638370" y="428315"/>
            <a:chExt cx="1580322" cy="1555646"/>
          </a:xfrm>
        </p:grpSpPr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60DA4B5-6EAA-E84C-AD7B-B149EBD9CD91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in</a:t>
              </a:r>
            </a:p>
          </p:txBody>
        </p:sp>
        <p:pic>
          <p:nvPicPr>
            <p:cNvPr id="119" name="Picture 118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6A2C1789-8CA5-0B48-A125-F634DA7011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701611" y="428315"/>
              <a:ext cx="1441450" cy="1441450"/>
            </a:xfrm>
            <a:prstGeom prst="rect">
              <a:avLst/>
            </a:prstGeom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52128973-2794-CD4A-967B-7EA3F6DA1F82}"/>
              </a:ext>
            </a:extLst>
          </p:cNvPr>
          <p:cNvGrpSpPr/>
          <p:nvPr userDrawn="1"/>
        </p:nvGrpSpPr>
        <p:grpSpPr>
          <a:xfrm>
            <a:off x="1699390" y="0"/>
            <a:ext cx="1440000" cy="1738862"/>
            <a:chOff x="5837032" y="429765"/>
            <a:chExt cx="1440000" cy="1738862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1E22EBBD-946D-EE4B-A99A-9BC7B6497A4C}"/>
                </a:ext>
              </a:extLst>
            </p:cNvPr>
            <p:cNvSpPr txBox="1"/>
            <p:nvPr/>
          </p:nvSpPr>
          <p:spPr>
            <a:xfrm>
              <a:off x="6128856" y="1706962"/>
              <a:ext cx="8563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pace Saving</a:t>
              </a:r>
            </a:p>
          </p:txBody>
        </p:sp>
        <p:pic>
          <p:nvPicPr>
            <p:cNvPr id="122" name="Picture 121" descr="A close up of a sign&#10;&#10;Description automatically generated">
              <a:extLst>
                <a:ext uri="{FF2B5EF4-FFF2-40B4-BE49-F238E27FC236}">
                  <a16:creationId xmlns:a16="http://schemas.microsoft.com/office/drawing/2014/main" id="{8C332DCE-70D7-B94D-A86F-41FCCE60F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837032" y="429765"/>
              <a:ext cx="1440000" cy="1440000"/>
            </a:xfrm>
            <a:prstGeom prst="rect">
              <a:avLst/>
            </a:prstGeom>
          </p:spPr>
        </p:pic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0E466CF5-77E6-2849-825F-BCE63DDCA0FC}"/>
              </a:ext>
            </a:extLst>
          </p:cNvPr>
          <p:cNvGrpSpPr/>
          <p:nvPr userDrawn="1"/>
        </p:nvGrpSpPr>
        <p:grpSpPr>
          <a:xfrm>
            <a:off x="7139575" y="9709"/>
            <a:ext cx="1580322" cy="1548606"/>
            <a:chOff x="1638370" y="435355"/>
            <a:chExt cx="1580322" cy="1548606"/>
          </a:xfrm>
        </p:grpSpPr>
        <p:pic>
          <p:nvPicPr>
            <p:cNvPr id="124" name="Picture 123" descr="A close up of a logo&#10;&#10;Description automatically generated">
              <a:extLst>
                <a:ext uri="{FF2B5EF4-FFF2-40B4-BE49-F238E27FC236}">
                  <a16:creationId xmlns:a16="http://schemas.microsoft.com/office/drawing/2014/main" id="{29C8F395-99FF-CB41-9A35-870DA67F2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753119" y="435355"/>
              <a:ext cx="1440000" cy="1440000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11004237-79D8-FF41-BB20-F72958AB83CA}"/>
                </a:ext>
              </a:extLst>
            </p:cNvPr>
            <p:cNvSpPr txBox="1"/>
            <p:nvPr/>
          </p:nvSpPr>
          <p:spPr>
            <a:xfrm>
              <a:off x="1638370" y="170696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hermal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132D0852-F109-4840-8B7D-22633932F88B}"/>
              </a:ext>
            </a:extLst>
          </p:cNvPr>
          <p:cNvGrpSpPr/>
          <p:nvPr userDrawn="1"/>
        </p:nvGrpSpPr>
        <p:grpSpPr>
          <a:xfrm>
            <a:off x="9951586" y="0"/>
            <a:ext cx="1580322" cy="1530453"/>
            <a:chOff x="3896140" y="405538"/>
            <a:chExt cx="1580322" cy="1530453"/>
          </a:xfrm>
        </p:grpSpPr>
        <p:pic>
          <p:nvPicPr>
            <p:cNvPr id="127" name="Picture 126" descr="A close up of a sign&#10;&#10;Description automatically generated">
              <a:extLst>
                <a:ext uri="{FF2B5EF4-FFF2-40B4-BE49-F238E27FC236}">
                  <a16:creationId xmlns:a16="http://schemas.microsoft.com/office/drawing/2014/main" id="{F253349E-D85B-1A40-A086-F689B655B8B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966301" y="405538"/>
              <a:ext cx="1440000" cy="1440000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8875A09-5C32-D144-B13C-55E5EB13EEC9}"/>
                </a:ext>
              </a:extLst>
            </p:cNvPr>
            <p:cNvSpPr txBox="1"/>
            <p:nvPr/>
          </p:nvSpPr>
          <p:spPr>
            <a:xfrm>
              <a:off x="3896140" y="1658992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User interfa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913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7E0ADF6-E402-3146-B6DE-495BAF74F338}"/>
              </a:ext>
            </a:extLst>
          </p:cNvPr>
          <p:cNvGrpSpPr/>
          <p:nvPr userDrawn="1"/>
        </p:nvGrpSpPr>
        <p:grpSpPr>
          <a:xfrm>
            <a:off x="2060687" y="1219765"/>
            <a:ext cx="1580322" cy="1823574"/>
            <a:chOff x="2060687" y="335183"/>
            <a:chExt cx="1580322" cy="182357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7080020-DBD7-7D4A-A601-0D373779B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70415" y="335183"/>
              <a:ext cx="1560866" cy="1560866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4B66BA5-5251-7D4A-ADB0-F06CA12C04E2}"/>
                </a:ext>
              </a:extLst>
            </p:cNvPr>
            <p:cNvSpPr txBox="1"/>
            <p:nvPr/>
          </p:nvSpPr>
          <p:spPr>
            <a:xfrm>
              <a:off x="2060687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 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311CBF-35F9-7B42-AFD0-7388FA15E194}"/>
              </a:ext>
            </a:extLst>
          </p:cNvPr>
          <p:cNvGrpSpPr/>
          <p:nvPr userDrawn="1"/>
        </p:nvGrpSpPr>
        <p:grpSpPr>
          <a:xfrm>
            <a:off x="3896140" y="1219765"/>
            <a:ext cx="1580322" cy="1823574"/>
            <a:chOff x="3896140" y="335183"/>
            <a:chExt cx="1580322" cy="1823574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3C9B6E8E-D382-C54D-B03F-EC03B231D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05868" y="335183"/>
              <a:ext cx="1560866" cy="1560866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7E95FD9-B3BE-3946-88C9-18D9AF591AE3}"/>
                </a:ext>
              </a:extLst>
            </p:cNvPr>
            <p:cNvSpPr txBox="1"/>
            <p:nvPr/>
          </p:nvSpPr>
          <p:spPr>
            <a:xfrm>
              <a:off x="389614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Harvested Rainwater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7A2DF56-7F4E-B74F-9EF8-22EB940B3D8F}"/>
              </a:ext>
            </a:extLst>
          </p:cNvPr>
          <p:cNvGrpSpPr/>
          <p:nvPr userDrawn="1"/>
        </p:nvGrpSpPr>
        <p:grpSpPr>
          <a:xfrm>
            <a:off x="5750970" y="1219765"/>
            <a:ext cx="1580322" cy="1823574"/>
            <a:chOff x="5750970" y="335183"/>
            <a:chExt cx="1580322" cy="182357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397EC76-47B1-5F40-8B0A-CCCC7E2D7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60698" y="335183"/>
              <a:ext cx="1560866" cy="1560866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AC4E3AF-BD61-5C4F-A121-07463167A4A2}"/>
                </a:ext>
              </a:extLst>
            </p:cNvPr>
            <p:cNvSpPr txBox="1"/>
            <p:nvPr/>
          </p:nvSpPr>
          <p:spPr>
            <a:xfrm>
              <a:off x="575097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 (PETS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A3D937-5DA9-6540-A3B4-35AB5AD80573}"/>
              </a:ext>
            </a:extLst>
          </p:cNvPr>
          <p:cNvGrpSpPr/>
          <p:nvPr userDrawn="1"/>
        </p:nvGrpSpPr>
        <p:grpSpPr>
          <a:xfrm>
            <a:off x="7667309" y="1219765"/>
            <a:ext cx="1580322" cy="1823574"/>
            <a:chOff x="7667309" y="335183"/>
            <a:chExt cx="1580322" cy="1823574"/>
          </a:xfrm>
        </p:grpSpPr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4199837F-648B-3E49-8C70-6CCBA8CB9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677037" y="335183"/>
              <a:ext cx="1560866" cy="1560866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3DD6A3E-810A-E149-B8DC-16C65669000C}"/>
                </a:ext>
              </a:extLst>
            </p:cNvPr>
            <p:cNvSpPr txBox="1"/>
            <p:nvPr/>
          </p:nvSpPr>
          <p:spPr>
            <a:xfrm>
              <a:off x="7667309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ustainable Disposabl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A435C9-18ED-7C47-B379-E289CBD0D831}"/>
              </a:ext>
            </a:extLst>
          </p:cNvPr>
          <p:cNvGrpSpPr/>
          <p:nvPr userDrawn="1"/>
        </p:nvGrpSpPr>
        <p:grpSpPr>
          <a:xfrm>
            <a:off x="9480376" y="1219765"/>
            <a:ext cx="1580322" cy="1823574"/>
            <a:chOff x="9480376" y="335183"/>
            <a:chExt cx="1580322" cy="1823574"/>
          </a:xfrm>
        </p:grpSpPr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B2DFCE71-6805-1940-98AC-BE0857ADF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490104" y="335183"/>
              <a:ext cx="1560866" cy="1560866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D4A8CB-B54E-F342-AD99-33B14AF80D1A}"/>
                </a:ext>
              </a:extLst>
            </p:cNvPr>
            <p:cNvSpPr txBox="1"/>
            <p:nvPr/>
          </p:nvSpPr>
          <p:spPr>
            <a:xfrm>
              <a:off x="9480376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ldlife Conserv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C275B83-58F3-4C41-A29B-A8449C9A03FC}"/>
              </a:ext>
            </a:extLst>
          </p:cNvPr>
          <p:cNvGrpSpPr/>
          <p:nvPr userDrawn="1"/>
        </p:nvGrpSpPr>
        <p:grpSpPr>
          <a:xfrm>
            <a:off x="366479" y="2970743"/>
            <a:ext cx="1580322" cy="1876512"/>
            <a:chOff x="366479" y="2086161"/>
            <a:chExt cx="1580322" cy="187651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D0B128-566C-9946-8291-F34F48BC9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76207" y="2086161"/>
              <a:ext cx="1560866" cy="156086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A6ED507-A5BD-5E41-A120-C59F75E0D899}"/>
                </a:ext>
              </a:extLst>
            </p:cNvPr>
            <p:cNvSpPr txBox="1"/>
            <p:nvPr/>
          </p:nvSpPr>
          <p:spPr>
            <a:xfrm>
              <a:off x="36647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Waste to Landfill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88C6F2-E90C-9D4F-BB44-9C228DB01E7B}"/>
              </a:ext>
            </a:extLst>
          </p:cNvPr>
          <p:cNvGrpSpPr/>
          <p:nvPr userDrawn="1"/>
        </p:nvGrpSpPr>
        <p:grpSpPr>
          <a:xfrm>
            <a:off x="5750970" y="2970743"/>
            <a:ext cx="1580322" cy="1876512"/>
            <a:chOff x="5750970" y="2086161"/>
            <a:chExt cx="1580322" cy="1876512"/>
          </a:xfrm>
        </p:grpSpPr>
        <p:pic>
          <p:nvPicPr>
            <p:cNvPr id="21" name="Picture 20" descr="A close up of a logo&#10;&#10;Description automatically generated">
              <a:extLst>
                <a:ext uri="{FF2B5EF4-FFF2-40B4-BE49-F238E27FC236}">
                  <a16:creationId xmlns:a16="http://schemas.microsoft.com/office/drawing/2014/main" id="{40AF79D2-ABB6-6249-AB90-819D80E27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60698" y="2086161"/>
              <a:ext cx="1560866" cy="1560866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6D520A-1850-6240-AF9C-C53B4319489F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erve Precious Water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E86519-8C0E-7E4A-B35D-EA1C68D21516}"/>
              </a:ext>
            </a:extLst>
          </p:cNvPr>
          <p:cNvGrpSpPr/>
          <p:nvPr userDrawn="1"/>
        </p:nvGrpSpPr>
        <p:grpSpPr>
          <a:xfrm>
            <a:off x="366479" y="4789815"/>
            <a:ext cx="1580322" cy="1823732"/>
            <a:chOff x="366479" y="3905233"/>
            <a:chExt cx="1580322" cy="182373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4DD2E8F-EA5D-BE4D-9771-D7938B9CF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76207" y="3905233"/>
              <a:ext cx="1560866" cy="1560866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FCDF5E6-CEA8-974B-9E45-8BA498AE4982}"/>
                </a:ext>
              </a:extLst>
            </p:cNvPr>
            <p:cNvSpPr txBox="1"/>
            <p:nvPr/>
          </p:nvSpPr>
          <p:spPr>
            <a:xfrm>
              <a:off x="366479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ivert Waste </a:t>
              </a:r>
              <a:br>
                <a:rPr lang="en-US" sz="1200" dirty="0"/>
              </a:br>
              <a:r>
                <a:rPr lang="en-US" sz="1200" dirty="0"/>
                <a:t>From Landfill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6554505-D36A-6B4A-B149-925F6F387039}"/>
              </a:ext>
            </a:extLst>
          </p:cNvPr>
          <p:cNvGrpSpPr/>
          <p:nvPr userDrawn="1"/>
        </p:nvGrpSpPr>
        <p:grpSpPr>
          <a:xfrm>
            <a:off x="2060687" y="4789815"/>
            <a:ext cx="1580322" cy="1639066"/>
            <a:chOff x="2060687" y="3905233"/>
            <a:chExt cx="1580322" cy="1639066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A87986D-6D26-B049-ACB6-D09710666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070415" y="3905233"/>
              <a:ext cx="1560866" cy="156086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A0E7E4B-4EED-EF45-AD38-AB6BBD575001}"/>
                </a:ext>
              </a:extLst>
            </p:cNvPr>
            <p:cNvSpPr txBox="1"/>
            <p:nvPr/>
          </p:nvSpPr>
          <p:spPr>
            <a:xfrm>
              <a:off x="2060687" y="52673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Car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59AC5-5161-3542-A44B-87C140EF1AD7}"/>
              </a:ext>
            </a:extLst>
          </p:cNvPr>
          <p:cNvGrpSpPr/>
          <p:nvPr userDrawn="1"/>
        </p:nvGrpSpPr>
        <p:grpSpPr>
          <a:xfrm>
            <a:off x="3896140" y="4789815"/>
            <a:ext cx="1580322" cy="1823732"/>
            <a:chOff x="3896140" y="3905233"/>
            <a:chExt cx="1580322" cy="1823732"/>
          </a:xfrm>
        </p:grpSpPr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3118C172-C374-7148-8AF8-91DA1163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905868" y="3905233"/>
              <a:ext cx="1560866" cy="1560866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8D30B9-2D0D-5447-B451-99762172B567}"/>
                </a:ext>
              </a:extLst>
            </p:cNvPr>
            <p:cNvSpPr txBox="1"/>
            <p:nvPr/>
          </p:nvSpPr>
          <p:spPr>
            <a:xfrm>
              <a:off x="3896140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FE88D3-964D-F04D-982F-D50679D1A931}"/>
              </a:ext>
            </a:extLst>
          </p:cNvPr>
          <p:cNvGrpSpPr/>
          <p:nvPr userDrawn="1"/>
        </p:nvGrpSpPr>
        <p:grpSpPr>
          <a:xfrm>
            <a:off x="9480376" y="2970743"/>
            <a:ext cx="1580322" cy="1876512"/>
            <a:chOff x="9480376" y="2086161"/>
            <a:chExt cx="1580322" cy="1876512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B81C42D-1A62-0E42-9368-8AB6785A055B}"/>
                </a:ext>
              </a:extLst>
            </p:cNvPr>
            <p:cNvSpPr txBox="1"/>
            <p:nvPr/>
          </p:nvSpPr>
          <p:spPr>
            <a:xfrm>
              <a:off x="9480376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duce Carbon Emissions</a:t>
              </a:r>
            </a:p>
          </p:txBody>
        </p: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8C3D0B-F69D-584A-B789-F78D1EE92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490104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34229A7-5746-1545-9D95-5DB5D524B8B6}"/>
              </a:ext>
            </a:extLst>
          </p:cNvPr>
          <p:cNvGrpSpPr/>
          <p:nvPr userDrawn="1"/>
        </p:nvGrpSpPr>
        <p:grpSpPr>
          <a:xfrm>
            <a:off x="7667309" y="2970743"/>
            <a:ext cx="1580322" cy="1876512"/>
            <a:chOff x="7667309" y="2086161"/>
            <a:chExt cx="1580322" cy="187651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FCA6388-B3D7-E04A-9FFD-911C1AD95D4E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Upcycling Solutions</a:t>
              </a:r>
            </a:p>
          </p:txBody>
        </p:sp>
        <p:pic>
          <p:nvPicPr>
            <p:cNvPr id="37" name="Picture 36" descr="A close up of a logo&#10;&#10;Description automatically generated">
              <a:extLst>
                <a:ext uri="{FF2B5EF4-FFF2-40B4-BE49-F238E27FC236}">
                  <a16:creationId xmlns:a16="http://schemas.microsoft.com/office/drawing/2014/main" id="{87D98C90-3A4F-924E-866C-A3BD078DC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677037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5319109-DF02-FB4B-A59E-90747F79DBD5}"/>
              </a:ext>
            </a:extLst>
          </p:cNvPr>
          <p:cNvGrpSpPr/>
          <p:nvPr userDrawn="1"/>
        </p:nvGrpSpPr>
        <p:grpSpPr>
          <a:xfrm>
            <a:off x="3896140" y="2970743"/>
            <a:ext cx="1580322" cy="1691846"/>
            <a:chOff x="3896140" y="2086161"/>
            <a:chExt cx="1580322" cy="169184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69ACBB5-7413-064B-976E-6770C7943827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458CDF8-B795-7B49-9715-EAF36754E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05868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B72E4C2-6ABB-FC4C-ABD8-C3F418B7756B}"/>
              </a:ext>
            </a:extLst>
          </p:cNvPr>
          <p:cNvGrpSpPr/>
          <p:nvPr userDrawn="1"/>
        </p:nvGrpSpPr>
        <p:grpSpPr>
          <a:xfrm>
            <a:off x="2060687" y="2970743"/>
            <a:ext cx="1580322" cy="1876512"/>
            <a:chOff x="2060687" y="2086161"/>
            <a:chExt cx="1580322" cy="187651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7521234-615B-9B46-946E-CCDAC01ACD92}"/>
                </a:ext>
              </a:extLst>
            </p:cNvPr>
            <p:cNvSpPr txBox="1"/>
            <p:nvPr/>
          </p:nvSpPr>
          <p:spPr>
            <a:xfrm>
              <a:off x="2060687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Vehicles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8AC1DD03-B1F9-6B4C-AA85-870734290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070415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48BFC73-B6AF-004C-B3A9-6E0BA209E43D}"/>
              </a:ext>
            </a:extLst>
          </p:cNvPr>
          <p:cNvGrpSpPr/>
          <p:nvPr userDrawn="1"/>
        </p:nvGrpSpPr>
        <p:grpSpPr>
          <a:xfrm>
            <a:off x="366479" y="1219765"/>
            <a:ext cx="1580322" cy="1638908"/>
            <a:chOff x="366479" y="1219765"/>
            <a:chExt cx="1580322" cy="1638908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6E7A0CA-1D4D-C14A-847A-285EFAADE9AA}"/>
                </a:ext>
              </a:extLst>
            </p:cNvPr>
            <p:cNvSpPr txBox="1"/>
            <p:nvPr/>
          </p:nvSpPr>
          <p:spPr>
            <a:xfrm>
              <a:off x="366479" y="258167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T Plastic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AA491AB-E6B6-604B-BC91-441D57CCB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76207" y="1219765"/>
              <a:ext cx="1560866" cy="1560866"/>
            </a:xfrm>
            <a:prstGeom prst="rect">
              <a:avLst/>
            </a:prstGeom>
          </p:spPr>
        </p:pic>
      </p:grpSp>
      <p:sp>
        <p:nvSpPr>
          <p:cNvPr id="47" name="Title 4">
            <a:extLst>
              <a:ext uri="{FF2B5EF4-FFF2-40B4-BE49-F238E27FC236}">
                <a16:creationId xmlns:a16="http://schemas.microsoft.com/office/drawing/2014/main" id="{77074F7F-7772-E54E-8E65-51F80B009F05}"/>
              </a:ext>
            </a:extLst>
          </p:cNvPr>
          <p:cNvSpPr txBox="1">
            <a:spLocks/>
          </p:cNvSpPr>
          <p:nvPr userDrawn="1"/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net Passionate Icons</a:t>
            </a:r>
            <a:br>
              <a:rPr lang="en-I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13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9965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6A46B8B-91C2-6345-8D3A-CD42BD3B4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004AB388-D756-A24F-A1DD-F8134B91DB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1125538"/>
            <a:ext cx="10944225" cy="2453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28E617-A629-9444-BEB9-06AC835D6C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49086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806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49" t="16412" b="23218"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4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040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7E0ADF6-E402-3146-B6DE-495BAF74F338}"/>
              </a:ext>
            </a:extLst>
          </p:cNvPr>
          <p:cNvGrpSpPr/>
          <p:nvPr userDrawn="1"/>
        </p:nvGrpSpPr>
        <p:grpSpPr>
          <a:xfrm>
            <a:off x="2060687" y="1219765"/>
            <a:ext cx="1580322" cy="1823574"/>
            <a:chOff x="2060687" y="335183"/>
            <a:chExt cx="1580322" cy="182357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7080020-DBD7-7D4A-A601-0D373779B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0415" y="335183"/>
              <a:ext cx="1560866" cy="1560866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4B66BA5-5251-7D4A-ADB0-F06CA12C04E2}"/>
                </a:ext>
              </a:extLst>
            </p:cNvPr>
            <p:cNvSpPr txBox="1"/>
            <p:nvPr/>
          </p:nvSpPr>
          <p:spPr>
            <a:xfrm>
              <a:off x="2060687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 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311CBF-35F9-7B42-AFD0-7388FA15E194}"/>
              </a:ext>
            </a:extLst>
          </p:cNvPr>
          <p:cNvGrpSpPr/>
          <p:nvPr userDrawn="1"/>
        </p:nvGrpSpPr>
        <p:grpSpPr>
          <a:xfrm>
            <a:off x="3896140" y="1219765"/>
            <a:ext cx="1580322" cy="1823574"/>
            <a:chOff x="3896140" y="335183"/>
            <a:chExt cx="1580322" cy="1823574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3C9B6E8E-D382-C54D-B03F-EC03B231D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5868" y="335183"/>
              <a:ext cx="1560866" cy="1560866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7E95FD9-B3BE-3946-88C9-18D9AF591AE3}"/>
                </a:ext>
              </a:extLst>
            </p:cNvPr>
            <p:cNvSpPr txBox="1"/>
            <p:nvPr/>
          </p:nvSpPr>
          <p:spPr>
            <a:xfrm>
              <a:off x="389614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Harvested Rainwater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7A2DF56-7F4E-B74F-9EF8-22EB940B3D8F}"/>
              </a:ext>
            </a:extLst>
          </p:cNvPr>
          <p:cNvGrpSpPr/>
          <p:nvPr userDrawn="1"/>
        </p:nvGrpSpPr>
        <p:grpSpPr>
          <a:xfrm>
            <a:off x="5750970" y="1219765"/>
            <a:ext cx="1580322" cy="1823574"/>
            <a:chOff x="5750970" y="335183"/>
            <a:chExt cx="1580322" cy="182357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397EC76-47B1-5F40-8B0A-CCCC7E2D7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698" y="335183"/>
              <a:ext cx="1560866" cy="1560866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AC4E3AF-BD61-5C4F-A121-07463167A4A2}"/>
                </a:ext>
              </a:extLst>
            </p:cNvPr>
            <p:cNvSpPr txBox="1"/>
            <p:nvPr/>
          </p:nvSpPr>
          <p:spPr>
            <a:xfrm>
              <a:off x="5750970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 (PETS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A3D937-5DA9-6540-A3B4-35AB5AD80573}"/>
              </a:ext>
            </a:extLst>
          </p:cNvPr>
          <p:cNvGrpSpPr/>
          <p:nvPr userDrawn="1"/>
        </p:nvGrpSpPr>
        <p:grpSpPr>
          <a:xfrm>
            <a:off x="7667309" y="1219765"/>
            <a:ext cx="1580322" cy="1823574"/>
            <a:chOff x="7667309" y="335183"/>
            <a:chExt cx="1580322" cy="1823574"/>
          </a:xfrm>
        </p:grpSpPr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4199837F-648B-3E49-8C70-6CCBA8CB9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7037" y="335183"/>
              <a:ext cx="1560866" cy="1560866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3DD6A3E-810A-E149-B8DC-16C65669000C}"/>
                </a:ext>
              </a:extLst>
            </p:cNvPr>
            <p:cNvSpPr txBox="1"/>
            <p:nvPr/>
          </p:nvSpPr>
          <p:spPr>
            <a:xfrm>
              <a:off x="7667309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ustainable Disposabl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A435C9-18ED-7C47-B379-E289CBD0D831}"/>
              </a:ext>
            </a:extLst>
          </p:cNvPr>
          <p:cNvGrpSpPr/>
          <p:nvPr userDrawn="1"/>
        </p:nvGrpSpPr>
        <p:grpSpPr>
          <a:xfrm>
            <a:off x="9480376" y="1219765"/>
            <a:ext cx="1580322" cy="1823574"/>
            <a:chOff x="9480376" y="335183"/>
            <a:chExt cx="1580322" cy="1823574"/>
          </a:xfrm>
        </p:grpSpPr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B2DFCE71-6805-1940-98AC-BE0857ADF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90104" y="335183"/>
              <a:ext cx="1560866" cy="1560866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D4A8CB-B54E-F342-AD99-33B14AF80D1A}"/>
                </a:ext>
              </a:extLst>
            </p:cNvPr>
            <p:cNvSpPr txBox="1"/>
            <p:nvPr/>
          </p:nvSpPr>
          <p:spPr>
            <a:xfrm>
              <a:off x="9480376" y="1697092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Wildlife Conserv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C275B83-58F3-4C41-A29B-A8449C9A03FC}"/>
              </a:ext>
            </a:extLst>
          </p:cNvPr>
          <p:cNvGrpSpPr/>
          <p:nvPr userDrawn="1"/>
        </p:nvGrpSpPr>
        <p:grpSpPr>
          <a:xfrm>
            <a:off x="366479" y="2970743"/>
            <a:ext cx="1580322" cy="1876512"/>
            <a:chOff x="366479" y="2086161"/>
            <a:chExt cx="1580322" cy="187651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D0B128-566C-9946-8291-F34F48BC9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6207" y="2086161"/>
              <a:ext cx="1560866" cy="156086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A6ED507-A5BD-5E41-A120-C59F75E0D899}"/>
                </a:ext>
              </a:extLst>
            </p:cNvPr>
            <p:cNvSpPr txBox="1"/>
            <p:nvPr/>
          </p:nvSpPr>
          <p:spPr>
            <a:xfrm>
              <a:off x="36647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Waste to Landfill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88C6F2-E90C-9D4F-BB44-9C228DB01E7B}"/>
              </a:ext>
            </a:extLst>
          </p:cNvPr>
          <p:cNvGrpSpPr/>
          <p:nvPr userDrawn="1"/>
        </p:nvGrpSpPr>
        <p:grpSpPr>
          <a:xfrm>
            <a:off x="5750970" y="2970743"/>
            <a:ext cx="1580322" cy="1876512"/>
            <a:chOff x="5750970" y="2086161"/>
            <a:chExt cx="1580322" cy="1876512"/>
          </a:xfrm>
        </p:grpSpPr>
        <p:pic>
          <p:nvPicPr>
            <p:cNvPr id="21" name="Picture 20" descr="A close up of a logo&#10;&#10;Description automatically generated">
              <a:extLst>
                <a:ext uri="{FF2B5EF4-FFF2-40B4-BE49-F238E27FC236}">
                  <a16:creationId xmlns:a16="http://schemas.microsoft.com/office/drawing/2014/main" id="{40AF79D2-ABB6-6249-AB90-819D80E27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698" y="2086161"/>
              <a:ext cx="1560866" cy="1560866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6D520A-1850-6240-AF9C-C53B4319489F}"/>
                </a:ext>
              </a:extLst>
            </p:cNvPr>
            <p:cNvSpPr txBox="1"/>
            <p:nvPr/>
          </p:nvSpPr>
          <p:spPr>
            <a:xfrm>
              <a:off x="5750970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serve Precious Water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E86519-8C0E-7E4A-B35D-EA1C68D21516}"/>
              </a:ext>
            </a:extLst>
          </p:cNvPr>
          <p:cNvGrpSpPr/>
          <p:nvPr userDrawn="1"/>
        </p:nvGrpSpPr>
        <p:grpSpPr>
          <a:xfrm>
            <a:off x="366479" y="4789815"/>
            <a:ext cx="1580322" cy="1823732"/>
            <a:chOff x="366479" y="3905233"/>
            <a:chExt cx="1580322" cy="182373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4DD2E8F-EA5D-BE4D-9771-D7938B9CF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6207" y="3905233"/>
              <a:ext cx="1560866" cy="1560866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FCDF5E6-CEA8-974B-9E45-8BA498AE4982}"/>
                </a:ext>
              </a:extLst>
            </p:cNvPr>
            <p:cNvSpPr txBox="1"/>
            <p:nvPr/>
          </p:nvSpPr>
          <p:spPr>
            <a:xfrm>
              <a:off x="366479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Divert Waste </a:t>
              </a:r>
              <a:br>
                <a:rPr lang="en-US" sz="1200" dirty="0"/>
              </a:br>
              <a:r>
                <a:rPr lang="en-US" sz="1200" dirty="0"/>
                <a:t>From Landfill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6554505-D36A-6B4A-B149-925F6F387039}"/>
              </a:ext>
            </a:extLst>
          </p:cNvPr>
          <p:cNvGrpSpPr/>
          <p:nvPr userDrawn="1"/>
        </p:nvGrpSpPr>
        <p:grpSpPr>
          <a:xfrm>
            <a:off x="2060687" y="4789815"/>
            <a:ext cx="1580322" cy="1639066"/>
            <a:chOff x="2060687" y="3905233"/>
            <a:chExt cx="1580322" cy="1639066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A87986D-6D26-B049-ACB6-D09710666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0415" y="3905233"/>
              <a:ext cx="1560866" cy="156086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A0E7E4B-4EED-EF45-AD38-AB6BBD575001}"/>
                </a:ext>
              </a:extLst>
            </p:cNvPr>
            <p:cNvSpPr txBox="1"/>
            <p:nvPr/>
          </p:nvSpPr>
          <p:spPr>
            <a:xfrm>
              <a:off x="2060687" y="5267300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Car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59AC5-5161-3542-A44B-87C140EF1AD7}"/>
              </a:ext>
            </a:extLst>
          </p:cNvPr>
          <p:cNvGrpSpPr/>
          <p:nvPr userDrawn="1"/>
        </p:nvGrpSpPr>
        <p:grpSpPr>
          <a:xfrm>
            <a:off x="3896140" y="4789815"/>
            <a:ext cx="1580322" cy="1823732"/>
            <a:chOff x="3896140" y="3905233"/>
            <a:chExt cx="1580322" cy="1823732"/>
          </a:xfrm>
        </p:grpSpPr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3118C172-C374-7148-8AF8-91DA1163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5868" y="3905233"/>
              <a:ext cx="1560866" cy="1560866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8D30B9-2D0D-5447-B451-99762172B567}"/>
                </a:ext>
              </a:extLst>
            </p:cNvPr>
            <p:cNvSpPr txBox="1"/>
            <p:nvPr/>
          </p:nvSpPr>
          <p:spPr>
            <a:xfrm>
              <a:off x="3896140" y="5267300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newable</a:t>
              </a:r>
              <a:br>
                <a:rPr lang="en-US" sz="1200" dirty="0"/>
              </a:br>
              <a:r>
                <a:rPr lang="en-US" sz="1200" dirty="0"/>
                <a:t>Energy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FE88D3-964D-F04D-982F-D50679D1A931}"/>
              </a:ext>
            </a:extLst>
          </p:cNvPr>
          <p:cNvGrpSpPr/>
          <p:nvPr userDrawn="1"/>
        </p:nvGrpSpPr>
        <p:grpSpPr>
          <a:xfrm>
            <a:off x="9480376" y="2970743"/>
            <a:ext cx="1580322" cy="1876512"/>
            <a:chOff x="9480376" y="2086161"/>
            <a:chExt cx="1580322" cy="1876512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B81C42D-1A62-0E42-9368-8AB6785A055B}"/>
                </a:ext>
              </a:extLst>
            </p:cNvPr>
            <p:cNvSpPr txBox="1"/>
            <p:nvPr/>
          </p:nvSpPr>
          <p:spPr>
            <a:xfrm>
              <a:off x="9480376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Reduce Carbon Emissions</a:t>
              </a:r>
            </a:p>
          </p:txBody>
        </p: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8C3D0B-F69D-584A-B789-F78D1EE92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90104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34229A7-5746-1545-9D95-5DB5D524B8B6}"/>
              </a:ext>
            </a:extLst>
          </p:cNvPr>
          <p:cNvGrpSpPr/>
          <p:nvPr userDrawn="1"/>
        </p:nvGrpSpPr>
        <p:grpSpPr>
          <a:xfrm>
            <a:off x="7667309" y="2970743"/>
            <a:ext cx="1580322" cy="1876512"/>
            <a:chOff x="7667309" y="2086161"/>
            <a:chExt cx="1580322" cy="187651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FCA6388-B3D7-E04A-9FFD-911C1AD95D4E}"/>
                </a:ext>
              </a:extLst>
            </p:cNvPr>
            <p:cNvSpPr txBox="1"/>
            <p:nvPr/>
          </p:nvSpPr>
          <p:spPr>
            <a:xfrm>
              <a:off x="7667309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Upcycling Solutions</a:t>
              </a:r>
            </a:p>
          </p:txBody>
        </p:sp>
        <p:pic>
          <p:nvPicPr>
            <p:cNvPr id="37" name="Picture 36" descr="A close up of a logo&#10;&#10;Description automatically generated">
              <a:extLst>
                <a:ext uri="{FF2B5EF4-FFF2-40B4-BE49-F238E27FC236}">
                  <a16:creationId xmlns:a16="http://schemas.microsoft.com/office/drawing/2014/main" id="{87D98C90-3A4F-924E-866C-A3BD078DC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7037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5319109-DF02-FB4B-A59E-90747F79DBD5}"/>
              </a:ext>
            </a:extLst>
          </p:cNvPr>
          <p:cNvGrpSpPr/>
          <p:nvPr userDrawn="1"/>
        </p:nvGrpSpPr>
        <p:grpSpPr>
          <a:xfrm>
            <a:off x="3896140" y="2970743"/>
            <a:ext cx="1580322" cy="1691846"/>
            <a:chOff x="3896140" y="2086161"/>
            <a:chExt cx="1580322" cy="169184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69ACBB5-7413-064B-976E-6770C7943827}"/>
                </a:ext>
              </a:extLst>
            </p:cNvPr>
            <p:cNvSpPr txBox="1"/>
            <p:nvPr/>
          </p:nvSpPr>
          <p:spPr>
            <a:xfrm>
              <a:off x="3896140" y="3501008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Ocean Cleanup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458CDF8-B795-7B49-9715-EAF36754E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5868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B72E4C2-6ABB-FC4C-ABD8-C3F418B7756B}"/>
              </a:ext>
            </a:extLst>
          </p:cNvPr>
          <p:cNvGrpSpPr/>
          <p:nvPr userDrawn="1"/>
        </p:nvGrpSpPr>
        <p:grpSpPr>
          <a:xfrm>
            <a:off x="2060687" y="2970743"/>
            <a:ext cx="1580322" cy="1876512"/>
            <a:chOff x="2060687" y="2086161"/>
            <a:chExt cx="1580322" cy="187651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7521234-615B-9B46-946E-CCDAC01ACD92}"/>
                </a:ext>
              </a:extLst>
            </p:cNvPr>
            <p:cNvSpPr txBox="1"/>
            <p:nvPr/>
          </p:nvSpPr>
          <p:spPr>
            <a:xfrm>
              <a:off x="2060687" y="3501008"/>
              <a:ext cx="15803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Zero Emission Vehicles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8AC1DD03-B1F9-6B4C-AA85-870734290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0415" y="2086161"/>
              <a:ext cx="1560866" cy="156086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48BFC73-B6AF-004C-B3A9-6E0BA209E43D}"/>
              </a:ext>
            </a:extLst>
          </p:cNvPr>
          <p:cNvGrpSpPr/>
          <p:nvPr userDrawn="1"/>
        </p:nvGrpSpPr>
        <p:grpSpPr>
          <a:xfrm>
            <a:off x="366479" y="1219765"/>
            <a:ext cx="1580322" cy="1638908"/>
            <a:chOff x="366479" y="1219765"/>
            <a:chExt cx="1580322" cy="1638908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6E7A0CA-1D4D-C14A-847A-285EFAADE9AA}"/>
                </a:ext>
              </a:extLst>
            </p:cNvPr>
            <p:cNvSpPr txBox="1"/>
            <p:nvPr/>
          </p:nvSpPr>
          <p:spPr>
            <a:xfrm>
              <a:off x="366479" y="2581674"/>
              <a:ext cx="1580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ET Plastic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AA491AB-E6B6-604B-BC91-441D57CCB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6207" y="1219765"/>
              <a:ext cx="1560866" cy="1560866"/>
            </a:xfrm>
            <a:prstGeom prst="rect">
              <a:avLst/>
            </a:prstGeom>
          </p:spPr>
        </p:pic>
      </p:grpSp>
      <p:sp>
        <p:nvSpPr>
          <p:cNvPr id="47" name="Title 4">
            <a:extLst>
              <a:ext uri="{FF2B5EF4-FFF2-40B4-BE49-F238E27FC236}">
                <a16:creationId xmlns:a16="http://schemas.microsoft.com/office/drawing/2014/main" id="{77074F7F-7772-E54E-8E65-51F80B009F05}"/>
              </a:ext>
            </a:extLst>
          </p:cNvPr>
          <p:cNvSpPr txBox="1">
            <a:spLocks/>
          </p:cNvSpPr>
          <p:nvPr userDrawn="1"/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net Passionate Icons</a:t>
            </a:r>
            <a:br>
              <a:rPr lang="en-I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8561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087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87D944D-3757-4419-9E47-47DEDB7D48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70176" y="6245764"/>
            <a:ext cx="1929736" cy="47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29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9413" t="25347" r="41146" b="60000"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119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776452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53060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473494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A08F8D-242C-EC41-A05E-7744BFBBC7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08C281-9C7A-294A-87E1-B2464303E763}"/>
              </a:ext>
            </a:extLst>
          </p:cNvPr>
          <p:cNvSpPr/>
          <p:nvPr userDrawn="1"/>
        </p:nvSpPr>
        <p:spPr>
          <a:xfrm>
            <a:off x="0" y="1"/>
            <a:ext cx="12181021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9" y="1745140"/>
            <a:ext cx="3527424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12113" y="1745140"/>
            <a:ext cx="3556000" cy="391471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8023"/>
            <a:ext cx="10934489" cy="54303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49577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E4BDEA-9ED9-9E4A-8299-1ED7EDA0B7BE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530DB3-6D36-8245-B9A4-DFAB045921B8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44A662-5109-9E46-BA25-7B6A075E7F85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C6B76F-1E4F-AC47-9415-689DE31A47F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168B1D-3168-D940-8927-A3A5BAAAFAF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Subtitle 2">
            <a:extLst>
              <a:ext uri="{FF2B5EF4-FFF2-40B4-BE49-F238E27FC236}">
                <a16:creationId xmlns:a16="http://schemas.microsoft.com/office/drawing/2014/main" id="{A69FF014-B939-B84A-B950-4DB7547889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B58088-83A5-AD46-ACC2-6FB2290F56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462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1F4486-CCE5-2145-B999-BA2D234D0D29}"/>
              </a:ext>
            </a:extLst>
          </p:cNvPr>
          <p:cNvSpPr/>
          <p:nvPr userDrawn="1"/>
        </p:nvSpPr>
        <p:spPr>
          <a:xfrm>
            <a:off x="-1" y="0"/>
            <a:ext cx="4187825" cy="6858000"/>
          </a:xfrm>
          <a:prstGeom prst="rect">
            <a:avLst/>
          </a:prstGeom>
          <a:solidFill>
            <a:srgbClr val="094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85764"/>
            <a:ext cx="3474280" cy="28705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7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Thank You</a:t>
            </a:r>
            <a:br>
              <a:rPr lang="en-GB" dirty="0"/>
            </a:b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198804" y="0"/>
            <a:ext cx="798221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Imag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CD41DA-5299-F245-B635-25684774BD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860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943856-36F5-41BC-98BA-B117DFFAE9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2DE234-A5BA-4EC5-BDCD-A13D15250C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50B08-FA85-4C82-9B71-0F63001B36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C9EE9F-14B5-4716-A4B5-7B56D8DD9E3A}" type="datetimeFigureOut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5DF275-5E46-43E6-94D6-49EB27812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72DD8-61DE-4837-98B3-A9C0596E0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3D47E-CAF1-4500-877E-8612057063F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69297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 Brand logo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368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  <p15:guide id="53" pos="7015">
          <p15:clr>
            <a:srgbClr val="FDE53C"/>
          </p15:clr>
        </p15:guide>
      </p15:sldGuideLst>
    </p:ext>
  </p:extLst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3 Column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B3BBCE2E-3119-F04F-B262-DE7256C2C7A1}"/>
              </a:ext>
            </a:extLst>
          </p:cNvPr>
          <p:cNvSpPr/>
          <p:nvPr userDrawn="1"/>
        </p:nvSpPr>
        <p:spPr>
          <a:xfrm>
            <a:off x="373198" y="0"/>
            <a:ext cx="11807823" cy="4530723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4174A3-7135-E543-B7EF-EB4ED12FE0C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A018F-8810-BC46-90F5-DEB4A858BEB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72146267-82F2-FF40-A9E6-588FD414340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3596" y="1268412"/>
            <a:ext cx="3544227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Heading Titl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32288" y="1745140"/>
            <a:ext cx="3527425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0121FAA-744A-F745-9F73-0B4E409FBB4B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4180" y="1268412"/>
            <a:ext cx="3563934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400" b="0" i="0">
                <a:latin typeface="Century Gothic" panose="020B0502020202020204" pitchFamily="34" charset="0"/>
              </a:defRPr>
            </a:lvl2pPr>
            <a:lvl3pPr marL="914400" indent="0">
              <a:buNone/>
              <a:defRPr sz="1200" b="0" i="0">
                <a:latin typeface="Century Gothic" panose="020B0502020202020204" pitchFamily="34" charset="0"/>
              </a:defRPr>
            </a:lvl3pPr>
            <a:lvl4pPr marL="1371600" indent="0">
              <a:buNone/>
              <a:defRPr sz="1100" b="0" i="0">
                <a:latin typeface="Century Gothic" panose="020B0502020202020204" pitchFamily="34" charset="0"/>
              </a:defRPr>
            </a:lvl4pPr>
            <a:lvl5pPr marL="1828800" indent="0">
              <a:buNone/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745140"/>
            <a:ext cx="3556001" cy="2547459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0FE91D4-66E5-8C4E-B3D4-99D175191C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001453" y="1745140"/>
            <a:ext cx="3556002" cy="254746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332288" y="1268412"/>
            <a:ext cx="3510136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Heading 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E05B4EB-48E0-2742-B1AE-279309679E4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332288" y="4688681"/>
            <a:ext cx="3527425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CAB8C08-8214-6A4E-A4D8-C6B318A0AFD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3888" y="4688681"/>
            <a:ext cx="3556001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ECE91E5-64B2-9844-9A5C-E74D42AB53F9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8001453" y="4688681"/>
            <a:ext cx="3556002" cy="143986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06BC46-0E61-E540-B5BD-BCDF424A6C78}"/>
              </a:ext>
            </a:extLst>
          </p:cNvPr>
          <p:cNvCxnSpPr/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D66A452-9491-0747-91FC-E3C7677DDB5C}"/>
              </a:ext>
            </a:extLst>
          </p:cNvPr>
          <p:cNvCxnSpPr>
            <a:cxnSpLocks/>
          </p:cNvCxnSpPr>
          <p:nvPr userDrawn="1"/>
        </p:nvCxnSpPr>
        <p:spPr>
          <a:xfrm>
            <a:off x="4332288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3775A9-4829-B74C-9440-0DEA4FFD7D3E}"/>
              </a:ext>
            </a:extLst>
          </p:cNvPr>
          <p:cNvCxnSpPr>
            <a:cxnSpLocks/>
          </p:cNvCxnSpPr>
          <p:nvPr userDrawn="1"/>
        </p:nvCxnSpPr>
        <p:spPr>
          <a:xfrm>
            <a:off x="8001453" y="1125538"/>
            <a:ext cx="35101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9866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856CB2-41A1-8B4C-9D09-48D7F3A2D264}"/>
              </a:ext>
            </a:extLst>
          </p:cNvPr>
          <p:cNvSpPr/>
          <p:nvPr userDrawn="1"/>
        </p:nvSpPr>
        <p:spPr>
          <a:xfrm>
            <a:off x="5232403" y="1"/>
            <a:ext cx="6959598" cy="685799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0197"/>
            <a:ext cx="4464045" cy="143068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br>
              <a:rPr lang="en-GB" dirty="0"/>
            </a:br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2CABF5-270C-5146-9FE6-EA17B5328A6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03950" y="2164728"/>
            <a:ext cx="2592388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f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6DEF068-825A-BD42-A25B-A3E258776C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2164728"/>
            <a:ext cx="4464050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Insert object or text he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8E0210B-7F10-8D4F-BBD1-45E02640A4E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947149" y="2164728"/>
            <a:ext cx="2620963" cy="272951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2597C-A583-8E42-9107-6B02D3B8ACF3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A39FB1-701B-CF4E-9419-B1D2DBDAFD8E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EEC4E4F1-C093-8243-BF75-F956909D2E2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56A60E4-0332-914F-93F8-9A7AA90937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330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stor KINGSP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87D944D-3757-4419-9E47-47DEDB7D48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70176" y="6245764"/>
            <a:ext cx="1929736" cy="47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346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 Ly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llipse 11"/>
          <p:cNvSpPr/>
          <p:nvPr userDrawn="1"/>
        </p:nvSpPr>
        <p:spPr>
          <a:xfrm>
            <a:off x="1022774" y="704427"/>
            <a:ext cx="5445760" cy="5445760"/>
          </a:xfrm>
          <a:prstGeom prst="ellipse">
            <a:avLst/>
          </a:prstGeom>
          <a:solidFill>
            <a:srgbClr val="E4002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29080" y="3068320"/>
            <a:ext cx="3210559" cy="1694710"/>
          </a:xfrm>
        </p:spPr>
        <p:txBody>
          <a:bodyPr anchor="b">
            <a:normAutofit/>
          </a:bodyPr>
          <a:lstStyle>
            <a:lvl1pPr algn="l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defining</a:t>
            </a:r>
            <a:r>
              <a:rPr lang="da-DK" dirty="0"/>
              <a:t> </a:t>
            </a:r>
            <a:r>
              <a:rPr lang="da-DK" dirty="0" err="1"/>
              <a:t>network</a:t>
            </a:r>
            <a:r>
              <a:rPr lang="da-DK" dirty="0"/>
              <a:t> </a:t>
            </a:r>
            <a:r>
              <a:rPr lang="da-DK" dirty="0" err="1"/>
              <a:t>efficiency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6881707" y="5269653"/>
            <a:ext cx="4979357" cy="1329141"/>
          </a:xfrm>
        </p:spPr>
        <p:txBody>
          <a:bodyPr anchor="b" anchorCtr="0">
            <a:noAutofit/>
          </a:bodyPr>
          <a:lstStyle>
            <a:lvl1pPr marL="0" indent="0" algn="r">
              <a:lnSpc>
                <a:spcPct val="90000"/>
              </a:lnSpc>
              <a:spcBef>
                <a:spcPts val="10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sp>
        <p:nvSpPr>
          <p:cNvPr id="8" name="Ellipse 7"/>
          <p:cNvSpPr/>
          <p:nvPr/>
        </p:nvSpPr>
        <p:spPr>
          <a:xfrm>
            <a:off x="9056794" y="-1198264"/>
            <a:ext cx="4578773" cy="4578773"/>
          </a:xfrm>
          <a:prstGeom prst="ellipse">
            <a:avLst/>
          </a:prstGeom>
          <a:noFill/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Ellipse 8"/>
          <p:cNvSpPr/>
          <p:nvPr/>
        </p:nvSpPr>
        <p:spPr>
          <a:xfrm>
            <a:off x="8225521" y="-1613901"/>
            <a:ext cx="5410046" cy="5410046"/>
          </a:xfrm>
          <a:prstGeom prst="ellipse">
            <a:avLst/>
          </a:prstGeom>
          <a:noFill/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Ellipse 9"/>
          <p:cNvSpPr/>
          <p:nvPr/>
        </p:nvSpPr>
        <p:spPr>
          <a:xfrm>
            <a:off x="7487460" y="-1466927"/>
            <a:ext cx="6275801" cy="6275801"/>
          </a:xfrm>
          <a:prstGeom prst="ellipse">
            <a:avLst/>
          </a:prstGeom>
          <a:noFill/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127307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mø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llipse 11"/>
          <p:cNvSpPr/>
          <p:nvPr userDrawn="1"/>
        </p:nvSpPr>
        <p:spPr>
          <a:xfrm>
            <a:off x="1022774" y="704427"/>
            <a:ext cx="5445760" cy="5445760"/>
          </a:xfrm>
          <a:prstGeom prst="ellipse">
            <a:avLst/>
          </a:prstGeom>
          <a:solidFill>
            <a:srgbClr val="E4002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9080" y="3068320"/>
            <a:ext cx="3210559" cy="1694710"/>
          </a:xfrm>
        </p:spPr>
        <p:txBody>
          <a:bodyPr anchor="b">
            <a:normAutofit/>
          </a:bodyPr>
          <a:lstStyle>
            <a:lvl1pPr algn="l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0D54DF-E849-4EA4-BFC4-7880432DC4A2}" type="datetimeFigureOut">
              <a:rPr lang="da-DK" smtClean="0"/>
              <a:pPr/>
              <a:t>18-04-2023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Ellipse 8"/>
          <p:cNvSpPr/>
          <p:nvPr/>
        </p:nvSpPr>
        <p:spPr>
          <a:xfrm>
            <a:off x="8225521" y="-1613901"/>
            <a:ext cx="5410046" cy="5410046"/>
          </a:xfrm>
          <a:prstGeom prst="ellipse">
            <a:avLst/>
          </a:prstGeom>
          <a:noFill/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  <p:sp>
        <p:nvSpPr>
          <p:cNvPr id="13" name="Ellipse 12"/>
          <p:cNvSpPr/>
          <p:nvPr userDrawn="1"/>
        </p:nvSpPr>
        <p:spPr>
          <a:xfrm>
            <a:off x="9056794" y="-1198264"/>
            <a:ext cx="4578773" cy="4578773"/>
          </a:xfrm>
          <a:prstGeom prst="ellipse">
            <a:avLst/>
          </a:prstGeom>
          <a:noFill/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" name="Ellipse 14"/>
          <p:cNvSpPr/>
          <p:nvPr userDrawn="1"/>
        </p:nvSpPr>
        <p:spPr>
          <a:xfrm>
            <a:off x="7487460" y="-1466927"/>
            <a:ext cx="6275801" cy="6275801"/>
          </a:xfrm>
          <a:prstGeom prst="ellipse">
            <a:avLst/>
          </a:prstGeom>
          <a:noFill/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" name="Undertitel 2"/>
          <p:cNvSpPr>
            <a:spLocks noGrp="1"/>
          </p:cNvSpPr>
          <p:nvPr>
            <p:ph type="subTitle" idx="1"/>
          </p:nvPr>
        </p:nvSpPr>
        <p:spPr>
          <a:xfrm>
            <a:off x="6881707" y="5269653"/>
            <a:ext cx="4979357" cy="1329141"/>
          </a:xfrm>
        </p:spPr>
        <p:txBody>
          <a:bodyPr anchor="b" anchorCtr="0">
            <a:noAutofit/>
          </a:bodyPr>
          <a:lstStyle>
            <a:lvl1pPr marL="0" indent="0" algn="r">
              <a:lnSpc>
                <a:spcPct val="90000"/>
              </a:lnSpc>
              <a:spcBef>
                <a:spcPts val="10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878409172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7" name="Lige forbindelse 6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Billed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cxnSp>
        <p:nvCxnSpPr>
          <p:cNvPr id="9" name="Lige forbindelse 8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dsholder til tekst 2"/>
          <p:cNvSpPr>
            <a:spLocks noGrp="1"/>
          </p:cNvSpPr>
          <p:nvPr>
            <p:ph idx="1"/>
          </p:nvPr>
        </p:nvSpPr>
        <p:spPr>
          <a:xfrm>
            <a:off x="1056640" y="1825625"/>
            <a:ext cx="864277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143692337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 lys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7" name="Lige forbindelse 6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Billed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cxnSp>
        <p:nvCxnSpPr>
          <p:cNvPr id="9" name="Lige forbindelse 8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738640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 Mø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0D54DF-E849-4EA4-BFC4-7880432DC4A2}" type="datetimeFigureOut">
              <a:rPr lang="da-DK" smtClean="0"/>
              <a:pPr/>
              <a:t>18-04-2023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7" name="Lige forbindelse 6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Billed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  <p:cxnSp>
        <p:nvCxnSpPr>
          <p:cNvPr id="9" name="Lige forbindelse 8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3459038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og indholdsobjekt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7960" y="0"/>
            <a:ext cx="9511453" cy="662781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7" name="Lige forbindelse 6"/>
          <p:cNvCxnSpPr/>
          <p:nvPr userDrawn="1"/>
        </p:nvCxnSpPr>
        <p:spPr>
          <a:xfrm>
            <a:off x="-94827" y="764063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Billed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sp>
        <p:nvSpPr>
          <p:cNvPr id="11" name="Pladsholder til tekst 2"/>
          <p:cNvSpPr>
            <a:spLocks noGrp="1"/>
          </p:cNvSpPr>
          <p:nvPr>
            <p:ph idx="1"/>
          </p:nvPr>
        </p:nvSpPr>
        <p:spPr>
          <a:xfrm>
            <a:off x="1056640" y="842167"/>
            <a:ext cx="10884348" cy="58793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4158450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</p15:sldGuideLst>
    </p:ext>
  </p:extLst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og indholdsobjekt hvid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7960" y="0"/>
            <a:ext cx="9511453" cy="662781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7" name="Lige forbindelse 6"/>
          <p:cNvCxnSpPr/>
          <p:nvPr userDrawn="1"/>
        </p:nvCxnSpPr>
        <p:spPr>
          <a:xfrm>
            <a:off x="-94827" y="764063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Billed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sp>
        <p:nvSpPr>
          <p:cNvPr id="11" name="Pladsholder til tekst 2"/>
          <p:cNvSpPr>
            <a:spLocks noGrp="1"/>
          </p:cNvSpPr>
          <p:nvPr>
            <p:ph idx="1"/>
          </p:nvPr>
        </p:nvSpPr>
        <p:spPr>
          <a:xfrm>
            <a:off x="1056640" y="842167"/>
            <a:ext cx="10884348" cy="58793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075916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5B61BF-F308-884F-835C-950D755857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324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35C282-D2F7-5149-BF1F-A00E7008A1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2288" y="512763"/>
            <a:ext cx="7859711" cy="4645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81EA488-7A65-AA46-B2B9-F607185E83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512763"/>
            <a:ext cx="7841491" cy="463584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4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3232EDD-ECB5-0349-98A6-D84D925D49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1655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79B7D7-7EC2-1E4A-82C5-416EF02153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3563938" cy="14398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635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og indholdsobjekt hvi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7960" y="0"/>
            <a:ext cx="9511453" cy="662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7" name="Lige forbindelse 6"/>
          <p:cNvCxnSpPr/>
          <p:nvPr userDrawn="1"/>
        </p:nvCxnSpPr>
        <p:spPr>
          <a:xfrm>
            <a:off x="-94827" y="764063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dsholder til tekst 2"/>
          <p:cNvSpPr>
            <a:spLocks noGrp="1"/>
          </p:cNvSpPr>
          <p:nvPr>
            <p:ph idx="1"/>
          </p:nvPr>
        </p:nvSpPr>
        <p:spPr>
          <a:xfrm>
            <a:off x="1056640" y="842167"/>
            <a:ext cx="10884348" cy="58793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033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</p15:sldGuideLst>
    </p:ext>
  </p:extLst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og indholdsobjekt hvid">
    <p:bg>
      <p:bgPr>
        <a:solidFill>
          <a:srgbClr val="0026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7960" y="0"/>
            <a:ext cx="9511453" cy="662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7" name="Lige forbindelse 6"/>
          <p:cNvCxnSpPr/>
          <p:nvPr userDrawn="1"/>
        </p:nvCxnSpPr>
        <p:spPr>
          <a:xfrm>
            <a:off x="-94827" y="764063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dsholder til tekst 2"/>
          <p:cNvSpPr>
            <a:spLocks noGrp="1"/>
          </p:cNvSpPr>
          <p:nvPr>
            <p:ph idx="1"/>
          </p:nvPr>
        </p:nvSpPr>
        <p:spPr>
          <a:xfrm>
            <a:off x="1056640" y="842167"/>
            <a:ext cx="10884348" cy="58793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151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</p15:sldGuideLst>
    </p:ext>
  </p:extLst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605684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00" b="0">
                <a:solidFill>
                  <a:srgbClr val="00263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cxnSp>
        <p:nvCxnSpPr>
          <p:cNvPr id="11" name="Lige forbindelse 10"/>
          <p:cNvCxnSpPr/>
          <p:nvPr userDrawn="1"/>
        </p:nvCxnSpPr>
        <p:spPr>
          <a:xfrm>
            <a:off x="-94827" y="4578764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3638183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 Lys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605684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00" b="0">
                <a:solidFill>
                  <a:srgbClr val="00263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cxnSp>
        <p:nvCxnSpPr>
          <p:cNvPr id="11" name="Lige forbindelse 10"/>
          <p:cNvCxnSpPr/>
          <p:nvPr userDrawn="1"/>
        </p:nvCxnSpPr>
        <p:spPr>
          <a:xfrm>
            <a:off x="-94827" y="4578764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9449523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Afsnitsoverskrift Ly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605684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0D54DF-E849-4EA4-BFC4-7880432DC4A2}" type="datetimeFigureOut">
              <a:rPr lang="da-DK" smtClean="0"/>
              <a:pPr/>
              <a:t>18-04-2023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1" name="Lige forbindelse 10"/>
          <p:cNvCxnSpPr/>
          <p:nvPr userDrawn="1"/>
        </p:nvCxnSpPr>
        <p:spPr>
          <a:xfrm>
            <a:off x="-94827" y="4578764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857362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1055688" y="1825625"/>
            <a:ext cx="5181600" cy="4351338"/>
          </a:xfrm>
        </p:spPr>
        <p:txBody>
          <a:bodyPr/>
          <a:lstStyle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8" name="Lige forbindelse 7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led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cxnSp>
        <p:nvCxnSpPr>
          <p:cNvPr id="10" name="Lige forbindelse 9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187960" y="320675"/>
            <a:ext cx="9511453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57008524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lys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1055688" y="1825625"/>
            <a:ext cx="5181600" cy="4351338"/>
          </a:xfrm>
        </p:spPr>
        <p:txBody>
          <a:bodyPr/>
          <a:lstStyle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8" name="Lige forbindelse 7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led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cxnSp>
        <p:nvCxnSpPr>
          <p:cNvPr id="10" name="Lige forbindelse 9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187960" y="320675"/>
            <a:ext cx="9511453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50642801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mø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1055688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300">
                <a:solidFill>
                  <a:schemeClr val="bg1"/>
                </a:solidFill>
              </a:defRPr>
            </a:lvl2pPr>
            <a:lvl3pPr>
              <a:defRPr sz="1300">
                <a:solidFill>
                  <a:schemeClr val="bg1"/>
                </a:solidFill>
              </a:defRPr>
            </a:lvl3pPr>
            <a:lvl4pPr>
              <a:defRPr sz="1300">
                <a:solidFill>
                  <a:schemeClr val="bg1"/>
                </a:solidFill>
              </a:defRPr>
            </a:lvl4pPr>
            <a:lvl5pPr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0D54DF-E849-4EA4-BFC4-7880432DC4A2}" type="datetimeFigureOut">
              <a:rPr lang="da-DK" smtClean="0"/>
              <a:pPr/>
              <a:t>18-04-2023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8" name="Lige forbindelse 7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Lige forbindelse 9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187960" y="320675"/>
            <a:ext cx="9511453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500055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1056640" y="1804353"/>
            <a:ext cx="4940935" cy="534035"/>
          </a:xfrm>
        </p:spPr>
        <p:txBody>
          <a:bodyPr anchor="b">
            <a:normAutofit/>
          </a:bodyPr>
          <a:lstStyle>
            <a:lvl1pPr marL="0" indent="0">
              <a:buNone/>
              <a:defRPr sz="1400" b="0">
                <a:solidFill>
                  <a:srgbClr val="E4002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1056640" y="2505075"/>
            <a:ext cx="4940935" cy="3684588"/>
          </a:xfrm>
        </p:spPr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10" name="Lige forbindelse 9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sp>
        <p:nvSpPr>
          <p:cNvPr id="12" name="Pladsholder til tekst 2"/>
          <p:cNvSpPr>
            <a:spLocks noGrp="1"/>
          </p:cNvSpPr>
          <p:nvPr>
            <p:ph type="body" idx="13"/>
          </p:nvPr>
        </p:nvSpPr>
        <p:spPr>
          <a:xfrm>
            <a:off x="6172200" y="1804352"/>
            <a:ext cx="5157787" cy="534035"/>
          </a:xfrm>
        </p:spPr>
        <p:txBody>
          <a:bodyPr anchor="b">
            <a:normAutofit/>
          </a:bodyPr>
          <a:lstStyle>
            <a:lvl1pPr marL="0" indent="0">
              <a:buNone/>
              <a:defRPr sz="1400" b="0">
                <a:solidFill>
                  <a:srgbClr val="E4002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cxnSp>
        <p:nvCxnSpPr>
          <p:cNvPr id="13" name="Lige forbindelse 12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187960" y="320675"/>
            <a:ext cx="9511453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77180477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 lys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1056640" y="1804353"/>
            <a:ext cx="4940935" cy="534035"/>
          </a:xfrm>
        </p:spPr>
        <p:txBody>
          <a:bodyPr anchor="b">
            <a:normAutofit/>
          </a:bodyPr>
          <a:lstStyle>
            <a:lvl1pPr marL="0" indent="0">
              <a:buNone/>
              <a:defRPr sz="1400" b="0">
                <a:solidFill>
                  <a:srgbClr val="E4002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1056640" y="2505075"/>
            <a:ext cx="4940935" cy="3684588"/>
          </a:xfrm>
        </p:spPr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10" name="Lige forbindelse 9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led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sp>
        <p:nvSpPr>
          <p:cNvPr id="12" name="Pladsholder til tekst 2"/>
          <p:cNvSpPr>
            <a:spLocks noGrp="1"/>
          </p:cNvSpPr>
          <p:nvPr>
            <p:ph type="body" idx="13"/>
          </p:nvPr>
        </p:nvSpPr>
        <p:spPr>
          <a:xfrm>
            <a:off x="6172200" y="1804352"/>
            <a:ext cx="5157787" cy="534035"/>
          </a:xfrm>
        </p:spPr>
        <p:txBody>
          <a:bodyPr anchor="b">
            <a:normAutofit/>
          </a:bodyPr>
          <a:lstStyle>
            <a:lvl1pPr marL="0" indent="0">
              <a:buNone/>
              <a:defRPr sz="1400" b="0">
                <a:solidFill>
                  <a:srgbClr val="E4002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cxnSp>
        <p:nvCxnSpPr>
          <p:cNvPr id="13" name="Lige forbindelse 12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187960" y="320675"/>
            <a:ext cx="9511453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573626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id L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413285-FF78-0B49-954E-E488554E1770}"/>
              </a:ext>
            </a:extLst>
          </p:cNvPr>
          <p:cNvSpPr/>
          <p:nvPr userDrawn="1"/>
        </p:nvSpPr>
        <p:spPr>
          <a:xfrm>
            <a:off x="623888" y="4062697"/>
            <a:ext cx="3527424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A27186-2EB7-5E40-A3CD-378314D77E38}"/>
              </a:ext>
            </a:extLst>
          </p:cNvPr>
          <p:cNvSpPr/>
          <p:nvPr userDrawn="1"/>
        </p:nvSpPr>
        <p:spPr>
          <a:xfrm>
            <a:off x="623887" y="1690689"/>
            <a:ext cx="4464051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977087-5DDB-064D-9A35-261C28D9FEA0}"/>
              </a:ext>
            </a:extLst>
          </p:cNvPr>
          <p:cNvSpPr/>
          <p:nvPr userDrawn="1"/>
        </p:nvSpPr>
        <p:spPr>
          <a:xfrm>
            <a:off x="5248508" y="1690689"/>
            <a:ext cx="3240220" cy="2232023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1738E9-85BE-C64A-B822-621A01B602A6}"/>
              </a:ext>
            </a:extLst>
          </p:cNvPr>
          <p:cNvSpPr/>
          <p:nvPr userDrawn="1"/>
        </p:nvSpPr>
        <p:spPr>
          <a:xfrm>
            <a:off x="4295774" y="4062697"/>
            <a:ext cx="4187825" cy="1762759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0661C4-10AC-A14F-AD05-E3DC6806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16163" y="2274487"/>
            <a:ext cx="1150938" cy="1004936"/>
          </a:xfrm>
          <a:prstGeom prst="rect">
            <a:avLst/>
          </a:prstGeom>
        </p:spPr>
      </p:pic>
      <p:pic>
        <p:nvPicPr>
          <p:cNvPr id="22" name="Picture 2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682C8-C781-784F-A4E1-988F9EE5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3063" y="2274487"/>
            <a:ext cx="1150938" cy="1004936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54C2EC-917A-B94A-AC66-55C02482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28497" y="4411105"/>
            <a:ext cx="1150938" cy="1004936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54231CBE-DED0-354E-8542-EA43E6C0E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3492" y="4411105"/>
            <a:ext cx="1150938" cy="10049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582F58F-84F7-A348-85DD-03FEC9C57F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1516BE7-F163-1E4C-A521-A3978F14E90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887" y="1654175"/>
            <a:ext cx="4464051" cy="2268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6B3B32-EA99-E74D-9806-B4E2D39F98F6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5243380" y="1654175"/>
            <a:ext cx="3240220" cy="226853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1D9E5BD-6938-9F40-BEE0-066900D77D3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23888" y="4067175"/>
            <a:ext cx="3527421" cy="17637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FC2C5B44-A6A8-694E-A0BC-9186DB4442C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302442" y="4067175"/>
            <a:ext cx="4170179" cy="1752848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4B631754-A68E-7345-8004-AF98829529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9"/>
            <a:ext cx="7872412" cy="1952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0A5CC41-B369-6B4B-985B-8BDCC7CBA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56737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982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53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867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 mø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1056640" y="1804353"/>
            <a:ext cx="4940935" cy="534035"/>
          </a:xfrm>
        </p:spPr>
        <p:txBody>
          <a:bodyPr anchor="b">
            <a:normAutofit/>
          </a:bodyPr>
          <a:lstStyle>
            <a:lvl1pPr marL="0" indent="0">
              <a:buNone/>
              <a:defRPr sz="1400" b="0">
                <a:solidFill>
                  <a:srgbClr val="E4002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1056640" y="2505075"/>
            <a:ext cx="4940935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cxnSp>
        <p:nvCxnSpPr>
          <p:cNvPr id="10" name="Lige forbindelse 9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dsholder til tekst 2"/>
          <p:cNvSpPr>
            <a:spLocks noGrp="1"/>
          </p:cNvSpPr>
          <p:nvPr>
            <p:ph type="body" idx="13"/>
          </p:nvPr>
        </p:nvSpPr>
        <p:spPr>
          <a:xfrm>
            <a:off x="6172200" y="1804352"/>
            <a:ext cx="5157787" cy="534035"/>
          </a:xfrm>
        </p:spPr>
        <p:txBody>
          <a:bodyPr anchor="b">
            <a:normAutofit/>
          </a:bodyPr>
          <a:lstStyle>
            <a:lvl1pPr marL="0" indent="0">
              <a:buNone/>
              <a:defRPr sz="1400" b="0">
                <a:solidFill>
                  <a:srgbClr val="E4002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cxnSp>
        <p:nvCxnSpPr>
          <p:cNvPr id="13" name="Lige forbindelse 12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187960" y="320675"/>
            <a:ext cx="9511453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pic>
        <p:nvPicPr>
          <p:cNvPr id="16" name="Billed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  <p:sp>
        <p:nvSpPr>
          <p:cNvPr id="14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1056640" y="6356350"/>
            <a:ext cx="123333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0D54DF-E849-4EA4-BFC4-7880432DC4A2}" type="datetimeFigureOut">
              <a:rPr lang="da-DK" smtClean="0"/>
              <a:pPr/>
              <a:t>18-04-2023</a:t>
            </a:fld>
            <a:endParaRPr lang="da-DK" dirty="0"/>
          </a:p>
        </p:txBody>
      </p:sp>
      <p:sp>
        <p:nvSpPr>
          <p:cNvPr id="17" name="Pladsholder til sidefod 5"/>
          <p:cNvSpPr>
            <a:spLocks noGrp="1"/>
          </p:cNvSpPr>
          <p:nvPr>
            <p:ph type="ftr" sz="quarter" idx="11"/>
          </p:nvPr>
        </p:nvSpPr>
        <p:spPr>
          <a:xfrm>
            <a:off x="2790908" y="6356350"/>
            <a:ext cx="536249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8" name="Pladsholder til slidenummer 6"/>
          <p:cNvSpPr>
            <a:spLocks noGrp="1"/>
          </p:cNvSpPr>
          <p:nvPr>
            <p:ph type="sldNum" sz="quarter" idx="12"/>
          </p:nvPr>
        </p:nvSpPr>
        <p:spPr>
          <a:xfrm>
            <a:off x="-1" y="6356350"/>
            <a:ext cx="78320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41715149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/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6" name="Lige forbindelse 5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illed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cxnSp>
        <p:nvCxnSpPr>
          <p:cNvPr id="8" name="Lige forbindelse 7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8026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21">
          <p15:clr>
            <a:srgbClr val="FBAE40"/>
          </p15:clr>
        </p15:guide>
        <p15:guide id="1" orient="horz" pos="1026">
          <p15:clr>
            <a:srgbClr val="FBAE40"/>
          </p15:clr>
        </p15:guide>
      </p15:sldGuideLst>
    </p:ext>
  </p:extLst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 lys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/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6" name="Lige forbindelse 5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illed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cxnSp>
        <p:nvCxnSpPr>
          <p:cNvPr id="8" name="Lige forbindelse 7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6572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1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 mø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cxnSp>
        <p:nvCxnSpPr>
          <p:cNvPr id="6" name="Lige forbindelse 5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ge forbindelse 7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  <p:sp>
        <p:nvSpPr>
          <p:cNvPr id="13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1056640" y="6356350"/>
            <a:ext cx="123333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0D54DF-E849-4EA4-BFC4-7880432DC4A2}" type="datetimeFigureOut">
              <a:rPr lang="da-DK" smtClean="0"/>
              <a:pPr/>
              <a:t>18-04-2023</a:t>
            </a:fld>
            <a:endParaRPr lang="da-DK" dirty="0"/>
          </a:p>
        </p:txBody>
      </p:sp>
      <p:sp>
        <p:nvSpPr>
          <p:cNvPr id="14" name="Pladsholder til sidefod 5"/>
          <p:cNvSpPr>
            <a:spLocks noGrp="1"/>
          </p:cNvSpPr>
          <p:nvPr>
            <p:ph type="ftr" sz="quarter" idx="11"/>
          </p:nvPr>
        </p:nvSpPr>
        <p:spPr>
          <a:xfrm>
            <a:off x="2790908" y="6356350"/>
            <a:ext cx="536249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6" name="Pladsholder til slidenummer 5"/>
          <p:cNvSpPr>
            <a:spLocks noGrp="1"/>
          </p:cNvSpPr>
          <p:nvPr>
            <p:ph type="sldNum" sz="quarter" idx="12"/>
          </p:nvPr>
        </p:nvSpPr>
        <p:spPr>
          <a:xfrm>
            <a:off x="-1" y="6356350"/>
            <a:ext cx="78320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63284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1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1056640" y="6972723"/>
            <a:ext cx="1233336" cy="365125"/>
          </a:xfrm>
        </p:spPr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>
          <a:xfrm>
            <a:off x="2790908" y="6972723"/>
            <a:ext cx="5362492" cy="365125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>
          <a:xfrm>
            <a:off x="-1959997" y="6975686"/>
            <a:ext cx="2743200" cy="365125"/>
          </a:xfrm>
        </p:spPr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sp>
        <p:nvSpPr>
          <p:cNvPr id="7" name="Pladsholder til billede 2"/>
          <p:cNvSpPr>
            <a:spLocks noGrp="1"/>
          </p:cNvSpPr>
          <p:nvPr>
            <p:ph type="pic" idx="1"/>
          </p:nvPr>
        </p:nvSpPr>
        <p:spPr>
          <a:xfrm>
            <a:off x="0" y="1754244"/>
            <a:ext cx="12192000" cy="5110479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87960" y="320675"/>
            <a:ext cx="9511453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cxnSp>
        <p:nvCxnSpPr>
          <p:cNvPr id="9" name="Lige forbindelse 8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ge forbindelse 10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1965743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lys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1056640" y="6972723"/>
            <a:ext cx="1233336" cy="365125"/>
          </a:xfrm>
        </p:spPr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>
          <a:xfrm>
            <a:off x="2790908" y="6972723"/>
            <a:ext cx="5362492" cy="365125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>
          <a:xfrm>
            <a:off x="-1959997" y="6975686"/>
            <a:ext cx="2743200" cy="365125"/>
          </a:xfrm>
        </p:spPr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87960" y="320675"/>
            <a:ext cx="9511453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cxnSp>
        <p:nvCxnSpPr>
          <p:cNvPr id="9" name="Lige forbindelse 8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ge forbindelse 10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billede 2"/>
          <p:cNvSpPr>
            <a:spLocks noGrp="1"/>
          </p:cNvSpPr>
          <p:nvPr>
            <p:ph type="pic" idx="1"/>
          </p:nvPr>
        </p:nvSpPr>
        <p:spPr>
          <a:xfrm>
            <a:off x="0" y="1754244"/>
            <a:ext cx="12192000" cy="5110479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på ikonet for at tilføje et billede</a:t>
            </a:r>
          </a:p>
        </p:txBody>
      </p:sp>
    </p:spTree>
    <p:extLst>
      <p:ext uri="{BB962C8B-B14F-4D97-AF65-F5344CB8AC3E}">
        <p14:creationId xmlns:p14="http://schemas.microsoft.com/office/powerpoint/2010/main" val="960867541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mø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87960" y="320675"/>
            <a:ext cx="9511453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cxnSp>
        <p:nvCxnSpPr>
          <p:cNvPr id="9" name="Lige forbindelse 8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ge forbindelse 10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  <p:sp>
        <p:nvSpPr>
          <p:cNvPr id="10" name="Pladsholder til billede 2"/>
          <p:cNvSpPr>
            <a:spLocks noGrp="1"/>
          </p:cNvSpPr>
          <p:nvPr>
            <p:ph type="pic" idx="1"/>
          </p:nvPr>
        </p:nvSpPr>
        <p:spPr>
          <a:xfrm>
            <a:off x="0" y="1754244"/>
            <a:ext cx="12192000" cy="5110479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på ikonet for at tilføje et billede</a:t>
            </a:r>
          </a:p>
        </p:txBody>
      </p:sp>
    </p:spTree>
    <p:extLst>
      <p:ext uri="{BB962C8B-B14F-4D97-AF65-F5344CB8AC3E}">
        <p14:creationId xmlns:p14="http://schemas.microsoft.com/office/powerpoint/2010/main" val="1943133529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med figur/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8" name="Lige forbindelse 7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indhold 3"/>
          <p:cNvSpPr>
            <a:spLocks noGrp="1"/>
          </p:cNvSpPr>
          <p:nvPr>
            <p:ph sz="half" idx="13"/>
          </p:nvPr>
        </p:nvSpPr>
        <p:spPr>
          <a:xfrm>
            <a:off x="5183188" y="1288111"/>
            <a:ext cx="6170612" cy="4580876"/>
          </a:xfrm>
        </p:spPr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187961" y="320675"/>
            <a:ext cx="4861118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cxnSp>
        <p:nvCxnSpPr>
          <p:cNvPr id="13" name="Lige forbindelse 12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sz="1300" b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4140138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med figur/billedtekst lys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8" name="Lige forbindelse 7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indhold 3"/>
          <p:cNvSpPr>
            <a:spLocks noGrp="1"/>
          </p:cNvSpPr>
          <p:nvPr>
            <p:ph sz="half" idx="13"/>
          </p:nvPr>
        </p:nvSpPr>
        <p:spPr>
          <a:xfrm>
            <a:off x="5183188" y="1288111"/>
            <a:ext cx="6170612" cy="4580876"/>
          </a:xfrm>
        </p:spPr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187961" y="320675"/>
            <a:ext cx="4861118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pic>
        <p:nvPicPr>
          <p:cNvPr id="12" name="Billed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cxnSp>
        <p:nvCxnSpPr>
          <p:cNvPr id="13" name="Lige forbindelse 12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sz="1300" b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596055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med figur/billedtekst mø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Lige forbindelse 7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indhold 3"/>
          <p:cNvSpPr>
            <a:spLocks noGrp="1"/>
          </p:cNvSpPr>
          <p:nvPr>
            <p:ph sz="half" idx="13"/>
          </p:nvPr>
        </p:nvSpPr>
        <p:spPr>
          <a:xfrm>
            <a:off x="5183188" y="1288111"/>
            <a:ext cx="6170612" cy="45808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187961" y="320675"/>
            <a:ext cx="4861118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cxnSp>
        <p:nvCxnSpPr>
          <p:cNvPr id="13" name="Lige forbindelse 12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sz="1300" b="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pic>
        <p:nvPicPr>
          <p:cNvPr id="16" name="Billed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  <p:sp>
        <p:nvSpPr>
          <p:cNvPr id="12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1056640" y="6356350"/>
            <a:ext cx="123333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0D54DF-E849-4EA4-BFC4-7880432DC4A2}" type="datetimeFigureOut">
              <a:rPr lang="da-DK" smtClean="0"/>
              <a:pPr/>
              <a:t>18-04-2023</a:t>
            </a:fld>
            <a:endParaRPr lang="da-DK" dirty="0"/>
          </a:p>
        </p:txBody>
      </p:sp>
      <p:sp>
        <p:nvSpPr>
          <p:cNvPr id="14" name="Pladsholder til sidefod 5"/>
          <p:cNvSpPr>
            <a:spLocks noGrp="1"/>
          </p:cNvSpPr>
          <p:nvPr>
            <p:ph type="ftr" sz="quarter" idx="11"/>
          </p:nvPr>
        </p:nvSpPr>
        <p:spPr>
          <a:xfrm>
            <a:off x="2790908" y="6356350"/>
            <a:ext cx="536249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8" name="Pladsholder til slidenummer 5"/>
          <p:cNvSpPr>
            <a:spLocks noGrp="1"/>
          </p:cNvSpPr>
          <p:nvPr>
            <p:ph type="sldNum" sz="quarter" idx="12"/>
          </p:nvPr>
        </p:nvSpPr>
        <p:spPr>
          <a:xfrm>
            <a:off x="-1" y="6356350"/>
            <a:ext cx="78320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86921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1F01DD-E9F4-2A49-8F8B-0D73A844859A}"/>
              </a:ext>
            </a:extLst>
          </p:cNvPr>
          <p:cNvSpPr/>
          <p:nvPr userDrawn="1"/>
        </p:nvSpPr>
        <p:spPr>
          <a:xfrm>
            <a:off x="373198" y="0"/>
            <a:ext cx="11807823" cy="5269230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BE993A-D2BE-8F43-9242-41FDF9FE1A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C6DE97-6CB8-F449-9C39-1147F4133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3448" y="1948815"/>
            <a:ext cx="1840230" cy="1435420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C4738DD-3CDB-0F45-B452-843B2F8AEAA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4176" y="-1"/>
            <a:ext cx="11807823" cy="52692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nsert backdrop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B7974BD-9684-E243-A9FD-C8595F1B86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2061369"/>
            <a:ext cx="3563936" cy="3643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extra information he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7E3232B-6EA3-5546-AAAC-B2F5A92ED6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699"/>
            <a:ext cx="10944226" cy="1504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br>
              <a:rPr lang="en-GB" dirty="0"/>
            </a:br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F7D7FD-2E4D-764B-8614-8BB948EDA1D8}"/>
              </a:ext>
            </a:extLst>
          </p:cNvPr>
          <p:cNvSpPr/>
          <p:nvPr userDrawn="1"/>
        </p:nvSpPr>
        <p:spPr>
          <a:xfrm>
            <a:off x="5562600" y="3456947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Right click and use the crop function to size your image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/>
              <a:t>Scale and position your image to fit inside this area.</a:t>
            </a:r>
            <a:br>
              <a:rPr lang="en-US" sz="1400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097697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lede med billedtekst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1747520"/>
            <a:ext cx="6172200" cy="4599178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sp>
        <p:nvSpPr>
          <p:cNvPr id="8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sz="1300" b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cxnSp>
        <p:nvCxnSpPr>
          <p:cNvPr id="9" name="Lige forbindelse 8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87961" y="320675"/>
            <a:ext cx="4861118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cxnSp>
        <p:nvCxnSpPr>
          <p:cNvPr id="12" name="Lige forbindelse 11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8085874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med billedtekst lys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sp>
        <p:nvSpPr>
          <p:cNvPr id="8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sz="1300" b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cxnSp>
        <p:nvCxnSpPr>
          <p:cNvPr id="9" name="Lige forbindelse 8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87961" y="320675"/>
            <a:ext cx="4861118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cxnSp>
        <p:nvCxnSpPr>
          <p:cNvPr id="12" name="Lige forbindelse 11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1747520"/>
            <a:ext cx="6172200" cy="4599178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på ikonet for at tilføje et billede</a:t>
            </a:r>
          </a:p>
        </p:txBody>
      </p:sp>
    </p:spTree>
    <p:extLst>
      <p:ext uri="{BB962C8B-B14F-4D97-AF65-F5344CB8AC3E}">
        <p14:creationId xmlns:p14="http://schemas.microsoft.com/office/powerpoint/2010/main" val="3614101304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med billedtekst mø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sz="1300" b="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cxnSp>
        <p:nvCxnSpPr>
          <p:cNvPr id="9" name="Lige forbindelse 8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87961" y="320675"/>
            <a:ext cx="4861118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cxnSp>
        <p:nvCxnSpPr>
          <p:cNvPr id="12" name="Lige forbindelse 11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  <p:sp>
        <p:nvSpPr>
          <p:cNvPr id="11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1747520"/>
            <a:ext cx="6172200" cy="459917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13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1056640" y="6356350"/>
            <a:ext cx="123333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0D54DF-E849-4EA4-BFC4-7880432DC4A2}" type="datetimeFigureOut">
              <a:rPr lang="da-DK" smtClean="0"/>
              <a:pPr/>
              <a:t>18-04-2023</a:t>
            </a:fld>
            <a:endParaRPr lang="da-DK" dirty="0"/>
          </a:p>
        </p:txBody>
      </p:sp>
      <p:sp>
        <p:nvSpPr>
          <p:cNvPr id="15" name="Pladsholder til sidefod 5"/>
          <p:cNvSpPr>
            <a:spLocks noGrp="1"/>
          </p:cNvSpPr>
          <p:nvPr>
            <p:ph type="ftr" sz="quarter" idx="11"/>
          </p:nvPr>
        </p:nvSpPr>
        <p:spPr>
          <a:xfrm>
            <a:off x="2790908" y="6356350"/>
            <a:ext cx="536249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7" name="Pladsholder til slidenummer 5"/>
          <p:cNvSpPr>
            <a:spLocks noGrp="1"/>
          </p:cNvSpPr>
          <p:nvPr>
            <p:ph type="sldNum" sz="quarter" idx="12"/>
          </p:nvPr>
        </p:nvSpPr>
        <p:spPr>
          <a:xfrm>
            <a:off x="-1" y="6356350"/>
            <a:ext cx="78320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70134301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med faktaboks og ikon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0326624" y="2011680"/>
            <a:ext cx="1621536" cy="1620000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9" name="Lige forbindelse 8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87961" y="320675"/>
            <a:ext cx="9511452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sp>
        <p:nvSpPr>
          <p:cNvPr id="12" name="Pladsholder til tekst 3"/>
          <p:cNvSpPr>
            <a:spLocks noGrp="1"/>
          </p:cNvSpPr>
          <p:nvPr>
            <p:ph type="body" sz="half" idx="13"/>
          </p:nvPr>
        </p:nvSpPr>
        <p:spPr>
          <a:xfrm>
            <a:off x="10326625" y="3822191"/>
            <a:ext cx="1621536" cy="2899284"/>
          </a:xfrm>
        </p:spPr>
        <p:txBody>
          <a:bodyPr>
            <a:noAutofit/>
          </a:bodyPr>
          <a:lstStyle>
            <a:lvl1pPr marL="0" indent="0">
              <a:lnSpc>
                <a:spcPts val="1900"/>
              </a:lnSpc>
              <a:buNone/>
              <a:defRPr sz="1300" b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3" name="Pladsholder til indhold 2"/>
          <p:cNvSpPr>
            <a:spLocks noGrp="1"/>
          </p:cNvSpPr>
          <p:nvPr>
            <p:ph idx="14"/>
          </p:nvPr>
        </p:nvSpPr>
        <p:spPr>
          <a:xfrm>
            <a:off x="1056640" y="1825625"/>
            <a:ext cx="8642773" cy="4351338"/>
          </a:xfrm>
        </p:spPr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cxnSp>
        <p:nvCxnSpPr>
          <p:cNvPr id="14" name="Lige forbindelse 13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3458452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d faktaboks og ikon lys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9" name="Lige forbindelse 8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87961" y="320675"/>
            <a:ext cx="9511452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sp>
        <p:nvSpPr>
          <p:cNvPr id="12" name="Pladsholder til tekst 3"/>
          <p:cNvSpPr>
            <a:spLocks noGrp="1"/>
          </p:cNvSpPr>
          <p:nvPr>
            <p:ph type="body" sz="half" idx="13"/>
          </p:nvPr>
        </p:nvSpPr>
        <p:spPr>
          <a:xfrm>
            <a:off x="10326625" y="3822191"/>
            <a:ext cx="1621536" cy="2899284"/>
          </a:xfrm>
        </p:spPr>
        <p:txBody>
          <a:bodyPr>
            <a:noAutofit/>
          </a:bodyPr>
          <a:lstStyle>
            <a:lvl1pPr marL="0" indent="0">
              <a:lnSpc>
                <a:spcPts val="1900"/>
              </a:lnSpc>
              <a:buNone/>
              <a:defRPr sz="1300" b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3" name="Pladsholder til indhold 2"/>
          <p:cNvSpPr>
            <a:spLocks noGrp="1"/>
          </p:cNvSpPr>
          <p:nvPr>
            <p:ph idx="14"/>
          </p:nvPr>
        </p:nvSpPr>
        <p:spPr>
          <a:xfrm>
            <a:off x="1056640" y="1825625"/>
            <a:ext cx="8642773" cy="4351338"/>
          </a:xfrm>
        </p:spPr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cxnSp>
        <p:nvCxnSpPr>
          <p:cNvPr id="14" name="Lige forbindelse 13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dsholder til billede 2"/>
          <p:cNvSpPr>
            <a:spLocks noGrp="1"/>
          </p:cNvSpPr>
          <p:nvPr>
            <p:ph type="pic" idx="1"/>
          </p:nvPr>
        </p:nvSpPr>
        <p:spPr>
          <a:xfrm>
            <a:off x="10326624" y="2011680"/>
            <a:ext cx="1621536" cy="1620000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på ikonet for at tilføje et billede</a:t>
            </a:r>
          </a:p>
        </p:txBody>
      </p:sp>
    </p:spTree>
    <p:extLst>
      <p:ext uri="{BB962C8B-B14F-4D97-AF65-F5344CB8AC3E}">
        <p14:creationId xmlns:p14="http://schemas.microsoft.com/office/powerpoint/2010/main" val="331724322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med faktaboks og ikon ly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Lige forbindelse 8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87961" y="320675"/>
            <a:ext cx="9511452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12" name="Pladsholder til tekst 3"/>
          <p:cNvSpPr>
            <a:spLocks noGrp="1"/>
          </p:cNvSpPr>
          <p:nvPr>
            <p:ph type="body" sz="half" idx="13"/>
          </p:nvPr>
        </p:nvSpPr>
        <p:spPr>
          <a:xfrm>
            <a:off x="10326625" y="3822191"/>
            <a:ext cx="1621536" cy="2899284"/>
          </a:xfrm>
        </p:spPr>
        <p:txBody>
          <a:bodyPr>
            <a:noAutofit/>
          </a:bodyPr>
          <a:lstStyle>
            <a:lvl1pPr marL="0" indent="0">
              <a:lnSpc>
                <a:spcPts val="1900"/>
              </a:lnSpc>
              <a:buNone/>
              <a:defRPr sz="1300" b="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3" name="Pladsholder til indhold 2"/>
          <p:cNvSpPr>
            <a:spLocks noGrp="1"/>
          </p:cNvSpPr>
          <p:nvPr>
            <p:ph idx="14"/>
          </p:nvPr>
        </p:nvSpPr>
        <p:spPr>
          <a:xfrm>
            <a:off x="1056640" y="1825625"/>
            <a:ext cx="8642773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cxnSp>
        <p:nvCxnSpPr>
          <p:cNvPr id="14" name="Lige forbindelse 13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Billed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  <p:sp>
        <p:nvSpPr>
          <p:cNvPr id="15" name="Pladsholder til billede 2"/>
          <p:cNvSpPr>
            <a:spLocks noGrp="1"/>
          </p:cNvSpPr>
          <p:nvPr>
            <p:ph type="pic" idx="1"/>
          </p:nvPr>
        </p:nvSpPr>
        <p:spPr>
          <a:xfrm>
            <a:off x="10326624" y="2011680"/>
            <a:ext cx="1621536" cy="162000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17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1056640" y="6356350"/>
            <a:ext cx="123333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0D54DF-E849-4EA4-BFC4-7880432DC4A2}" type="datetimeFigureOut">
              <a:rPr lang="da-DK" smtClean="0"/>
              <a:pPr/>
              <a:t>18-04-2023</a:t>
            </a:fld>
            <a:endParaRPr lang="da-DK" dirty="0"/>
          </a:p>
        </p:txBody>
      </p:sp>
      <p:sp>
        <p:nvSpPr>
          <p:cNvPr id="18" name="Pladsholder til sidefod 5"/>
          <p:cNvSpPr>
            <a:spLocks noGrp="1"/>
          </p:cNvSpPr>
          <p:nvPr>
            <p:ph type="ftr" sz="quarter" idx="11"/>
          </p:nvPr>
        </p:nvSpPr>
        <p:spPr>
          <a:xfrm>
            <a:off x="2790908" y="6356350"/>
            <a:ext cx="536249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9" name="Pladsholder til slidenummer 5"/>
          <p:cNvSpPr>
            <a:spLocks noGrp="1"/>
          </p:cNvSpPr>
          <p:nvPr>
            <p:ph type="sldNum" sz="quarter" idx="12"/>
          </p:nvPr>
        </p:nvSpPr>
        <p:spPr>
          <a:xfrm>
            <a:off x="-1" y="6356350"/>
            <a:ext cx="78320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12442397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overskrift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9" name="Lige forbindelse 8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87961" y="320675"/>
            <a:ext cx="9511452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sp>
        <p:nvSpPr>
          <p:cNvPr id="13" name="Pladsholder til indhold 2"/>
          <p:cNvSpPr>
            <a:spLocks noGrp="1"/>
          </p:cNvSpPr>
          <p:nvPr>
            <p:ph idx="14"/>
          </p:nvPr>
        </p:nvSpPr>
        <p:spPr>
          <a:xfrm>
            <a:off x="1056640" y="1825625"/>
            <a:ext cx="9354185" cy="4351338"/>
          </a:xfrm>
        </p:spPr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cxnSp>
        <p:nvCxnSpPr>
          <p:cNvPr id="14" name="Lige forbindelse 13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5592153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overskrift lys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9" name="Lige forbindelse 8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87961" y="320675"/>
            <a:ext cx="9511452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sp>
        <p:nvSpPr>
          <p:cNvPr id="13" name="Pladsholder til indhold 2"/>
          <p:cNvSpPr>
            <a:spLocks noGrp="1"/>
          </p:cNvSpPr>
          <p:nvPr>
            <p:ph idx="14"/>
          </p:nvPr>
        </p:nvSpPr>
        <p:spPr>
          <a:xfrm>
            <a:off x="1056640" y="1825625"/>
            <a:ext cx="9354185" cy="4351338"/>
          </a:xfrm>
        </p:spPr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cxnSp>
        <p:nvCxnSpPr>
          <p:cNvPr id="14" name="Lige forbindelse 13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431670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og overskrift ly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Lige forbindelse 8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87961" y="320675"/>
            <a:ext cx="9511452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13" name="Pladsholder til indhold 2"/>
          <p:cNvSpPr>
            <a:spLocks noGrp="1"/>
          </p:cNvSpPr>
          <p:nvPr>
            <p:ph idx="14"/>
          </p:nvPr>
        </p:nvSpPr>
        <p:spPr>
          <a:xfrm>
            <a:off x="1056640" y="1825625"/>
            <a:ext cx="9354185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cxnSp>
        <p:nvCxnSpPr>
          <p:cNvPr id="14" name="Lige forbindelse 13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Billed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  <p:sp>
        <p:nvSpPr>
          <p:cNvPr id="11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1056640" y="6356350"/>
            <a:ext cx="123333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0D54DF-E849-4EA4-BFC4-7880432DC4A2}" type="datetimeFigureOut">
              <a:rPr lang="da-DK" smtClean="0"/>
              <a:pPr/>
              <a:t>18-04-2023</a:t>
            </a:fld>
            <a:endParaRPr lang="da-DK" dirty="0"/>
          </a:p>
        </p:txBody>
      </p:sp>
      <p:sp>
        <p:nvSpPr>
          <p:cNvPr id="12" name="Pladsholder til sidefod 5"/>
          <p:cNvSpPr>
            <a:spLocks noGrp="1"/>
          </p:cNvSpPr>
          <p:nvPr>
            <p:ph type="ftr" sz="quarter" idx="11"/>
          </p:nvPr>
        </p:nvSpPr>
        <p:spPr>
          <a:xfrm>
            <a:off x="2790908" y="6356350"/>
            <a:ext cx="536249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6" name="Pladsholder til slidenummer 5"/>
          <p:cNvSpPr>
            <a:spLocks noGrp="1"/>
          </p:cNvSpPr>
          <p:nvPr>
            <p:ph type="sldNum" sz="quarter" idx="12"/>
          </p:nvPr>
        </p:nvSpPr>
        <p:spPr>
          <a:xfrm>
            <a:off x="-1" y="6356350"/>
            <a:ext cx="78320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46895983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sæt hv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Lige forbindelse 13"/>
          <p:cNvCxnSpPr/>
          <p:nvPr userDrawn="1"/>
        </p:nvCxnSpPr>
        <p:spPr>
          <a:xfrm>
            <a:off x="-94827" y="3966845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1056640" y="1884363"/>
            <a:ext cx="8642772" cy="1420812"/>
          </a:xfrm>
        </p:spPr>
        <p:txBody>
          <a:bodyPr/>
          <a:lstStyle>
            <a:lvl1pPr marL="0" indent="0">
              <a:buNone/>
              <a:defRPr>
                <a:solidFill>
                  <a:srgbClr val="00263A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1056639" y="4106067"/>
            <a:ext cx="8642773" cy="213598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10" name="Lige forbindelse 9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led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sp>
        <p:nvSpPr>
          <p:cNvPr id="12" name="Pladsholder til tekst 2"/>
          <p:cNvSpPr>
            <a:spLocks noGrp="1"/>
          </p:cNvSpPr>
          <p:nvPr>
            <p:ph type="body" idx="13"/>
          </p:nvPr>
        </p:nvSpPr>
        <p:spPr>
          <a:xfrm>
            <a:off x="187960" y="3347402"/>
            <a:ext cx="9511453" cy="53403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0263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cxnSp>
        <p:nvCxnSpPr>
          <p:cNvPr id="13" name="Lige forbindelse 12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187960" y="320675"/>
            <a:ext cx="9511453" cy="1325563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97287890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23CD3D-D78D-C244-873A-01D3EB2498AA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486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0D2AE75-8773-2247-BE0E-320CA0D71C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9" y="1299608"/>
            <a:ext cx="9358312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889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sæt lys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Lige forbindelse 13"/>
          <p:cNvCxnSpPr/>
          <p:nvPr userDrawn="1"/>
        </p:nvCxnSpPr>
        <p:spPr>
          <a:xfrm>
            <a:off x="-94827" y="3966845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1056640" y="1884363"/>
            <a:ext cx="8642772" cy="142081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1056639" y="4106067"/>
            <a:ext cx="8642773" cy="213598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D54DF-E849-4EA4-BFC4-7880432DC4A2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155F5-CA4F-49D4-97C8-60D10ABBB269}" type="slidenum">
              <a:rPr lang="da-DK" smtClean="0"/>
              <a:t>‹nr.›</a:t>
            </a:fld>
            <a:endParaRPr lang="da-DK"/>
          </a:p>
        </p:txBody>
      </p:sp>
      <p:cxnSp>
        <p:nvCxnSpPr>
          <p:cNvPr id="10" name="Lige forbindelse 9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led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8"/>
          </a:xfrm>
          <a:prstGeom prst="rect">
            <a:avLst/>
          </a:prstGeom>
        </p:spPr>
      </p:pic>
      <p:sp>
        <p:nvSpPr>
          <p:cNvPr id="12" name="Pladsholder til tekst 2"/>
          <p:cNvSpPr>
            <a:spLocks noGrp="1"/>
          </p:cNvSpPr>
          <p:nvPr>
            <p:ph type="body" idx="13"/>
          </p:nvPr>
        </p:nvSpPr>
        <p:spPr>
          <a:xfrm>
            <a:off x="187960" y="3347402"/>
            <a:ext cx="9511453" cy="53403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0263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cxnSp>
        <p:nvCxnSpPr>
          <p:cNvPr id="13" name="Lige forbindelse 12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187960" y="320675"/>
            <a:ext cx="9511453" cy="1325563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571099878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 tekstsæt ly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Lige forbindelse 13"/>
          <p:cNvCxnSpPr/>
          <p:nvPr userDrawn="1"/>
        </p:nvCxnSpPr>
        <p:spPr>
          <a:xfrm>
            <a:off x="-94827" y="3966845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1056640" y="1884363"/>
            <a:ext cx="8642772" cy="142081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1056639" y="4106067"/>
            <a:ext cx="8642773" cy="213598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  <p:cxnSp>
        <p:nvCxnSpPr>
          <p:cNvPr id="10" name="Lige forbindelse 9"/>
          <p:cNvCxnSpPr/>
          <p:nvPr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dsholder til tekst 2"/>
          <p:cNvSpPr>
            <a:spLocks noGrp="1"/>
          </p:cNvSpPr>
          <p:nvPr>
            <p:ph type="body" idx="13"/>
          </p:nvPr>
        </p:nvSpPr>
        <p:spPr>
          <a:xfrm>
            <a:off x="187960" y="3347402"/>
            <a:ext cx="9511453" cy="53403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cxnSp>
        <p:nvCxnSpPr>
          <p:cNvPr id="13" name="Lige forbindelse 12"/>
          <p:cNvCxnSpPr/>
          <p:nvPr userDrawn="1"/>
        </p:nvCxnSpPr>
        <p:spPr>
          <a:xfrm>
            <a:off x="-94827" y="1747520"/>
            <a:ext cx="4294294" cy="0"/>
          </a:xfrm>
          <a:prstGeom prst="line">
            <a:avLst/>
          </a:prstGeom>
          <a:ln w="12700">
            <a:solidFill>
              <a:srgbClr val="E400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187960" y="320675"/>
            <a:ext cx="9511453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pic>
        <p:nvPicPr>
          <p:cNvPr id="16" name="Billed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502" y="56300"/>
            <a:ext cx="2187921" cy="782747"/>
          </a:xfrm>
          <a:prstGeom prst="rect">
            <a:avLst/>
          </a:prstGeom>
        </p:spPr>
      </p:pic>
      <p:sp>
        <p:nvSpPr>
          <p:cNvPr id="17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1056640" y="6356350"/>
            <a:ext cx="123333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0D54DF-E849-4EA4-BFC4-7880432DC4A2}" type="datetimeFigureOut">
              <a:rPr lang="da-DK" smtClean="0"/>
              <a:pPr/>
              <a:t>18-04-2023</a:t>
            </a:fld>
            <a:endParaRPr lang="da-DK" dirty="0"/>
          </a:p>
        </p:txBody>
      </p:sp>
      <p:sp>
        <p:nvSpPr>
          <p:cNvPr id="18" name="Pladsholder til sidefod 5"/>
          <p:cNvSpPr>
            <a:spLocks noGrp="1"/>
          </p:cNvSpPr>
          <p:nvPr>
            <p:ph type="ftr" sz="quarter" idx="11"/>
          </p:nvPr>
        </p:nvSpPr>
        <p:spPr>
          <a:xfrm>
            <a:off x="2790908" y="6356350"/>
            <a:ext cx="536249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9" name="Pladsholder til slidenummer 5"/>
          <p:cNvSpPr>
            <a:spLocks noGrp="1"/>
          </p:cNvSpPr>
          <p:nvPr>
            <p:ph type="sldNum" sz="quarter" idx="12"/>
          </p:nvPr>
        </p:nvSpPr>
        <p:spPr>
          <a:xfrm>
            <a:off x="-1" y="6356350"/>
            <a:ext cx="78320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5887043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125537"/>
            <a:ext cx="10944221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3888" y="1602265"/>
            <a:ext cx="10944225" cy="427466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733"/>
            <a:ext cx="10934495" cy="4974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br>
              <a:rPr lang="en-GB" dirty="0"/>
            </a:b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55FFDD-2A6E-5C45-AEC3-F6D409E7D10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102CF-4ED9-CA48-9138-A32121383FF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AB7F4648-C2B1-2246-9C17-D31C881AD775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547266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ull Background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5614"/>
            <a:ext cx="10934493" cy="49878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Page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34775"/>
            <a:ext cx="3554209" cy="5104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introductory paragraph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49577" y="1134037"/>
            <a:ext cx="35101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DC8A58-CC8F-3748-BF18-C248F6CCECCF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BDF26D-88E8-C94F-93DC-9AD301BFCD8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F094BA25-80C8-2743-B3D2-072FC48D6B0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5B61BF-F308-884F-835C-950D755857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A845D-50E4-7546-8E25-28423D78BE2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007177" y="1134037"/>
            <a:ext cx="3560936" cy="51124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183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760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3E24133-5B36-3E4C-8155-93526CF2F416}"/>
              </a:ext>
            </a:extLst>
          </p:cNvPr>
          <p:cNvSpPr/>
          <p:nvPr userDrawn="1"/>
        </p:nvSpPr>
        <p:spPr>
          <a:xfrm>
            <a:off x="391286" y="-12142"/>
            <a:ext cx="11419531" cy="3837735"/>
          </a:xfrm>
          <a:prstGeom prst="rect">
            <a:avLst/>
          </a:prstGeom>
          <a:solidFill>
            <a:srgbClr val="E1F3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09BFE2-F588-9940-911A-BAFBADBC7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4063" y="1379484"/>
            <a:ext cx="1150938" cy="1004936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C1817D1E-50E5-8641-B323-58574D3116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461" y="-12142"/>
            <a:ext cx="11404626" cy="3837735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</a:lstStyle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endParaRPr lang="en-US" sz="2000" dirty="0"/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lick the image icon to insert imag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Choose an image that complements the blue image area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Right click and use the crop function to size your image box to the blue image zone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2000" dirty="0"/>
              <a:t>Scale and position your image to fit inside this area.</a:t>
            </a:r>
            <a:br>
              <a:rPr lang="en-US" sz="2000" dirty="0"/>
            </a:br>
            <a:endParaRPr lang="en-US" sz="2000" dirty="0"/>
          </a:p>
          <a:p>
            <a:pPr lvl="0"/>
            <a:endParaRPr lang="en-US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F4ED4EF-0394-C54E-975D-BD4000C86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0DD5B755-013F-CB47-8999-1132E7250DAA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37149" y="3968750"/>
            <a:ext cx="3518379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D24E5D55-5F8E-A14C-B2B8-6F6EB4D449E7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013899" y="3968750"/>
            <a:ext cx="3544485" cy="2261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E" sz="1200" b="0" i="0" smtClean="0">
                <a:effectLst/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Enter further information</a:t>
            </a:r>
            <a:b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</a:br>
            <a:r>
              <a:rPr lang="en-IE" b="0" i="0" dirty="0">
                <a:solidFill>
                  <a:srgbClr val="364546"/>
                </a:solidFill>
                <a:effectLst/>
                <a:latin typeface="Moderat-Light"/>
              </a:rPr>
              <a:t>or choose object to place</a:t>
            </a:r>
            <a:endParaRPr lang="en-US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0E93B942-C877-7745-A41E-C9AA17AD26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3968467"/>
            <a:ext cx="3554208" cy="2261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introductory sentence here.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B727C7-3C39-314C-96E7-FD12B19D399B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011CB9-BA35-944A-A0BD-23C7F1E96E67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95FFFFF-69E0-9D40-8C03-3962CE393806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241195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headsho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33EC51CE-A0B7-5B48-B913-7CEC69AB5CFC}"/>
              </a:ext>
            </a:extLst>
          </p:cNvPr>
          <p:cNvSpPr/>
          <p:nvPr userDrawn="1"/>
        </p:nvSpPr>
        <p:spPr>
          <a:xfrm>
            <a:off x="373198" y="0"/>
            <a:ext cx="11807823" cy="2889250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3362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4497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Company Headshots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7698" y="2530601"/>
            <a:ext cx="770840" cy="673055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617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CCF0EC-7B2F-FE44-BEB9-E99FA54424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388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C952B08-5A61-FA49-8903-AA578429AA6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3888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277851-447F-0142-BDD1-2DE5B0A3E0EF}"/>
              </a:ext>
            </a:extLst>
          </p:cNvPr>
          <p:cNvSpPr/>
          <p:nvPr userDrawn="1"/>
        </p:nvSpPr>
        <p:spPr>
          <a:xfrm>
            <a:off x="249256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Picture 6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D6B570-9642-5247-A7B2-819A80704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6643" y="2530601"/>
            <a:ext cx="770840" cy="673055"/>
          </a:xfrm>
          <a:prstGeom prst="rect">
            <a:avLst/>
          </a:prstGeom>
        </p:spPr>
      </p:pic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58119E6-7961-D34D-9F92-B99FA67F35A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482833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49A6C3-2688-F846-B238-087549031295}"/>
              </a:ext>
            </a:extLst>
          </p:cNvPr>
          <p:cNvSpPr/>
          <p:nvPr userDrawn="1"/>
        </p:nvSpPr>
        <p:spPr>
          <a:xfrm>
            <a:off x="4341462" y="1933708"/>
            <a:ext cx="1683102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064115-5ED9-6140-9228-D954B7B6F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5540" y="2530601"/>
            <a:ext cx="760438" cy="673055"/>
          </a:xfrm>
          <a:prstGeom prst="rect">
            <a:avLst/>
          </a:prstGeom>
        </p:spPr>
      </p:pic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E444A46-6B94-6C4A-B8FA-5370DEAAD2E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31730" y="3604876"/>
            <a:ext cx="169283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593A9E2-B997-AE49-BA84-6F6B16AD98EE}"/>
              </a:ext>
            </a:extLst>
          </p:cNvPr>
          <p:cNvSpPr/>
          <p:nvPr userDrawn="1"/>
        </p:nvSpPr>
        <p:spPr>
          <a:xfrm>
            <a:off x="6200407" y="1933708"/>
            <a:ext cx="1659307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7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FB61E-0268-D447-801A-7C94C9C84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74485" y="2530601"/>
            <a:ext cx="749687" cy="673055"/>
          </a:xfrm>
          <a:prstGeom prst="rect">
            <a:avLst/>
          </a:prstGeom>
        </p:spPr>
      </p:pic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C1F473C8-9305-204E-B82F-7360313456B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00407" y="3604876"/>
            <a:ext cx="166833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8E01A93-633F-C346-B62D-9DC4E3BBEFA5}"/>
              </a:ext>
            </a:extLst>
          </p:cNvPr>
          <p:cNvSpPr/>
          <p:nvPr userDrawn="1"/>
        </p:nvSpPr>
        <p:spPr>
          <a:xfrm>
            <a:off x="8009110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Picture 7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61D15E-AF03-C446-A17D-9B5D0B077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83188" y="2530601"/>
            <a:ext cx="770840" cy="673055"/>
          </a:xfrm>
          <a:prstGeom prst="rect">
            <a:avLst/>
          </a:prstGeom>
        </p:spPr>
      </p:pic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F358DF14-F4F8-CA4C-8E7C-88E01C396F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999378" y="3604876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C5E94E1-25F7-BF49-8C8B-FE2FFB8D87C4}"/>
              </a:ext>
            </a:extLst>
          </p:cNvPr>
          <p:cNvSpPr/>
          <p:nvPr userDrawn="1"/>
        </p:nvSpPr>
        <p:spPr>
          <a:xfrm>
            <a:off x="9868055" y="1933708"/>
            <a:ext cx="1706126" cy="156673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F42BF5-09FD-8C4C-8236-F9AF28E8D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42133" y="2530601"/>
            <a:ext cx="770840" cy="673055"/>
          </a:xfrm>
          <a:prstGeom prst="rect">
            <a:avLst/>
          </a:prstGeom>
        </p:spPr>
      </p:pic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EA295C9C-E397-9C4D-A7B4-3A98E642671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894041" y="3604876"/>
            <a:ext cx="168969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86" name="Subtitle 2">
            <a:extLst>
              <a:ext uri="{FF2B5EF4-FFF2-40B4-BE49-F238E27FC236}">
                <a16:creationId xmlns:a16="http://schemas.microsoft.com/office/drawing/2014/main" id="{01157837-835B-8949-B076-F7F2555F62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4956307"/>
            <a:ext cx="5400238" cy="12809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hort blurb/quote</a:t>
            </a:r>
            <a:br>
              <a:rPr lang="en-GB" dirty="0"/>
            </a:br>
            <a:r>
              <a:rPr lang="en-GB" dirty="0"/>
              <a:t>about staff members</a:t>
            </a:r>
            <a:endParaRPr lang="en-US" dirty="0"/>
          </a:p>
        </p:txBody>
      </p:sp>
      <p:sp>
        <p:nvSpPr>
          <p:cNvPr id="87" name="Content Placeholder 3">
            <a:extLst>
              <a:ext uri="{FF2B5EF4-FFF2-40B4-BE49-F238E27FC236}">
                <a16:creationId xmlns:a16="http://schemas.microsoft.com/office/drawing/2014/main" id="{CF6869ED-A039-5A4D-A8CE-831B1F8AB369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2492562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8" name="Content Placeholder 3">
            <a:extLst>
              <a:ext uri="{FF2B5EF4-FFF2-40B4-BE49-F238E27FC236}">
                <a16:creationId xmlns:a16="http://schemas.microsoft.com/office/drawing/2014/main" id="{962DAF2E-C00E-7C4A-9833-9EC4F883E01C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4331411" y="1926450"/>
            <a:ext cx="1706128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89" name="Content Placeholder 3">
            <a:extLst>
              <a:ext uri="{FF2B5EF4-FFF2-40B4-BE49-F238E27FC236}">
                <a16:creationId xmlns:a16="http://schemas.microsoft.com/office/drawing/2014/main" id="{A70D53A8-CFFA-5D42-BC1E-9B0F74F6B354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10453" y="1926450"/>
            <a:ext cx="164926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0" name="Content Placeholder 3">
            <a:extLst>
              <a:ext uri="{FF2B5EF4-FFF2-40B4-BE49-F238E27FC236}">
                <a16:creationId xmlns:a16="http://schemas.microsoft.com/office/drawing/2014/main" id="{810BE185-E4B6-3543-9BB9-98F316BC560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009108" y="1926450"/>
            <a:ext cx="1725410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84BAE119-D973-5A46-866B-CFB74C1DA6F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878101" y="1926450"/>
            <a:ext cx="1705632" cy="15739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Insert Image of staff members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96FF1315-5A0C-4042-BF70-9435F9B9EE9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2492882" y="3998657"/>
            <a:ext cx="1694943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6114ACBF-AEDF-3341-B7DE-4320313C3BC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331731" y="3998657"/>
            <a:ext cx="1702125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771B22A1-96D2-914A-B728-7280BCA8075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6200724" y="3998657"/>
            <a:ext cx="1678062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495F677A-EB51-D647-BF16-36B022D0898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8009427" y="3998657"/>
            <a:ext cx="1725410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3D1442E2-967D-4641-94E3-8105B4BFD41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9894040" y="3998657"/>
            <a:ext cx="1674071" cy="36387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Job </a:t>
            </a:r>
            <a:r>
              <a:rPr lang="en-US" dirty="0" err="1"/>
              <a:t>TItl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36F7242-16BE-4744-A3A3-E4625B246B22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167FE1A-5ABF-1345-B5C6-BE03CB32B2E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76A24DDD-D967-3447-BC82-91B368FDCDA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051731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41230"/>
            <a:ext cx="10934483" cy="5398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405449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53624"/>
            <a:ext cx="2617581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05450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05450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05450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05450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53624"/>
            <a:ext cx="2617579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53624"/>
            <a:ext cx="2585364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53624"/>
            <a:ext cx="2610658" cy="158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35083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786909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786909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786909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786909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35083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35083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35083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ep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332035-67D5-D049-8057-3EE686909614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A121E54-6EA7-9B43-8C3B-BEED94A6CE49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ubtitle 2">
            <a:extLst>
              <a:ext uri="{FF2B5EF4-FFF2-40B4-BE49-F238E27FC236}">
                <a16:creationId xmlns:a16="http://schemas.microsoft.com/office/drawing/2014/main" id="{0C3B2D07-4FC2-3D48-A122-4BD6CE309052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889605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i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DAA55D5-97B8-364A-9672-2422A04B99C1}"/>
              </a:ext>
            </a:extLst>
          </p:cNvPr>
          <p:cNvSpPr/>
          <p:nvPr userDrawn="1"/>
        </p:nvSpPr>
        <p:spPr>
          <a:xfrm>
            <a:off x="6203953" y="429170"/>
            <a:ext cx="3529010" cy="2889248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7B48F-653E-2442-98FC-5345E93DCF46}"/>
              </a:ext>
            </a:extLst>
          </p:cNvPr>
          <p:cNvSpPr/>
          <p:nvPr userDrawn="1"/>
        </p:nvSpPr>
        <p:spPr>
          <a:xfrm>
            <a:off x="6203952" y="3470816"/>
            <a:ext cx="2592386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F3E726-F407-ED4E-A2D1-86DAC524180F}"/>
              </a:ext>
            </a:extLst>
          </p:cNvPr>
          <p:cNvSpPr/>
          <p:nvPr userDrawn="1"/>
        </p:nvSpPr>
        <p:spPr>
          <a:xfrm>
            <a:off x="8947151" y="3474341"/>
            <a:ext cx="3244848" cy="2224090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165877-78F8-6748-829D-6262708C83DC}"/>
              </a:ext>
            </a:extLst>
          </p:cNvPr>
          <p:cNvSpPr/>
          <p:nvPr userDrawn="1"/>
        </p:nvSpPr>
        <p:spPr>
          <a:xfrm>
            <a:off x="9861552" y="427570"/>
            <a:ext cx="2330448" cy="2900084"/>
          </a:xfrm>
          <a:prstGeom prst="rect">
            <a:avLst/>
          </a:prstGeom>
          <a:solidFill>
            <a:srgbClr val="E1F3FD"/>
          </a:solidFill>
          <a:ln>
            <a:solidFill>
              <a:srgbClr val="E1F3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9701F8-39F5-0F44-AEC8-E6F82DEA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844" y="1281157"/>
            <a:ext cx="1150938" cy="100493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7" y="415724"/>
            <a:ext cx="5390946" cy="5653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Title Her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5" y="1125538"/>
            <a:ext cx="5390948" cy="4667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subtitle text her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5" y="1736725"/>
            <a:ext cx="5390948" cy="4140199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C461BC-7BEC-EA44-AE6E-DE76646DF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6656" y="1429876"/>
            <a:ext cx="1150938" cy="100493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8BD584EF-0E6B-1740-AC93-A784C7A9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7373" y="4038606"/>
            <a:ext cx="1150938" cy="1004936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E2AD24-6774-D14B-98E7-C33EA09FA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5725" y="3924517"/>
            <a:ext cx="1150938" cy="1004936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3950" y="418332"/>
            <a:ext cx="3529014" cy="29000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CC0D29E-A64B-664D-8383-D1AB8A373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9874997" y="424957"/>
            <a:ext cx="2317003" cy="2902695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3D91680-0C9C-E54F-9535-0909AD846D4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40800" y="3471728"/>
            <a:ext cx="3251200" cy="222409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73D26E6-4479-7B45-8D89-49DBA57BE13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03950" y="3468202"/>
            <a:ext cx="2592388" cy="22267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+mj-lt"/>
              <a:buAutoNum type="arabicPeriod"/>
              <a:defRPr sz="700"/>
            </a:lvl1pPr>
          </a:lstStyle>
          <a:p>
            <a:pPr lvl="0"/>
            <a:r>
              <a:rPr lang="en-US" dirty="0"/>
              <a:t>Click the image icon to insert image.</a:t>
            </a:r>
          </a:p>
          <a:p>
            <a:pPr lvl="0"/>
            <a:r>
              <a:rPr lang="en-US" dirty="0"/>
              <a:t>Choose an image that complements the blue image area zone.</a:t>
            </a:r>
          </a:p>
          <a:p>
            <a:pPr lvl="0"/>
            <a:r>
              <a:rPr lang="en-US" dirty="0"/>
              <a:t>Right click and use the crop function to size your image box to the blue image zone.</a:t>
            </a:r>
          </a:p>
          <a:p>
            <a:pPr lvl="0"/>
            <a:r>
              <a:rPr lang="en-US" dirty="0"/>
              <a:t>Scale and position your image to fit inside this area.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017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and Numbers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4816100-E3C2-3744-A3E9-769F4C60F376}"/>
              </a:ext>
            </a:extLst>
          </p:cNvPr>
          <p:cNvSpPr/>
          <p:nvPr userDrawn="1"/>
        </p:nvSpPr>
        <p:spPr>
          <a:xfrm>
            <a:off x="373198" y="1"/>
            <a:ext cx="11818802" cy="3621349"/>
          </a:xfrm>
          <a:prstGeom prst="rect">
            <a:avLst/>
          </a:prstGeom>
          <a:solidFill>
            <a:srgbClr val="094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417A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Stats and numbers example</a:t>
            </a:r>
            <a:endParaRPr lang="en-US" dirty="0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2097563"/>
            <a:ext cx="2617581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6D6E0-84B4-4A41-B80B-DE811F95EE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12410" y="1449388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541FD719-56F2-9546-A4C4-18D45F895B1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95803" y="1449388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8FA7689-12F6-6D45-AB9E-31A5F2AE602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39003" y="1449388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2BA6A43-F59A-0642-89D1-D564EA66CE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3888" y="1449388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8F4A529-AE85-6F46-8F41-9C8901914A8B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396913" y="2097563"/>
            <a:ext cx="2617579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396A915-3AB7-2E47-9879-97811A81DD28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03950" y="2097563"/>
            <a:ext cx="2585364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EC37FA0-69B1-5342-88D1-5E1B4E3031E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950526" y="2097563"/>
            <a:ext cx="2610658" cy="1331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1FAA9B6-AA55-834B-BC83-E2DA3725FAB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33616" y="4479021"/>
            <a:ext cx="2617581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51EA6131-6514-FA41-ACE0-BCEA9B5DFA7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12410" y="3830847"/>
            <a:ext cx="2617578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345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07602A2-A955-FE42-97BC-BC5B29D37E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95803" y="3830847"/>
            <a:ext cx="2600529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789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9D5AFB0-7242-6649-946C-37893607E0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939003" y="3830847"/>
            <a:ext cx="2629104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987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FF3C85C9-4988-BE49-9301-F3DC70B6584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3888" y="3830847"/>
            <a:ext cx="2632755" cy="5048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4400">
                <a:latin typeface="Century Gothic" panose="020B0502020202020204" pitchFamily="34" charset="0"/>
              </a:defRPr>
            </a:lvl2pPr>
            <a:lvl3pPr>
              <a:defRPr sz="4400">
                <a:latin typeface="Century Gothic" panose="020B0502020202020204" pitchFamily="34" charset="0"/>
              </a:defRPr>
            </a:lvl3pPr>
            <a:lvl4pPr>
              <a:defRPr sz="4400">
                <a:latin typeface="Century Gothic" panose="020B0502020202020204" pitchFamily="34" charset="0"/>
              </a:defRPr>
            </a:lvl4pPr>
            <a:lvl5pPr>
              <a:defRPr sz="44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5919309-68DA-7B43-9A5D-8525989A161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96913" y="4479021"/>
            <a:ext cx="2617579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706E48E-61B3-3442-86BF-BE6FE3C8E463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03950" y="4479021"/>
            <a:ext cx="2585364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9E378F-8F9C-0E4F-95A7-8B4FA1EBE9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50526" y="4479021"/>
            <a:ext cx="2610658" cy="1728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key factors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5AF22F1-BB15-A143-9E4C-0F984E6877FD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6DD9CD-E54C-434C-AD43-566F6831A5D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ubtitle 2">
            <a:extLst>
              <a:ext uri="{FF2B5EF4-FFF2-40B4-BE49-F238E27FC236}">
                <a16:creationId xmlns:a16="http://schemas.microsoft.com/office/drawing/2014/main" id="{DBECFF91-9E30-1146-8689-BB53FF7D679C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57734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Basic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046D1EB-3A19-884E-AF26-C21797ADC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3DDF92F3-39E8-6649-9528-A7DD2545C9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21566"/>
            <a:ext cx="10938953" cy="5595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Graph or Chart Slide</a:t>
            </a:r>
            <a:endParaRPr lang="en-US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58F52B0-D380-9745-9719-7AA434A915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616" y="1125538"/>
            <a:ext cx="4454316" cy="1765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Insert introduction here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7EC839C3-608F-B943-AB5A-3CD15C021F47}"/>
              </a:ext>
            </a:extLst>
          </p:cNvPr>
          <p:cNvSpPr txBox="1">
            <a:spLocks/>
          </p:cNvSpPr>
          <p:nvPr userDrawn="1"/>
        </p:nvSpPr>
        <p:spPr>
          <a:xfrm>
            <a:off x="4337149" y="1592262"/>
            <a:ext cx="3527425" cy="4645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77CBC17-5CB1-0149-9794-7325FA54F460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33616" y="3033714"/>
            <a:ext cx="4454314" cy="237648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further information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819530E-973B-D145-A4D1-160EF3A74C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32945" y="1128153"/>
            <a:ext cx="6325439" cy="42820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able/char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FAE20D-7279-F240-88B7-7741D1D91280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939531-1695-7644-B26D-37093BB78CC4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93C9C024-FB03-EB4E-8EB3-CBAD7711CE7E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92429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321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81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198323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rait Image/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20898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585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164891-A967-1C41-9B91-5863CD20D51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004175" y="3516198"/>
            <a:ext cx="3563938" cy="238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Landscape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9226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2218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63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109077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9362DF-AF45-E846-AEBA-8E821A5A6ED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FCEB71-84AF-3048-B8B7-58F9041B753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FB88F3EC-64AD-8E45-B270-421F6D6AC4D9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C7C8782-DDFE-2F4B-9D0E-FAD687D9070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989416" y="1275488"/>
            <a:ext cx="3527424" cy="4637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Insert Portrai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762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 (Blue)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6"/>
            <a:ext cx="10944226" cy="5008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332289" y="1275488"/>
            <a:ext cx="3527424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3556001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04175" y="1275488"/>
            <a:ext cx="3563938" cy="47459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F981329-9ADE-0948-8090-EBFCBEAD2700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35639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3E872-0930-A34C-B76D-F81E092162EE}"/>
              </a:ext>
            </a:extLst>
          </p:cNvPr>
          <p:cNvCxnSpPr>
            <a:cxnSpLocks/>
          </p:cNvCxnSpPr>
          <p:nvPr userDrawn="1"/>
        </p:nvCxnSpPr>
        <p:spPr>
          <a:xfrm>
            <a:off x="8004175" y="1125538"/>
            <a:ext cx="35639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1D111-5875-7D42-9DA4-D4935476E08E}"/>
              </a:ext>
            </a:extLst>
          </p:cNvPr>
          <p:cNvCxnSpPr>
            <a:cxnSpLocks/>
          </p:cNvCxnSpPr>
          <p:nvPr userDrawn="1"/>
        </p:nvCxnSpPr>
        <p:spPr>
          <a:xfrm>
            <a:off x="4331730" y="1125538"/>
            <a:ext cx="352798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91143F-8BE5-C44A-A63B-9F96842ECBA1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44AAC-633B-B04E-B973-CC9832AB2B86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64B12927-965C-6A49-B061-CB40BAFF814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4B06EC-548A-3A41-9515-77E050010F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069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23417"/>
            <a:ext cx="10944223" cy="4956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598735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27758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choose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11FB82-2553-6749-BCB9-88F7D2345245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040C8E-DF41-D649-9D35-FF59B03CA57D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BF3F3ADE-231B-2347-83B9-715DC54728AD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78100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 column blu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02AD50C-7767-BB4B-BFD1-AB804233F4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7" y="413584"/>
            <a:ext cx="10944225" cy="4956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5E3ABD5-AF02-8B48-8D78-8E691D2BCA5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406405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346567-838C-7540-88A2-54B64D6FA94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3888" y="1275488"/>
            <a:ext cx="2627309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B99D0E8-026D-E847-8321-3A1AF9FEBAB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7605" y="1275488"/>
            <a:ext cx="2579311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6B1BFD-5B37-B446-BCCE-F0FCBCEF13C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940800" y="1275488"/>
            <a:ext cx="2627313" cy="4961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05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0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Add text or image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58DCA3-55DC-EA40-B730-DD7BE51EC276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2627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7F482D-24C7-5A40-975E-0E99C57F7847}"/>
              </a:ext>
            </a:extLst>
          </p:cNvPr>
          <p:cNvCxnSpPr>
            <a:cxnSpLocks/>
          </p:cNvCxnSpPr>
          <p:nvPr userDrawn="1"/>
        </p:nvCxnSpPr>
        <p:spPr>
          <a:xfrm>
            <a:off x="3395663" y="1125751"/>
            <a:ext cx="26094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4A4549-0064-6B44-8EC5-C92AE5B5242B}"/>
              </a:ext>
            </a:extLst>
          </p:cNvPr>
          <p:cNvCxnSpPr>
            <a:cxnSpLocks/>
          </p:cNvCxnSpPr>
          <p:nvPr userDrawn="1"/>
        </p:nvCxnSpPr>
        <p:spPr>
          <a:xfrm>
            <a:off x="6197605" y="1125538"/>
            <a:ext cx="2598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31876E-A8B7-7448-96AD-2ED767C98ED7}"/>
              </a:ext>
            </a:extLst>
          </p:cNvPr>
          <p:cNvCxnSpPr>
            <a:cxnSpLocks/>
          </p:cNvCxnSpPr>
          <p:nvPr userDrawn="1"/>
        </p:nvCxnSpPr>
        <p:spPr>
          <a:xfrm>
            <a:off x="8947150" y="1125538"/>
            <a:ext cx="26209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A0C5C0-76FF-8D40-A122-BABE18071DF9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8E84C6-E0B6-CD48-872D-1F0ABAC1FC9A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ubtitle 2">
            <a:extLst>
              <a:ext uri="{FF2B5EF4-FFF2-40B4-BE49-F238E27FC236}">
                <a16:creationId xmlns:a16="http://schemas.microsoft.com/office/drawing/2014/main" id="{F8B96E8A-B627-B84E-8FF8-609E11A30D17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D2F7360-C85C-A545-9AC3-C8303F5241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883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90A0F0-40F5-274D-8048-776B694FF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286500"/>
            <a:ext cx="900000" cy="43953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380793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/>
              <a:pPr algn="ctr"/>
              <a:t>‹nr.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021888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 column with title">
    <p:bg>
      <p:bgPr>
        <a:solidFill>
          <a:srgbClr val="094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2">
            <a:extLst>
              <a:ext uri="{FF2B5EF4-FFF2-40B4-BE49-F238E27FC236}">
                <a16:creationId xmlns:a16="http://schemas.microsoft.com/office/drawing/2014/main" id="{D7BB180D-1B7F-8740-9FBD-BBC8746B2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1268412"/>
            <a:ext cx="5400675" cy="323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Heading Copy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47A3A1A-D13F-DD4E-AC86-83FABFAF58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203950" y="1745140"/>
            <a:ext cx="5360836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DA6759-15F5-954D-9F07-00F88BE4543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745140"/>
            <a:ext cx="5400665" cy="4492148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100" b="0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D4D5C17-0DB9-8049-A1D3-D495252AAE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615" y="411294"/>
            <a:ext cx="10934497" cy="49749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32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Insert Main 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1FFDE5-CB1B-7448-AD3D-77668E78535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203950" y="1268412"/>
            <a:ext cx="5364163" cy="323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 i="0">
                <a:latin typeface="Century Gothic" panose="020B0502020202020204" pitchFamily="34" charset="0"/>
              </a:defRPr>
            </a:lvl2pPr>
            <a:lvl3pPr>
              <a:defRPr sz="1200" b="0" i="0">
                <a:latin typeface="Century Gothic" panose="020B0502020202020204" pitchFamily="34" charset="0"/>
              </a:defRPr>
            </a:lvl3pPr>
            <a:lvl4pPr>
              <a:defRPr sz="1100" b="0" i="0">
                <a:latin typeface="Century Gothic" panose="020B0502020202020204" pitchFamily="34" charset="0"/>
              </a:defRPr>
            </a:lvl4pPr>
            <a:lvl5pPr>
              <a:defRPr sz="1100" b="0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GB" dirty="0"/>
              <a:t>Heading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75D68F-530C-D846-A5CC-BF0D646943B8}"/>
              </a:ext>
            </a:extLst>
          </p:cNvPr>
          <p:cNvCxnSpPr>
            <a:cxnSpLocks/>
          </p:cNvCxnSpPr>
          <p:nvPr userDrawn="1"/>
        </p:nvCxnSpPr>
        <p:spPr>
          <a:xfrm>
            <a:off x="623888" y="1125538"/>
            <a:ext cx="54006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4544D1-7D14-8E43-A005-475B3F7FD686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125538"/>
            <a:ext cx="53641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7567BF-42F8-DF4A-ACA4-DE8C65DF174C}"/>
              </a:ext>
            </a:extLst>
          </p:cNvPr>
          <p:cNvCxnSpPr>
            <a:cxnSpLocks/>
          </p:cNvCxnSpPr>
          <p:nvPr userDrawn="1"/>
        </p:nvCxnSpPr>
        <p:spPr>
          <a:xfrm>
            <a:off x="192088" y="512763"/>
            <a:ext cx="0" cy="2659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AC4933-7F7F-B348-A5D2-3A67101F8C02}"/>
              </a:ext>
            </a:extLst>
          </p:cNvPr>
          <p:cNvCxnSpPr>
            <a:cxnSpLocks/>
          </p:cNvCxnSpPr>
          <p:nvPr userDrawn="1"/>
        </p:nvCxnSpPr>
        <p:spPr>
          <a:xfrm>
            <a:off x="192088" y="3678873"/>
            <a:ext cx="0" cy="26663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Subtitle 2">
            <a:extLst>
              <a:ext uri="{FF2B5EF4-FFF2-40B4-BE49-F238E27FC236}">
                <a16:creationId xmlns:a16="http://schemas.microsoft.com/office/drawing/2014/main" id="{775B930E-6192-3E40-8D0B-6826AD159720}"/>
              </a:ext>
            </a:extLst>
          </p:cNvPr>
          <p:cNvSpPr txBox="1">
            <a:spLocks/>
          </p:cNvSpPr>
          <p:nvPr userDrawn="1"/>
        </p:nvSpPr>
        <p:spPr>
          <a:xfrm>
            <a:off x="10979" y="3344230"/>
            <a:ext cx="380307" cy="277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F35B7B9-BDCC-564E-827C-2B206842F832}" type="slidenum">
              <a:rPr lang="en-GB" sz="1000" smtClean="0">
                <a:solidFill>
                  <a:schemeClr val="bg1"/>
                </a:solidFill>
              </a:rPr>
              <a:pPr algn="ctr"/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A08F8D-242C-EC41-A05E-7744BFBBC7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0" y="6286500"/>
            <a:ext cx="900002" cy="43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593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1572">
          <p15:clr>
            <a:srgbClr val="5ACBF0"/>
          </p15:clr>
        </p15:guide>
        <p15:guide id="6" pos="2048">
          <p15:clr>
            <a:srgbClr val="5ACBF0"/>
          </p15:clr>
        </p15:guide>
        <p15:guide id="7" pos="5042">
          <p15:clr>
            <a:srgbClr val="5ACBF0"/>
          </p15:clr>
        </p15:guide>
        <p15:guide id="8" pos="5541">
          <p15:clr>
            <a:srgbClr val="5ACBF0"/>
          </p15:clr>
        </p15:guide>
        <p15:guide id="9" pos="6131">
          <p15:clr>
            <a:srgbClr val="5ACBF0"/>
          </p15:clr>
        </p15:guide>
        <p15:guide id="10" pos="3205">
          <p15:clr>
            <a:srgbClr val="5ACBF0"/>
          </p15:clr>
        </p15:guide>
        <p15:guide id="11" pos="3795">
          <p15:clr>
            <a:srgbClr val="5ACBF0"/>
          </p15:clr>
        </p15:guide>
        <p15:guide id="12" orient="horz" pos="3113">
          <p15:clr>
            <a:srgbClr val="5ACBF0"/>
          </p15:clr>
        </p15:guide>
        <p15:guide id="13" orient="horz" pos="3317">
          <p15:clr>
            <a:srgbClr val="5ACBF0"/>
          </p15:clr>
        </p15:guide>
        <p15:guide id="14" orient="horz" pos="3997">
          <p15:clr>
            <a:srgbClr val="5ACBF0"/>
          </p15:clr>
        </p15:guide>
        <p15:guide id="15" orient="horz" pos="3702">
          <p15:clr>
            <a:srgbClr val="5ACBF0"/>
          </p15:clr>
        </p15:guide>
        <p15:guide id="16" orient="horz" pos="3929">
          <p15:clr>
            <a:srgbClr val="5ACBF0"/>
          </p15:clr>
        </p15:guide>
        <p15:guide id="17" orient="horz" pos="3407">
          <p15:clr>
            <a:srgbClr val="5ACBF0"/>
          </p15:clr>
        </p15:guide>
        <p15:guide id="18" orient="horz" pos="3612">
          <p15:clr>
            <a:srgbClr val="5ACBF0"/>
          </p15:clr>
        </p15:guide>
        <p15:guide id="19" orient="horz" pos="2115">
          <p15:clr>
            <a:srgbClr val="5ACBF0"/>
          </p15:clr>
        </p15:guide>
        <p15:guide id="20" orient="horz" pos="2205">
          <p15:clr>
            <a:srgbClr val="5ACBF0"/>
          </p15:clr>
        </p15:guide>
        <p15:guide id="21" orient="horz" pos="3022">
          <p15:clr>
            <a:srgbClr val="5ACBF0"/>
          </p15:clr>
        </p15:guide>
        <p15:guide id="22" orient="horz" pos="2795">
          <p15:clr>
            <a:srgbClr val="5ACBF0"/>
          </p15:clr>
        </p15:guide>
        <p15:guide id="23" orient="horz" pos="2704">
          <p15:clr>
            <a:srgbClr val="5ACBF0"/>
          </p15:clr>
        </p15:guide>
        <p15:guide id="24" orient="horz" pos="2500">
          <p15:clr>
            <a:srgbClr val="5ACBF0"/>
          </p15:clr>
        </p15:guide>
        <p15:guide id="25" orient="horz" pos="2409">
          <p15:clr>
            <a:srgbClr val="5ACBF0"/>
          </p15:clr>
        </p15:guide>
        <p15:guide id="26" orient="horz" pos="1911">
          <p15:clr>
            <a:srgbClr val="5ACBF0"/>
          </p15:clr>
        </p15:guide>
        <p15:guide id="27" orient="horz" pos="1820">
          <p15:clr>
            <a:srgbClr val="5ACBF0"/>
          </p15:clr>
        </p15:guide>
        <p15:guide id="28" orient="horz" pos="1593">
          <p15:clr>
            <a:srgbClr val="5ACBF0"/>
          </p15:clr>
        </p15:guide>
        <p15:guide id="29" orient="horz" pos="1502">
          <p15:clr>
            <a:srgbClr val="5ACBF0"/>
          </p15:clr>
        </p15:guide>
        <p15:guide id="30" orient="horz" pos="1298">
          <p15:clr>
            <a:srgbClr val="5ACBF0"/>
          </p15:clr>
        </p15:guide>
        <p15:guide id="31" orient="horz" pos="1207">
          <p15:clr>
            <a:srgbClr val="5ACBF0"/>
          </p15:clr>
        </p15:guide>
        <p15:guide id="32" orient="horz" pos="1003">
          <p15:clr>
            <a:srgbClr val="5ACBF0"/>
          </p15:clr>
        </p15:guide>
        <p15:guide id="33" orient="horz" pos="913">
          <p15:clr>
            <a:srgbClr val="5ACBF0"/>
          </p15:clr>
        </p15:guide>
        <p15:guide id="34" orient="horz" pos="709">
          <p15:clr>
            <a:srgbClr val="5ACBF0"/>
          </p15:clr>
        </p15:guide>
        <p15:guide id="35" orient="horz" pos="618">
          <p15:clr>
            <a:srgbClr val="5ACBF0"/>
          </p15:clr>
        </p15:guide>
        <p15:guide id="36" orient="horz" pos="391">
          <p15:clr>
            <a:srgbClr val="5ACBF0"/>
          </p15:clr>
        </p15:guide>
        <p15:guide id="38" pos="869">
          <p15:clr>
            <a:srgbClr val="5ACBF0"/>
          </p15:clr>
        </p15:guide>
        <p15:guide id="39" pos="960">
          <p15:clr>
            <a:srgbClr val="5ACBF0"/>
          </p15:clr>
        </p15:guide>
        <p15:guide id="40" pos="1459">
          <p15:clr>
            <a:srgbClr val="5ACBF0"/>
          </p15:clr>
        </p15:guide>
        <p15:guide id="41" pos="2139">
          <p15:clr>
            <a:srgbClr val="5ACBF0"/>
          </p15:clr>
        </p15:guide>
        <p15:guide id="42" pos="2638">
          <p15:clr>
            <a:srgbClr val="5ACBF0"/>
          </p15:clr>
        </p15:guide>
        <p15:guide id="43" pos="2729">
          <p15:clr>
            <a:srgbClr val="5ACBF0"/>
          </p15:clr>
        </p15:guide>
        <p15:guide id="44" pos="3296">
          <p15:clr>
            <a:srgbClr val="5ACBF0"/>
          </p15:clr>
        </p15:guide>
        <p15:guide id="45" pos="3908">
          <p15:clr>
            <a:srgbClr val="5ACBF0"/>
          </p15:clr>
        </p15:guide>
        <p15:guide id="46" pos="4384">
          <p15:clr>
            <a:srgbClr val="5ACBF0"/>
          </p15:clr>
        </p15:guide>
        <p15:guide id="47" pos="4475">
          <p15:clr>
            <a:srgbClr val="5ACBF0"/>
          </p15:clr>
        </p15:guide>
        <p15:guide id="48" pos="4951">
          <p15:clr>
            <a:srgbClr val="5ACBF0"/>
          </p15:clr>
        </p15:guide>
        <p15:guide id="49" pos="5632">
          <p15:clr>
            <a:srgbClr val="5ACBF0"/>
          </p15:clr>
        </p15:guide>
        <p15:guide id="50" pos="6221">
          <p15:clr>
            <a:srgbClr val="5ACBF0"/>
          </p15:clr>
        </p15:guide>
        <p15:guide id="51" pos="6720">
          <p15:clr>
            <a:srgbClr val="5ACBF0"/>
          </p15:clr>
        </p15:guide>
        <p15:guide id="52" pos="6811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2.xml"/><Relationship Id="rId18" Type="http://schemas.openxmlformats.org/officeDocument/2006/relationships/slideLayout" Target="../slideLayouts/slideLayout637.xml"/><Relationship Id="rId26" Type="http://schemas.openxmlformats.org/officeDocument/2006/relationships/slideLayout" Target="../slideLayouts/slideLayout645.xml"/><Relationship Id="rId39" Type="http://schemas.openxmlformats.org/officeDocument/2006/relationships/slideLayout" Target="../slideLayouts/slideLayout658.xml"/><Relationship Id="rId21" Type="http://schemas.openxmlformats.org/officeDocument/2006/relationships/slideLayout" Target="../slideLayouts/slideLayout640.xml"/><Relationship Id="rId34" Type="http://schemas.openxmlformats.org/officeDocument/2006/relationships/slideLayout" Target="../slideLayouts/slideLayout653.xml"/><Relationship Id="rId42" Type="http://schemas.openxmlformats.org/officeDocument/2006/relationships/slideLayout" Target="../slideLayouts/slideLayout661.xml"/><Relationship Id="rId47" Type="http://schemas.openxmlformats.org/officeDocument/2006/relationships/slideLayout" Target="../slideLayouts/slideLayout666.xml"/><Relationship Id="rId50" Type="http://schemas.openxmlformats.org/officeDocument/2006/relationships/slideLayout" Target="../slideLayouts/slideLayout669.xml"/><Relationship Id="rId55" Type="http://schemas.openxmlformats.org/officeDocument/2006/relationships/slideLayout" Target="../slideLayouts/slideLayout674.xml"/><Relationship Id="rId63" Type="http://schemas.openxmlformats.org/officeDocument/2006/relationships/slideLayout" Target="../slideLayouts/slideLayout682.xml"/><Relationship Id="rId68" Type="http://schemas.openxmlformats.org/officeDocument/2006/relationships/slideLayout" Target="../slideLayouts/slideLayout687.xml"/><Relationship Id="rId76" Type="http://schemas.openxmlformats.org/officeDocument/2006/relationships/slideLayout" Target="../slideLayouts/slideLayout695.xml"/><Relationship Id="rId7" Type="http://schemas.openxmlformats.org/officeDocument/2006/relationships/slideLayout" Target="../slideLayouts/slideLayout626.xml"/><Relationship Id="rId71" Type="http://schemas.openxmlformats.org/officeDocument/2006/relationships/slideLayout" Target="../slideLayouts/slideLayout690.xml"/><Relationship Id="rId2" Type="http://schemas.openxmlformats.org/officeDocument/2006/relationships/slideLayout" Target="../slideLayouts/slideLayout621.xml"/><Relationship Id="rId16" Type="http://schemas.openxmlformats.org/officeDocument/2006/relationships/slideLayout" Target="../slideLayouts/slideLayout635.xml"/><Relationship Id="rId29" Type="http://schemas.openxmlformats.org/officeDocument/2006/relationships/slideLayout" Target="../slideLayouts/slideLayout648.xml"/><Relationship Id="rId11" Type="http://schemas.openxmlformats.org/officeDocument/2006/relationships/slideLayout" Target="../slideLayouts/slideLayout630.xml"/><Relationship Id="rId24" Type="http://schemas.openxmlformats.org/officeDocument/2006/relationships/slideLayout" Target="../slideLayouts/slideLayout643.xml"/><Relationship Id="rId32" Type="http://schemas.openxmlformats.org/officeDocument/2006/relationships/slideLayout" Target="../slideLayouts/slideLayout651.xml"/><Relationship Id="rId37" Type="http://schemas.openxmlformats.org/officeDocument/2006/relationships/slideLayout" Target="../slideLayouts/slideLayout656.xml"/><Relationship Id="rId40" Type="http://schemas.openxmlformats.org/officeDocument/2006/relationships/slideLayout" Target="../slideLayouts/slideLayout659.xml"/><Relationship Id="rId45" Type="http://schemas.openxmlformats.org/officeDocument/2006/relationships/slideLayout" Target="../slideLayouts/slideLayout664.xml"/><Relationship Id="rId53" Type="http://schemas.openxmlformats.org/officeDocument/2006/relationships/slideLayout" Target="../slideLayouts/slideLayout672.xml"/><Relationship Id="rId58" Type="http://schemas.openxmlformats.org/officeDocument/2006/relationships/slideLayout" Target="../slideLayouts/slideLayout677.xml"/><Relationship Id="rId66" Type="http://schemas.openxmlformats.org/officeDocument/2006/relationships/slideLayout" Target="../slideLayouts/slideLayout685.xml"/><Relationship Id="rId74" Type="http://schemas.openxmlformats.org/officeDocument/2006/relationships/slideLayout" Target="../slideLayouts/slideLayout693.xml"/><Relationship Id="rId79" Type="http://schemas.openxmlformats.org/officeDocument/2006/relationships/slideLayout" Target="../slideLayouts/slideLayout698.xml"/><Relationship Id="rId5" Type="http://schemas.openxmlformats.org/officeDocument/2006/relationships/slideLayout" Target="../slideLayouts/slideLayout624.xml"/><Relationship Id="rId61" Type="http://schemas.openxmlformats.org/officeDocument/2006/relationships/slideLayout" Target="../slideLayouts/slideLayout680.xml"/><Relationship Id="rId82" Type="http://schemas.openxmlformats.org/officeDocument/2006/relationships/oleObject" Target="../embeddings/oleObject4.bin"/><Relationship Id="rId10" Type="http://schemas.openxmlformats.org/officeDocument/2006/relationships/slideLayout" Target="../slideLayouts/slideLayout629.xml"/><Relationship Id="rId19" Type="http://schemas.openxmlformats.org/officeDocument/2006/relationships/slideLayout" Target="../slideLayouts/slideLayout638.xml"/><Relationship Id="rId31" Type="http://schemas.openxmlformats.org/officeDocument/2006/relationships/slideLayout" Target="../slideLayouts/slideLayout650.xml"/><Relationship Id="rId44" Type="http://schemas.openxmlformats.org/officeDocument/2006/relationships/slideLayout" Target="../slideLayouts/slideLayout663.xml"/><Relationship Id="rId52" Type="http://schemas.openxmlformats.org/officeDocument/2006/relationships/slideLayout" Target="../slideLayouts/slideLayout671.xml"/><Relationship Id="rId60" Type="http://schemas.openxmlformats.org/officeDocument/2006/relationships/slideLayout" Target="../slideLayouts/slideLayout679.xml"/><Relationship Id="rId65" Type="http://schemas.openxmlformats.org/officeDocument/2006/relationships/slideLayout" Target="../slideLayouts/slideLayout684.xml"/><Relationship Id="rId73" Type="http://schemas.openxmlformats.org/officeDocument/2006/relationships/slideLayout" Target="../slideLayouts/slideLayout692.xml"/><Relationship Id="rId78" Type="http://schemas.openxmlformats.org/officeDocument/2006/relationships/slideLayout" Target="../slideLayouts/slideLayout697.xml"/><Relationship Id="rId81" Type="http://schemas.openxmlformats.org/officeDocument/2006/relationships/tags" Target="../tags/tag9.xml"/><Relationship Id="rId4" Type="http://schemas.openxmlformats.org/officeDocument/2006/relationships/slideLayout" Target="../slideLayouts/slideLayout623.xml"/><Relationship Id="rId9" Type="http://schemas.openxmlformats.org/officeDocument/2006/relationships/slideLayout" Target="../slideLayouts/slideLayout628.xml"/><Relationship Id="rId14" Type="http://schemas.openxmlformats.org/officeDocument/2006/relationships/slideLayout" Target="../slideLayouts/slideLayout633.xml"/><Relationship Id="rId22" Type="http://schemas.openxmlformats.org/officeDocument/2006/relationships/slideLayout" Target="../slideLayouts/slideLayout641.xml"/><Relationship Id="rId27" Type="http://schemas.openxmlformats.org/officeDocument/2006/relationships/slideLayout" Target="../slideLayouts/slideLayout646.xml"/><Relationship Id="rId30" Type="http://schemas.openxmlformats.org/officeDocument/2006/relationships/slideLayout" Target="../slideLayouts/slideLayout649.xml"/><Relationship Id="rId35" Type="http://schemas.openxmlformats.org/officeDocument/2006/relationships/slideLayout" Target="../slideLayouts/slideLayout654.xml"/><Relationship Id="rId43" Type="http://schemas.openxmlformats.org/officeDocument/2006/relationships/slideLayout" Target="../slideLayouts/slideLayout662.xml"/><Relationship Id="rId48" Type="http://schemas.openxmlformats.org/officeDocument/2006/relationships/slideLayout" Target="../slideLayouts/slideLayout667.xml"/><Relationship Id="rId56" Type="http://schemas.openxmlformats.org/officeDocument/2006/relationships/slideLayout" Target="../slideLayouts/slideLayout675.xml"/><Relationship Id="rId64" Type="http://schemas.openxmlformats.org/officeDocument/2006/relationships/slideLayout" Target="../slideLayouts/slideLayout683.xml"/><Relationship Id="rId69" Type="http://schemas.openxmlformats.org/officeDocument/2006/relationships/slideLayout" Target="../slideLayouts/slideLayout688.xml"/><Relationship Id="rId77" Type="http://schemas.openxmlformats.org/officeDocument/2006/relationships/slideLayout" Target="../slideLayouts/slideLayout696.xml"/><Relationship Id="rId8" Type="http://schemas.openxmlformats.org/officeDocument/2006/relationships/slideLayout" Target="../slideLayouts/slideLayout627.xml"/><Relationship Id="rId51" Type="http://schemas.openxmlformats.org/officeDocument/2006/relationships/slideLayout" Target="../slideLayouts/slideLayout670.xml"/><Relationship Id="rId72" Type="http://schemas.openxmlformats.org/officeDocument/2006/relationships/slideLayout" Target="../slideLayouts/slideLayout691.xml"/><Relationship Id="rId80" Type="http://schemas.openxmlformats.org/officeDocument/2006/relationships/theme" Target="../theme/theme10.xml"/><Relationship Id="rId3" Type="http://schemas.openxmlformats.org/officeDocument/2006/relationships/slideLayout" Target="../slideLayouts/slideLayout622.xml"/><Relationship Id="rId12" Type="http://schemas.openxmlformats.org/officeDocument/2006/relationships/slideLayout" Target="../slideLayouts/slideLayout631.xml"/><Relationship Id="rId17" Type="http://schemas.openxmlformats.org/officeDocument/2006/relationships/slideLayout" Target="../slideLayouts/slideLayout636.xml"/><Relationship Id="rId25" Type="http://schemas.openxmlformats.org/officeDocument/2006/relationships/slideLayout" Target="../slideLayouts/slideLayout644.xml"/><Relationship Id="rId33" Type="http://schemas.openxmlformats.org/officeDocument/2006/relationships/slideLayout" Target="../slideLayouts/slideLayout652.xml"/><Relationship Id="rId38" Type="http://schemas.openxmlformats.org/officeDocument/2006/relationships/slideLayout" Target="../slideLayouts/slideLayout657.xml"/><Relationship Id="rId46" Type="http://schemas.openxmlformats.org/officeDocument/2006/relationships/slideLayout" Target="../slideLayouts/slideLayout665.xml"/><Relationship Id="rId59" Type="http://schemas.openxmlformats.org/officeDocument/2006/relationships/slideLayout" Target="../slideLayouts/slideLayout678.xml"/><Relationship Id="rId67" Type="http://schemas.openxmlformats.org/officeDocument/2006/relationships/slideLayout" Target="../slideLayouts/slideLayout686.xml"/><Relationship Id="rId20" Type="http://schemas.openxmlformats.org/officeDocument/2006/relationships/slideLayout" Target="../slideLayouts/slideLayout639.xml"/><Relationship Id="rId41" Type="http://schemas.openxmlformats.org/officeDocument/2006/relationships/slideLayout" Target="../slideLayouts/slideLayout660.xml"/><Relationship Id="rId54" Type="http://schemas.openxmlformats.org/officeDocument/2006/relationships/slideLayout" Target="../slideLayouts/slideLayout673.xml"/><Relationship Id="rId62" Type="http://schemas.openxmlformats.org/officeDocument/2006/relationships/slideLayout" Target="../slideLayouts/slideLayout681.xml"/><Relationship Id="rId70" Type="http://schemas.openxmlformats.org/officeDocument/2006/relationships/slideLayout" Target="../slideLayouts/slideLayout689.xml"/><Relationship Id="rId75" Type="http://schemas.openxmlformats.org/officeDocument/2006/relationships/slideLayout" Target="../slideLayouts/slideLayout694.xml"/><Relationship Id="rId83" Type="http://schemas.openxmlformats.org/officeDocument/2006/relationships/image" Target="../media/image1.emf"/><Relationship Id="rId1" Type="http://schemas.openxmlformats.org/officeDocument/2006/relationships/slideLayout" Target="../slideLayouts/slideLayout620.xml"/><Relationship Id="rId6" Type="http://schemas.openxmlformats.org/officeDocument/2006/relationships/slideLayout" Target="../slideLayouts/slideLayout625.xml"/><Relationship Id="rId15" Type="http://schemas.openxmlformats.org/officeDocument/2006/relationships/slideLayout" Target="../slideLayouts/slideLayout634.xml"/><Relationship Id="rId23" Type="http://schemas.openxmlformats.org/officeDocument/2006/relationships/slideLayout" Target="../slideLayouts/slideLayout642.xml"/><Relationship Id="rId28" Type="http://schemas.openxmlformats.org/officeDocument/2006/relationships/slideLayout" Target="../slideLayouts/slideLayout647.xml"/><Relationship Id="rId36" Type="http://schemas.openxmlformats.org/officeDocument/2006/relationships/slideLayout" Target="../slideLayouts/slideLayout655.xml"/><Relationship Id="rId49" Type="http://schemas.openxmlformats.org/officeDocument/2006/relationships/slideLayout" Target="../slideLayouts/slideLayout668.xml"/><Relationship Id="rId57" Type="http://schemas.openxmlformats.org/officeDocument/2006/relationships/slideLayout" Target="../slideLayouts/slideLayout676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1.xml"/><Relationship Id="rId18" Type="http://schemas.openxmlformats.org/officeDocument/2006/relationships/slideLayout" Target="../slideLayouts/slideLayout716.xml"/><Relationship Id="rId26" Type="http://schemas.openxmlformats.org/officeDocument/2006/relationships/slideLayout" Target="../slideLayouts/slideLayout724.xml"/><Relationship Id="rId39" Type="http://schemas.openxmlformats.org/officeDocument/2006/relationships/slideLayout" Target="../slideLayouts/slideLayout737.xml"/><Relationship Id="rId21" Type="http://schemas.openxmlformats.org/officeDocument/2006/relationships/slideLayout" Target="../slideLayouts/slideLayout719.xml"/><Relationship Id="rId34" Type="http://schemas.openxmlformats.org/officeDocument/2006/relationships/slideLayout" Target="../slideLayouts/slideLayout732.xml"/><Relationship Id="rId42" Type="http://schemas.openxmlformats.org/officeDocument/2006/relationships/slideLayout" Target="../slideLayouts/slideLayout740.xml"/><Relationship Id="rId47" Type="http://schemas.openxmlformats.org/officeDocument/2006/relationships/slideLayout" Target="../slideLayouts/slideLayout745.xml"/><Relationship Id="rId50" Type="http://schemas.openxmlformats.org/officeDocument/2006/relationships/slideLayout" Target="../slideLayouts/slideLayout748.xml"/><Relationship Id="rId55" Type="http://schemas.openxmlformats.org/officeDocument/2006/relationships/slideLayout" Target="../slideLayouts/slideLayout753.xml"/><Relationship Id="rId63" Type="http://schemas.openxmlformats.org/officeDocument/2006/relationships/slideLayout" Target="../slideLayouts/slideLayout761.xml"/><Relationship Id="rId68" Type="http://schemas.openxmlformats.org/officeDocument/2006/relationships/slideLayout" Target="../slideLayouts/slideLayout766.xml"/><Relationship Id="rId76" Type="http://schemas.openxmlformats.org/officeDocument/2006/relationships/slideLayout" Target="../slideLayouts/slideLayout774.xml"/><Relationship Id="rId7" Type="http://schemas.openxmlformats.org/officeDocument/2006/relationships/slideLayout" Target="../slideLayouts/slideLayout705.xml"/><Relationship Id="rId71" Type="http://schemas.openxmlformats.org/officeDocument/2006/relationships/slideLayout" Target="../slideLayouts/slideLayout769.xml"/><Relationship Id="rId2" Type="http://schemas.openxmlformats.org/officeDocument/2006/relationships/slideLayout" Target="../slideLayouts/slideLayout700.xml"/><Relationship Id="rId16" Type="http://schemas.openxmlformats.org/officeDocument/2006/relationships/slideLayout" Target="../slideLayouts/slideLayout714.xml"/><Relationship Id="rId29" Type="http://schemas.openxmlformats.org/officeDocument/2006/relationships/slideLayout" Target="../slideLayouts/slideLayout727.xml"/><Relationship Id="rId11" Type="http://schemas.openxmlformats.org/officeDocument/2006/relationships/slideLayout" Target="../slideLayouts/slideLayout709.xml"/><Relationship Id="rId24" Type="http://schemas.openxmlformats.org/officeDocument/2006/relationships/slideLayout" Target="../slideLayouts/slideLayout722.xml"/><Relationship Id="rId32" Type="http://schemas.openxmlformats.org/officeDocument/2006/relationships/slideLayout" Target="../slideLayouts/slideLayout730.xml"/><Relationship Id="rId37" Type="http://schemas.openxmlformats.org/officeDocument/2006/relationships/slideLayout" Target="../slideLayouts/slideLayout735.xml"/><Relationship Id="rId40" Type="http://schemas.openxmlformats.org/officeDocument/2006/relationships/slideLayout" Target="../slideLayouts/slideLayout738.xml"/><Relationship Id="rId45" Type="http://schemas.openxmlformats.org/officeDocument/2006/relationships/slideLayout" Target="../slideLayouts/slideLayout743.xml"/><Relationship Id="rId53" Type="http://schemas.openxmlformats.org/officeDocument/2006/relationships/slideLayout" Target="../slideLayouts/slideLayout751.xml"/><Relationship Id="rId58" Type="http://schemas.openxmlformats.org/officeDocument/2006/relationships/slideLayout" Target="../slideLayouts/slideLayout756.xml"/><Relationship Id="rId66" Type="http://schemas.openxmlformats.org/officeDocument/2006/relationships/slideLayout" Target="../slideLayouts/slideLayout764.xml"/><Relationship Id="rId74" Type="http://schemas.openxmlformats.org/officeDocument/2006/relationships/slideLayout" Target="../slideLayouts/slideLayout772.xml"/><Relationship Id="rId79" Type="http://schemas.openxmlformats.org/officeDocument/2006/relationships/slideLayout" Target="../slideLayouts/slideLayout777.xml"/><Relationship Id="rId5" Type="http://schemas.openxmlformats.org/officeDocument/2006/relationships/slideLayout" Target="../slideLayouts/slideLayout703.xml"/><Relationship Id="rId61" Type="http://schemas.openxmlformats.org/officeDocument/2006/relationships/slideLayout" Target="../slideLayouts/slideLayout759.xml"/><Relationship Id="rId82" Type="http://schemas.openxmlformats.org/officeDocument/2006/relationships/oleObject" Target="../embeddings/oleObject4.bin"/><Relationship Id="rId10" Type="http://schemas.openxmlformats.org/officeDocument/2006/relationships/slideLayout" Target="../slideLayouts/slideLayout708.xml"/><Relationship Id="rId19" Type="http://schemas.openxmlformats.org/officeDocument/2006/relationships/slideLayout" Target="../slideLayouts/slideLayout717.xml"/><Relationship Id="rId31" Type="http://schemas.openxmlformats.org/officeDocument/2006/relationships/slideLayout" Target="../slideLayouts/slideLayout729.xml"/><Relationship Id="rId44" Type="http://schemas.openxmlformats.org/officeDocument/2006/relationships/slideLayout" Target="../slideLayouts/slideLayout742.xml"/><Relationship Id="rId52" Type="http://schemas.openxmlformats.org/officeDocument/2006/relationships/slideLayout" Target="../slideLayouts/slideLayout750.xml"/><Relationship Id="rId60" Type="http://schemas.openxmlformats.org/officeDocument/2006/relationships/slideLayout" Target="../slideLayouts/slideLayout758.xml"/><Relationship Id="rId65" Type="http://schemas.openxmlformats.org/officeDocument/2006/relationships/slideLayout" Target="../slideLayouts/slideLayout763.xml"/><Relationship Id="rId73" Type="http://schemas.openxmlformats.org/officeDocument/2006/relationships/slideLayout" Target="../slideLayouts/slideLayout771.xml"/><Relationship Id="rId78" Type="http://schemas.openxmlformats.org/officeDocument/2006/relationships/slideLayout" Target="../slideLayouts/slideLayout776.xml"/><Relationship Id="rId81" Type="http://schemas.openxmlformats.org/officeDocument/2006/relationships/tags" Target="../tags/tag10.xml"/><Relationship Id="rId4" Type="http://schemas.openxmlformats.org/officeDocument/2006/relationships/slideLayout" Target="../slideLayouts/slideLayout702.xml"/><Relationship Id="rId9" Type="http://schemas.openxmlformats.org/officeDocument/2006/relationships/slideLayout" Target="../slideLayouts/slideLayout707.xml"/><Relationship Id="rId14" Type="http://schemas.openxmlformats.org/officeDocument/2006/relationships/slideLayout" Target="../slideLayouts/slideLayout712.xml"/><Relationship Id="rId22" Type="http://schemas.openxmlformats.org/officeDocument/2006/relationships/slideLayout" Target="../slideLayouts/slideLayout720.xml"/><Relationship Id="rId27" Type="http://schemas.openxmlformats.org/officeDocument/2006/relationships/slideLayout" Target="../slideLayouts/slideLayout725.xml"/><Relationship Id="rId30" Type="http://schemas.openxmlformats.org/officeDocument/2006/relationships/slideLayout" Target="../slideLayouts/slideLayout728.xml"/><Relationship Id="rId35" Type="http://schemas.openxmlformats.org/officeDocument/2006/relationships/slideLayout" Target="../slideLayouts/slideLayout733.xml"/><Relationship Id="rId43" Type="http://schemas.openxmlformats.org/officeDocument/2006/relationships/slideLayout" Target="../slideLayouts/slideLayout741.xml"/><Relationship Id="rId48" Type="http://schemas.openxmlformats.org/officeDocument/2006/relationships/slideLayout" Target="../slideLayouts/slideLayout746.xml"/><Relationship Id="rId56" Type="http://schemas.openxmlformats.org/officeDocument/2006/relationships/slideLayout" Target="../slideLayouts/slideLayout754.xml"/><Relationship Id="rId64" Type="http://schemas.openxmlformats.org/officeDocument/2006/relationships/slideLayout" Target="../slideLayouts/slideLayout762.xml"/><Relationship Id="rId69" Type="http://schemas.openxmlformats.org/officeDocument/2006/relationships/slideLayout" Target="../slideLayouts/slideLayout767.xml"/><Relationship Id="rId77" Type="http://schemas.openxmlformats.org/officeDocument/2006/relationships/slideLayout" Target="../slideLayouts/slideLayout775.xml"/><Relationship Id="rId8" Type="http://schemas.openxmlformats.org/officeDocument/2006/relationships/slideLayout" Target="../slideLayouts/slideLayout706.xml"/><Relationship Id="rId51" Type="http://schemas.openxmlformats.org/officeDocument/2006/relationships/slideLayout" Target="../slideLayouts/slideLayout749.xml"/><Relationship Id="rId72" Type="http://schemas.openxmlformats.org/officeDocument/2006/relationships/slideLayout" Target="../slideLayouts/slideLayout770.xml"/><Relationship Id="rId80" Type="http://schemas.openxmlformats.org/officeDocument/2006/relationships/theme" Target="../theme/theme11.xml"/><Relationship Id="rId3" Type="http://schemas.openxmlformats.org/officeDocument/2006/relationships/slideLayout" Target="../slideLayouts/slideLayout701.xml"/><Relationship Id="rId12" Type="http://schemas.openxmlformats.org/officeDocument/2006/relationships/slideLayout" Target="../slideLayouts/slideLayout710.xml"/><Relationship Id="rId17" Type="http://schemas.openxmlformats.org/officeDocument/2006/relationships/slideLayout" Target="../slideLayouts/slideLayout715.xml"/><Relationship Id="rId25" Type="http://schemas.openxmlformats.org/officeDocument/2006/relationships/slideLayout" Target="../slideLayouts/slideLayout723.xml"/><Relationship Id="rId33" Type="http://schemas.openxmlformats.org/officeDocument/2006/relationships/slideLayout" Target="../slideLayouts/slideLayout731.xml"/><Relationship Id="rId38" Type="http://schemas.openxmlformats.org/officeDocument/2006/relationships/slideLayout" Target="../slideLayouts/slideLayout736.xml"/><Relationship Id="rId46" Type="http://schemas.openxmlformats.org/officeDocument/2006/relationships/slideLayout" Target="../slideLayouts/slideLayout744.xml"/><Relationship Id="rId59" Type="http://schemas.openxmlformats.org/officeDocument/2006/relationships/slideLayout" Target="../slideLayouts/slideLayout757.xml"/><Relationship Id="rId67" Type="http://schemas.openxmlformats.org/officeDocument/2006/relationships/slideLayout" Target="../slideLayouts/slideLayout765.xml"/><Relationship Id="rId20" Type="http://schemas.openxmlformats.org/officeDocument/2006/relationships/slideLayout" Target="../slideLayouts/slideLayout718.xml"/><Relationship Id="rId41" Type="http://schemas.openxmlformats.org/officeDocument/2006/relationships/slideLayout" Target="../slideLayouts/slideLayout739.xml"/><Relationship Id="rId54" Type="http://schemas.openxmlformats.org/officeDocument/2006/relationships/slideLayout" Target="../slideLayouts/slideLayout752.xml"/><Relationship Id="rId62" Type="http://schemas.openxmlformats.org/officeDocument/2006/relationships/slideLayout" Target="../slideLayouts/slideLayout760.xml"/><Relationship Id="rId70" Type="http://schemas.openxmlformats.org/officeDocument/2006/relationships/slideLayout" Target="../slideLayouts/slideLayout768.xml"/><Relationship Id="rId75" Type="http://schemas.openxmlformats.org/officeDocument/2006/relationships/slideLayout" Target="../slideLayouts/slideLayout773.xml"/><Relationship Id="rId83" Type="http://schemas.openxmlformats.org/officeDocument/2006/relationships/image" Target="../media/image1.emf"/><Relationship Id="rId1" Type="http://schemas.openxmlformats.org/officeDocument/2006/relationships/slideLayout" Target="../slideLayouts/slideLayout699.xml"/><Relationship Id="rId6" Type="http://schemas.openxmlformats.org/officeDocument/2006/relationships/slideLayout" Target="../slideLayouts/slideLayout704.xml"/><Relationship Id="rId15" Type="http://schemas.openxmlformats.org/officeDocument/2006/relationships/slideLayout" Target="../slideLayouts/slideLayout713.xml"/><Relationship Id="rId23" Type="http://schemas.openxmlformats.org/officeDocument/2006/relationships/slideLayout" Target="../slideLayouts/slideLayout721.xml"/><Relationship Id="rId28" Type="http://schemas.openxmlformats.org/officeDocument/2006/relationships/slideLayout" Target="../slideLayouts/slideLayout726.xml"/><Relationship Id="rId36" Type="http://schemas.openxmlformats.org/officeDocument/2006/relationships/slideLayout" Target="../slideLayouts/slideLayout734.xml"/><Relationship Id="rId49" Type="http://schemas.openxmlformats.org/officeDocument/2006/relationships/slideLayout" Target="../slideLayouts/slideLayout747.xml"/><Relationship Id="rId57" Type="http://schemas.openxmlformats.org/officeDocument/2006/relationships/slideLayout" Target="../slideLayouts/slideLayout75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5.xml"/><Relationship Id="rId13" Type="http://schemas.openxmlformats.org/officeDocument/2006/relationships/slideLayout" Target="../slideLayouts/slideLayout790.x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780.xml"/><Relationship Id="rId7" Type="http://schemas.openxmlformats.org/officeDocument/2006/relationships/slideLayout" Target="../slideLayouts/slideLayout784.xml"/><Relationship Id="rId12" Type="http://schemas.openxmlformats.org/officeDocument/2006/relationships/slideLayout" Target="../slideLayouts/slideLayout789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779.xml"/><Relationship Id="rId16" Type="http://schemas.openxmlformats.org/officeDocument/2006/relationships/theme" Target="../theme/theme12.xml"/><Relationship Id="rId1" Type="http://schemas.openxmlformats.org/officeDocument/2006/relationships/slideLayout" Target="../slideLayouts/slideLayout778.xml"/><Relationship Id="rId6" Type="http://schemas.openxmlformats.org/officeDocument/2006/relationships/slideLayout" Target="../slideLayouts/slideLayout783.xml"/><Relationship Id="rId11" Type="http://schemas.openxmlformats.org/officeDocument/2006/relationships/slideLayout" Target="../slideLayouts/slideLayout788.xml"/><Relationship Id="rId5" Type="http://schemas.openxmlformats.org/officeDocument/2006/relationships/slideLayout" Target="../slideLayouts/slideLayout782.xml"/><Relationship Id="rId15" Type="http://schemas.openxmlformats.org/officeDocument/2006/relationships/slideLayout" Target="../slideLayouts/slideLayout792.xml"/><Relationship Id="rId10" Type="http://schemas.openxmlformats.org/officeDocument/2006/relationships/slideLayout" Target="../slideLayouts/slideLayout787.xml"/><Relationship Id="rId19" Type="http://schemas.openxmlformats.org/officeDocument/2006/relationships/image" Target="../media/image295.emf"/><Relationship Id="rId4" Type="http://schemas.openxmlformats.org/officeDocument/2006/relationships/slideLayout" Target="../slideLayouts/slideLayout781.xml"/><Relationship Id="rId9" Type="http://schemas.openxmlformats.org/officeDocument/2006/relationships/slideLayout" Target="../slideLayouts/slideLayout786.xml"/><Relationship Id="rId14" Type="http://schemas.openxmlformats.org/officeDocument/2006/relationships/slideLayout" Target="../slideLayouts/slideLayout79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0.xml"/><Relationship Id="rId13" Type="http://schemas.openxmlformats.org/officeDocument/2006/relationships/slideLayout" Target="../slideLayouts/slideLayout805.xml"/><Relationship Id="rId18" Type="http://schemas.openxmlformats.org/officeDocument/2006/relationships/slideLayout" Target="../slideLayouts/slideLayout810.xml"/><Relationship Id="rId26" Type="http://schemas.openxmlformats.org/officeDocument/2006/relationships/slideLayout" Target="../slideLayouts/slideLayout818.xml"/><Relationship Id="rId39" Type="http://schemas.openxmlformats.org/officeDocument/2006/relationships/slideLayout" Target="../slideLayouts/slideLayout831.xml"/><Relationship Id="rId3" Type="http://schemas.openxmlformats.org/officeDocument/2006/relationships/slideLayout" Target="../slideLayouts/slideLayout795.xml"/><Relationship Id="rId21" Type="http://schemas.openxmlformats.org/officeDocument/2006/relationships/slideLayout" Target="../slideLayouts/slideLayout813.xml"/><Relationship Id="rId34" Type="http://schemas.openxmlformats.org/officeDocument/2006/relationships/slideLayout" Target="../slideLayouts/slideLayout826.xml"/><Relationship Id="rId7" Type="http://schemas.openxmlformats.org/officeDocument/2006/relationships/slideLayout" Target="../slideLayouts/slideLayout799.xml"/><Relationship Id="rId12" Type="http://schemas.openxmlformats.org/officeDocument/2006/relationships/slideLayout" Target="../slideLayouts/slideLayout804.xml"/><Relationship Id="rId17" Type="http://schemas.openxmlformats.org/officeDocument/2006/relationships/slideLayout" Target="../slideLayouts/slideLayout809.xml"/><Relationship Id="rId25" Type="http://schemas.openxmlformats.org/officeDocument/2006/relationships/slideLayout" Target="../slideLayouts/slideLayout817.xml"/><Relationship Id="rId33" Type="http://schemas.openxmlformats.org/officeDocument/2006/relationships/slideLayout" Target="../slideLayouts/slideLayout825.xml"/><Relationship Id="rId38" Type="http://schemas.openxmlformats.org/officeDocument/2006/relationships/slideLayout" Target="../slideLayouts/slideLayout830.xml"/><Relationship Id="rId2" Type="http://schemas.openxmlformats.org/officeDocument/2006/relationships/slideLayout" Target="../slideLayouts/slideLayout794.xml"/><Relationship Id="rId16" Type="http://schemas.openxmlformats.org/officeDocument/2006/relationships/slideLayout" Target="../slideLayouts/slideLayout808.xml"/><Relationship Id="rId20" Type="http://schemas.openxmlformats.org/officeDocument/2006/relationships/slideLayout" Target="../slideLayouts/slideLayout812.xml"/><Relationship Id="rId29" Type="http://schemas.openxmlformats.org/officeDocument/2006/relationships/slideLayout" Target="../slideLayouts/slideLayout821.xml"/><Relationship Id="rId1" Type="http://schemas.openxmlformats.org/officeDocument/2006/relationships/slideLayout" Target="../slideLayouts/slideLayout793.xml"/><Relationship Id="rId6" Type="http://schemas.openxmlformats.org/officeDocument/2006/relationships/slideLayout" Target="../slideLayouts/slideLayout798.xml"/><Relationship Id="rId11" Type="http://schemas.openxmlformats.org/officeDocument/2006/relationships/slideLayout" Target="../slideLayouts/slideLayout803.xml"/><Relationship Id="rId24" Type="http://schemas.openxmlformats.org/officeDocument/2006/relationships/slideLayout" Target="../slideLayouts/slideLayout816.xml"/><Relationship Id="rId32" Type="http://schemas.openxmlformats.org/officeDocument/2006/relationships/slideLayout" Target="../slideLayouts/slideLayout824.xml"/><Relationship Id="rId37" Type="http://schemas.openxmlformats.org/officeDocument/2006/relationships/slideLayout" Target="../slideLayouts/slideLayout829.xml"/><Relationship Id="rId40" Type="http://schemas.openxmlformats.org/officeDocument/2006/relationships/theme" Target="../theme/theme13.xml"/><Relationship Id="rId5" Type="http://schemas.openxmlformats.org/officeDocument/2006/relationships/slideLayout" Target="../slideLayouts/slideLayout797.xml"/><Relationship Id="rId15" Type="http://schemas.openxmlformats.org/officeDocument/2006/relationships/slideLayout" Target="../slideLayouts/slideLayout807.xml"/><Relationship Id="rId23" Type="http://schemas.openxmlformats.org/officeDocument/2006/relationships/slideLayout" Target="../slideLayouts/slideLayout815.xml"/><Relationship Id="rId28" Type="http://schemas.openxmlformats.org/officeDocument/2006/relationships/slideLayout" Target="../slideLayouts/slideLayout820.xml"/><Relationship Id="rId36" Type="http://schemas.openxmlformats.org/officeDocument/2006/relationships/slideLayout" Target="../slideLayouts/slideLayout828.xml"/><Relationship Id="rId10" Type="http://schemas.openxmlformats.org/officeDocument/2006/relationships/slideLayout" Target="../slideLayouts/slideLayout802.xml"/><Relationship Id="rId19" Type="http://schemas.openxmlformats.org/officeDocument/2006/relationships/slideLayout" Target="../slideLayouts/slideLayout811.xml"/><Relationship Id="rId31" Type="http://schemas.openxmlformats.org/officeDocument/2006/relationships/slideLayout" Target="../slideLayouts/slideLayout823.xml"/><Relationship Id="rId4" Type="http://schemas.openxmlformats.org/officeDocument/2006/relationships/slideLayout" Target="../slideLayouts/slideLayout796.xml"/><Relationship Id="rId9" Type="http://schemas.openxmlformats.org/officeDocument/2006/relationships/slideLayout" Target="../slideLayouts/slideLayout801.xml"/><Relationship Id="rId14" Type="http://schemas.openxmlformats.org/officeDocument/2006/relationships/slideLayout" Target="../slideLayouts/slideLayout806.xml"/><Relationship Id="rId22" Type="http://schemas.openxmlformats.org/officeDocument/2006/relationships/slideLayout" Target="../slideLayouts/slideLayout814.xml"/><Relationship Id="rId27" Type="http://schemas.openxmlformats.org/officeDocument/2006/relationships/slideLayout" Target="../slideLayouts/slideLayout819.xml"/><Relationship Id="rId30" Type="http://schemas.openxmlformats.org/officeDocument/2006/relationships/slideLayout" Target="../slideLayouts/slideLayout822.xml"/><Relationship Id="rId35" Type="http://schemas.openxmlformats.org/officeDocument/2006/relationships/slideLayout" Target="../slideLayouts/slideLayout827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26" Type="http://schemas.openxmlformats.org/officeDocument/2006/relationships/slideLayout" Target="../slideLayouts/slideLayout105.xml"/><Relationship Id="rId39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100.xml"/><Relationship Id="rId34" Type="http://schemas.openxmlformats.org/officeDocument/2006/relationships/slideLayout" Target="../slideLayouts/slideLayout113.xml"/><Relationship Id="rId42" Type="http://schemas.openxmlformats.org/officeDocument/2006/relationships/slideLayout" Target="../slideLayouts/slideLayout121.xml"/><Relationship Id="rId47" Type="http://schemas.openxmlformats.org/officeDocument/2006/relationships/slideLayout" Target="../slideLayouts/slideLayout126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slideLayout" Target="../slideLayouts/slideLayout104.xml"/><Relationship Id="rId33" Type="http://schemas.openxmlformats.org/officeDocument/2006/relationships/slideLayout" Target="../slideLayouts/slideLayout112.xml"/><Relationship Id="rId38" Type="http://schemas.openxmlformats.org/officeDocument/2006/relationships/slideLayout" Target="../slideLayouts/slideLayout117.xml"/><Relationship Id="rId46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99.xml"/><Relationship Id="rId29" Type="http://schemas.openxmlformats.org/officeDocument/2006/relationships/slideLayout" Target="../slideLayouts/slideLayout108.xml"/><Relationship Id="rId41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slideLayout" Target="../slideLayouts/slideLayout103.xml"/><Relationship Id="rId32" Type="http://schemas.openxmlformats.org/officeDocument/2006/relationships/slideLayout" Target="../slideLayouts/slideLayout111.xml"/><Relationship Id="rId37" Type="http://schemas.openxmlformats.org/officeDocument/2006/relationships/slideLayout" Target="../slideLayouts/slideLayout116.xml"/><Relationship Id="rId40" Type="http://schemas.openxmlformats.org/officeDocument/2006/relationships/slideLayout" Target="../slideLayouts/slideLayout119.xml"/><Relationship Id="rId45" Type="http://schemas.openxmlformats.org/officeDocument/2006/relationships/slideLayout" Target="../slideLayouts/slideLayout124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slideLayout" Target="../slideLayouts/slideLayout102.xml"/><Relationship Id="rId28" Type="http://schemas.openxmlformats.org/officeDocument/2006/relationships/slideLayout" Target="../slideLayouts/slideLayout107.xml"/><Relationship Id="rId36" Type="http://schemas.openxmlformats.org/officeDocument/2006/relationships/slideLayout" Target="../slideLayouts/slideLayout115.xml"/><Relationship Id="rId49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31" Type="http://schemas.openxmlformats.org/officeDocument/2006/relationships/slideLayout" Target="../slideLayouts/slideLayout110.xml"/><Relationship Id="rId44" Type="http://schemas.openxmlformats.org/officeDocument/2006/relationships/slideLayout" Target="../slideLayouts/slideLayout123.xml"/><Relationship Id="rId52" Type="http://schemas.openxmlformats.org/officeDocument/2006/relationships/oleObject" Target="../embeddings/oleObject2.bin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slideLayout" Target="../slideLayouts/slideLayout101.xml"/><Relationship Id="rId27" Type="http://schemas.openxmlformats.org/officeDocument/2006/relationships/slideLayout" Target="../slideLayouts/slideLayout106.xml"/><Relationship Id="rId30" Type="http://schemas.openxmlformats.org/officeDocument/2006/relationships/slideLayout" Target="../slideLayouts/slideLayout109.xml"/><Relationship Id="rId35" Type="http://schemas.openxmlformats.org/officeDocument/2006/relationships/slideLayout" Target="../slideLayouts/slideLayout114.xml"/><Relationship Id="rId43" Type="http://schemas.openxmlformats.org/officeDocument/2006/relationships/slideLayout" Target="../slideLayouts/slideLayout122.xml"/><Relationship Id="rId48" Type="http://schemas.openxmlformats.org/officeDocument/2006/relationships/slideLayout" Target="../slideLayouts/slideLayout127.xml"/><Relationship Id="rId8" Type="http://schemas.openxmlformats.org/officeDocument/2006/relationships/slideLayout" Target="../slideLayouts/slideLayout87.xml"/><Relationship Id="rId51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26" Type="http://schemas.openxmlformats.org/officeDocument/2006/relationships/slideLayout" Target="../slideLayouts/slideLayout154.xml"/><Relationship Id="rId39" Type="http://schemas.openxmlformats.org/officeDocument/2006/relationships/slideLayout" Target="../slideLayouts/slideLayout167.xml"/><Relationship Id="rId3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49.xml"/><Relationship Id="rId34" Type="http://schemas.openxmlformats.org/officeDocument/2006/relationships/slideLayout" Target="../slideLayouts/slideLayout162.xml"/><Relationship Id="rId42" Type="http://schemas.openxmlformats.org/officeDocument/2006/relationships/slideLayout" Target="../slideLayouts/slideLayout170.xml"/><Relationship Id="rId47" Type="http://schemas.openxmlformats.org/officeDocument/2006/relationships/slideLayout" Target="../slideLayouts/slideLayout175.xml"/><Relationship Id="rId50" Type="http://schemas.openxmlformats.org/officeDocument/2006/relationships/oleObject" Target="../embeddings/oleObject3.bin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slideLayout" Target="../slideLayouts/slideLayout153.xml"/><Relationship Id="rId33" Type="http://schemas.openxmlformats.org/officeDocument/2006/relationships/slideLayout" Target="../slideLayouts/slideLayout161.xml"/><Relationship Id="rId38" Type="http://schemas.openxmlformats.org/officeDocument/2006/relationships/slideLayout" Target="../slideLayouts/slideLayout166.xml"/><Relationship Id="rId46" Type="http://schemas.openxmlformats.org/officeDocument/2006/relationships/slideLayout" Target="../slideLayouts/slideLayout174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slideLayout" Target="../slideLayouts/slideLayout148.xml"/><Relationship Id="rId29" Type="http://schemas.openxmlformats.org/officeDocument/2006/relationships/slideLayout" Target="../slideLayouts/slideLayout157.xml"/><Relationship Id="rId41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slideLayout" Target="../slideLayouts/slideLayout152.xml"/><Relationship Id="rId32" Type="http://schemas.openxmlformats.org/officeDocument/2006/relationships/slideLayout" Target="../slideLayouts/slideLayout160.xml"/><Relationship Id="rId37" Type="http://schemas.openxmlformats.org/officeDocument/2006/relationships/slideLayout" Target="../slideLayouts/slideLayout165.xml"/><Relationship Id="rId40" Type="http://schemas.openxmlformats.org/officeDocument/2006/relationships/slideLayout" Target="../slideLayouts/slideLayout168.xml"/><Relationship Id="rId45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slideLayout" Target="../slideLayouts/slideLayout151.xml"/><Relationship Id="rId28" Type="http://schemas.openxmlformats.org/officeDocument/2006/relationships/slideLayout" Target="../slideLayouts/slideLayout156.xml"/><Relationship Id="rId36" Type="http://schemas.openxmlformats.org/officeDocument/2006/relationships/slideLayout" Target="../slideLayouts/slideLayout164.xml"/><Relationship Id="rId49" Type="http://schemas.openxmlformats.org/officeDocument/2006/relationships/tags" Target="../tags/tag4.xml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31" Type="http://schemas.openxmlformats.org/officeDocument/2006/relationships/slideLayout" Target="../slideLayouts/slideLayout159.xml"/><Relationship Id="rId44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slideLayout" Target="../slideLayouts/slideLayout150.xml"/><Relationship Id="rId27" Type="http://schemas.openxmlformats.org/officeDocument/2006/relationships/slideLayout" Target="../slideLayouts/slideLayout155.xml"/><Relationship Id="rId30" Type="http://schemas.openxmlformats.org/officeDocument/2006/relationships/slideLayout" Target="../slideLayouts/slideLayout158.xml"/><Relationship Id="rId35" Type="http://schemas.openxmlformats.org/officeDocument/2006/relationships/slideLayout" Target="../slideLayouts/slideLayout163.xml"/><Relationship Id="rId43" Type="http://schemas.openxmlformats.org/officeDocument/2006/relationships/slideLayout" Target="../slideLayouts/slideLayout171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136.xml"/><Relationship Id="rId51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8.xml"/><Relationship Id="rId18" Type="http://schemas.openxmlformats.org/officeDocument/2006/relationships/slideLayout" Target="../slideLayouts/slideLayout193.xml"/><Relationship Id="rId26" Type="http://schemas.openxmlformats.org/officeDocument/2006/relationships/slideLayout" Target="../slideLayouts/slideLayout201.xml"/><Relationship Id="rId39" Type="http://schemas.openxmlformats.org/officeDocument/2006/relationships/slideLayout" Target="../slideLayouts/slideLayout214.xml"/><Relationship Id="rId21" Type="http://schemas.openxmlformats.org/officeDocument/2006/relationships/slideLayout" Target="../slideLayouts/slideLayout196.xml"/><Relationship Id="rId34" Type="http://schemas.openxmlformats.org/officeDocument/2006/relationships/slideLayout" Target="../slideLayouts/slideLayout209.xml"/><Relationship Id="rId42" Type="http://schemas.openxmlformats.org/officeDocument/2006/relationships/slideLayout" Target="../slideLayouts/slideLayout217.xml"/><Relationship Id="rId47" Type="http://schemas.openxmlformats.org/officeDocument/2006/relationships/slideLayout" Target="../slideLayouts/slideLayout222.xml"/><Relationship Id="rId50" Type="http://schemas.openxmlformats.org/officeDocument/2006/relationships/slideLayout" Target="../slideLayouts/slideLayout225.xml"/><Relationship Id="rId55" Type="http://schemas.openxmlformats.org/officeDocument/2006/relationships/slideLayout" Target="../slideLayouts/slideLayout230.xml"/><Relationship Id="rId63" Type="http://schemas.openxmlformats.org/officeDocument/2006/relationships/slideLayout" Target="../slideLayouts/slideLayout238.xml"/><Relationship Id="rId68" Type="http://schemas.openxmlformats.org/officeDocument/2006/relationships/slideLayout" Target="../slideLayouts/slideLayout243.xml"/><Relationship Id="rId76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182.xml"/><Relationship Id="rId71" Type="http://schemas.openxmlformats.org/officeDocument/2006/relationships/slideLayout" Target="../slideLayouts/slideLayout246.xml"/><Relationship Id="rId2" Type="http://schemas.openxmlformats.org/officeDocument/2006/relationships/slideLayout" Target="../slideLayouts/slideLayout177.xml"/><Relationship Id="rId16" Type="http://schemas.openxmlformats.org/officeDocument/2006/relationships/slideLayout" Target="../slideLayouts/slideLayout191.xml"/><Relationship Id="rId29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186.xml"/><Relationship Id="rId24" Type="http://schemas.openxmlformats.org/officeDocument/2006/relationships/slideLayout" Target="../slideLayouts/slideLayout199.xml"/><Relationship Id="rId32" Type="http://schemas.openxmlformats.org/officeDocument/2006/relationships/slideLayout" Target="../slideLayouts/slideLayout207.xml"/><Relationship Id="rId37" Type="http://schemas.openxmlformats.org/officeDocument/2006/relationships/slideLayout" Target="../slideLayouts/slideLayout212.xml"/><Relationship Id="rId40" Type="http://schemas.openxmlformats.org/officeDocument/2006/relationships/slideLayout" Target="../slideLayouts/slideLayout215.xml"/><Relationship Id="rId45" Type="http://schemas.openxmlformats.org/officeDocument/2006/relationships/slideLayout" Target="../slideLayouts/slideLayout220.xml"/><Relationship Id="rId53" Type="http://schemas.openxmlformats.org/officeDocument/2006/relationships/slideLayout" Target="../slideLayouts/slideLayout228.xml"/><Relationship Id="rId58" Type="http://schemas.openxmlformats.org/officeDocument/2006/relationships/slideLayout" Target="../slideLayouts/slideLayout233.xml"/><Relationship Id="rId66" Type="http://schemas.openxmlformats.org/officeDocument/2006/relationships/slideLayout" Target="../slideLayouts/slideLayout241.xml"/><Relationship Id="rId74" Type="http://schemas.openxmlformats.org/officeDocument/2006/relationships/slideLayout" Target="../slideLayouts/slideLayout249.xml"/><Relationship Id="rId79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180.xml"/><Relationship Id="rId61" Type="http://schemas.openxmlformats.org/officeDocument/2006/relationships/slideLayout" Target="../slideLayouts/slideLayout236.xml"/><Relationship Id="rId10" Type="http://schemas.openxmlformats.org/officeDocument/2006/relationships/slideLayout" Target="../slideLayouts/slideLayout185.xml"/><Relationship Id="rId19" Type="http://schemas.openxmlformats.org/officeDocument/2006/relationships/slideLayout" Target="../slideLayouts/slideLayout194.xml"/><Relationship Id="rId31" Type="http://schemas.openxmlformats.org/officeDocument/2006/relationships/slideLayout" Target="../slideLayouts/slideLayout206.xml"/><Relationship Id="rId44" Type="http://schemas.openxmlformats.org/officeDocument/2006/relationships/slideLayout" Target="../slideLayouts/slideLayout219.xml"/><Relationship Id="rId52" Type="http://schemas.openxmlformats.org/officeDocument/2006/relationships/slideLayout" Target="../slideLayouts/slideLayout227.xml"/><Relationship Id="rId60" Type="http://schemas.openxmlformats.org/officeDocument/2006/relationships/slideLayout" Target="../slideLayouts/slideLayout235.xml"/><Relationship Id="rId65" Type="http://schemas.openxmlformats.org/officeDocument/2006/relationships/slideLayout" Target="../slideLayouts/slideLayout240.xml"/><Relationship Id="rId73" Type="http://schemas.openxmlformats.org/officeDocument/2006/relationships/slideLayout" Target="../slideLayouts/slideLayout248.xml"/><Relationship Id="rId78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89.xml"/><Relationship Id="rId22" Type="http://schemas.openxmlformats.org/officeDocument/2006/relationships/slideLayout" Target="../slideLayouts/slideLayout197.xml"/><Relationship Id="rId27" Type="http://schemas.openxmlformats.org/officeDocument/2006/relationships/slideLayout" Target="../slideLayouts/slideLayout202.xml"/><Relationship Id="rId30" Type="http://schemas.openxmlformats.org/officeDocument/2006/relationships/slideLayout" Target="../slideLayouts/slideLayout205.xml"/><Relationship Id="rId35" Type="http://schemas.openxmlformats.org/officeDocument/2006/relationships/slideLayout" Target="../slideLayouts/slideLayout210.xml"/><Relationship Id="rId43" Type="http://schemas.openxmlformats.org/officeDocument/2006/relationships/slideLayout" Target="../slideLayouts/slideLayout218.xml"/><Relationship Id="rId48" Type="http://schemas.openxmlformats.org/officeDocument/2006/relationships/slideLayout" Target="../slideLayouts/slideLayout223.xml"/><Relationship Id="rId56" Type="http://schemas.openxmlformats.org/officeDocument/2006/relationships/slideLayout" Target="../slideLayouts/slideLayout231.xml"/><Relationship Id="rId64" Type="http://schemas.openxmlformats.org/officeDocument/2006/relationships/slideLayout" Target="../slideLayouts/slideLayout239.xml"/><Relationship Id="rId69" Type="http://schemas.openxmlformats.org/officeDocument/2006/relationships/slideLayout" Target="../slideLayouts/slideLayout244.xml"/><Relationship Id="rId77" Type="http://schemas.openxmlformats.org/officeDocument/2006/relationships/slideLayout" Target="../slideLayouts/slideLayout252.xml"/><Relationship Id="rId8" Type="http://schemas.openxmlformats.org/officeDocument/2006/relationships/slideLayout" Target="../slideLayouts/slideLayout183.xml"/><Relationship Id="rId51" Type="http://schemas.openxmlformats.org/officeDocument/2006/relationships/slideLayout" Target="../slideLayouts/slideLayout226.xml"/><Relationship Id="rId72" Type="http://schemas.openxmlformats.org/officeDocument/2006/relationships/slideLayout" Target="../slideLayouts/slideLayout247.xml"/><Relationship Id="rId80" Type="http://schemas.openxmlformats.org/officeDocument/2006/relationships/theme" Target="../theme/theme4.xml"/><Relationship Id="rId3" Type="http://schemas.openxmlformats.org/officeDocument/2006/relationships/slideLayout" Target="../slideLayouts/slideLayout178.xml"/><Relationship Id="rId12" Type="http://schemas.openxmlformats.org/officeDocument/2006/relationships/slideLayout" Target="../slideLayouts/slideLayout187.xml"/><Relationship Id="rId17" Type="http://schemas.openxmlformats.org/officeDocument/2006/relationships/slideLayout" Target="../slideLayouts/slideLayout192.xml"/><Relationship Id="rId25" Type="http://schemas.openxmlformats.org/officeDocument/2006/relationships/slideLayout" Target="../slideLayouts/slideLayout200.xml"/><Relationship Id="rId33" Type="http://schemas.openxmlformats.org/officeDocument/2006/relationships/slideLayout" Target="../slideLayouts/slideLayout208.xml"/><Relationship Id="rId38" Type="http://schemas.openxmlformats.org/officeDocument/2006/relationships/slideLayout" Target="../slideLayouts/slideLayout213.xml"/><Relationship Id="rId46" Type="http://schemas.openxmlformats.org/officeDocument/2006/relationships/slideLayout" Target="../slideLayouts/slideLayout221.xml"/><Relationship Id="rId59" Type="http://schemas.openxmlformats.org/officeDocument/2006/relationships/slideLayout" Target="../slideLayouts/slideLayout234.xml"/><Relationship Id="rId67" Type="http://schemas.openxmlformats.org/officeDocument/2006/relationships/slideLayout" Target="../slideLayouts/slideLayout242.xml"/><Relationship Id="rId20" Type="http://schemas.openxmlformats.org/officeDocument/2006/relationships/slideLayout" Target="../slideLayouts/slideLayout195.xml"/><Relationship Id="rId41" Type="http://schemas.openxmlformats.org/officeDocument/2006/relationships/slideLayout" Target="../slideLayouts/slideLayout216.xml"/><Relationship Id="rId54" Type="http://schemas.openxmlformats.org/officeDocument/2006/relationships/slideLayout" Target="../slideLayouts/slideLayout229.xml"/><Relationship Id="rId62" Type="http://schemas.openxmlformats.org/officeDocument/2006/relationships/slideLayout" Target="../slideLayouts/slideLayout237.xml"/><Relationship Id="rId70" Type="http://schemas.openxmlformats.org/officeDocument/2006/relationships/slideLayout" Target="../slideLayouts/slideLayout245.xml"/><Relationship Id="rId75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0.xml"/><Relationship Id="rId23" Type="http://schemas.openxmlformats.org/officeDocument/2006/relationships/slideLayout" Target="../slideLayouts/slideLayout198.xml"/><Relationship Id="rId28" Type="http://schemas.openxmlformats.org/officeDocument/2006/relationships/slideLayout" Target="../slideLayouts/slideLayout203.xml"/><Relationship Id="rId36" Type="http://schemas.openxmlformats.org/officeDocument/2006/relationships/slideLayout" Target="../slideLayouts/slideLayout211.xml"/><Relationship Id="rId49" Type="http://schemas.openxmlformats.org/officeDocument/2006/relationships/slideLayout" Target="../slideLayouts/slideLayout224.xml"/><Relationship Id="rId57" Type="http://schemas.openxmlformats.org/officeDocument/2006/relationships/slideLayout" Target="../slideLayouts/slideLayout232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7.xml"/><Relationship Id="rId18" Type="http://schemas.openxmlformats.org/officeDocument/2006/relationships/slideLayout" Target="../slideLayouts/slideLayout272.xml"/><Relationship Id="rId26" Type="http://schemas.openxmlformats.org/officeDocument/2006/relationships/slideLayout" Target="../slideLayouts/slideLayout280.xml"/><Relationship Id="rId39" Type="http://schemas.openxmlformats.org/officeDocument/2006/relationships/slideLayout" Target="../slideLayouts/slideLayout293.xml"/><Relationship Id="rId21" Type="http://schemas.openxmlformats.org/officeDocument/2006/relationships/slideLayout" Target="../slideLayouts/slideLayout275.xml"/><Relationship Id="rId34" Type="http://schemas.openxmlformats.org/officeDocument/2006/relationships/slideLayout" Target="../slideLayouts/slideLayout288.xml"/><Relationship Id="rId42" Type="http://schemas.openxmlformats.org/officeDocument/2006/relationships/slideLayout" Target="../slideLayouts/slideLayout296.xml"/><Relationship Id="rId47" Type="http://schemas.openxmlformats.org/officeDocument/2006/relationships/slideLayout" Target="../slideLayouts/slideLayout301.xml"/><Relationship Id="rId50" Type="http://schemas.openxmlformats.org/officeDocument/2006/relationships/slideLayout" Target="../slideLayouts/slideLayout304.xml"/><Relationship Id="rId55" Type="http://schemas.openxmlformats.org/officeDocument/2006/relationships/slideLayout" Target="../slideLayouts/slideLayout309.xml"/><Relationship Id="rId63" Type="http://schemas.openxmlformats.org/officeDocument/2006/relationships/slideLayout" Target="../slideLayouts/slideLayout317.xml"/><Relationship Id="rId68" Type="http://schemas.openxmlformats.org/officeDocument/2006/relationships/slideLayout" Target="../slideLayouts/slideLayout322.xml"/><Relationship Id="rId76" Type="http://schemas.openxmlformats.org/officeDocument/2006/relationships/slideLayout" Target="../slideLayouts/slideLayout330.xml"/><Relationship Id="rId7" Type="http://schemas.openxmlformats.org/officeDocument/2006/relationships/slideLayout" Target="../slideLayouts/slideLayout261.xml"/><Relationship Id="rId71" Type="http://schemas.openxmlformats.org/officeDocument/2006/relationships/slideLayout" Target="../slideLayouts/slideLayout325.xml"/><Relationship Id="rId2" Type="http://schemas.openxmlformats.org/officeDocument/2006/relationships/slideLayout" Target="../slideLayouts/slideLayout256.xml"/><Relationship Id="rId16" Type="http://schemas.openxmlformats.org/officeDocument/2006/relationships/slideLayout" Target="../slideLayouts/slideLayout270.xml"/><Relationship Id="rId29" Type="http://schemas.openxmlformats.org/officeDocument/2006/relationships/slideLayout" Target="../slideLayouts/slideLayout283.xml"/><Relationship Id="rId11" Type="http://schemas.openxmlformats.org/officeDocument/2006/relationships/slideLayout" Target="../slideLayouts/slideLayout265.xml"/><Relationship Id="rId24" Type="http://schemas.openxmlformats.org/officeDocument/2006/relationships/slideLayout" Target="../slideLayouts/slideLayout278.xml"/><Relationship Id="rId32" Type="http://schemas.openxmlformats.org/officeDocument/2006/relationships/slideLayout" Target="../slideLayouts/slideLayout286.xml"/><Relationship Id="rId37" Type="http://schemas.openxmlformats.org/officeDocument/2006/relationships/slideLayout" Target="../slideLayouts/slideLayout291.xml"/><Relationship Id="rId40" Type="http://schemas.openxmlformats.org/officeDocument/2006/relationships/slideLayout" Target="../slideLayouts/slideLayout294.xml"/><Relationship Id="rId45" Type="http://schemas.openxmlformats.org/officeDocument/2006/relationships/slideLayout" Target="../slideLayouts/slideLayout299.xml"/><Relationship Id="rId53" Type="http://schemas.openxmlformats.org/officeDocument/2006/relationships/slideLayout" Target="../slideLayouts/slideLayout307.xml"/><Relationship Id="rId58" Type="http://schemas.openxmlformats.org/officeDocument/2006/relationships/slideLayout" Target="../slideLayouts/slideLayout312.xml"/><Relationship Id="rId66" Type="http://schemas.openxmlformats.org/officeDocument/2006/relationships/slideLayout" Target="../slideLayouts/slideLayout320.xml"/><Relationship Id="rId74" Type="http://schemas.openxmlformats.org/officeDocument/2006/relationships/slideLayout" Target="../slideLayouts/slideLayout328.xml"/><Relationship Id="rId79" Type="http://schemas.openxmlformats.org/officeDocument/2006/relationships/slideLayout" Target="../slideLayouts/slideLayout333.xml"/><Relationship Id="rId5" Type="http://schemas.openxmlformats.org/officeDocument/2006/relationships/slideLayout" Target="../slideLayouts/slideLayout259.xml"/><Relationship Id="rId61" Type="http://schemas.openxmlformats.org/officeDocument/2006/relationships/slideLayout" Target="../slideLayouts/slideLayout315.xml"/><Relationship Id="rId10" Type="http://schemas.openxmlformats.org/officeDocument/2006/relationships/slideLayout" Target="../slideLayouts/slideLayout264.xml"/><Relationship Id="rId19" Type="http://schemas.openxmlformats.org/officeDocument/2006/relationships/slideLayout" Target="../slideLayouts/slideLayout273.xml"/><Relationship Id="rId31" Type="http://schemas.openxmlformats.org/officeDocument/2006/relationships/slideLayout" Target="../slideLayouts/slideLayout285.xml"/><Relationship Id="rId44" Type="http://schemas.openxmlformats.org/officeDocument/2006/relationships/slideLayout" Target="../slideLayouts/slideLayout298.xml"/><Relationship Id="rId52" Type="http://schemas.openxmlformats.org/officeDocument/2006/relationships/slideLayout" Target="../slideLayouts/slideLayout306.xml"/><Relationship Id="rId60" Type="http://schemas.openxmlformats.org/officeDocument/2006/relationships/slideLayout" Target="../slideLayouts/slideLayout314.xml"/><Relationship Id="rId65" Type="http://schemas.openxmlformats.org/officeDocument/2006/relationships/slideLayout" Target="../slideLayouts/slideLayout319.xml"/><Relationship Id="rId73" Type="http://schemas.openxmlformats.org/officeDocument/2006/relationships/slideLayout" Target="../slideLayouts/slideLayout327.xml"/><Relationship Id="rId78" Type="http://schemas.openxmlformats.org/officeDocument/2006/relationships/slideLayout" Target="../slideLayouts/slideLayout332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slideLayout" Target="../slideLayouts/slideLayout268.xml"/><Relationship Id="rId22" Type="http://schemas.openxmlformats.org/officeDocument/2006/relationships/slideLayout" Target="../slideLayouts/slideLayout276.xml"/><Relationship Id="rId27" Type="http://schemas.openxmlformats.org/officeDocument/2006/relationships/slideLayout" Target="../slideLayouts/slideLayout281.xml"/><Relationship Id="rId30" Type="http://schemas.openxmlformats.org/officeDocument/2006/relationships/slideLayout" Target="../slideLayouts/slideLayout284.xml"/><Relationship Id="rId35" Type="http://schemas.openxmlformats.org/officeDocument/2006/relationships/slideLayout" Target="../slideLayouts/slideLayout289.xml"/><Relationship Id="rId43" Type="http://schemas.openxmlformats.org/officeDocument/2006/relationships/slideLayout" Target="../slideLayouts/slideLayout297.xml"/><Relationship Id="rId48" Type="http://schemas.openxmlformats.org/officeDocument/2006/relationships/slideLayout" Target="../slideLayouts/slideLayout302.xml"/><Relationship Id="rId56" Type="http://schemas.openxmlformats.org/officeDocument/2006/relationships/slideLayout" Target="../slideLayouts/slideLayout310.xml"/><Relationship Id="rId64" Type="http://schemas.openxmlformats.org/officeDocument/2006/relationships/slideLayout" Target="../slideLayouts/slideLayout318.xml"/><Relationship Id="rId69" Type="http://schemas.openxmlformats.org/officeDocument/2006/relationships/slideLayout" Target="../slideLayouts/slideLayout323.xml"/><Relationship Id="rId77" Type="http://schemas.openxmlformats.org/officeDocument/2006/relationships/slideLayout" Target="../slideLayouts/slideLayout331.xml"/><Relationship Id="rId8" Type="http://schemas.openxmlformats.org/officeDocument/2006/relationships/slideLayout" Target="../slideLayouts/slideLayout262.xml"/><Relationship Id="rId51" Type="http://schemas.openxmlformats.org/officeDocument/2006/relationships/slideLayout" Target="../slideLayouts/slideLayout305.xml"/><Relationship Id="rId72" Type="http://schemas.openxmlformats.org/officeDocument/2006/relationships/slideLayout" Target="../slideLayouts/slideLayout326.xml"/><Relationship Id="rId80" Type="http://schemas.openxmlformats.org/officeDocument/2006/relationships/theme" Target="../theme/theme5.xml"/><Relationship Id="rId3" Type="http://schemas.openxmlformats.org/officeDocument/2006/relationships/slideLayout" Target="../slideLayouts/slideLayout257.xml"/><Relationship Id="rId12" Type="http://schemas.openxmlformats.org/officeDocument/2006/relationships/slideLayout" Target="../slideLayouts/slideLayout266.xml"/><Relationship Id="rId17" Type="http://schemas.openxmlformats.org/officeDocument/2006/relationships/slideLayout" Target="../slideLayouts/slideLayout271.xml"/><Relationship Id="rId25" Type="http://schemas.openxmlformats.org/officeDocument/2006/relationships/slideLayout" Target="../slideLayouts/slideLayout279.xml"/><Relationship Id="rId33" Type="http://schemas.openxmlformats.org/officeDocument/2006/relationships/slideLayout" Target="../slideLayouts/slideLayout287.xml"/><Relationship Id="rId38" Type="http://schemas.openxmlformats.org/officeDocument/2006/relationships/slideLayout" Target="../slideLayouts/slideLayout292.xml"/><Relationship Id="rId46" Type="http://schemas.openxmlformats.org/officeDocument/2006/relationships/slideLayout" Target="../slideLayouts/slideLayout300.xml"/><Relationship Id="rId59" Type="http://schemas.openxmlformats.org/officeDocument/2006/relationships/slideLayout" Target="../slideLayouts/slideLayout313.xml"/><Relationship Id="rId67" Type="http://schemas.openxmlformats.org/officeDocument/2006/relationships/slideLayout" Target="../slideLayouts/slideLayout321.xml"/><Relationship Id="rId20" Type="http://schemas.openxmlformats.org/officeDocument/2006/relationships/slideLayout" Target="../slideLayouts/slideLayout274.xml"/><Relationship Id="rId41" Type="http://schemas.openxmlformats.org/officeDocument/2006/relationships/slideLayout" Target="../slideLayouts/slideLayout295.xml"/><Relationship Id="rId54" Type="http://schemas.openxmlformats.org/officeDocument/2006/relationships/slideLayout" Target="../slideLayouts/slideLayout308.xml"/><Relationship Id="rId62" Type="http://schemas.openxmlformats.org/officeDocument/2006/relationships/slideLayout" Target="../slideLayouts/slideLayout316.xml"/><Relationship Id="rId70" Type="http://schemas.openxmlformats.org/officeDocument/2006/relationships/slideLayout" Target="../slideLayouts/slideLayout324.xml"/><Relationship Id="rId75" Type="http://schemas.openxmlformats.org/officeDocument/2006/relationships/slideLayout" Target="../slideLayouts/slideLayout329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5" Type="http://schemas.openxmlformats.org/officeDocument/2006/relationships/slideLayout" Target="../slideLayouts/slideLayout269.xml"/><Relationship Id="rId23" Type="http://schemas.openxmlformats.org/officeDocument/2006/relationships/slideLayout" Target="../slideLayouts/slideLayout277.xml"/><Relationship Id="rId28" Type="http://schemas.openxmlformats.org/officeDocument/2006/relationships/slideLayout" Target="../slideLayouts/slideLayout282.xml"/><Relationship Id="rId36" Type="http://schemas.openxmlformats.org/officeDocument/2006/relationships/slideLayout" Target="../slideLayouts/slideLayout290.xml"/><Relationship Id="rId49" Type="http://schemas.openxmlformats.org/officeDocument/2006/relationships/slideLayout" Target="../slideLayouts/slideLayout303.xml"/><Relationship Id="rId57" Type="http://schemas.openxmlformats.org/officeDocument/2006/relationships/slideLayout" Target="../slideLayouts/slideLayout311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6.xml"/><Relationship Id="rId18" Type="http://schemas.openxmlformats.org/officeDocument/2006/relationships/slideLayout" Target="../slideLayouts/slideLayout351.xml"/><Relationship Id="rId26" Type="http://schemas.openxmlformats.org/officeDocument/2006/relationships/slideLayout" Target="../slideLayouts/slideLayout359.xml"/><Relationship Id="rId39" Type="http://schemas.openxmlformats.org/officeDocument/2006/relationships/slideLayout" Target="../slideLayouts/slideLayout372.xml"/><Relationship Id="rId21" Type="http://schemas.openxmlformats.org/officeDocument/2006/relationships/slideLayout" Target="../slideLayouts/slideLayout354.xml"/><Relationship Id="rId34" Type="http://schemas.openxmlformats.org/officeDocument/2006/relationships/slideLayout" Target="../slideLayouts/slideLayout367.xml"/><Relationship Id="rId42" Type="http://schemas.openxmlformats.org/officeDocument/2006/relationships/slideLayout" Target="../slideLayouts/slideLayout375.xml"/><Relationship Id="rId47" Type="http://schemas.openxmlformats.org/officeDocument/2006/relationships/slideLayout" Target="../slideLayouts/slideLayout380.xml"/><Relationship Id="rId50" Type="http://schemas.openxmlformats.org/officeDocument/2006/relationships/slideLayout" Target="../slideLayouts/slideLayout383.xml"/><Relationship Id="rId55" Type="http://schemas.openxmlformats.org/officeDocument/2006/relationships/slideLayout" Target="../slideLayouts/slideLayout388.xml"/><Relationship Id="rId63" Type="http://schemas.openxmlformats.org/officeDocument/2006/relationships/slideLayout" Target="../slideLayouts/slideLayout396.xml"/><Relationship Id="rId68" Type="http://schemas.openxmlformats.org/officeDocument/2006/relationships/slideLayout" Target="../slideLayouts/slideLayout401.xml"/><Relationship Id="rId76" Type="http://schemas.openxmlformats.org/officeDocument/2006/relationships/slideLayout" Target="../slideLayouts/slideLayout409.xml"/><Relationship Id="rId7" Type="http://schemas.openxmlformats.org/officeDocument/2006/relationships/slideLayout" Target="../slideLayouts/slideLayout340.xml"/><Relationship Id="rId71" Type="http://schemas.openxmlformats.org/officeDocument/2006/relationships/slideLayout" Target="../slideLayouts/slideLayout404.xml"/><Relationship Id="rId2" Type="http://schemas.openxmlformats.org/officeDocument/2006/relationships/slideLayout" Target="../slideLayouts/slideLayout335.xml"/><Relationship Id="rId16" Type="http://schemas.openxmlformats.org/officeDocument/2006/relationships/slideLayout" Target="../slideLayouts/slideLayout349.xml"/><Relationship Id="rId29" Type="http://schemas.openxmlformats.org/officeDocument/2006/relationships/slideLayout" Target="../slideLayouts/slideLayout362.xml"/><Relationship Id="rId11" Type="http://schemas.openxmlformats.org/officeDocument/2006/relationships/slideLayout" Target="../slideLayouts/slideLayout344.xml"/><Relationship Id="rId24" Type="http://schemas.openxmlformats.org/officeDocument/2006/relationships/slideLayout" Target="../slideLayouts/slideLayout357.xml"/><Relationship Id="rId32" Type="http://schemas.openxmlformats.org/officeDocument/2006/relationships/slideLayout" Target="../slideLayouts/slideLayout365.xml"/><Relationship Id="rId37" Type="http://schemas.openxmlformats.org/officeDocument/2006/relationships/slideLayout" Target="../slideLayouts/slideLayout370.xml"/><Relationship Id="rId40" Type="http://schemas.openxmlformats.org/officeDocument/2006/relationships/slideLayout" Target="../slideLayouts/slideLayout373.xml"/><Relationship Id="rId45" Type="http://schemas.openxmlformats.org/officeDocument/2006/relationships/slideLayout" Target="../slideLayouts/slideLayout378.xml"/><Relationship Id="rId53" Type="http://schemas.openxmlformats.org/officeDocument/2006/relationships/slideLayout" Target="../slideLayouts/slideLayout386.xml"/><Relationship Id="rId58" Type="http://schemas.openxmlformats.org/officeDocument/2006/relationships/slideLayout" Target="../slideLayouts/slideLayout391.xml"/><Relationship Id="rId66" Type="http://schemas.openxmlformats.org/officeDocument/2006/relationships/slideLayout" Target="../slideLayouts/slideLayout399.xml"/><Relationship Id="rId74" Type="http://schemas.openxmlformats.org/officeDocument/2006/relationships/slideLayout" Target="../slideLayouts/slideLayout407.xml"/><Relationship Id="rId79" Type="http://schemas.openxmlformats.org/officeDocument/2006/relationships/slideLayout" Target="../slideLayouts/slideLayout412.xml"/><Relationship Id="rId5" Type="http://schemas.openxmlformats.org/officeDocument/2006/relationships/slideLayout" Target="../slideLayouts/slideLayout338.xml"/><Relationship Id="rId61" Type="http://schemas.openxmlformats.org/officeDocument/2006/relationships/slideLayout" Target="../slideLayouts/slideLayout394.xml"/><Relationship Id="rId82" Type="http://schemas.openxmlformats.org/officeDocument/2006/relationships/oleObject" Target="../embeddings/oleObject4.bin"/><Relationship Id="rId10" Type="http://schemas.openxmlformats.org/officeDocument/2006/relationships/slideLayout" Target="../slideLayouts/slideLayout343.xml"/><Relationship Id="rId19" Type="http://schemas.openxmlformats.org/officeDocument/2006/relationships/slideLayout" Target="../slideLayouts/slideLayout352.xml"/><Relationship Id="rId31" Type="http://schemas.openxmlformats.org/officeDocument/2006/relationships/slideLayout" Target="../slideLayouts/slideLayout364.xml"/><Relationship Id="rId44" Type="http://schemas.openxmlformats.org/officeDocument/2006/relationships/slideLayout" Target="../slideLayouts/slideLayout377.xml"/><Relationship Id="rId52" Type="http://schemas.openxmlformats.org/officeDocument/2006/relationships/slideLayout" Target="../slideLayouts/slideLayout385.xml"/><Relationship Id="rId60" Type="http://schemas.openxmlformats.org/officeDocument/2006/relationships/slideLayout" Target="../slideLayouts/slideLayout393.xml"/><Relationship Id="rId65" Type="http://schemas.openxmlformats.org/officeDocument/2006/relationships/slideLayout" Target="../slideLayouts/slideLayout398.xml"/><Relationship Id="rId73" Type="http://schemas.openxmlformats.org/officeDocument/2006/relationships/slideLayout" Target="../slideLayouts/slideLayout406.xml"/><Relationship Id="rId78" Type="http://schemas.openxmlformats.org/officeDocument/2006/relationships/slideLayout" Target="../slideLayouts/slideLayout411.xml"/><Relationship Id="rId81" Type="http://schemas.openxmlformats.org/officeDocument/2006/relationships/tags" Target="../tags/tag5.xml"/><Relationship Id="rId4" Type="http://schemas.openxmlformats.org/officeDocument/2006/relationships/slideLayout" Target="../slideLayouts/slideLayout337.xml"/><Relationship Id="rId9" Type="http://schemas.openxmlformats.org/officeDocument/2006/relationships/slideLayout" Target="../slideLayouts/slideLayout342.xml"/><Relationship Id="rId14" Type="http://schemas.openxmlformats.org/officeDocument/2006/relationships/slideLayout" Target="../slideLayouts/slideLayout347.xml"/><Relationship Id="rId22" Type="http://schemas.openxmlformats.org/officeDocument/2006/relationships/slideLayout" Target="../slideLayouts/slideLayout355.xml"/><Relationship Id="rId27" Type="http://schemas.openxmlformats.org/officeDocument/2006/relationships/slideLayout" Target="../slideLayouts/slideLayout360.xml"/><Relationship Id="rId30" Type="http://schemas.openxmlformats.org/officeDocument/2006/relationships/slideLayout" Target="../slideLayouts/slideLayout363.xml"/><Relationship Id="rId35" Type="http://schemas.openxmlformats.org/officeDocument/2006/relationships/slideLayout" Target="../slideLayouts/slideLayout368.xml"/><Relationship Id="rId43" Type="http://schemas.openxmlformats.org/officeDocument/2006/relationships/slideLayout" Target="../slideLayouts/slideLayout376.xml"/><Relationship Id="rId48" Type="http://schemas.openxmlformats.org/officeDocument/2006/relationships/slideLayout" Target="../slideLayouts/slideLayout381.xml"/><Relationship Id="rId56" Type="http://schemas.openxmlformats.org/officeDocument/2006/relationships/slideLayout" Target="../slideLayouts/slideLayout389.xml"/><Relationship Id="rId64" Type="http://schemas.openxmlformats.org/officeDocument/2006/relationships/slideLayout" Target="../slideLayouts/slideLayout397.xml"/><Relationship Id="rId69" Type="http://schemas.openxmlformats.org/officeDocument/2006/relationships/slideLayout" Target="../slideLayouts/slideLayout402.xml"/><Relationship Id="rId77" Type="http://schemas.openxmlformats.org/officeDocument/2006/relationships/slideLayout" Target="../slideLayouts/slideLayout410.xml"/><Relationship Id="rId8" Type="http://schemas.openxmlformats.org/officeDocument/2006/relationships/slideLayout" Target="../slideLayouts/slideLayout341.xml"/><Relationship Id="rId51" Type="http://schemas.openxmlformats.org/officeDocument/2006/relationships/slideLayout" Target="../slideLayouts/slideLayout384.xml"/><Relationship Id="rId72" Type="http://schemas.openxmlformats.org/officeDocument/2006/relationships/slideLayout" Target="../slideLayouts/slideLayout405.xml"/><Relationship Id="rId80" Type="http://schemas.openxmlformats.org/officeDocument/2006/relationships/theme" Target="../theme/theme6.xml"/><Relationship Id="rId3" Type="http://schemas.openxmlformats.org/officeDocument/2006/relationships/slideLayout" Target="../slideLayouts/slideLayout336.xml"/><Relationship Id="rId12" Type="http://schemas.openxmlformats.org/officeDocument/2006/relationships/slideLayout" Target="../slideLayouts/slideLayout345.xml"/><Relationship Id="rId17" Type="http://schemas.openxmlformats.org/officeDocument/2006/relationships/slideLayout" Target="../slideLayouts/slideLayout350.xml"/><Relationship Id="rId25" Type="http://schemas.openxmlformats.org/officeDocument/2006/relationships/slideLayout" Target="../slideLayouts/slideLayout358.xml"/><Relationship Id="rId33" Type="http://schemas.openxmlformats.org/officeDocument/2006/relationships/slideLayout" Target="../slideLayouts/slideLayout366.xml"/><Relationship Id="rId38" Type="http://schemas.openxmlformats.org/officeDocument/2006/relationships/slideLayout" Target="../slideLayouts/slideLayout371.xml"/><Relationship Id="rId46" Type="http://schemas.openxmlformats.org/officeDocument/2006/relationships/slideLayout" Target="../slideLayouts/slideLayout379.xml"/><Relationship Id="rId59" Type="http://schemas.openxmlformats.org/officeDocument/2006/relationships/slideLayout" Target="../slideLayouts/slideLayout392.xml"/><Relationship Id="rId67" Type="http://schemas.openxmlformats.org/officeDocument/2006/relationships/slideLayout" Target="../slideLayouts/slideLayout400.xml"/><Relationship Id="rId20" Type="http://schemas.openxmlformats.org/officeDocument/2006/relationships/slideLayout" Target="../slideLayouts/slideLayout353.xml"/><Relationship Id="rId41" Type="http://schemas.openxmlformats.org/officeDocument/2006/relationships/slideLayout" Target="../slideLayouts/slideLayout374.xml"/><Relationship Id="rId54" Type="http://schemas.openxmlformats.org/officeDocument/2006/relationships/slideLayout" Target="../slideLayouts/slideLayout387.xml"/><Relationship Id="rId62" Type="http://schemas.openxmlformats.org/officeDocument/2006/relationships/slideLayout" Target="../slideLayouts/slideLayout395.xml"/><Relationship Id="rId70" Type="http://schemas.openxmlformats.org/officeDocument/2006/relationships/slideLayout" Target="../slideLayouts/slideLayout403.xml"/><Relationship Id="rId75" Type="http://schemas.openxmlformats.org/officeDocument/2006/relationships/slideLayout" Target="../slideLayouts/slideLayout408.xml"/><Relationship Id="rId83" Type="http://schemas.openxmlformats.org/officeDocument/2006/relationships/image" Target="../media/image1.emf"/><Relationship Id="rId1" Type="http://schemas.openxmlformats.org/officeDocument/2006/relationships/slideLayout" Target="../slideLayouts/slideLayout334.xml"/><Relationship Id="rId6" Type="http://schemas.openxmlformats.org/officeDocument/2006/relationships/slideLayout" Target="../slideLayouts/slideLayout339.xml"/><Relationship Id="rId15" Type="http://schemas.openxmlformats.org/officeDocument/2006/relationships/slideLayout" Target="../slideLayouts/slideLayout348.xml"/><Relationship Id="rId23" Type="http://schemas.openxmlformats.org/officeDocument/2006/relationships/slideLayout" Target="../slideLayouts/slideLayout356.xml"/><Relationship Id="rId28" Type="http://schemas.openxmlformats.org/officeDocument/2006/relationships/slideLayout" Target="../slideLayouts/slideLayout361.xml"/><Relationship Id="rId36" Type="http://schemas.openxmlformats.org/officeDocument/2006/relationships/slideLayout" Target="../slideLayouts/slideLayout369.xml"/><Relationship Id="rId49" Type="http://schemas.openxmlformats.org/officeDocument/2006/relationships/slideLayout" Target="../slideLayouts/slideLayout382.xml"/><Relationship Id="rId57" Type="http://schemas.openxmlformats.org/officeDocument/2006/relationships/slideLayout" Target="../slideLayouts/slideLayout390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5.xml"/><Relationship Id="rId18" Type="http://schemas.openxmlformats.org/officeDocument/2006/relationships/slideLayout" Target="../slideLayouts/slideLayout430.xml"/><Relationship Id="rId26" Type="http://schemas.openxmlformats.org/officeDocument/2006/relationships/slideLayout" Target="../slideLayouts/slideLayout438.xml"/><Relationship Id="rId39" Type="http://schemas.openxmlformats.org/officeDocument/2006/relationships/slideLayout" Target="../slideLayouts/slideLayout451.xml"/><Relationship Id="rId3" Type="http://schemas.openxmlformats.org/officeDocument/2006/relationships/slideLayout" Target="../slideLayouts/slideLayout415.xml"/><Relationship Id="rId21" Type="http://schemas.openxmlformats.org/officeDocument/2006/relationships/slideLayout" Target="../slideLayouts/slideLayout433.xml"/><Relationship Id="rId34" Type="http://schemas.openxmlformats.org/officeDocument/2006/relationships/slideLayout" Target="../slideLayouts/slideLayout446.xml"/><Relationship Id="rId42" Type="http://schemas.openxmlformats.org/officeDocument/2006/relationships/slideLayout" Target="../slideLayouts/slideLayout454.xml"/><Relationship Id="rId47" Type="http://schemas.openxmlformats.org/officeDocument/2006/relationships/slideLayout" Target="../slideLayouts/slideLayout459.xml"/><Relationship Id="rId50" Type="http://schemas.openxmlformats.org/officeDocument/2006/relationships/theme" Target="../theme/theme7.xml"/><Relationship Id="rId7" Type="http://schemas.openxmlformats.org/officeDocument/2006/relationships/slideLayout" Target="../slideLayouts/slideLayout419.xml"/><Relationship Id="rId12" Type="http://schemas.openxmlformats.org/officeDocument/2006/relationships/slideLayout" Target="../slideLayouts/slideLayout424.xml"/><Relationship Id="rId17" Type="http://schemas.openxmlformats.org/officeDocument/2006/relationships/slideLayout" Target="../slideLayouts/slideLayout429.xml"/><Relationship Id="rId25" Type="http://schemas.openxmlformats.org/officeDocument/2006/relationships/slideLayout" Target="../slideLayouts/slideLayout437.xml"/><Relationship Id="rId33" Type="http://schemas.openxmlformats.org/officeDocument/2006/relationships/slideLayout" Target="../slideLayouts/slideLayout445.xml"/><Relationship Id="rId38" Type="http://schemas.openxmlformats.org/officeDocument/2006/relationships/slideLayout" Target="../slideLayouts/slideLayout450.xml"/><Relationship Id="rId46" Type="http://schemas.openxmlformats.org/officeDocument/2006/relationships/slideLayout" Target="../slideLayouts/slideLayout458.xml"/><Relationship Id="rId2" Type="http://schemas.openxmlformats.org/officeDocument/2006/relationships/slideLayout" Target="../slideLayouts/slideLayout414.xml"/><Relationship Id="rId16" Type="http://schemas.openxmlformats.org/officeDocument/2006/relationships/slideLayout" Target="../slideLayouts/slideLayout428.xml"/><Relationship Id="rId20" Type="http://schemas.openxmlformats.org/officeDocument/2006/relationships/slideLayout" Target="../slideLayouts/slideLayout432.xml"/><Relationship Id="rId29" Type="http://schemas.openxmlformats.org/officeDocument/2006/relationships/slideLayout" Target="../slideLayouts/slideLayout441.xml"/><Relationship Id="rId41" Type="http://schemas.openxmlformats.org/officeDocument/2006/relationships/slideLayout" Target="../slideLayouts/slideLayout453.xml"/><Relationship Id="rId1" Type="http://schemas.openxmlformats.org/officeDocument/2006/relationships/slideLayout" Target="../slideLayouts/slideLayout413.xml"/><Relationship Id="rId6" Type="http://schemas.openxmlformats.org/officeDocument/2006/relationships/slideLayout" Target="../slideLayouts/slideLayout418.xml"/><Relationship Id="rId11" Type="http://schemas.openxmlformats.org/officeDocument/2006/relationships/slideLayout" Target="../slideLayouts/slideLayout423.xml"/><Relationship Id="rId24" Type="http://schemas.openxmlformats.org/officeDocument/2006/relationships/slideLayout" Target="../slideLayouts/slideLayout436.xml"/><Relationship Id="rId32" Type="http://schemas.openxmlformats.org/officeDocument/2006/relationships/slideLayout" Target="../slideLayouts/slideLayout444.xml"/><Relationship Id="rId37" Type="http://schemas.openxmlformats.org/officeDocument/2006/relationships/slideLayout" Target="../slideLayouts/slideLayout449.xml"/><Relationship Id="rId40" Type="http://schemas.openxmlformats.org/officeDocument/2006/relationships/slideLayout" Target="../slideLayouts/slideLayout452.xml"/><Relationship Id="rId45" Type="http://schemas.openxmlformats.org/officeDocument/2006/relationships/slideLayout" Target="../slideLayouts/slideLayout457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417.xml"/><Relationship Id="rId15" Type="http://schemas.openxmlformats.org/officeDocument/2006/relationships/slideLayout" Target="../slideLayouts/slideLayout427.xml"/><Relationship Id="rId23" Type="http://schemas.openxmlformats.org/officeDocument/2006/relationships/slideLayout" Target="../slideLayouts/slideLayout435.xml"/><Relationship Id="rId28" Type="http://schemas.openxmlformats.org/officeDocument/2006/relationships/slideLayout" Target="../slideLayouts/slideLayout440.xml"/><Relationship Id="rId36" Type="http://schemas.openxmlformats.org/officeDocument/2006/relationships/slideLayout" Target="../slideLayouts/slideLayout448.xml"/><Relationship Id="rId49" Type="http://schemas.openxmlformats.org/officeDocument/2006/relationships/slideLayout" Target="../slideLayouts/slideLayout461.xml"/><Relationship Id="rId10" Type="http://schemas.openxmlformats.org/officeDocument/2006/relationships/slideLayout" Target="../slideLayouts/slideLayout422.xml"/><Relationship Id="rId19" Type="http://schemas.openxmlformats.org/officeDocument/2006/relationships/slideLayout" Target="../slideLayouts/slideLayout431.xml"/><Relationship Id="rId31" Type="http://schemas.openxmlformats.org/officeDocument/2006/relationships/slideLayout" Target="../slideLayouts/slideLayout443.xml"/><Relationship Id="rId44" Type="http://schemas.openxmlformats.org/officeDocument/2006/relationships/slideLayout" Target="../slideLayouts/slideLayout456.xml"/><Relationship Id="rId52" Type="http://schemas.openxmlformats.org/officeDocument/2006/relationships/oleObject" Target="../embeddings/oleObject5.bin"/><Relationship Id="rId4" Type="http://schemas.openxmlformats.org/officeDocument/2006/relationships/slideLayout" Target="../slideLayouts/slideLayout416.xml"/><Relationship Id="rId9" Type="http://schemas.openxmlformats.org/officeDocument/2006/relationships/slideLayout" Target="../slideLayouts/slideLayout421.xml"/><Relationship Id="rId14" Type="http://schemas.openxmlformats.org/officeDocument/2006/relationships/slideLayout" Target="../slideLayouts/slideLayout426.xml"/><Relationship Id="rId22" Type="http://schemas.openxmlformats.org/officeDocument/2006/relationships/slideLayout" Target="../slideLayouts/slideLayout434.xml"/><Relationship Id="rId27" Type="http://schemas.openxmlformats.org/officeDocument/2006/relationships/slideLayout" Target="../slideLayouts/slideLayout439.xml"/><Relationship Id="rId30" Type="http://schemas.openxmlformats.org/officeDocument/2006/relationships/slideLayout" Target="../slideLayouts/slideLayout442.xml"/><Relationship Id="rId35" Type="http://schemas.openxmlformats.org/officeDocument/2006/relationships/slideLayout" Target="../slideLayouts/slideLayout447.xml"/><Relationship Id="rId43" Type="http://schemas.openxmlformats.org/officeDocument/2006/relationships/slideLayout" Target="../slideLayouts/slideLayout455.xml"/><Relationship Id="rId48" Type="http://schemas.openxmlformats.org/officeDocument/2006/relationships/slideLayout" Target="../slideLayouts/slideLayout460.xml"/><Relationship Id="rId8" Type="http://schemas.openxmlformats.org/officeDocument/2006/relationships/slideLayout" Target="../slideLayouts/slideLayout420.xml"/><Relationship Id="rId51" Type="http://schemas.openxmlformats.org/officeDocument/2006/relationships/tags" Target="../tags/tag6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4.xml"/><Relationship Id="rId18" Type="http://schemas.openxmlformats.org/officeDocument/2006/relationships/slideLayout" Target="../slideLayouts/slideLayout479.xml"/><Relationship Id="rId26" Type="http://schemas.openxmlformats.org/officeDocument/2006/relationships/slideLayout" Target="../slideLayouts/slideLayout487.xml"/><Relationship Id="rId39" Type="http://schemas.openxmlformats.org/officeDocument/2006/relationships/slideLayout" Target="../slideLayouts/slideLayout500.xml"/><Relationship Id="rId21" Type="http://schemas.openxmlformats.org/officeDocument/2006/relationships/slideLayout" Target="../slideLayouts/slideLayout482.xml"/><Relationship Id="rId34" Type="http://schemas.openxmlformats.org/officeDocument/2006/relationships/slideLayout" Target="../slideLayouts/slideLayout495.xml"/><Relationship Id="rId42" Type="http://schemas.openxmlformats.org/officeDocument/2006/relationships/slideLayout" Target="../slideLayouts/slideLayout503.xml"/><Relationship Id="rId47" Type="http://schemas.openxmlformats.org/officeDocument/2006/relationships/slideLayout" Target="../slideLayouts/slideLayout508.xml"/><Relationship Id="rId50" Type="http://schemas.openxmlformats.org/officeDocument/2006/relationships/slideLayout" Target="../slideLayouts/slideLayout511.xml"/><Relationship Id="rId55" Type="http://schemas.openxmlformats.org/officeDocument/2006/relationships/slideLayout" Target="../slideLayouts/slideLayout516.xml"/><Relationship Id="rId63" Type="http://schemas.openxmlformats.org/officeDocument/2006/relationships/slideLayout" Target="../slideLayouts/slideLayout524.xml"/><Relationship Id="rId68" Type="http://schemas.openxmlformats.org/officeDocument/2006/relationships/slideLayout" Target="../slideLayouts/slideLayout529.xml"/><Relationship Id="rId76" Type="http://schemas.openxmlformats.org/officeDocument/2006/relationships/slideLayout" Target="../slideLayouts/slideLayout537.xml"/><Relationship Id="rId7" Type="http://schemas.openxmlformats.org/officeDocument/2006/relationships/slideLayout" Target="../slideLayouts/slideLayout468.xml"/><Relationship Id="rId71" Type="http://schemas.openxmlformats.org/officeDocument/2006/relationships/slideLayout" Target="../slideLayouts/slideLayout532.xml"/><Relationship Id="rId2" Type="http://schemas.openxmlformats.org/officeDocument/2006/relationships/slideLayout" Target="../slideLayouts/slideLayout463.xml"/><Relationship Id="rId16" Type="http://schemas.openxmlformats.org/officeDocument/2006/relationships/slideLayout" Target="../slideLayouts/slideLayout477.xml"/><Relationship Id="rId29" Type="http://schemas.openxmlformats.org/officeDocument/2006/relationships/slideLayout" Target="../slideLayouts/slideLayout490.xml"/><Relationship Id="rId11" Type="http://schemas.openxmlformats.org/officeDocument/2006/relationships/slideLayout" Target="../slideLayouts/slideLayout472.xml"/><Relationship Id="rId24" Type="http://schemas.openxmlformats.org/officeDocument/2006/relationships/slideLayout" Target="../slideLayouts/slideLayout485.xml"/><Relationship Id="rId32" Type="http://schemas.openxmlformats.org/officeDocument/2006/relationships/slideLayout" Target="../slideLayouts/slideLayout493.xml"/><Relationship Id="rId37" Type="http://schemas.openxmlformats.org/officeDocument/2006/relationships/slideLayout" Target="../slideLayouts/slideLayout498.xml"/><Relationship Id="rId40" Type="http://schemas.openxmlformats.org/officeDocument/2006/relationships/slideLayout" Target="../slideLayouts/slideLayout501.xml"/><Relationship Id="rId45" Type="http://schemas.openxmlformats.org/officeDocument/2006/relationships/slideLayout" Target="../slideLayouts/slideLayout506.xml"/><Relationship Id="rId53" Type="http://schemas.openxmlformats.org/officeDocument/2006/relationships/slideLayout" Target="../slideLayouts/slideLayout514.xml"/><Relationship Id="rId58" Type="http://schemas.openxmlformats.org/officeDocument/2006/relationships/slideLayout" Target="../slideLayouts/slideLayout519.xml"/><Relationship Id="rId66" Type="http://schemas.openxmlformats.org/officeDocument/2006/relationships/slideLayout" Target="../slideLayouts/slideLayout527.xml"/><Relationship Id="rId74" Type="http://schemas.openxmlformats.org/officeDocument/2006/relationships/slideLayout" Target="../slideLayouts/slideLayout535.xml"/><Relationship Id="rId79" Type="http://schemas.openxmlformats.org/officeDocument/2006/relationships/slideLayout" Target="../slideLayouts/slideLayout540.xml"/><Relationship Id="rId5" Type="http://schemas.openxmlformats.org/officeDocument/2006/relationships/slideLayout" Target="../slideLayouts/slideLayout466.xml"/><Relationship Id="rId61" Type="http://schemas.openxmlformats.org/officeDocument/2006/relationships/slideLayout" Target="../slideLayouts/slideLayout522.xml"/><Relationship Id="rId82" Type="http://schemas.openxmlformats.org/officeDocument/2006/relationships/oleObject" Target="../embeddings/oleObject4.bin"/><Relationship Id="rId10" Type="http://schemas.openxmlformats.org/officeDocument/2006/relationships/slideLayout" Target="../slideLayouts/slideLayout471.xml"/><Relationship Id="rId19" Type="http://schemas.openxmlformats.org/officeDocument/2006/relationships/slideLayout" Target="../slideLayouts/slideLayout480.xml"/><Relationship Id="rId31" Type="http://schemas.openxmlformats.org/officeDocument/2006/relationships/slideLayout" Target="../slideLayouts/slideLayout492.xml"/><Relationship Id="rId44" Type="http://schemas.openxmlformats.org/officeDocument/2006/relationships/slideLayout" Target="../slideLayouts/slideLayout505.xml"/><Relationship Id="rId52" Type="http://schemas.openxmlformats.org/officeDocument/2006/relationships/slideLayout" Target="../slideLayouts/slideLayout513.xml"/><Relationship Id="rId60" Type="http://schemas.openxmlformats.org/officeDocument/2006/relationships/slideLayout" Target="../slideLayouts/slideLayout521.xml"/><Relationship Id="rId65" Type="http://schemas.openxmlformats.org/officeDocument/2006/relationships/slideLayout" Target="../slideLayouts/slideLayout526.xml"/><Relationship Id="rId73" Type="http://schemas.openxmlformats.org/officeDocument/2006/relationships/slideLayout" Target="../slideLayouts/slideLayout534.xml"/><Relationship Id="rId78" Type="http://schemas.openxmlformats.org/officeDocument/2006/relationships/slideLayout" Target="../slideLayouts/slideLayout539.xml"/><Relationship Id="rId81" Type="http://schemas.openxmlformats.org/officeDocument/2006/relationships/tags" Target="../tags/tag7.xml"/><Relationship Id="rId4" Type="http://schemas.openxmlformats.org/officeDocument/2006/relationships/slideLayout" Target="../slideLayouts/slideLayout465.xml"/><Relationship Id="rId9" Type="http://schemas.openxmlformats.org/officeDocument/2006/relationships/slideLayout" Target="../slideLayouts/slideLayout470.xml"/><Relationship Id="rId14" Type="http://schemas.openxmlformats.org/officeDocument/2006/relationships/slideLayout" Target="../slideLayouts/slideLayout475.xml"/><Relationship Id="rId22" Type="http://schemas.openxmlformats.org/officeDocument/2006/relationships/slideLayout" Target="../slideLayouts/slideLayout483.xml"/><Relationship Id="rId27" Type="http://schemas.openxmlformats.org/officeDocument/2006/relationships/slideLayout" Target="../slideLayouts/slideLayout488.xml"/><Relationship Id="rId30" Type="http://schemas.openxmlformats.org/officeDocument/2006/relationships/slideLayout" Target="../slideLayouts/slideLayout491.xml"/><Relationship Id="rId35" Type="http://schemas.openxmlformats.org/officeDocument/2006/relationships/slideLayout" Target="../slideLayouts/slideLayout496.xml"/><Relationship Id="rId43" Type="http://schemas.openxmlformats.org/officeDocument/2006/relationships/slideLayout" Target="../slideLayouts/slideLayout504.xml"/><Relationship Id="rId48" Type="http://schemas.openxmlformats.org/officeDocument/2006/relationships/slideLayout" Target="../slideLayouts/slideLayout509.xml"/><Relationship Id="rId56" Type="http://schemas.openxmlformats.org/officeDocument/2006/relationships/slideLayout" Target="../slideLayouts/slideLayout517.xml"/><Relationship Id="rId64" Type="http://schemas.openxmlformats.org/officeDocument/2006/relationships/slideLayout" Target="../slideLayouts/slideLayout525.xml"/><Relationship Id="rId69" Type="http://schemas.openxmlformats.org/officeDocument/2006/relationships/slideLayout" Target="../slideLayouts/slideLayout530.xml"/><Relationship Id="rId77" Type="http://schemas.openxmlformats.org/officeDocument/2006/relationships/slideLayout" Target="../slideLayouts/slideLayout538.xml"/><Relationship Id="rId8" Type="http://schemas.openxmlformats.org/officeDocument/2006/relationships/slideLayout" Target="../slideLayouts/slideLayout469.xml"/><Relationship Id="rId51" Type="http://schemas.openxmlformats.org/officeDocument/2006/relationships/slideLayout" Target="../slideLayouts/slideLayout512.xml"/><Relationship Id="rId72" Type="http://schemas.openxmlformats.org/officeDocument/2006/relationships/slideLayout" Target="../slideLayouts/slideLayout533.xml"/><Relationship Id="rId80" Type="http://schemas.openxmlformats.org/officeDocument/2006/relationships/theme" Target="../theme/theme8.xml"/><Relationship Id="rId3" Type="http://schemas.openxmlformats.org/officeDocument/2006/relationships/slideLayout" Target="../slideLayouts/slideLayout464.xml"/><Relationship Id="rId12" Type="http://schemas.openxmlformats.org/officeDocument/2006/relationships/slideLayout" Target="../slideLayouts/slideLayout473.xml"/><Relationship Id="rId17" Type="http://schemas.openxmlformats.org/officeDocument/2006/relationships/slideLayout" Target="../slideLayouts/slideLayout478.xml"/><Relationship Id="rId25" Type="http://schemas.openxmlformats.org/officeDocument/2006/relationships/slideLayout" Target="../slideLayouts/slideLayout486.xml"/><Relationship Id="rId33" Type="http://schemas.openxmlformats.org/officeDocument/2006/relationships/slideLayout" Target="../slideLayouts/slideLayout494.xml"/><Relationship Id="rId38" Type="http://schemas.openxmlformats.org/officeDocument/2006/relationships/slideLayout" Target="../slideLayouts/slideLayout499.xml"/><Relationship Id="rId46" Type="http://schemas.openxmlformats.org/officeDocument/2006/relationships/slideLayout" Target="../slideLayouts/slideLayout507.xml"/><Relationship Id="rId59" Type="http://schemas.openxmlformats.org/officeDocument/2006/relationships/slideLayout" Target="../slideLayouts/slideLayout520.xml"/><Relationship Id="rId67" Type="http://schemas.openxmlformats.org/officeDocument/2006/relationships/slideLayout" Target="../slideLayouts/slideLayout528.xml"/><Relationship Id="rId20" Type="http://schemas.openxmlformats.org/officeDocument/2006/relationships/slideLayout" Target="../slideLayouts/slideLayout481.xml"/><Relationship Id="rId41" Type="http://schemas.openxmlformats.org/officeDocument/2006/relationships/slideLayout" Target="../slideLayouts/slideLayout502.xml"/><Relationship Id="rId54" Type="http://schemas.openxmlformats.org/officeDocument/2006/relationships/slideLayout" Target="../slideLayouts/slideLayout515.xml"/><Relationship Id="rId62" Type="http://schemas.openxmlformats.org/officeDocument/2006/relationships/slideLayout" Target="../slideLayouts/slideLayout523.xml"/><Relationship Id="rId70" Type="http://schemas.openxmlformats.org/officeDocument/2006/relationships/slideLayout" Target="../slideLayouts/slideLayout531.xml"/><Relationship Id="rId75" Type="http://schemas.openxmlformats.org/officeDocument/2006/relationships/slideLayout" Target="../slideLayouts/slideLayout536.xml"/><Relationship Id="rId83" Type="http://schemas.openxmlformats.org/officeDocument/2006/relationships/image" Target="../media/image1.emf"/><Relationship Id="rId1" Type="http://schemas.openxmlformats.org/officeDocument/2006/relationships/slideLayout" Target="../slideLayouts/slideLayout462.xml"/><Relationship Id="rId6" Type="http://schemas.openxmlformats.org/officeDocument/2006/relationships/slideLayout" Target="../slideLayouts/slideLayout467.xml"/><Relationship Id="rId15" Type="http://schemas.openxmlformats.org/officeDocument/2006/relationships/slideLayout" Target="../slideLayouts/slideLayout476.xml"/><Relationship Id="rId23" Type="http://schemas.openxmlformats.org/officeDocument/2006/relationships/slideLayout" Target="../slideLayouts/slideLayout484.xml"/><Relationship Id="rId28" Type="http://schemas.openxmlformats.org/officeDocument/2006/relationships/slideLayout" Target="../slideLayouts/slideLayout489.xml"/><Relationship Id="rId36" Type="http://schemas.openxmlformats.org/officeDocument/2006/relationships/slideLayout" Target="../slideLayouts/slideLayout497.xml"/><Relationship Id="rId49" Type="http://schemas.openxmlformats.org/officeDocument/2006/relationships/slideLayout" Target="../slideLayouts/slideLayout510.xml"/><Relationship Id="rId57" Type="http://schemas.openxmlformats.org/officeDocument/2006/relationships/slideLayout" Target="../slideLayouts/slideLayout518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3.xml"/><Relationship Id="rId18" Type="http://schemas.openxmlformats.org/officeDocument/2006/relationships/slideLayout" Target="../slideLayouts/slideLayout558.xml"/><Relationship Id="rId26" Type="http://schemas.openxmlformats.org/officeDocument/2006/relationships/slideLayout" Target="../slideLayouts/slideLayout566.xml"/><Relationship Id="rId39" Type="http://schemas.openxmlformats.org/officeDocument/2006/relationships/slideLayout" Target="../slideLayouts/slideLayout579.xml"/><Relationship Id="rId21" Type="http://schemas.openxmlformats.org/officeDocument/2006/relationships/slideLayout" Target="../slideLayouts/slideLayout561.xml"/><Relationship Id="rId34" Type="http://schemas.openxmlformats.org/officeDocument/2006/relationships/slideLayout" Target="../slideLayouts/slideLayout574.xml"/><Relationship Id="rId42" Type="http://schemas.openxmlformats.org/officeDocument/2006/relationships/slideLayout" Target="../slideLayouts/slideLayout582.xml"/><Relationship Id="rId47" Type="http://schemas.openxmlformats.org/officeDocument/2006/relationships/slideLayout" Target="../slideLayouts/slideLayout587.xml"/><Relationship Id="rId50" Type="http://schemas.openxmlformats.org/officeDocument/2006/relationships/slideLayout" Target="../slideLayouts/slideLayout590.xml"/><Relationship Id="rId55" Type="http://schemas.openxmlformats.org/officeDocument/2006/relationships/slideLayout" Target="../slideLayouts/slideLayout595.xml"/><Relationship Id="rId63" Type="http://schemas.openxmlformats.org/officeDocument/2006/relationships/slideLayout" Target="../slideLayouts/slideLayout603.xml"/><Relationship Id="rId68" Type="http://schemas.openxmlformats.org/officeDocument/2006/relationships/slideLayout" Target="../slideLayouts/slideLayout608.xml"/><Relationship Id="rId76" Type="http://schemas.openxmlformats.org/officeDocument/2006/relationships/slideLayout" Target="../slideLayouts/slideLayout616.xml"/><Relationship Id="rId7" Type="http://schemas.openxmlformats.org/officeDocument/2006/relationships/slideLayout" Target="../slideLayouts/slideLayout547.xml"/><Relationship Id="rId71" Type="http://schemas.openxmlformats.org/officeDocument/2006/relationships/slideLayout" Target="../slideLayouts/slideLayout611.xml"/><Relationship Id="rId2" Type="http://schemas.openxmlformats.org/officeDocument/2006/relationships/slideLayout" Target="../slideLayouts/slideLayout542.xml"/><Relationship Id="rId16" Type="http://schemas.openxmlformats.org/officeDocument/2006/relationships/slideLayout" Target="../slideLayouts/slideLayout556.xml"/><Relationship Id="rId29" Type="http://schemas.openxmlformats.org/officeDocument/2006/relationships/slideLayout" Target="../slideLayouts/slideLayout569.xml"/><Relationship Id="rId11" Type="http://schemas.openxmlformats.org/officeDocument/2006/relationships/slideLayout" Target="../slideLayouts/slideLayout551.xml"/><Relationship Id="rId24" Type="http://schemas.openxmlformats.org/officeDocument/2006/relationships/slideLayout" Target="../slideLayouts/slideLayout564.xml"/><Relationship Id="rId32" Type="http://schemas.openxmlformats.org/officeDocument/2006/relationships/slideLayout" Target="../slideLayouts/slideLayout572.xml"/><Relationship Id="rId37" Type="http://schemas.openxmlformats.org/officeDocument/2006/relationships/slideLayout" Target="../slideLayouts/slideLayout577.xml"/><Relationship Id="rId40" Type="http://schemas.openxmlformats.org/officeDocument/2006/relationships/slideLayout" Target="../slideLayouts/slideLayout580.xml"/><Relationship Id="rId45" Type="http://schemas.openxmlformats.org/officeDocument/2006/relationships/slideLayout" Target="../slideLayouts/slideLayout585.xml"/><Relationship Id="rId53" Type="http://schemas.openxmlformats.org/officeDocument/2006/relationships/slideLayout" Target="../slideLayouts/slideLayout593.xml"/><Relationship Id="rId58" Type="http://schemas.openxmlformats.org/officeDocument/2006/relationships/slideLayout" Target="../slideLayouts/slideLayout598.xml"/><Relationship Id="rId66" Type="http://schemas.openxmlformats.org/officeDocument/2006/relationships/slideLayout" Target="../slideLayouts/slideLayout606.xml"/><Relationship Id="rId74" Type="http://schemas.openxmlformats.org/officeDocument/2006/relationships/slideLayout" Target="../slideLayouts/slideLayout614.xml"/><Relationship Id="rId79" Type="http://schemas.openxmlformats.org/officeDocument/2006/relationships/slideLayout" Target="../slideLayouts/slideLayout619.xml"/><Relationship Id="rId5" Type="http://schemas.openxmlformats.org/officeDocument/2006/relationships/slideLayout" Target="../slideLayouts/slideLayout545.xml"/><Relationship Id="rId61" Type="http://schemas.openxmlformats.org/officeDocument/2006/relationships/slideLayout" Target="../slideLayouts/slideLayout601.xml"/><Relationship Id="rId82" Type="http://schemas.openxmlformats.org/officeDocument/2006/relationships/oleObject" Target="../embeddings/oleObject4.bin"/><Relationship Id="rId10" Type="http://schemas.openxmlformats.org/officeDocument/2006/relationships/slideLayout" Target="../slideLayouts/slideLayout550.xml"/><Relationship Id="rId19" Type="http://schemas.openxmlformats.org/officeDocument/2006/relationships/slideLayout" Target="../slideLayouts/slideLayout559.xml"/><Relationship Id="rId31" Type="http://schemas.openxmlformats.org/officeDocument/2006/relationships/slideLayout" Target="../slideLayouts/slideLayout571.xml"/><Relationship Id="rId44" Type="http://schemas.openxmlformats.org/officeDocument/2006/relationships/slideLayout" Target="../slideLayouts/slideLayout584.xml"/><Relationship Id="rId52" Type="http://schemas.openxmlformats.org/officeDocument/2006/relationships/slideLayout" Target="../slideLayouts/slideLayout592.xml"/><Relationship Id="rId60" Type="http://schemas.openxmlformats.org/officeDocument/2006/relationships/slideLayout" Target="../slideLayouts/slideLayout600.xml"/><Relationship Id="rId65" Type="http://schemas.openxmlformats.org/officeDocument/2006/relationships/slideLayout" Target="../slideLayouts/slideLayout605.xml"/><Relationship Id="rId73" Type="http://schemas.openxmlformats.org/officeDocument/2006/relationships/slideLayout" Target="../slideLayouts/slideLayout613.xml"/><Relationship Id="rId78" Type="http://schemas.openxmlformats.org/officeDocument/2006/relationships/slideLayout" Target="../slideLayouts/slideLayout618.xml"/><Relationship Id="rId81" Type="http://schemas.openxmlformats.org/officeDocument/2006/relationships/tags" Target="../tags/tag8.xml"/><Relationship Id="rId4" Type="http://schemas.openxmlformats.org/officeDocument/2006/relationships/slideLayout" Target="../slideLayouts/slideLayout544.xml"/><Relationship Id="rId9" Type="http://schemas.openxmlformats.org/officeDocument/2006/relationships/slideLayout" Target="../slideLayouts/slideLayout549.xml"/><Relationship Id="rId14" Type="http://schemas.openxmlformats.org/officeDocument/2006/relationships/slideLayout" Target="../slideLayouts/slideLayout554.xml"/><Relationship Id="rId22" Type="http://schemas.openxmlformats.org/officeDocument/2006/relationships/slideLayout" Target="../slideLayouts/slideLayout562.xml"/><Relationship Id="rId27" Type="http://schemas.openxmlformats.org/officeDocument/2006/relationships/slideLayout" Target="../slideLayouts/slideLayout567.xml"/><Relationship Id="rId30" Type="http://schemas.openxmlformats.org/officeDocument/2006/relationships/slideLayout" Target="../slideLayouts/slideLayout570.xml"/><Relationship Id="rId35" Type="http://schemas.openxmlformats.org/officeDocument/2006/relationships/slideLayout" Target="../slideLayouts/slideLayout575.xml"/><Relationship Id="rId43" Type="http://schemas.openxmlformats.org/officeDocument/2006/relationships/slideLayout" Target="../slideLayouts/slideLayout583.xml"/><Relationship Id="rId48" Type="http://schemas.openxmlformats.org/officeDocument/2006/relationships/slideLayout" Target="../slideLayouts/slideLayout588.xml"/><Relationship Id="rId56" Type="http://schemas.openxmlformats.org/officeDocument/2006/relationships/slideLayout" Target="../slideLayouts/slideLayout596.xml"/><Relationship Id="rId64" Type="http://schemas.openxmlformats.org/officeDocument/2006/relationships/slideLayout" Target="../slideLayouts/slideLayout604.xml"/><Relationship Id="rId69" Type="http://schemas.openxmlformats.org/officeDocument/2006/relationships/slideLayout" Target="../slideLayouts/slideLayout609.xml"/><Relationship Id="rId77" Type="http://schemas.openxmlformats.org/officeDocument/2006/relationships/slideLayout" Target="../slideLayouts/slideLayout617.xml"/><Relationship Id="rId8" Type="http://schemas.openxmlformats.org/officeDocument/2006/relationships/slideLayout" Target="../slideLayouts/slideLayout548.xml"/><Relationship Id="rId51" Type="http://schemas.openxmlformats.org/officeDocument/2006/relationships/slideLayout" Target="../slideLayouts/slideLayout591.xml"/><Relationship Id="rId72" Type="http://schemas.openxmlformats.org/officeDocument/2006/relationships/slideLayout" Target="../slideLayouts/slideLayout612.xml"/><Relationship Id="rId80" Type="http://schemas.openxmlformats.org/officeDocument/2006/relationships/theme" Target="../theme/theme9.xml"/><Relationship Id="rId3" Type="http://schemas.openxmlformats.org/officeDocument/2006/relationships/slideLayout" Target="../slideLayouts/slideLayout543.xml"/><Relationship Id="rId12" Type="http://schemas.openxmlformats.org/officeDocument/2006/relationships/slideLayout" Target="../slideLayouts/slideLayout552.xml"/><Relationship Id="rId17" Type="http://schemas.openxmlformats.org/officeDocument/2006/relationships/slideLayout" Target="../slideLayouts/slideLayout557.xml"/><Relationship Id="rId25" Type="http://schemas.openxmlformats.org/officeDocument/2006/relationships/slideLayout" Target="../slideLayouts/slideLayout565.xml"/><Relationship Id="rId33" Type="http://schemas.openxmlformats.org/officeDocument/2006/relationships/slideLayout" Target="../slideLayouts/slideLayout573.xml"/><Relationship Id="rId38" Type="http://schemas.openxmlformats.org/officeDocument/2006/relationships/slideLayout" Target="../slideLayouts/slideLayout578.xml"/><Relationship Id="rId46" Type="http://schemas.openxmlformats.org/officeDocument/2006/relationships/slideLayout" Target="../slideLayouts/slideLayout586.xml"/><Relationship Id="rId59" Type="http://schemas.openxmlformats.org/officeDocument/2006/relationships/slideLayout" Target="../slideLayouts/slideLayout599.xml"/><Relationship Id="rId67" Type="http://schemas.openxmlformats.org/officeDocument/2006/relationships/slideLayout" Target="../slideLayouts/slideLayout607.xml"/><Relationship Id="rId20" Type="http://schemas.openxmlformats.org/officeDocument/2006/relationships/slideLayout" Target="../slideLayouts/slideLayout560.xml"/><Relationship Id="rId41" Type="http://schemas.openxmlformats.org/officeDocument/2006/relationships/slideLayout" Target="../slideLayouts/slideLayout581.xml"/><Relationship Id="rId54" Type="http://schemas.openxmlformats.org/officeDocument/2006/relationships/slideLayout" Target="../slideLayouts/slideLayout594.xml"/><Relationship Id="rId62" Type="http://schemas.openxmlformats.org/officeDocument/2006/relationships/slideLayout" Target="../slideLayouts/slideLayout602.xml"/><Relationship Id="rId70" Type="http://schemas.openxmlformats.org/officeDocument/2006/relationships/slideLayout" Target="../slideLayouts/slideLayout610.xml"/><Relationship Id="rId75" Type="http://schemas.openxmlformats.org/officeDocument/2006/relationships/slideLayout" Target="../slideLayouts/slideLayout615.xml"/><Relationship Id="rId83" Type="http://schemas.openxmlformats.org/officeDocument/2006/relationships/image" Target="../media/image1.emf"/><Relationship Id="rId1" Type="http://schemas.openxmlformats.org/officeDocument/2006/relationships/slideLayout" Target="../slideLayouts/slideLayout541.xml"/><Relationship Id="rId6" Type="http://schemas.openxmlformats.org/officeDocument/2006/relationships/slideLayout" Target="../slideLayouts/slideLayout546.xml"/><Relationship Id="rId15" Type="http://schemas.openxmlformats.org/officeDocument/2006/relationships/slideLayout" Target="../slideLayouts/slideLayout555.xml"/><Relationship Id="rId23" Type="http://schemas.openxmlformats.org/officeDocument/2006/relationships/slideLayout" Target="../slideLayouts/slideLayout563.xml"/><Relationship Id="rId28" Type="http://schemas.openxmlformats.org/officeDocument/2006/relationships/slideLayout" Target="../slideLayouts/slideLayout568.xml"/><Relationship Id="rId36" Type="http://schemas.openxmlformats.org/officeDocument/2006/relationships/slideLayout" Target="../slideLayouts/slideLayout576.xml"/><Relationship Id="rId49" Type="http://schemas.openxmlformats.org/officeDocument/2006/relationships/slideLayout" Target="../slideLayouts/slideLayout589.xml"/><Relationship Id="rId57" Type="http://schemas.openxmlformats.org/officeDocument/2006/relationships/slideLayout" Target="../slideLayouts/slideLayout5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AC8A4E4-F386-4E56-9A81-0440C9BEE5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395049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347" imgH="348" progId="TCLayout.ActiveDocument.1">
                  <p:embed/>
                </p:oleObj>
              </mc:Choice>
              <mc:Fallback>
                <p:oleObj name="think-cell Slide" r:id="rId82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659C8C-19C9-A04C-B2FD-815CB27B0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6E099-1625-F748-AFC5-C48769D2C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9BA8D-4E6F-D147-98A4-458DA96386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75066-B37B-2D4A-8FBB-CFED1965CC7B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B39E5-FA50-694D-AFED-A93F7FA45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DB761-4A2B-5D4B-BC07-C1811907F4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40B3BC-5F62-0242-9CEC-523CFB67603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E5E640-76B3-BC4F-98F7-FC24EF0080CC}"/>
              </a:ext>
            </a:extLst>
          </p:cNvPr>
          <p:cNvSpPr txBox="1">
            <a:spLocks/>
          </p:cNvSpPr>
          <p:nvPr userDrawn="1"/>
        </p:nvSpPr>
        <p:spPr>
          <a:xfrm>
            <a:off x="623888" y="629893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282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AC8A4E4-F386-4E56-9A81-0440C9BEE5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174086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347" imgH="348" progId="TCLayout.ActiveDocument.1">
                  <p:embed/>
                </p:oleObj>
              </mc:Choice>
              <mc:Fallback>
                <p:oleObj name="think-cell Slide" r:id="rId82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AC8A4E4-F386-4E56-9A81-0440C9BEE5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659C8C-19C9-A04C-B2FD-815CB27B0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6E099-1625-F748-AFC5-C48769D2C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9BA8D-4E6F-D147-98A4-458DA96386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75066-B37B-2D4A-8FBB-CFED1965CC7B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B39E5-FA50-694D-AFED-A93F7FA45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DB761-4A2B-5D4B-BC07-C1811907F4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40B3BC-5F62-0242-9CEC-523CFB67603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E5E640-76B3-BC4F-98F7-FC24EF0080CC}"/>
              </a:ext>
            </a:extLst>
          </p:cNvPr>
          <p:cNvSpPr txBox="1">
            <a:spLocks/>
          </p:cNvSpPr>
          <p:nvPr userDrawn="1"/>
        </p:nvSpPr>
        <p:spPr>
          <a:xfrm>
            <a:off x="623888" y="629893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718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0" r:id="rId1"/>
    <p:sldLayoutId id="2147484291" r:id="rId2"/>
    <p:sldLayoutId id="2147484292" r:id="rId3"/>
    <p:sldLayoutId id="2147484293" r:id="rId4"/>
    <p:sldLayoutId id="2147484294" r:id="rId5"/>
    <p:sldLayoutId id="2147484295" r:id="rId6"/>
    <p:sldLayoutId id="2147484296" r:id="rId7"/>
    <p:sldLayoutId id="2147484297" r:id="rId8"/>
    <p:sldLayoutId id="2147484298" r:id="rId9"/>
    <p:sldLayoutId id="2147484299" r:id="rId10"/>
    <p:sldLayoutId id="2147484300" r:id="rId11"/>
    <p:sldLayoutId id="2147484301" r:id="rId12"/>
    <p:sldLayoutId id="2147484302" r:id="rId13"/>
    <p:sldLayoutId id="2147484303" r:id="rId14"/>
    <p:sldLayoutId id="2147484304" r:id="rId15"/>
    <p:sldLayoutId id="2147484305" r:id="rId16"/>
    <p:sldLayoutId id="2147484306" r:id="rId17"/>
    <p:sldLayoutId id="2147484307" r:id="rId18"/>
    <p:sldLayoutId id="2147484308" r:id="rId19"/>
    <p:sldLayoutId id="2147484309" r:id="rId20"/>
    <p:sldLayoutId id="2147484310" r:id="rId21"/>
    <p:sldLayoutId id="2147484311" r:id="rId22"/>
    <p:sldLayoutId id="2147484312" r:id="rId23"/>
    <p:sldLayoutId id="2147484313" r:id="rId24"/>
    <p:sldLayoutId id="2147484314" r:id="rId25"/>
    <p:sldLayoutId id="2147484315" r:id="rId26"/>
    <p:sldLayoutId id="2147484316" r:id="rId27"/>
    <p:sldLayoutId id="2147484317" r:id="rId28"/>
    <p:sldLayoutId id="2147484318" r:id="rId29"/>
    <p:sldLayoutId id="2147484319" r:id="rId30"/>
    <p:sldLayoutId id="2147484320" r:id="rId31"/>
    <p:sldLayoutId id="2147484321" r:id="rId32"/>
    <p:sldLayoutId id="2147484322" r:id="rId33"/>
    <p:sldLayoutId id="2147484323" r:id="rId34"/>
    <p:sldLayoutId id="2147484324" r:id="rId35"/>
    <p:sldLayoutId id="2147484325" r:id="rId36"/>
    <p:sldLayoutId id="2147484326" r:id="rId37"/>
    <p:sldLayoutId id="2147484327" r:id="rId38"/>
    <p:sldLayoutId id="2147484328" r:id="rId39"/>
    <p:sldLayoutId id="2147484329" r:id="rId40"/>
    <p:sldLayoutId id="2147484330" r:id="rId41"/>
    <p:sldLayoutId id="2147484331" r:id="rId42"/>
    <p:sldLayoutId id="2147484332" r:id="rId43"/>
    <p:sldLayoutId id="2147484333" r:id="rId44"/>
    <p:sldLayoutId id="2147484334" r:id="rId45"/>
    <p:sldLayoutId id="2147484335" r:id="rId46"/>
    <p:sldLayoutId id="2147484336" r:id="rId47"/>
    <p:sldLayoutId id="2147484337" r:id="rId48"/>
    <p:sldLayoutId id="2147484338" r:id="rId49"/>
    <p:sldLayoutId id="2147484339" r:id="rId50"/>
    <p:sldLayoutId id="2147484340" r:id="rId51"/>
    <p:sldLayoutId id="2147484341" r:id="rId52"/>
    <p:sldLayoutId id="2147484342" r:id="rId53"/>
    <p:sldLayoutId id="2147484343" r:id="rId54"/>
    <p:sldLayoutId id="2147484344" r:id="rId55"/>
    <p:sldLayoutId id="2147484345" r:id="rId56"/>
    <p:sldLayoutId id="2147484346" r:id="rId57"/>
    <p:sldLayoutId id="2147484347" r:id="rId58"/>
    <p:sldLayoutId id="2147484348" r:id="rId59"/>
    <p:sldLayoutId id="2147484349" r:id="rId60"/>
    <p:sldLayoutId id="2147484350" r:id="rId61"/>
    <p:sldLayoutId id="2147484351" r:id="rId62"/>
    <p:sldLayoutId id="2147484352" r:id="rId63"/>
    <p:sldLayoutId id="2147484353" r:id="rId64"/>
    <p:sldLayoutId id="2147484354" r:id="rId65"/>
    <p:sldLayoutId id="2147484355" r:id="rId66"/>
    <p:sldLayoutId id="2147484356" r:id="rId67"/>
    <p:sldLayoutId id="2147484357" r:id="rId68"/>
    <p:sldLayoutId id="2147484358" r:id="rId69"/>
    <p:sldLayoutId id="2147484359" r:id="rId70"/>
    <p:sldLayoutId id="2147484360" r:id="rId71"/>
    <p:sldLayoutId id="2147484361" r:id="rId72"/>
    <p:sldLayoutId id="2147484362" r:id="rId73"/>
    <p:sldLayoutId id="2147484363" r:id="rId74"/>
    <p:sldLayoutId id="2147484364" r:id="rId75"/>
    <p:sldLayoutId id="2147484365" r:id="rId76"/>
    <p:sldLayoutId id="2147484366" r:id="rId77"/>
    <p:sldLayoutId id="2147484367" r:id="rId78"/>
    <p:sldLayoutId id="2147484368" r:id="rId7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AC8A4E4-F386-4E56-9A81-0440C9BEE5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950430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347" imgH="348" progId="TCLayout.ActiveDocument.1">
                  <p:embed/>
                </p:oleObj>
              </mc:Choice>
              <mc:Fallback>
                <p:oleObj name="think-cell Slide" r:id="rId82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AC8A4E4-F386-4E56-9A81-0440C9BEE5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659C8C-19C9-A04C-B2FD-815CB27B0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6E099-1625-F748-AFC5-C48769D2C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9BA8D-4E6F-D147-98A4-458DA96386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75066-B37B-2D4A-8FBB-CFED1965CC7B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B39E5-FA50-694D-AFED-A93F7FA45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DB761-4A2B-5D4B-BC07-C1811907F4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40B3BC-5F62-0242-9CEC-523CFB67603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E5E640-76B3-BC4F-98F7-FC24EF0080CC}"/>
              </a:ext>
            </a:extLst>
          </p:cNvPr>
          <p:cNvSpPr txBox="1">
            <a:spLocks/>
          </p:cNvSpPr>
          <p:nvPr userDrawn="1"/>
        </p:nvSpPr>
        <p:spPr>
          <a:xfrm>
            <a:off x="623888" y="629893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576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0" r:id="rId1"/>
    <p:sldLayoutId id="2147484371" r:id="rId2"/>
    <p:sldLayoutId id="2147484372" r:id="rId3"/>
    <p:sldLayoutId id="2147484373" r:id="rId4"/>
    <p:sldLayoutId id="2147484374" r:id="rId5"/>
    <p:sldLayoutId id="2147484375" r:id="rId6"/>
    <p:sldLayoutId id="2147484376" r:id="rId7"/>
    <p:sldLayoutId id="2147484377" r:id="rId8"/>
    <p:sldLayoutId id="2147484378" r:id="rId9"/>
    <p:sldLayoutId id="2147484379" r:id="rId10"/>
    <p:sldLayoutId id="2147484380" r:id="rId11"/>
    <p:sldLayoutId id="2147484381" r:id="rId12"/>
    <p:sldLayoutId id="2147484382" r:id="rId13"/>
    <p:sldLayoutId id="2147484383" r:id="rId14"/>
    <p:sldLayoutId id="2147484384" r:id="rId15"/>
    <p:sldLayoutId id="2147484385" r:id="rId16"/>
    <p:sldLayoutId id="2147484386" r:id="rId17"/>
    <p:sldLayoutId id="2147484387" r:id="rId18"/>
    <p:sldLayoutId id="2147484388" r:id="rId19"/>
    <p:sldLayoutId id="2147484389" r:id="rId20"/>
    <p:sldLayoutId id="2147484390" r:id="rId21"/>
    <p:sldLayoutId id="2147484391" r:id="rId22"/>
    <p:sldLayoutId id="2147484392" r:id="rId23"/>
    <p:sldLayoutId id="2147484393" r:id="rId24"/>
    <p:sldLayoutId id="2147484394" r:id="rId25"/>
    <p:sldLayoutId id="2147484395" r:id="rId26"/>
    <p:sldLayoutId id="2147484396" r:id="rId27"/>
    <p:sldLayoutId id="2147484397" r:id="rId28"/>
    <p:sldLayoutId id="2147484398" r:id="rId29"/>
    <p:sldLayoutId id="2147484399" r:id="rId30"/>
    <p:sldLayoutId id="2147484400" r:id="rId31"/>
    <p:sldLayoutId id="2147484401" r:id="rId32"/>
    <p:sldLayoutId id="2147484402" r:id="rId33"/>
    <p:sldLayoutId id="2147484403" r:id="rId34"/>
    <p:sldLayoutId id="2147484404" r:id="rId35"/>
    <p:sldLayoutId id="2147484405" r:id="rId36"/>
    <p:sldLayoutId id="2147484406" r:id="rId37"/>
    <p:sldLayoutId id="2147484407" r:id="rId38"/>
    <p:sldLayoutId id="2147484408" r:id="rId39"/>
    <p:sldLayoutId id="2147484409" r:id="rId40"/>
    <p:sldLayoutId id="2147484410" r:id="rId41"/>
    <p:sldLayoutId id="2147484411" r:id="rId42"/>
    <p:sldLayoutId id="2147484412" r:id="rId43"/>
    <p:sldLayoutId id="2147484413" r:id="rId44"/>
    <p:sldLayoutId id="2147484414" r:id="rId45"/>
    <p:sldLayoutId id="2147484415" r:id="rId46"/>
    <p:sldLayoutId id="2147484416" r:id="rId47"/>
    <p:sldLayoutId id="2147484417" r:id="rId48"/>
    <p:sldLayoutId id="2147484418" r:id="rId49"/>
    <p:sldLayoutId id="2147484419" r:id="rId50"/>
    <p:sldLayoutId id="2147484420" r:id="rId51"/>
    <p:sldLayoutId id="2147484421" r:id="rId52"/>
    <p:sldLayoutId id="2147484422" r:id="rId53"/>
    <p:sldLayoutId id="2147484423" r:id="rId54"/>
    <p:sldLayoutId id="2147484424" r:id="rId55"/>
    <p:sldLayoutId id="2147484425" r:id="rId56"/>
    <p:sldLayoutId id="2147484426" r:id="rId57"/>
    <p:sldLayoutId id="2147484427" r:id="rId58"/>
    <p:sldLayoutId id="2147484428" r:id="rId59"/>
    <p:sldLayoutId id="2147484429" r:id="rId60"/>
    <p:sldLayoutId id="2147484430" r:id="rId61"/>
    <p:sldLayoutId id="2147484431" r:id="rId62"/>
    <p:sldLayoutId id="2147484432" r:id="rId63"/>
    <p:sldLayoutId id="2147484433" r:id="rId64"/>
    <p:sldLayoutId id="2147484434" r:id="rId65"/>
    <p:sldLayoutId id="2147484435" r:id="rId66"/>
    <p:sldLayoutId id="2147484436" r:id="rId67"/>
    <p:sldLayoutId id="2147484437" r:id="rId68"/>
    <p:sldLayoutId id="2147484438" r:id="rId69"/>
    <p:sldLayoutId id="2147484439" r:id="rId70"/>
    <p:sldLayoutId id="2147484440" r:id="rId71"/>
    <p:sldLayoutId id="2147484441" r:id="rId72"/>
    <p:sldLayoutId id="2147484442" r:id="rId73"/>
    <p:sldLayoutId id="2147484443" r:id="rId74"/>
    <p:sldLayoutId id="2147484444" r:id="rId75"/>
    <p:sldLayoutId id="2147484445" r:id="rId76"/>
    <p:sldLayoutId id="2147484446" r:id="rId77"/>
    <p:sldLayoutId id="2147484447" r:id="rId78"/>
    <p:sldLayoutId id="2147484448" r:id="rId7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F89ACFD-53C7-4B44-817F-A993DF58D8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44" imgH="345" progId="TCLayout.ActiveDocument.1">
                  <p:embed/>
                </p:oleObj>
              </mc:Choice>
              <mc:Fallback>
                <p:oleObj name="think-cell Slide" r:id="rId18" imgW="344" imgH="34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F89ACFD-53C7-4B44-817F-A993DF58D8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659C8C-19C9-A04C-B2FD-815CB27B0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6E099-1625-F748-AFC5-C48769D2C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9BA8D-4E6F-D147-98A4-458DA96386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75066-B37B-2D4A-8FBB-CFED1965CC7B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B39E5-FA50-694D-AFED-A93F7FA45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DB761-4A2B-5D4B-BC07-C1811907F4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40B3BC-5F62-0242-9CEC-523CFB67603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E5E640-76B3-BC4F-98F7-FC24EF0080CC}"/>
              </a:ext>
            </a:extLst>
          </p:cNvPr>
          <p:cNvSpPr txBox="1">
            <a:spLocks/>
          </p:cNvSpPr>
          <p:nvPr userDrawn="1"/>
        </p:nvSpPr>
        <p:spPr>
          <a:xfrm>
            <a:off x="623888" y="629893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945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0" r:id="rId1"/>
    <p:sldLayoutId id="2147484451" r:id="rId2"/>
    <p:sldLayoutId id="2147484452" r:id="rId3"/>
    <p:sldLayoutId id="2147484453" r:id="rId4"/>
    <p:sldLayoutId id="2147484454" r:id="rId5"/>
    <p:sldLayoutId id="2147484455" r:id="rId6"/>
    <p:sldLayoutId id="2147484456" r:id="rId7"/>
    <p:sldLayoutId id="2147484457" r:id="rId8"/>
    <p:sldLayoutId id="2147484458" r:id="rId9"/>
    <p:sldLayoutId id="2147484459" r:id="rId10"/>
    <p:sldLayoutId id="2147484460" r:id="rId11"/>
    <p:sldLayoutId id="2147484461" r:id="rId12"/>
    <p:sldLayoutId id="2147484462" r:id="rId13"/>
    <p:sldLayoutId id="2147484463" r:id="rId14"/>
    <p:sldLayoutId id="214748446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187960" y="320675"/>
            <a:ext cx="9511453" cy="1325563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1056640" y="1825625"/>
            <a:ext cx="864277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1056640" y="6356350"/>
            <a:ext cx="12333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263A"/>
                </a:solidFill>
              </a:defRPr>
            </a:lvl1pPr>
          </a:lstStyle>
          <a:p>
            <a:fld id="{2E0D54DF-E849-4EA4-BFC4-7880432DC4A2}" type="datetimeFigureOut">
              <a:rPr lang="da-DK" smtClean="0"/>
              <a:pPr/>
              <a:t>18-04-2023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2790908" y="6356350"/>
            <a:ext cx="53624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63A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-1" y="6356350"/>
            <a:ext cx="783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263A"/>
                </a:solidFill>
              </a:defRPr>
            </a:lvl1pPr>
          </a:lstStyle>
          <a:p>
            <a:fld id="{B81155F5-CA4F-49D4-97C8-60D10ABBB269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37791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6" r:id="rId1"/>
    <p:sldLayoutId id="2147484467" r:id="rId2"/>
    <p:sldLayoutId id="2147484468" r:id="rId3"/>
    <p:sldLayoutId id="2147484469" r:id="rId4"/>
    <p:sldLayoutId id="2147484470" r:id="rId5"/>
    <p:sldLayoutId id="2147484471" r:id="rId6"/>
    <p:sldLayoutId id="2147484472" r:id="rId7"/>
    <p:sldLayoutId id="2147484473" r:id="rId8"/>
    <p:sldLayoutId id="2147484474" r:id="rId9"/>
    <p:sldLayoutId id="2147484475" r:id="rId10"/>
    <p:sldLayoutId id="2147484476" r:id="rId11"/>
    <p:sldLayoutId id="2147484477" r:id="rId12"/>
    <p:sldLayoutId id="2147484478" r:id="rId13"/>
    <p:sldLayoutId id="2147484479" r:id="rId14"/>
    <p:sldLayoutId id="2147484480" r:id="rId15"/>
    <p:sldLayoutId id="2147484481" r:id="rId16"/>
    <p:sldLayoutId id="2147484482" r:id="rId17"/>
    <p:sldLayoutId id="2147484483" r:id="rId18"/>
    <p:sldLayoutId id="2147484484" r:id="rId19"/>
    <p:sldLayoutId id="2147484485" r:id="rId20"/>
    <p:sldLayoutId id="2147484486" r:id="rId21"/>
    <p:sldLayoutId id="2147484487" r:id="rId22"/>
    <p:sldLayoutId id="2147484488" r:id="rId23"/>
    <p:sldLayoutId id="2147484489" r:id="rId24"/>
    <p:sldLayoutId id="2147484490" r:id="rId25"/>
    <p:sldLayoutId id="2147484491" r:id="rId26"/>
    <p:sldLayoutId id="2147484492" r:id="rId27"/>
    <p:sldLayoutId id="2147484493" r:id="rId28"/>
    <p:sldLayoutId id="2147484494" r:id="rId29"/>
    <p:sldLayoutId id="2147484495" r:id="rId30"/>
    <p:sldLayoutId id="2147484496" r:id="rId31"/>
    <p:sldLayoutId id="2147484497" r:id="rId32"/>
    <p:sldLayoutId id="2147484498" r:id="rId33"/>
    <p:sldLayoutId id="2147484499" r:id="rId34"/>
    <p:sldLayoutId id="2147484500" r:id="rId35"/>
    <p:sldLayoutId id="2147484501" r:id="rId36"/>
    <p:sldLayoutId id="2147484502" r:id="rId37"/>
    <p:sldLayoutId id="2147484503" r:id="rId38"/>
    <p:sldLayoutId id="2147484504" r:id="rId3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63A"/>
          </a:solidFill>
          <a:latin typeface="Helvetica LT Std" panose="020B0504020202020204" pitchFamily="34" charset="0"/>
          <a:ea typeface="+mj-ea"/>
          <a:cs typeface="+mj-cs"/>
        </a:defRPr>
      </a:lvl1pPr>
    </p:titleStyle>
    <p:bodyStyle>
      <a:lvl1pPr marL="176213" indent="-176213" algn="l" defTabSz="358775" rtl="0" eaLnBrk="1" latinLnBrk="0" hangingPunct="1">
        <a:lnSpc>
          <a:spcPct val="90000"/>
        </a:lnSpc>
        <a:spcBef>
          <a:spcPts val="1500"/>
        </a:spcBef>
        <a:buClr>
          <a:srgbClr val="E4002B"/>
        </a:buClr>
        <a:buFont typeface="Arial" panose="020B0604020202020204" pitchFamily="34" charset="0"/>
        <a:buChar char="•"/>
        <a:defRPr sz="1800" b="0" kern="1200">
          <a:solidFill>
            <a:srgbClr val="00263A"/>
          </a:solidFill>
          <a:latin typeface="Helvetica LT Std" panose="020B0504020202020204" pitchFamily="34" charset="0"/>
          <a:ea typeface="+mn-ea"/>
          <a:cs typeface="+mn-cs"/>
        </a:defRPr>
      </a:lvl1pPr>
      <a:lvl2pPr marL="358775" indent="-182563" algn="l" defTabSz="358775" rtl="0" eaLnBrk="1" latinLnBrk="0" hangingPunct="1">
        <a:lnSpc>
          <a:spcPct val="90000"/>
        </a:lnSpc>
        <a:spcBef>
          <a:spcPts val="1200"/>
        </a:spcBef>
        <a:buClr>
          <a:srgbClr val="E4002B"/>
        </a:buClr>
        <a:buFont typeface="Arial" panose="020B0604020202020204" pitchFamily="34" charset="0"/>
        <a:buChar char="•"/>
        <a:defRPr sz="1300" kern="1200">
          <a:solidFill>
            <a:srgbClr val="00263A"/>
          </a:solidFill>
          <a:latin typeface="Helvetica LT Std" panose="020B0504020202020204" pitchFamily="34" charset="0"/>
          <a:ea typeface="+mn-ea"/>
          <a:cs typeface="+mn-cs"/>
        </a:defRPr>
      </a:lvl2pPr>
      <a:lvl3pPr marL="534988" indent="-176213" algn="l" defTabSz="358775" rtl="0" eaLnBrk="1" latinLnBrk="0" hangingPunct="1">
        <a:lnSpc>
          <a:spcPct val="90000"/>
        </a:lnSpc>
        <a:spcBef>
          <a:spcPts val="1200"/>
        </a:spcBef>
        <a:buClr>
          <a:srgbClr val="E4002B"/>
        </a:buClr>
        <a:buFont typeface="Arial" panose="020B0604020202020204" pitchFamily="34" charset="0"/>
        <a:buChar char="•"/>
        <a:defRPr sz="1300" kern="1200">
          <a:solidFill>
            <a:srgbClr val="00263A"/>
          </a:solidFill>
          <a:latin typeface="Helvetica LT Std" panose="020B0504020202020204" pitchFamily="34" charset="0"/>
          <a:ea typeface="+mn-ea"/>
          <a:cs typeface="+mn-cs"/>
        </a:defRPr>
      </a:lvl3pPr>
      <a:lvl4pPr marL="717550" indent="-182563" algn="l" defTabSz="358775" rtl="0" eaLnBrk="1" latinLnBrk="0" hangingPunct="1">
        <a:lnSpc>
          <a:spcPct val="90000"/>
        </a:lnSpc>
        <a:spcBef>
          <a:spcPts val="1200"/>
        </a:spcBef>
        <a:buClr>
          <a:srgbClr val="E4002B"/>
        </a:buClr>
        <a:buFont typeface="Arial" panose="020B0604020202020204" pitchFamily="34" charset="0"/>
        <a:buChar char="•"/>
        <a:defRPr sz="1300" kern="1200">
          <a:solidFill>
            <a:srgbClr val="00263A"/>
          </a:solidFill>
          <a:latin typeface="Helvetica LT Std" panose="020B0504020202020204" pitchFamily="34" charset="0"/>
          <a:ea typeface="+mn-ea"/>
          <a:cs typeface="+mn-cs"/>
        </a:defRPr>
      </a:lvl4pPr>
      <a:lvl5pPr marL="893763" indent="-176213" algn="l" defTabSz="358775" rtl="0" eaLnBrk="1" latinLnBrk="0" hangingPunct="1">
        <a:lnSpc>
          <a:spcPct val="90000"/>
        </a:lnSpc>
        <a:spcBef>
          <a:spcPts val="1200"/>
        </a:spcBef>
        <a:buClr>
          <a:srgbClr val="E4002B"/>
        </a:buClr>
        <a:buFont typeface="Arial" panose="020B0604020202020204" pitchFamily="34" charset="0"/>
        <a:buChar char="•"/>
        <a:defRPr sz="1300" kern="1200">
          <a:solidFill>
            <a:srgbClr val="00263A"/>
          </a:solidFill>
          <a:latin typeface="Helvetica LT Std" panose="020B05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66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0CBB3D2-F526-4E8D-B9AC-4CC2BFB6DB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1794475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347" imgH="348" progId="TCLayout.ActiveDocument.1">
                  <p:embed/>
                </p:oleObj>
              </mc:Choice>
              <mc:Fallback>
                <p:oleObj name="think-cell Slide" r:id="rId52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659C8C-19C9-A04C-B2FD-815CB27B0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6E099-1625-F748-AFC5-C48769D2C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9BA8D-4E6F-D147-98A4-458DA96386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75066-B37B-2D4A-8FBB-CFED1965CC7B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B39E5-FA50-694D-AFED-A93F7FA45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DB761-4A2B-5D4B-BC07-C1811907F4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40B3BC-5F62-0242-9CEC-523CFB67603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E5E640-76B3-BC4F-98F7-FC24EF0080CC}"/>
              </a:ext>
            </a:extLst>
          </p:cNvPr>
          <p:cNvSpPr txBox="1">
            <a:spLocks/>
          </p:cNvSpPr>
          <p:nvPr userDrawn="1"/>
        </p:nvSpPr>
        <p:spPr>
          <a:xfrm>
            <a:off x="623888" y="629893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518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  <p:sldLayoutId id="2147483766" r:id="rId26"/>
    <p:sldLayoutId id="2147483767" r:id="rId27"/>
    <p:sldLayoutId id="2147483768" r:id="rId28"/>
    <p:sldLayoutId id="2147483769" r:id="rId29"/>
    <p:sldLayoutId id="2147483770" r:id="rId30"/>
    <p:sldLayoutId id="2147483771" r:id="rId31"/>
    <p:sldLayoutId id="2147483772" r:id="rId32"/>
    <p:sldLayoutId id="2147483773" r:id="rId33"/>
    <p:sldLayoutId id="2147483774" r:id="rId34"/>
    <p:sldLayoutId id="2147483775" r:id="rId35"/>
    <p:sldLayoutId id="2147483776" r:id="rId36"/>
    <p:sldLayoutId id="2147483777" r:id="rId37"/>
    <p:sldLayoutId id="2147483778" r:id="rId38"/>
    <p:sldLayoutId id="2147483779" r:id="rId39"/>
    <p:sldLayoutId id="2147483780" r:id="rId40"/>
    <p:sldLayoutId id="2147483781" r:id="rId41"/>
    <p:sldLayoutId id="2147483782" r:id="rId42"/>
    <p:sldLayoutId id="2147483783" r:id="rId43"/>
    <p:sldLayoutId id="2147483784" r:id="rId44"/>
    <p:sldLayoutId id="2147483785" r:id="rId45"/>
    <p:sldLayoutId id="2147483786" r:id="rId46"/>
    <p:sldLayoutId id="2147483787" r:id="rId47"/>
    <p:sldLayoutId id="2147483788" r:id="rId48"/>
    <p:sldLayoutId id="2147483789" r:id="rId4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87A0D5B-3E9C-4CF6-954C-D2614ACA1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1081506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347" imgH="348" progId="TCLayout.ActiveDocument.1">
                  <p:embed/>
                </p:oleObj>
              </mc:Choice>
              <mc:Fallback>
                <p:oleObj name="think-cell Slide" r:id="rId5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659C8C-19C9-A04C-B2FD-815CB27B0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6E099-1625-F748-AFC5-C48769D2C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9BA8D-4E6F-D147-98A4-458DA96386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75066-B37B-2D4A-8FBB-CFED1965CC7B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B39E5-FA50-694D-AFED-A93F7FA45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DB761-4A2B-5D4B-BC07-C1811907F4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40B3BC-5F62-0242-9CEC-523CFB67603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E5E640-76B3-BC4F-98F7-FC24EF0080CC}"/>
              </a:ext>
            </a:extLst>
          </p:cNvPr>
          <p:cNvSpPr txBox="1">
            <a:spLocks/>
          </p:cNvSpPr>
          <p:nvPr userDrawn="1"/>
        </p:nvSpPr>
        <p:spPr>
          <a:xfrm>
            <a:off x="623888" y="629893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150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  <p:sldLayoutId id="2147483825" r:id="rId35"/>
    <p:sldLayoutId id="2147483826" r:id="rId36"/>
    <p:sldLayoutId id="2147483827" r:id="rId37"/>
    <p:sldLayoutId id="2147483828" r:id="rId38"/>
    <p:sldLayoutId id="2147483829" r:id="rId39"/>
    <p:sldLayoutId id="2147483830" r:id="rId40"/>
    <p:sldLayoutId id="2147483831" r:id="rId41"/>
    <p:sldLayoutId id="2147483832" r:id="rId42"/>
    <p:sldLayoutId id="2147483833" r:id="rId43"/>
    <p:sldLayoutId id="2147483834" r:id="rId44"/>
    <p:sldLayoutId id="2147483835" r:id="rId45"/>
    <p:sldLayoutId id="2147483836" r:id="rId46"/>
    <p:sldLayoutId id="2147483837" r:id="rId47"/>
  </p:sldLayoutIdLst>
  <p:transition spd="slow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659C8C-19C9-A04C-B2FD-815CB27B0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6E099-1625-F748-AFC5-C48769D2C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9BA8D-4E6F-D147-98A4-458DA96386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75066-B37B-2D4A-8FBB-CFED1965CC7B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B39E5-FA50-694D-AFED-A93F7FA45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DB761-4A2B-5D4B-BC07-C1811907F4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40B3BC-5F62-0242-9CEC-523CFB67603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E5E640-76B3-BC4F-98F7-FC24EF0080CC}"/>
              </a:ext>
            </a:extLst>
          </p:cNvPr>
          <p:cNvSpPr txBox="1">
            <a:spLocks/>
          </p:cNvSpPr>
          <p:nvPr userDrawn="1"/>
        </p:nvSpPr>
        <p:spPr>
          <a:xfrm>
            <a:off x="623888" y="629893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674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  <p:sldLayoutId id="2147483852" r:id="rId13"/>
    <p:sldLayoutId id="2147483853" r:id="rId14"/>
    <p:sldLayoutId id="2147483854" r:id="rId15"/>
    <p:sldLayoutId id="2147483855" r:id="rId16"/>
    <p:sldLayoutId id="2147483856" r:id="rId17"/>
    <p:sldLayoutId id="2147483857" r:id="rId18"/>
    <p:sldLayoutId id="2147483858" r:id="rId19"/>
    <p:sldLayoutId id="2147483859" r:id="rId20"/>
    <p:sldLayoutId id="2147483860" r:id="rId21"/>
    <p:sldLayoutId id="2147483861" r:id="rId22"/>
    <p:sldLayoutId id="2147483862" r:id="rId23"/>
    <p:sldLayoutId id="2147483863" r:id="rId24"/>
    <p:sldLayoutId id="2147483864" r:id="rId25"/>
    <p:sldLayoutId id="2147483865" r:id="rId26"/>
    <p:sldLayoutId id="2147483866" r:id="rId27"/>
    <p:sldLayoutId id="2147483867" r:id="rId28"/>
    <p:sldLayoutId id="2147483868" r:id="rId29"/>
    <p:sldLayoutId id="2147483869" r:id="rId30"/>
    <p:sldLayoutId id="2147483870" r:id="rId31"/>
    <p:sldLayoutId id="2147483871" r:id="rId32"/>
    <p:sldLayoutId id="2147483872" r:id="rId33"/>
    <p:sldLayoutId id="2147483873" r:id="rId34"/>
    <p:sldLayoutId id="2147483874" r:id="rId35"/>
    <p:sldLayoutId id="2147483875" r:id="rId36"/>
    <p:sldLayoutId id="2147483876" r:id="rId37"/>
    <p:sldLayoutId id="2147483877" r:id="rId38"/>
    <p:sldLayoutId id="2147483878" r:id="rId39"/>
    <p:sldLayoutId id="2147483879" r:id="rId40"/>
    <p:sldLayoutId id="2147483880" r:id="rId41"/>
    <p:sldLayoutId id="2147483881" r:id="rId42"/>
    <p:sldLayoutId id="2147483882" r:id="rId43"/>
    <p:sldLayoutId id="2147483883" r:id="rId44"/>
    <p:sldLayoutId id="2147483884" r:id="rId45"/>
    <p:sldLayoutId id="2147483885" r:id="rId46"/>
    <p:sldLayoutId id="2147483886" r:id="rId47"/>
    <p:sldLayoutId id="2147483887" r:id="rId48"/>
    <p:sldLayoutId id="2147483888" r:id="rId49"/>
    <p:sldLayoutId id="2147483889" r:id="rId50"/>
    <p:sldLayoutId id="2147483890" r:id="rId51"/>
    <p:sldLayoutId id="2147483891" r:id="rId52"/>
    <p:sldLayoutId id="2147483892" r:id="rId53"/>
    <p:sldLayoutId id="2147483893" r:id="rId54"/>
    <p:sldLayoutId id="2147483894" r:id="rId55"/>
    <p:sldLayoutId id="2147483895" r:id="rId56"/>
    <p:sldLayoutId id="2147483896" r:id="rId57"/>
    <p:sldLayoutId id="2147483897" r:id="rId58"/>
    <p:sldLayoutId id="2147483898" r:id="rId59"/>
    <p:sldLayoutId id="2147483899" r:id="rId60"/>
    <p:sldLayoutId id="2147483900" r:id="rId61"/>
    <p:sldLayoutId id="2147483901" r:id="rId62"/>
    <p:sldLayoutId id="2147483902" r:id="rId63"/>
    <p:sldLayoutId id="2147483903" r:id="rId64"/>
    <p:sldLayoutId id="2147483904" r:id="rId65"/>
    <p:sldLayoutId id="2147483905" r:id="rId66"/>
    <p:sldLayoutId id="2147483906" r:id="rId67"/>
    <p:sldLayoutId id="2147483907" r:id="rId68"/>
    <p:sldLayoutId id="2147483908" r:id="rId69"/>
    <p:sldLayoutId id="2147483909" r:id="rId70"/>
    <p:sldLayoutId id="2147483910" r:id="rId71"/>
    <p:sldLayoutId id="2147483911" r:id="rId72"/>
    <p:sldLayoutId id="2147483912" r:id="rId73"/>
    <p:sldLayoutId id="2147483913" r:id="rId74"/>
    <p:sldLayoutId id="2147483914" r:id="rId75"/>
    <p:sldLayoutId id="2147483915" r:id="rId76"/>
    <p:sldLayoutId id="2147483916" r:id="rId77"/>
    <p:sldLayoutId id="2147483917" r:id="rId78"/>
    <p:sldLayoutId id="2147483918" r:id="rId7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659C8C-19C9-A04C-B2FD-815CB27B0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6E099-1625-F748-AFC5-C48769D2C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9BA8D-4E6F-D147-98A4-458DA96386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75066-B37B-2D4A-8FBB-CFED1965CC7B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B39E5-FA50-694D-AFED-A93F7FA45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DB761-4A2B-5D4B-BC07-C1811907F4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40B3BC-5F62-0242-9CEC-523CFB67603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E5E640-76B3-BC4F-98F7-FC24EF0080CC}"/>
              </a:ext>
            </a:extLst>
          </p:cNvPr>
          <p:cNvSpPr txBox="1">
            <a:spLocks/>
          </p:cNvSpPr>
          <p:nvPr userDrawn="1"/>
        </p:nvSpPr>
        <p:spPr>
          <a:xfrm>
            <a:off x="623888" y="629893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624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3931" r:id="rId12"/>
    <p:sldLayoutId id="2147483932" r:id="rId13"/>
    <p:sldLayoutId id="2147483933" r:id="rId14"/>
    <p:sldLayoutId id="2147483934" r:id="rId15"/>
    <p:sldLayoutId id="2147483935" r:id="rId16"/>
    <p:sldLayoutId id="2147483936" r:id="rId17"/>
    <p:sldLayoutId id="2147483937" r:id="rId18"/>
    <p:sldLayoutId id="2147483938" r:id="rId19"/>
    <p:sldLayoutId id="2147483939" r:id="rId20"/>
    <p:sldLayoutId id="2147483940" r:id="rId21"/>
    <p:sldLayoutId id="2147483941" r:id="rId22"/>
    <p:sldLayoutId id="2147483942" r:id="rId23"/>
    <p:sldLayoutId id="2147483943" r:id="rId24"/>
    <p:sldLayoutId id="2147483944" r:id="rId25"/>
    <p:sldLayoutId id="2147483945" r:id="rId26"/>
    <p:sldLayoutId id="2147483946" r:id="rId27"/>
    <p:sldLayoutId id="2147483947" r:id="rId28"/>
    <p:sldLayoutId id="2147483948" r:id="rId29"/>
    <p:sldLayoutId id="2147483949" r:id="rId30"/>
    <p:sldLayoutId id="2147483950" r:id="rId31"/>
    <p:sldLayoutId id="2147483951" r:id="rId32"/>
    <p:sldLayoutId id="2147483952" r:id="rId33"/>
    <p:sldLayoutId id="2147483953" r:id="rId34"/>
    <p:sldLayoutId id="2147483954" r:id="rId35"/>
    <p:sldLayoutId id="2147483955" r:id="rId36"/>
    <p:sldLayoutId id="2147483956" r:id="rId37"/>
    <p:sldLayoutId id="2147483957" r:id="rId38"/>
    <p:sldLayoutId id="2147483958" r:id="rId39"/>
    <p:sldLayoutId id="2147483959" r:id="rId40"/>
    <p:sldLayoutId id="2147483960" r:id="rId41"/>
    <p:sldLayoutId id="2147483961" r:id="rId42"/>
    <p:sldLayoutId id="2147483962" r:id="rId43"/>
    <p:sldLayoutId id="2147483963" r:id="rId44"/>
    <p:sldLayoutId id="2147483964" r:id="rId45"/>
    <p:sldLayoutId id="2147483965" r:id="rId46"/>
    <p:sldLayoutId id="2147483966" r:id="rId47"/>
    <p:sldLayoutId id="2147483967" r:id="rId48"/>
    <p:sldLayoutId id="2147483968" r:id="rId49"/>
    <p:sldLayoutId id="2147483969" r:id="rId50"/>
    <p:sldLayoutId id="2147483970" r:id="rId51"/>
    <p:sldLayoutId id="2147483971" r:id="rId52"/>
    <p:sldLayoutId id="2147483972" r:id="rId53"/>
    <p:sldLayoutId id="2147483973" r:id="rId54"/>
    <p:sldLayoutId id="2147483974" r:id="rId55"/>
    <p:sldLayoutId id="2147483975" r:id="rId56"/>
    <p:sldLayoutId id="2147483976" r:id="rId57"/>
    <p:sldLayoutId id="2147483977" r:id="rId58"/>
    <p:sldLayoutId id="2147483978" r:id="rId59"/>
    <p:sldLayoutId id="2147483979" r:id="rId60"/>
    <p:sldLayoutId id="2147483980" r:id="rId61"/>
    <p:sldLayoutId id="2147483981" r:id="rId62"/>
    <p:sldLayoutId id="2147483982" r:id="rId63"/>
    <p:sldLayoutId id="2147483983" r:id="rId64"/>
    <p:sldLayoutId id="2147483984" r:id="rId65"/>
    <p:sldLayoutId id="2147483985" r:id="rId66"/>
    <p:sldLayoutId id="2147483986" r:id="rId67"/>
    <p:sldLayoutId id="2147483987" r:id="rId68"/>
    <p:sldLayoutId id="2147483988" r:id="rId69"/>
    <p:sldLayoutId id="2147483989" r:id="rId70"/>
    <p:sldLayoutId id="2147483990" r:id="rId71"/>
    <p:sldLayoutId id="2147483991" r:id="rId72"/>
    <p:sldLayoutId id="2147483992" r:id="rId73"/>
    <p:sldLayoutId id="2147483993" r:id="rId74"/>
    <p:sldLayoutId id="2147483994" r:id="rId75"/>
    <p:sldLayoutId id="2147483995" r:id="rId76"/>
    <p:sldLayoutId id="2147483996" r:id="rId77"/>
    <p:sldLayoutId id="2147483997" r:id="rId78"/>
    <p:sldLayoutId id="2147483998" r:id="rId7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AC8A4E4-F386-4E56-9A81-0440C9BEE5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224145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347" imgH="348" progId="TCLayout.ActiveDocument.1">
                  <p:embed/>
                </p:oleObj>
              </mc:Choice>
              <mc:Fallback>
                <p:oleObj name="think-cell Slide" r:id="rId82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AC8A4E4-F386-4E56-9A81-0440C9BEE5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659C8C-19C9-A04C-B2FD-815CB27B0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6E099-1625-F748-AFC5-C48769D2C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9BA8D-4E6F-D147-98A4-458DA96386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75066-B37B-2D4A-8FBB-CFED1965CC7B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B39E5-FA50-694D-AFED-A93F7FA45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DB761-4A2B-5D4B-BC07-C1811907F4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40B3BC-5F62-0242-9CEC-523CFB67603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E5E640-76B3-BC4F-98F7-FC24EF0080CC}"/>
              </a:ext>
            </a:extLst>
          </p:cNvPr>
          <p:cNvSpPr txBox="1">
            <a:spLocks/>
          </p:cNvSpPr>
          <p:nvPr userDrawn="1"/>
        </p:nvSpPr>
        <p:spPr>
          <a:xfrm>
            <a:off x="623888" y="629893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248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  <p:sldLayoutId id="2147484008" r:id="rId9"/>
    <p:sldLayoutId id="2147484009" r:id="rId10"/>
    <p:sldLayoutId id="2147484010" r:id="rId11"/>
    <p:sldLayoutId id="2147484011" r:id="rId12"/>
    <p:sldLayoutId id="2147484012" r:id="rId13"/>
    <p:sldLayoutId id="2147484013" r:id="rId14"/>
    <p:sldLayoutId id="2147484014" r:id="rId15"/>
    <p:sldLayoutId id="2147484015" r:id="rId16"/>
    <p:sldLayoutId id="2147484016" r:id="rId17"/>
    <p:sldLayoutId id="2147484017" r:id="rId18"/>
    <p:sldLayoutId id="2147484018" r:id="rId19"/>
    <p:sldLayoutId id="2147484019" r:id="rId20"/>
    <p:sldLayoutId id="2147484020" r:id="rId21"/>
    <p:sldLayoutId id="2147484021" r:id="rId22"/>
    <p:sldLayoutId id="2147484022" r:id="rId23"/>
    <p:sldLayoutId id="2147484023" r:id="rId24"/>
    <p:sldLayoutId id="2147484024" r:id="rId25"/>
    <p:sldLayoutId id="2147484025" r:id="rId26"/>
    <p:sldLayoutId id="2147484026" r:id="rId27"/>
    <p:sldLayoutId id="2147484027" r:id="rId28"/>
    <p:sldLayoutId id="2147484028" r:id="rId29"/>
    <p:sldLayoutId id="2147484029" r:id="rId30"/>
    <p:sldLayoutId id="2147484030" r:id="rId31"/>
    <p:sldLayoutId id="2147484031" r:id="rId32"/>
    <p:sldLayoutId id="2147484032" r:id="rId33"/>
    <p:sldLayoutId id="2147484033" r:id="rId34"/>
    <p:sldLayoutId id="2147484034" r:id="rId35"/>
    <p:sldLayoutId id="2147484035" r:id="rId36"/>
    <p:sldLayoutId id="2147484036" r:id="rId37"/>
    <p:sldLayoutId id="2147484037" r:id="rId38"/>
    <p:sldLayoutId id="2147484038" r:id="rId39"/>
    <p:sldLayoutId id="2147484039" r:id="rId40"/>
    <p:sldLayoutId id="2147484040" r:id="rId41"/>
    <p:sldLayoutId id="2147484041" r:id="rId42"/>
    <p:sldLayoutId id="2147484042" r:id="rId43"/>
    <p:sldLayoutId id="2147484043" r:id="rId44"/>
    <p:sldLayoutId id="2147484044" r:id="rId45"/>
    <p:sldLayoutId id="2147484045" r:id="rId46"/>
    <p:sldLayoutId id="2147484046" r:id="rId47"/>
    <p:sldLayoutId id="2147484047" r:id="rId48"/>
    <p:sldLayoutId id="2147484048" r:id="rId49"/>
    <p:sldLayoutId id="2147484049" r:id="rId50"/>
    <p:sldLayoutId id="2147484050" r:id="rId51"/>
    <p:sldLayoutId id="2147484051" r:id="rId52"/>
    <p:sldLayoutId id="2147484052" r:id="rId53"/>
    <p:sldLayoutId id="2147484053" r:id="rId54"/>
    <p:sldLayoutId id="2147484054" r:id="rId55"/>
    <p:sldLayoutId id="2147484055" r:id="rId56"/>
    <p:sldLayoutId id="2147484056" r:id="rId57"/>
    <p:sldLayoutId id="2147484057" r:id="rId58"/>
    <p:sldLayoutId id="2147484058" r:id="rId59"/>
    <p:sldLayoutId id="2147484059" r:id="rId60"/>
    <p:sldLayoutId id="2147484060" r:id="rId61"/>
    <p:sldLayoutId id="2147484061" r:id="rId62"/>
    <p:sldLayoutId id="2147484062" r:id="rId63"/>
    <p:sldLayoutId id="2147484063" r:id="rId64"/>
    <p:sldLayoutId id="2147484064" r:id="rId65"/>
    <p:sldLayoutId id="2147484065" r:id="rId66"/>
    <p:sldLayoutId id="2147484066" r:id="rId67"/>
    <p:sldLayoutId id="2147484067" r:id="rId68"/>
    <p:sldLayoutId id="2147484068" r:id="rId69"/>
    <p:sldLayoutId id="2147484069" r:id="rId70"/>
    <p:sldLayoutId id="2147484070" r:id="rId71"/>
    <p:sldLayoutId id="2147484071" r:id="rId72"/>
    <p:sldLayoutId id="2147484072" r:id="rId73"/>
    <p:sldLayoutId id="2147484073" r:id="rId74"/>
    <p:sldLayoutId id="2147484074" r:id="rId75"/>
    <p:sldLayoutId id="2147484075" r:id="rId76"/>
    <p:sldLayoutId id="2147484076" r:id="rId77"/>
    <p:sldLayoutId id="2147484077" r:id="rId78"/>
    <p:sldLayoutId id="2147484078" r:id="rId7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0CBB3D2-F526-4E8D-B9AC-4CC2BFB6DB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245661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347" imgH="348" progId="TCLayout.ActiveDocument.1">
                  <p:embed/>
                </p:oleObj>
              </mc:Choice>
              <mc:Fallback>
                <p:oleObj name="think-cell Slide" r:id="rId52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0CBB3D2-F526-4E8D-B9AC-4CC2BFB6DB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659C8C-19C9-A04C-B2FD-815CB27B0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6E099-1625-F748-AFC5-C48769D2C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9BA8D-4E6F-D147-98A4-458DA96386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75066-B37B-2D4A-8FBB-CFED1965CC7B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B39E5-FA50-694D-AFED-A93F7FA45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DB761-4A2B-5D4B-BC07-C1811907F4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40B3BC-5F62-0242-9CEC-523CFB67603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E5E640-76B3-BC4F-98F7-FC24EF0080CC}"/>
              </a:ext>
            </a:extLst>
          </p:cNvPr>
          <p:cNvSpPr txBox="1">
            <a:spLocks/>
          </p:cNvSpPr>
          <p:nvPr userDrawn="1"/>
        </p:nvSpPr>
        <p:spPr>
          <a:xfrm>
            <a:off x="623888" y="629893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220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  <p:sldLayoutId id="2147484083" r:id="rId4"/>
    <p:sldLayoutId id="2147484084" r:id="rId5"/>
    <p:sldLayoutId id="2147484085" r:id="rId6"/>
    <p:sldLayoutId id="2147484086" r:id="rId7"/>
    <p:sldLayoutId id="2147484087" r:id="rId8"/>
    <p:sldLayoutId id="2147484088" r:id="rId9"/>
    <p:sldLayoutId id="2147484089" r:id="rId10"/>
    <p:sldLayoutId id="2147484090" r:id="rId11"/>
    <p:sldLayoutId id="2147484091" r:id="rId12"/>
    <p:sldLayoutId id="2147484092" r:id="rId13"/>
    <p:sldLayoutId id="2147484093" r:id="rId14"/>
    <p:sldLayoutId id="2147484094" r:id="rId15"/>
    <p:sldLayoutId id="2147484095" r:id="rId16"/>
    <p:sldLayoutId id="2147484096" r:id="rId17"/>
    <p:sldLayoutId id="2147484097" r:id="rId18"/>
    <p:sldLayoutId id="2147484098" r:id="rId19"/>
    <p:sldLayoutId id="2147484099" r:id="rId20"/>
    <p:sldLayoutId id="2147484100" r:id="rId21"/>
    <p:sldLayoutId id="2147484101" r:id="rId22"/>
    <p:sldLayoutId id="2147484102" r:id="rId23"/>
    <p:sldLayoutId id="2147484103" r:id="rId24"/>
    <p:sldLayoutId id="2147484104" r:id="rId25"/>
    <p:sldLayoutId id="2147484105" r:id="rId26"/>
    <p:sldLayoutId id="2147484106" r:id="rId27"/>
    <p:sldLayoutId id="2147484107" r:id="rId28"/>
    <p:sldLayoutId id="2147484108" r:id="rId29"/>
    <p:sldLayoutId id="2147484109" r:id="rId30"/>
    <p:sldLayoutId id="2147484110" r:id="rId31"/>
    <p:sldLayoutId id="2147484111" r:id="rId32"/>
    <p:sldLayoutId id="2147484112" r:id="rId33"/>
    <p:sldLayoutId id="2147484113" r:id="rId34"/>
    <p:sldLayoutId id="2147484114" r:id="rId35"/>
    <p:sldLayoutId id="2147484115" r:id="rId36"/>
    <p:sldLayoutId id="2147484116" r:id="rId37"/>
    <p:sldLayoutId id="2147484117" r:id="rId38"/>
    <p:sldLayoutId id="2147484118" r:id="rId39"/>
    <p:sldLayoutId id="2147484119" r:id="rId40"/>
    <p:sldLayoutId id="2147484120" r:id="rId41"/>
    <p:sldLayoutId id="2147484121" r:id="rId42"/>
    <p:sldLayoutId id="2147484122" r:id="rId43"/>
    <p:sldLayoutId id="2147484123" r:id="rId44"/>
    <p:sldLayoutId id="2147484124" r:id="rId45"/>
    <p:sldLayoutId id="2147484125" r:id="rId46"/>
    <p:sldLayoutId id="2147484126" r:id="rId47"/>
    <p:sldLayoutId id="2147484127" r:id="rId48"/>
    <p:sldLayoutId id="2147484128" r:id="rId4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AC8A4E4-F386-4E56-9A81-0440C9BEE5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3298837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347" imgH="348" progId="TCLayout.ActiveDocument.1">
                  <p:embed/>
                </p:oleObj>
              </mc:Choice>
              <mc:Fallback>
                <p:oleObj name="think-cell Slide" r:id="rId82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AC8A4E4-F386-4E56-9A81-0440C9BEE5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659C8C-19C9-A04C-B2FD-815CB27B0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6E099-1625-F748-AFC5-C48769D2C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9BA8D-4E6F-D147-98A4-458DA96386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75066-B37B-2D4A-8FBB-CFED1965CC7B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B39E5-FA50-694D-AFED-A93F7FA45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DB761-4A2B-5D4B-BC07-C1811907F4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40B3BC-5F62-0242-9CEC-523CFB67603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E5E640-76B3-BC4F-98F7-FC24EF0080CC}"/>
              </a:ext>
            </a:extLst>
          </p:cNvPr>
          <p:cNvSpPr txBox="1">
            <a:spLocks/>
          </p:cNvSpPr>
          <p:nvPr userDrawn="1"/>
        </p:nvSpPr>
        <p:spPr>
          <a:xfrm>
            <a:off x="623888" y="629893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09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0" r:id="rId1"/>
    <p:sldLayoutId id="2147484131" r:id="rId2"/>
    <p:sldLayoutId id="2147484132" r:id="rId3"/>
    <p:sldLayoutId id="2147484133" r:id="rId4"/>
    <p:sldLayoutId id="2147484134" r:id="rId5"/>
    <p:sldLayoutId id="2147484135" r:id="rId6"/>
    <p:sldLayoutId id="2147484136" r:id="rId7"/>
    <p:sldLayoutId id="2147484137" r:id="rId8"/>
    <p:sldLayoutId id="2147484138" r:id="rId9"/>
    <p:sldLayoutId id="2147484139" r:id="rId10"/>
    <p:sldLayoutId id="2147484140" r:id="rId11"/>
    <p:sldLayoutId id="2147484141" r:id="rId12"/>
    <p:sldLayoutId id="2147484142" r:id="rId13"/>
    <p:sldLayoutId id="2147484143" r:id="rId14"/>
    <p:sldLayoutId id="2147484144" r:id="rId15"/>
    <p:sldLayoutId id="2147484145" r:id="rId16"/>
    <p:sldLayoutId id="2147484146" r:id="rId17"/>
    <p:sldLayoutId id="2147484147" r:id="rId18"/>
    <p:sldLayoutId id="2147484148" r:id="rId19"/>
    <p:sldLayoutId id="2147484149" r:id="rId20"/>
    <p:sldLayoutId id="2147484150" r:id="rId21"/>
    <p:sldLayoutId id="2147484151" r:id="rId22"/>
    <p:sldLayoutId id="2147484152" r:id="rId23"/>
    <p:sldLayoutId id="2147484153" r:id="rId24"/>
    <p:sldLayoutId id="2147484154" r:id="rId25"/>
    <p:sldLayoutId id="2147484155" r:id="rId26"/>
    <p:sldLayoutId id="2147484156" r:id="rId27"/>
    <p:sldLayoutId id="2147484157" r:id="rId28"/>
    <p:sldLayoutId id="2147484158" r:id="rId29"/>
    <p:sldLayoutId id="2147484159" r:id="rId30"/>
    <p:sldLayoutId id="2147484160" r:id="rId31"/>
    <p:sldLayoutId id="2147484161" r:id="rId32"/>
    <p:sldLayoutId id="2147484162" r:id="rId33"/>
    <p:sldLayoutId id="2147484163" r:id="rId34"/>
    <p:sldLayoutId id="2147484164" r:id="rId35"/>
    <p:sldLayoutId id="2147484165" r:id="rId36"/>
    <p:sldLayoutId id="2147484166" r:id="rId37"/>
    <p:sldLayoutId id="2147484167" r:id="rId38"/>
    <p:sldLayoutId id="2147484168" r:id="rId39"/>
    <p:sldLayoutId id="2147484169" r:id="rId40"/>
    <p:sldLayoutId id="2147484170" r:id="rId41"/>
    <p:sldLayoutId id="2147484171" r:id="rId42"/>
    <p:sldLayoutId id="2147484172" r:id="rId43"/>
    <p:sldLayoutId id="2147484173" r:id="rId44"/>
    <p:sldLayoutId id="2147484174" r:id="rId45"/>
    <p:sldLayoutId id="2147484175" r:id="rId46"/>
    <p:sldLayoutId id="2147484176" r:id="rId47"/>
    <p:sldLayoutId id="2147484177" r:id="rId48"/>
    <p:sldLayoutId id="2147484178" r:id="rId49"/>
    <p:sldLayoutId id="2147484179" r:id="rId50"/>
    <p:sldLayoutId id="2147484180" r:id="rId51"/>
    <p:sldLayoutId id="2147484181" r:id="rId52"/>
    <p:sldLayoutId id="2147484182" r:id="rId53"/>
    <p:sldLayoutId id="2147484183" r:id="rId54"/>
    <p:sldLayoutId id="2147484184" r:id="rId55"/>
    <p:sldLayoutId id="2147484185" r:id="rId56"/>
    <p:sldLayoutId id="2147484186" r:id="rId57"/>
    <p:sldLayoutId id="2147484187" r:id="rId58"/>
    <p:sldLayoutId id="2147484188" r:id="rId59"/>
    <p:sldLayoutId id="2147484189" r:id="rId60"/>
    <p:sldLayoutId id="2147484190" r:id="rId61"/>
    <p:sldLayoutId id="2147484191" r:id="rId62"/>
    <p:sldLayoutId id="2147484192" r:id="rId63"/>
    <p:sldLayoutId id="2147484193" r:id="rId64"/>
    <p:sldLayoutId id="2147484194" r:id="rId65"/>
    <p:sldLayoutId id="2147484195" r:id="rId66"/>
    <p:sldLayoutId id="2147484196" r:id="rId67"/>
    <p:sldLayoutId id="2147484197" r:id="rId68"/>
    <p:sldLayoutId id="2147484198" r:id="rId69"/>
    <p:sldLayoutId id="2147484199" r:id="rId70"/>
    <p:sldLayoutId id="2147484200" r:id="rId71"/>
    <p:sldLayoutId id="2147484201" r:id="rId72"/>
    <p:sldLayoutId id="2147484202" r:id="rId73"/>
    <p:sldLayoutId id="2147484203" r:id="rId74"/>
    <p:sldLayoutId id="2147484204" r:id="rId75"/>
    <p:sldLayoutId id="2147484205" r:id="rId76"/>
    <p:sldLayoutId id="2147484206" r:id="rId77"/>
    <p:sldLayoutId id="2147484207" r:id="rId78"/>
    <p:sldLayoutId id="2147484208" r:id="rId7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AC8A4E4-F386-4E56-9A81-0440C9BEE5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792174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347" imgH="348" progId="TCLayout.ActiveDocument.1">
                  <p:embed/>
                </p:oleObj>
              </mc:Choice>
              <mc:Fallback>
                <p:oleObj name="think-cell Slide" r:id="rId82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AC8A4E4-F386-4E56-9A81-0440C9BEE5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659C8C-19C9-A04C-B2FD-815CB27B0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6E099-1625-F748-AFC5-C48769D2C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9BA8D-4E6F-D147-98A4-458DA96386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75066-B37B-2D4A-8FBB-CFED1965CC7B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B39E5-FA50-694D-AFED-A93F7FA45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DB761-4A2B-5D4B-BC07-C1811907F4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40B3BC-5F62-0242-9CEC-523CFB67603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E5E640-76B3-BC4F-98F7-FC24EF0080CC}"/>
              </a:ext>
            </a:extLst>
          </p:cNvPr>
          <p:cNvSpPr txBox="1">
            <a:spLocks/>
          </p:cNvSpPr>
          <p:nvPr userDrawn="1"/>
        </p:nvSpPr>
        <p:spPr>
          <a:xfrm>
            <a:off x="623888" y="629893"/>
            <a:ext cx="3474280" cy="165576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806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0" r:id="rId1"/>
    <p:sldLayoutId id="2147484211" r:id="rId2"/>
    <p:sldLayoutId id="2147484212" r:id="rId3"/>
    <p:sldLayoutId id="2147484213" r:id="rId4"/>
    <p:sldLayoutId id="2147484214" r:id="rId5"/>
    <p:sldLayoutId id="2147484215" r:id="rId6"/>
    <p:sldLayoutId id="2147484216" r:id="rId7"/>
    <p:sldLayoutId id="2147484217" r:id="rId8"/>
    <p:sldLayoutId id="2147484218" r:id="rId9"/>
    <p:sldLayoutId id="2147484219" r:id="rId10"/>
    <p:sldLayoutId id="2147484220" r:id="rId11"/>
    <p:sldLayoutId id="2147484221" r:id="rId12"/>
    <p:sldLayoutId id="2147484222" r:id="rId13"/>
    <p:sldLayoutId id="2147484223" r:id="rId14"/>
    <p:sldLayoutId id="2147484224" r:id="rId15"/>
    <p:sldLayoutId id="2147484225" r:id="rId16"/>
    <p:sldLayoutId id="2147484226" r:id="rId17"/>
    <p:sldLayoutId id="2147484227" r:id="rId18"/>
    <p:sldLayoutId id="2147484228" r:id="rId19"/>
    <p:sldLayoutId id="2147484229" r:id="rId20"/>
    <p:sldLayoutId id="2147484230" r:id="rId21"/>
    <p:sldLayoutId id="2147484231" r:id="rId22"/>
    <p:sldLayoutId id="2147484232" r:id="rId23"/>
    <p:sldLayoutId id="2147484233" r:id="rId24"/>
    <p:sldLayoutId id="2147484234" r:id="rId25"/>
    <p:sldLayoutId id="2147484235" r:id="rId26"/>
    <p:sldLayoutId id="2147484236" r:id="rId27"/>
    <p:sldLayoutId id="2147484237" r:id="rId28"/>
    <p:sldLayoutId id="2147484238" r:id="rId29"/>
    <p:sldLayoutId id="2147484239" r:id="rId30"/>
    <p:sldLayoutId id="2147484240" r:id="rId31"/>
    <p:sldLayoutId id="2147484241" r:id="rId32"/>
    <p:sldLayoutId id="2147484242" r:id="rId33"/>
    <p:sldLayoutId id="2147484243" r:id="rId34"/>
    <p:sldLayoutId id="2147484244" r:id="rId35"/>
    <p:sldLayoutId id="2147484245" r:id="rId36"/>
    <p:sldLayoutId id="2147484246" r:id="rId37"/>
    <p:sldLayoutId id="2147484247" r:id="rId38"/>
    <p:sldLayoutId id="2147484248" r:id="rId39"/>
    <p:sldLayoutId id="2147484249" r:id="rId40"/>
    <p:sldLayoutId id="2147484250" r:id="rId41"/>
    <p:sldLayoutId id="2147484251" r:id="rId42"/>
    <p:sldLayoutId id="2147484252" r:id="rId43"/>
    <p:sldLayoutId id="2147484253" r:id="rId44"/>
    <p:sldLayoutId id="2147484254" r:id="rId45"/>
    <p:sldLayoutId id="2147484255" r:id="rId46"/>
    <p:sldLayoutId id="2147484256" r:id="rId47"/>
    <p:sldLayoutId id="2147484257" r:id="rId48"/>
    <p:sldLayoutId id="2147484258" r:id="rId49"/>
    <p:sldLayoutId id="2147484259" r:id="rId50"/>
    <p:sldLayoutId id="2147484260" r:id="rId51"/>
    <p:sldLayoutId id="2147484261" r:id="rId52"/>
    <p:sldLayoutId id="2147484262" r:id="rId53"/>
    <p:sldLayoutId id="2147484263" r:id="rId54"/>
    <p:sldLayoutId id="2147484264" r:id="rId55"/>
    <p:sldLayoutId id="2147484265" r:id="rId56"/>
    <p:sldLayoutId id="2147484266" r:id="rId57"/>
    <p:sldLayoutId id="2147484267" r:id="rId58"/>
    <p:sldLayoutId id="2147484268" r:id="rId59"/>
    <p:sldLayoutId id="2147484269" r:id="rId60"/>
    <p:sldLayoutId id="2147484270" r:id="rId61"/>
    <p:sldLayoutId id="2147484271" r:id="rId62"/>
    <p:sldLayoutId id="2147484272" r:id="rId63"/>
    <p:sldLayoutId id="2147484273" r:id="rId64"/>
    <p:sldLayoutId id="2147484274" r:id="rId65"/>
    <p:sldLayoutId id="2147484275" r:id="rId66"/>
    <p:sldLayoutId id="2147484276" r:id="rId67"/>
    <p:sldLayoutId id="2147484277" r:id="rId68"/>
    <p:sldLayoutId id="2147484278" r:id="rId69"/>
    <p:sldLayoutId id="2147484279" r:id="rId70"/>
    <p:sldLayoutId id="2147484280" r:id="rId71"/>
    <p:sldLayoutId id="2147484281" r:id="rId72"/>
    <p:sldLayoutId id="2147484282" r:id="rId73"/>
    <p:sldLayoutId id="2147484283" r:id="rId74"/>
    <p:sldLayoutId id="2147484284" r:id="rId75"/>
    <p:sldLayoutId id="2147484285" r:id="rId76"/>
    <p:sldLayoutId id="2147484286" r:id="rId77"/>
    <p:sldLayoutId id="2147484287" r:id="rId78"/>
    <p:sldLayoutId id="2147484288" r:id="rId7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3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0.png"/><Relationship Id="rId2" Type="http://schemas.openxmlformats.org/officeDocument/2006/relationships/image" Target="../media/image319.png"/><Relationship Id="rId1" Type="http://schemas.openxmlformats.org/officeDocument/2006/relationships/slideLayout" Target="../slideLayouts/slideLayout467.xml"/><Relationship Id="rId6" Type="http://schemas.openxmlformats.org/officeDocument/2006/relationships/image" Target="../media/image323.png"/><Relationship Id="rId5" Type="http://schemas.openxmlformats.org/officeDocument/2006/relationships/image" Target="../media/image322.png"/><Relationship Id="rId4" Type="http://schemas.openxmlformats.org/officeDocument/2006/relationships/image" Target="../media/image32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4.png"/><Relationship Id="rId1" Type="http://schemas.openxmlformats.org/officeDocument/2006/relationships/slideLayout" Target="../slideLayouts/slideLayout46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6.png"/><Relationship Id="rId2" Type="http://schemas.openxmlformats.org/officeDocument/2006/relationships/image" Target="../media/image325.jpg"/><Relationship Id="rId1" Type="http://schemas.openxmlformats.org/officeDocument/2006/relationships/slideLayout" Target="../slideLayouts/slideLayout43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0.xml"/><Relationship Id="rId4" Type="http://schemas.openxmlformats.org/officeDocument/2006/relationships/image" Target="../media/image30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8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07.png"/><Relationship Id="rId2" Type="http://schemas.openxmlformats.org/officeDocument/2006/relationships/slideLayout" Target="../slideLayouts/slideLayout791.xml"/><Relationship Id="rId1" Type="http://schemas.openxmlformats.org/officeDocument/2006/relationships/tags" Target="../tags/tag12.xml"/><Relationship Id="rId6" Type="http://schemas.openxmlformats.org/officeDocument/2006/relationships/image" Target="../media/image30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30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0.jpg"/><Relationship Id="rId1" Type="http://schemas.openxmlformats.org/officeDocument/2006/relationships/slideLayout" Target="../slideLayouts/slideLayout29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2.png"/><Relationship Id="rId2" Type="http://schemas.openxmlformats.org/officeDocument/2006/relationships/image" Target="../media/image311.png"/><Relationship Id="rId1" Type="http://schemas.openxmlformats.org/officeDocument/2006/relationships/slideLayout" Target="../slideLayouts/slideLayout798.xml"/><Relationship Id="rId5" Type="http://schemas.openxmlformats.org/officeDocument/2006/relationships/image" Target="../media/image314.png"/><Relationship Id="rId4" Type="http://schemas.openxmlformats.org/officeDocument/2006/relationships/image" Target="../media/image3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6.png"/><Relationship Id="rId2" Type="http://schemas.openxmlformats.org/officeDocument/2006/relationships/image" Target="../media/image315.png"/><Relationship Id="rId1" Type="http://schemas.openxmlformats.org/officeDocument/2006/relationships/slideLayout" Target="../slideLayouts/slideLayout46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7.png"/><Relationship Id="rId1" Type="http://schemas.openxmlformats.org/officeDocument/2006/relationships/slideLayout" Target="../slideLayouts/slideLayout46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8.png"/><Relationship Id="rId1" Type="http://schemas.openxmlformats.org/officeDocument/2006/relationships/slideLayout" Target="../slideLayouts/slideLayout46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B29DF491-57BB-C749-B2A2-A3596BB6FD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7" y="5225073"/>
            <a:ext cx="4205565" cy="1176766"/>
          </a:xfrm>
        </p:spPr>
        <p:txBody>
          <a:bodyPr/>
          <a:lstStyle/>
          <a:p>
            <a:r>
              <a:rPr lang="en-US" dirty="0">
                <a:solidFill>
                  <a:srgbClr val="C09A5D"/>
                </a:solidFill>
              </a:rPr>
              <a:t>
Andrei Bita</a:t>
            </a:r>
          </a:p>
          <a:p>
            <a:r>
              <a:rPr lang="en-US" dirty="0">
                <a:solidFill>
                  <a:srgbClr val="C09A5D"/>
                </a:solidFill>
              </a:rPr>
              <a:t>19.04.2023 </a:t>
            </a:r>
          </a:p>
          <a:p>
            <a:r>
              <a:rPr lang="en-US" dirty="0">
                <a:solidFill>
                  <a:srgbClr val="C09A5D"/>
                </a:solidFill>
              </a:rPr>
              <a:t>KINGSPAN LOGSTO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1D0C79-BDBA-3046-B8DE-8C8C2E6FDB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7" y="3838035"/>
            <a:ext cx="10944226" cy="490869"/>
          </a:xfrm>
        </p:spPr>
        <p:txBody>
          <a:bodyPr/>
          <a:lstStyle/>
          <a:p>
            <a:r>
              <a:rPr lang="da-DK" dirty="0"/>
              <a:t>Logstor Twin Pipe System Impact in Total Cost of Ownership </a:t>
            </a:r>
            <a:endParaRPr lang="en-US" sz="2800" dirty="0">
              <a:solidFill>
                <a:srgbClr val="C09A5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3273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6530F-3EA5-4EFC-B136-1ED6DBC7F1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Logstor Fingerprint in 21st Century Technology 
</a:t>
            </a:r>
            <a:endParaRPr lang="da-DK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353A31-168B-4E35-A407-AA5BB18DA9F6}"/>
              </a:ext>
            </a:extLst>
          </p:cNvPr>
          <p:cNvSpPr txBox="1"/>
          <p:nvPr/>
        </p:nvSpPr>
        <p:spPr>
          <a:xfrm>
            <a:off x="623887" y="1261903"/>
            <a:ext cx="711882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Anti diffusion barrier </a:t>
            </a:r>
            <a:r>
              <a:rPr lang="en-US" b="1" dirty="0"/>
              <a:t>
 </a:t>
            </a:r>
            <a:r>
              <a:rPr lang="en-US" dirty="0"/>
              <a:t>- Prevents insulation aging and helps preserve insulating properties throughout life;
 - Reduces energy losses by 15-30% throughout the exploitation period. </a:t>
            </a:r>
            <a:r>
              <a:rPr lang="en-US" b="1" dirty="0"/>
              <a:t>
</a:t>
            </a:r>
            <a:endParaRPr lang="da-DK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4264BD9-D91B-4146-87ED-BD2C181CB3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4907" y="1261903"/>
            <a:ext cx="2391109" cy="167663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B173B79-FB1E-4078-BE16-F9CD4E4DF89B}"/>
              </a:ext>
            </a:extLst>
          </p:cNvPr>
          <p:cNvSpPr txBox="1"/>
          <p:nvPr/>
        </p:nvSpPr>
        <p:spPr>
          <a:xfrm>
            <a:off x="537682" y="2728316"/>
            <a:ext cx="711882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 of electro-weldable joints</a:t>
            </a:r>
          </a:p>
          <a:p>
            <a:r>
              <a:rPr lang="en-US" b="1" dirty="0"/>
              <a:t>
 </a:t>
            </a:r>
            <a:r>
              <a:rPr lang="en-US" dirty="0"/>
              <a:t>- Eliminate installation errors due to the electronic controlled process;
- Perfectly sealed system due to the electrofusion welding process eliminating the risk of errors in the seeding system;
- The use of pre-dosed foam packs for each diameter of the joints, ensuring identical properties with pipes insulation.</a:t>
            </a:r>
            <a:r>
              <a:rPr lang="en-US" b="1" dirty="0"/>
              <a:t>
</a:t>
            </a:r>
            <a:endParaRPr lang="da-DK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A6A2E8C-2749-4D2C-A04C-6AC0C220AB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4906" y="2948794"/>
            <a:ext cx="2391109" cy="167663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D0D6B3D-53DC-4762-922F-DFA0E69291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3694" y="2507773"/>
            <a:ext cx="1711631" cy="108473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3C96FC1-AEAD-46D8-957F-968B194EFD7E}"/>
              </a:ext>
            </a:extLst>
          </p:cNvPr>
          <p:cNvSpPr txBox="1"/>
          <p:nvPr/>
        </p:nvSpPr>
        <p:spPr>
          <a:xfrm>
            <a:off x="413450" y="5313639"/>
            <a:ext cx="71188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 of flexible elbows and branches – SXB &amp;SXT  </a:t>
            </a:r>
            <a:r>
              <a:rPr lang="en-US" b="1" dirty="0"/>
              <a:t>
</a:t>
            </a:r>
            <a:r>
              <a:rPr lang="en-US" dirty="0"/>
              <a:t>- The kits are designed for foaming on site;
- Reducing the number of sleeves in the system 
- Flexibility in installation at different angles.  </a:t>
            </a:r>
            <a:r>
              <a:rPr lang="en-US" b="1" dirty="0"/>
              <a:t>
</a:t>
            </a:r>
            <a:r>
              <a:rPr lang="en-US" dirty="0"/>
              <a:t> </a:t>
            </a:r>
            <a:endParaRPr lang="da-DK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6186472-C0C7-4D77-B50D-37E61DCB04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08043" y="4991312"/>
            <a:ext cx="1882417" cy="118302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18FD105-3565-445F-BBAE-7871FA5BEB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89866" y="4754536"/>
            <a:ext cx="1753898" cy="1538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2692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2DD197-BEA9-4DDE-B06B-88CABD62CA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00428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ing in energy efficiency - investing in our future</a:t>
            </a:r>
            <a:endParaRPr lang="da-DK" dirty="0">
              <a:solidFill>
                <a:srgbClr val="00428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F23C57D6-2BE6-4CC0-94FD-22234AC8CD8C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2"/>
          <a:stretch>
            <a:fillRect/>
          </a:stretch>
        </p:blipFill>
        <p:spPr>
          <a:xfrm>
            <a:off x="1587551" y="1300162"/>
            <a:ext cx="8824809" cy="507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2379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38000"/>
            <a:lum/>
          </a:blip>
          <a:srcRect/>
          <a:stretch>
            <a:fillRect t="-21000" b="-2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8770B-A87C-1C46-B89B-0B62AFD475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" y="2428201"/>
            <a:ext cx="3474280" cy="2870545"/>
          </a:xfrm>
        </p:spPr>
        <p:txBody>
          <a:bodyPr/>
          <a:lstStyle/>
          <a:p>
            <a:br>
              <a:rPr lang="en-US" sz="4800" dirty="0"/>
            </a:br>
            <a:r>
              <a:rPr lang="da-DK" sz="3200" dirty="0"/>
              <a:t>Thank you, </a:t>
            </a:r>
            <a:br>
              <a:rPr lang="da-DK" sz="3200" dirty="0"/>
            </a:br>
            <a:r>
              <a:rPr lang="da-DK" sz="3200" dirty="0"/>
              <a:t>for your attention</a:t>
            </a:r>
            <a:endParaRPr lang="en-US" sz="4400" dirty="0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0AB67837-733A-4ACA-A3E3-94ED4321CA1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1249" y="1565987"/>
            <a:ext cx="7025951" cy="3512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1283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3">
            <a:extLst>
              <a:ext uri="{FF2B5EF4-FFF2-40B4-BE49-F238E27FC236}">
                <a16:creationId xmlns:a16="http://schemas.microsoft.com/office/drawing/2014/main" id="{1A4DA7B7-C9DB-EA41-BE59-DEAFC9B5C5B7}"/>
              </a:ext>
            </a:extLst>
          </p:cNvPr>
          <p:cNvSpPr txBox="1">
            <a:spLocks/>
          </p:cNvSpPr>
          <p:nvPr/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j-ea"/>
              <a:cs typeface="+mj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A3F72B5-D881-E04D-8A93-029C89486663}"/>
              </a:ext>
            </a:extLst>
          </p:cNvPr>
          <p:cNvSpPr txBox="1">
            <a:spLocks/>
          </p:cNvSpPr>
          <p:nvPr/>
        </p:nvSpPr>
        <p:spPr>
          <a:xfrm>
            <a:off x="633616" y="2359283"/>
            <a:ext cx="10363200" cy="2482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marR="0" lvl="0" indent="-3600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9417A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00E16825-C0B1-C647-AE02-C1191AD62DD3}"/>
              </a:ext>
            </a:extLst>
          </p:cNvPr>
          <p:cNvSpPr txBox="1">
            <a:spLocks/>
          </p:cNvSpPr>
          <p:nvPr/>
        </p:nvSpPr>
        <p:spPr>
          <a:xfrm>
            <a:off x="668867" y="607412"/>
            <a:ext cx="4794251" cy="6921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Kingspan Brown TT Light" panose="020B0404020101010102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Kingspan Brown TT Light" panose="020B0404020101010102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Kingspan Brown TT Light" panose="020B0404020101010102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Kingspan Brown TT Light" panose="020B0404020101010102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Kingspan Brown TT Light" panose="020B0404020101010102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UR MISSION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" name="Title 33">
            <a:extLst>
              <a:ext uri="{FF2B5EF4-FFF2-40B4-BE49-F238E27FC236}">
                <a16:creationId xmlns:a16="http://schemas.microsoft.com/office/drawing/2014/main" id="{BB63E906-705F-3C42-A269-FAE2E2880A9D}"/>
              </a:ext>
            </a:extLst>
          </p:cNvPr>
          <p:cNvSpPr txBox="1">
            <a:spLocks/>
          </p:cNvSpPr>
          <p:nvPr/>
        </p:nvSpPr>
        <p:spPr>
          <a:xfrm>
            <a:off x="633616" y="411734"/>
            <a:ext cx="6325984" cy="56934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j-ea"/>
              <a:cs typeface="+mj-cs"/>
            </a:endParaRPr>
          </a:p>
        </p:txBody>
      </p:sp>
      <p:pic>
        <p:nvPicPr>
          <p:cNvPr id="16" name="8EEA6ADD-F30F-4EEC-8044-54F4766ABD6E">
            <a:extLst>
              <a:ext uri="{FF2B5EF4-FFF2-40B4-BE49-F238E27FC236}">
                <a16:creationId xmlns:a16="http://schemas.microsoft.com/office/drawing/2014/main" id="{DE2692BA-13DD-2C44-933C-650BFFE317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5492" y="1317864"/>
            <a:ext cx="3085977" cy="1657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B2FE464-9B32-AC4A-9F79-2C6BD51D1C8B}"/>
              </a:ext>
            </a:extLst>
          </p:cNvPr>
          <p:cNvSpPr txBox="1"/>
          <p:nvPr/>
        </p:nvSpPr>
        <p:spPr>
          <a:xfrm>
            <a:off x="529918" y="5885027"/>
            <a:ext cx="35352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AD34D72-94D1-B445-B07A-0677E784EFB6}"/>
              </a:ext>
            </a:extLst>
          </p:cNvPr>
          <p:cNvSpPr/>
          <p:nvPr/>
        </p:nvSpPr>
        <p:spPr>
          <a:xfrm>
            <a:off x="529918" y="2990010"/>
            <a:ext cx="320933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1965 Kingspan begins as a small engineering and contracting business. Eugene Murtagh begins manufacturing agricultural trailers behind his family business, Murtagh's Pub in </a:t>
            </a:r>
            <a:r>
              <a:rPr lang="en-US" dirty="0" err="1"/>
              <a:t>Kingscourt</a:t>
            </a:r>
            <a:r>
              <a:rPr lang="en-US" dirty="0"/>
              <a:t>, Ireland. In the following years the </a:t>
            </a:r>
            <a:r>
              <a:rPr lang="en-US" dirty="0" err="1"/>
              <a:t>Kingscourt</a:t>
            </a:r>
            <a:r>
              <a:rPr lang="en-US" dirty="0"/>
              <a:t> Construction Group was formed</a:t>
            </a:r>
            <a:endParaRPr lang="ro-RO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6656AB5-6D70-FD48-B17F-2BBBE7402B9A}"/>
              </a:ext>
            </a:extLst>
          </p:cNvPr>
          <p:cNvSpPr txBox="1"/>
          <p:nvPr/>
        </p:nvSpPr>
        <p:spPr>
          <a:xfrm>
            <a:off x="4694548" y="424206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02474BF-DDA5-964F-8032-33C32B8073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7" y="412218"/>
            <a:ext cx="10944223" cy="495645"/>
          </a:xfrm>
        </p:spPr>
        <p:txBody>
          <a:bodyPr/>
          <a:lstStyle/>
          <a:p>
            <a:r>
              <a:rPr lang="en-US" dirty="0"/>
              <a:t>We grew to become global leaders</a:t>
            </a:r>
            <a:br>
              <a:rPr lang="en-US" dirty="0"/>
            </a:br>
            <a:r>
              <a:rPr lang="it-IT" dirty="0">
                <a:latin typeface="+mj-lt"/>
              </a:rPr>
              <a:t>
</a:t>
            </a:r>
            <a:endParaRPr lang="en-AU" dirty="0">
              <a:latin typeface="+mj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B6E8721-0921-4D82-80A8-5F5F791DF5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9264" y="1152525"/>
            <a:ext cx="6381250" cy="364571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4543EB-474C-453B-B49F-AD1B757CE4EA}"/>
              </a:ext>
            </a:extLst>
          </p:cNvPr>
          <p:cNvSpPr/>
          <p:nvPr/>
        </p:nvSpPr>
        <p:spPr>
          <a:xfrm>
            <a:off x="8556442" y="4722914"/>
            <a:ext cx="2367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dirty="0"/>
              <a:t>Rreplacement 1989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6A80939-234A-4B6B-9995-7B0CD5AFB7A7}"/>
              </a:ext>
            </a:extLst>
          </p:cNvPr>
          <p:cNvSpPr/>
          <p:nvPr/>
        </p:nvSpPr>
        <p:spPr>
          <a:xfrm>
            <a:off x="4489630" y="3244334"/>
            <a:ext cx="37641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The first pre-insulated pipes 196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133805-DFD4-41FE-B525-110C1B13BCB0}"/>
              </a:ext>
            </a:extLst>
          </p:cNvPr>
          <p:cNvSpPr txBox="1"/>
          <p:nvPr/>
        </p:nvSpPr>
        <p:spPr>
          <a:xfrm>
            <a:off x="4065198" y="5315549"/>
            <a:ext cx="63054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</a:rPr>
              <a:t>Inventor of the pre-insulated pipe technology. </a:t>
            </a:r>
            <a:endParaRPr lang="da-DK" sz="2400" b="1" dirty="0">
              <a:solidFill>
                <a:srgbClr val="FF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14C351-84DB-4A4A-A1CB-40773CEE492F}"/>
              </a:ext>
            </a:extLst>
          </p:cNvPr>
          <p:cNvSpPr txBox="1"/>
          <p:nvPr/>
        </p:nvSpPr>
        <p:spPr>
          <a:xfrm>
            <a:off x="4065198" y="4792329"/>
            <a:ext cx="33393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err="1">
                <a:solidFill>
                  <a:srgbClr val="004289"/>
                </a:solidFill>
              </a:rPr>
              <a:t>Logstor’s</a:t>
            </a:r>
            <a:r>
              <a:rPr lang="en-US" sz="2800" b="1" dirty="0">
                <a:solidFill>
                  <a:srgbClr val="004289"/>
                </a:solidFill>
              </a:rPr>
              <a:t> Identity  </a:t>
            </a:r>
            <a:r>
              <a:rPr lang="en-US" dirty="0"/>
              <a:t>: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738370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D66245C-3151-47BC-B012-C9C5CEDCC2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D66245C-3151-47BC-B012-C9C5CEDCC2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61B3420-8B5B-4F10-A366-B2A1496C0EE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sz="1200" dirty="0">
                <a:latin typeface="+mn-lt"/>
              </a:rPr>
              <a:t>With more than 50 years of research, development and experience, we have </a:t>
            </a:r>
            <a:r>
              <a:rPr lang="en-US" sz="1200" dirty="0">
                <a:latin typeface="+mn-lt"/>
              </a:rPr>
              <a:t>become the leading manufacturer of pre-insulated pipe systems. </a:t>
            </a:r>
            <a:br>
              <a:rPr lang="en-US" sz="1200" dirty="0">
                <a:latin typeface="+mn-lt"/>
              </a:rPr>
            </a:br>
            <a:br>
              <a:rPr lang="en-US" sz="1200" dirty="0">
                <a:latin typeface="+mn-lt"/>
              </a:rPr>
            </a:br>
            <a:r>
              <a:rPr lang="en-US" sz="1200" dirty="0">
                <a:latin typeface="+mn-lt"/>
              </a:rPr>
              <a:t>We invented the pre-insulated pipe, the flexible pipe, unique joints and fittings. And on top of that, we are the first company to introduce environmentally friendly products to manufacture the best insulation material.</a:t>
            </a:r>
            <a:br>
              <a:rPr lang="en-US" sz="1400" dirty="0">
                <a:latin typeface="+mn-lt"/>
              </a:rPr>
            </a:br>
            <a:br>
              <a:rPr lang="en-US" sz="1200" dirty="0">
                <a:latin typeface="+mn-lt"/>
              </a:rPr>
            </a:br>
            <a:br>
              <a:rPr lang="en-US" sz="1400" dirty="0"/>
            </a:br>
            <a:br>
              <a:rPr lang="en-US" sz="1400" dirty="0"/>
            </a:br>
            <a:br>
              <a:rPr lang="en-US" sz="1400" dirty="0"/>
            </a:br>
            <a:endParaRPr lang="da-DK" sz="18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38D357-11A0-465A-A1E7-93410687BDD2}"/>
              </a:ext>
            </a:extLst>
          </p:cNvPr>
          <p:cNvSpPr txBox="1"/>
          <p:nvPr/>
        </p:nvSpPr>
        <p:spPr>
          <a:xfrm>
            <a:off x="503428" y="2435687"/>
            <a:ext cx="4363536" cy="22467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400,000 km of pipes produced and sold worldwide over more than 60 years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50 years of technical assistance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0 years of active pipe surveillance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ocumented </a:t>
            </a:r>
            <a:r>
              <a:rPr kumimoji="0" lang="en-US" sz="1400" b="0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value-added </a:t>
            </a:r>
            <a:r>
              <a:rPr kumimoji="0" lang="en-US" sz="1400" b="0" i="0" u="none" strike="noStrike" kern="1200" cap="none" spc="-9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before, during and after installation services, which help lower </a:t>
            </a:r>
            <a:r>
              <a:rPr kumimoji="0" lang="en-US" sz="1400" b="0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customer</a:t>
            </a:r>
            <a:r>
              <a:rPr kumimoji="0" lang="en-US" sz="1400" b="0" i="0" u="none" strike="noStrike" kern="1200" cap="none" spc="227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 </a:t>
            </a:r>
            <a:r>
              <a:rPr kumimoji="0" lang="en-US" sz="1400" b="0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TCO and TC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C46F69-788A-41EE-8467-2AA0E77BAFFE}"/>
              </a:ext>
            </a:extLst>
          </p:cNvPr>
          <p:cNvSpPr txBox="1"/>
          <p:nvPr/>
        </p:nvSpPr>
        <p:spPr>
          <a:xfrm>
            <a:off x="503428" y="5032031"/>
            <a:ext cx="4184266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ur 4 core segments offer energy efficient pipe system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with the very best insulation properti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. We ensure that only a minimum of produced energy goes to waste when transported over long distances - no matter if the energy is hot water, cold water, oil, gas or other precious liquid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7C37F61F-E30F-4C6C-B207-461E4BBFE2A8}"/>
              </a:ext>
            </a:extLst>
          </p:cNvPr>
          <p:cNvSpPr txBox="1">
            <a:spLocks/>
          </p:cNvSpPr>
          <p:nvPr/>
        </p:nvSpPr>
        <p:spPr>
          <a:xfrm>
            <a:off x="8947149" y="507247"/>
            <a:ext cx="2620963" cy="27295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OGSTOR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istrict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Cooling Solutions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ADBBEF69-727C-425A-BAF8-8257AD49F8B4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5666068" y="476119"/>
            <a:ext cx="2592388" cy="2729519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LOGSTOR District Heating Solutions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A5CC96E3-028E-47DE-8E93-9D0E7D733CCE}"/>
              </a:ext>
            </a:extLst>
          </p:cNvPr>
          <p:cNvSpPr txBox="1">
            <a:spLocks/>
          </p:cNvSpPr>
          <p:nvPr/>
        </p:nvSpPr>
        <p:spPr>
          <a:xfrm>
            <a:off x="5666068" y="3358038"/>
            <a:ext cx="2592388" cy="27295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OGSTOR Thermal Solutions 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BAF2F730-2E52-491E-AEF5-8475577B6C4D}"/>
              </a:ext>
            </a:extLst>
          </p:cNvPr>
          <p:cNvSpPr txBox="1">
            <a:spLocks/>
          </p:cNvSpPr>
          <p:nvPr/>
        </p:nvSpPr>
        <p:spPr>
          <a:xfrm>
            <a:off x="8961436" y="3317697"/>
            <a:ext cx="2592388" cy="27295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OGSTOR Industry  Solutions </a:t>
            </a:r>
          </a:p>
        </p:txBody>
      </p:sp>
      <p:pic>
        <p:nvPicPr>
          <p:cNvPr id="29" name="Picture 28" descr="Icon&#10;&#10;Description automatically generated">
            <a:extLst>
              <a:ext uri="{FF2B5EF4-FFF2-40B4-BE49-F238E27FC236}">
                <a16:creationId xmlns:a16="http://schemas.microsoft.com/office/drawing/2014/main" id="{0C93A9CC-68BB-44DA-81E8-27D38C77975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9841" y="4159639"/>
            <a:ext cx="2128934" cy="212893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00F5A7F1-549A-4083-9E32-C52BCD406249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1436" y="1062072"/>
            <a:ext cx="2044313" cy="204431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66B8DC6-9CF9-4089-B9DB-AC081E330E57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7149" y="4159639"/>
            <a:ext cx="2128934" cy="212893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5F978D3-8127-4F21-B31C-CCEDA705B96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5749" y="1062072"/>
            <a:ext cx="2013026" cy="201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9162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4406A0-1B1E-43C3-839B-3D612F500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8845" y="3242612"/>
            <a:ext cx="8174641" cy="1217301"/>
          </a:xfrm>
        </p:spPr>
        <p:txBody>
          <a:bodyPr/>
          <a:lstStyle/>
          <a:p>
            <a:pPr lvl="0">
              <a:spcBef>
                <a:spcPts val="0"/>
              </a:spcBef>
              <a:defRPr/>
            </a:pPr>
            <a:r>
              <a:rPr lang="it-IT" dirty="0"/>
              <a:t>Logstor’s Proposal for energy efficiency: </a:t>
            </a:r>
            <a:r>
              <a:rPr lang="it-IT" b="1" dirty="0"/>
              <a:t>Twin Pipe system </a:t>
            </a:r>
            <a:br>
              <a:rPr lang="da-DK" dirty="0"/>
            </a:b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79961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84B77-5650-451E-9674-8DE003005D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y TWIN PIPES ?</a:t>
            </a:r>
            <a:endParaRPr lang="da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8AD38A-6699-49D8-A74E-B41EF552C832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995190" y="1329105"/>
            <a:ext cx="4815316" cy="2375690"/>
          </a:xfrm>
        </p:spPr>
        <p:txBody>
          <a:bodyPr>
            <a:normAutofit/>
          </a:bodyPr>
          <a:lstStyle/>
          <a:p>
            <a:r>
              <a:rPr lang="en-US" sz="1400" dirty="0"/>
              <a:t>We produce </a:t>
            </a:r>
            <a:r>
              <a:rPr lang="en-US" sz="1400" dirty="0" err="1"/>
              <a:t>TwinPipe</a:t>
            </a:r>
            <a:r>
              <a:rPr lang="en-US" sz="1400" dirty="0"/>
              <a:t> using two methods:</a:t>
            </a:r>
          </a:p>
          <a:p>
            <a:r>
              <a:rPr lang="en-US" sz="1400" dirty="0"/>
              <a:t> Conventional production method </a:t>
            </a:r>
          </a:p>
          <a:p>
            <a:r>
              <a:rPr lang="en-US" sz="1400" dirty="0"/>
              <a:t> Straight </a:t>
            </a:r>
            <a:r>
              <a:rPr lang="en-US" sz="1400" dirty="0" err="1"/>
              <a:t>TwinPipe</a:t>
            </a:r>
            <a:r>
              <a:rPr lang="en-US" sz="1400" dirty="0"/>
              <a:t> •</a:t>
            </a:r>
          </a:p>
          <a:p>
            <a:r>
              <a:rPr lang="en-US" sz="1400" dirty="0"/>
              <a:t> </a:t>
            </a:r>
            <a:r>
              <a:rPr lang="en-US" sz="1400" b="1" dirty="0"/>
              <a:t>Diameter of carrier pipe: 26.9 - 219.1 mm </a:t>
            </a:r>
          </a:p>
          <a:p>
            <a:r>
              <a:rPr lang="en-US" sz="1400" dirty="0"/>
              <a:t> Steel carrier pipe • Insulation series 1,2 and 3 </a:t>
            </a:r>
          </a:p>
          <a:p>
            <a:r>
              <a:rPr lang="en-US" sz="1400" dirty="0"/>
              <a:t> Lambda value: 0.027 W/</a:t>
            </a:r>
            <a:r>
              <a:rPr lang="en-US" sz="1400" dirty="0" err="1"/>
              <a:t>mK</a:t>
            </a:r>
            <a:endParaRPr lang="da-DK" sz="1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3EBD25-1DE8-4A0B-9A7D-BD9F9D7A7DC7}"/>
              </a:ext>
            </a:extLst>
          </p:cNvPr>
          <p:cNvSpPr/>
          <p:nvPr/>
        </p:nvSpPr>
        <p:spPr>
          <a:xfrm>
            <a:off x="623887" y="1115751"/>
            <a:ext cx="6096000" cy="50783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west possible heat loss leading to lower CO2 emission * </a:t>
            </a:r>
          </a:p>
          <a:p>
            <a:endParaRPr lang="en-US" dirty="0"/>
          </a:p>
          <a:p>
            <a:r>
              <a:rPr lang="en-US" dirty="0"/>
              <a:t>• ROI increases and shortens payback time as world energy prices rise * </a:t>
            </a:r>
          </a:p>
          <a:p>
            <a:endParaRPr lang="en-US" dirty="0"/>
          </a:p>
          <a:p>
            <a:r>
              <a:rPr lang="en-US" dirty="0"/>
              <a:t>• Lowest possible environmental impact * </a:t>
            </a:r>
          </a:p>
          <a:p>
            <a:endParaRPr lang="en-US" dirty="0"/>
          </a:p>
          <a:p>
            <a:r>
              <a:rPr lang="en-US" dirty="0"/>
              <a:t>• Significant savings on operating costs * </a:t>
            </a:r>
          </a:p>
          <a:p>
            <a:endParaRPr lang="en-US" dirty="0"/>
          </a:p>
          <a:p>
            <a:r>
              <a:rPr lang="en-US" dirty="0"/>
              <a:t>• Easier planning and installation </a:t>
            </a:r>
          </a:p>
          <a:p>
            <a:endParaRPr lang="en-US" dirty="0"/>
          </a:p>
          <a:p>
            <a:r>
              <a:rPr lang="en-US" dirty="0"/>
              <a:t>• Lower Cost for excavation and installation * </a:t>
            </a:r>
          </a:p>
          <a:p>
            <a:endParaRPr lang="en-US" dirty="0"/>
          </a:p>
          <a:p>
            <a:r>
              <a:rPr lang="en-US" dirty="0"/>
              <a:t>• Fewer components and joints needed</a:t>
            </a:r>
          </a:p>
          <a:p>
            <a:endParaRPr lang="en-US" dirty="0"/>
          </a:p>
          <a:p>
            <a:r>
              <a:rPr lang="en-US" dirty="0"/>
              <a:t>• All fittings and joints included as an integral part of the system</a:t>
            </a:r>
            <a:endParaRPr lang="da-DK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2BDE679-5067-4035-9648-297112F553F2}"/>
              </a:ext>
            </a:extLst>
          </p:cNvPr>
          <p:cNvSpPr/>
          <p:nvPr/>
        </p:nvSpPr>
        <p:spPr>
          <a:xfrm>
            <a:off x="7060681" y="4742769"/>
            <a:ext cx="44312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dirty="0">
                <a:solidFill>
                  <a:srgbClr val="000000"/>
                </a:solidFill>
              </a:rPr>
              <a:t>• </a:t>
            </a:r>
            <a:r>
              <a:rPr lang="en-US" dirty="0">
                <a:solidFill>
                  <a:srgbClr val="FF0000"/>
                </a:solidFill>
              </a:rPr>
              <a:t>Lowest Total Cost of Ownership * </a:t>
            </a:r>
          </a:p>
        </p:txBody>
      </p:sp>
    </p:spTree>
    <p:extLst>
      <p:ext uri="{BB962C8B-B14F-4D97-AF65-F5344CB8AC3E}">
        <p14:creationId xmlns:p14="http://schemas.microsoft.com/office/powerpoint/2010/main" val="27451782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50718" y="1016451"/>
            <a:ext cx="5284817" cy="5753625"/>
          </a:xfrm>
        </p:spPr>
        <p:txBody>
          <a:bodyPr>
            <a:normAutofit/>
          </a:bodyPr>
          <a:lstStyle/>
          <a:p>
            <a:pPr lvl="1"/>
            <a:r>
              <a:rPr lang="en-GB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(CAPEX)</a:t>
            </a:r>
          </a:p>
          <a:p>
            <a:pPr lvl="2"/>
            <a:r>
              <a:rPr lang="en-GB" sz="2400" dirty="0">
                <a:solidFill>
                  <a:schemeClr val="tx2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insulated pipes</a:t>
            </a:r>
          </a:p>
          <a:p>
            <a:pPr lvl="2"/>
            <a:r>
              <a:rPr lang="en-GB" sz="2400" dirty="0">
                <a:solidFill>
                  <a:schemeClr val="tx2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avation and asphalt</a:t>
            </a:r>
          </a:p>
          <a:p>
            <a:pPr lvl="2"/>
            <a:r>
              <a:rPr lang="en-GB" sz="2400" dirty="0">
                <a:solidFill>
                  <a:schemeClr val="tx2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pe handling, welding and jointing</a:t>
            </a:r>
          </a:p>
          <a:p>
            <a:pPr lvl="2"/>
            <a:r>
              <a:rPr lang="en-GB" sz="2400" dirty="0">
                <a:solidFill>
                  <a:schemeClr val="tx2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ing, design</a:t>
            </a:r>
          </a:p>
          <a:p>
            <a:pPr lvl="2"/>
            <a:r>
              <a:rPr lang="en-GB" sz="2400" dirty="0">
                <a:solidFill>
                  <a:schemeClr val="tx2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vision</a:t>
            </a:r>
          </a:p>
          <a:p>
            <a:pPr marL="176212" lvl="1" indent="0">
              <a:buNone/>
            </a:pPr>
            <a:endParaRPr lang="da-DK" sz="2800" dirty="0"/>
          </a:p>
          <a:p>
            <a:pPr lvl="1"/>
            <a:endParaRPr lang="en-US" sz="1900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2800" dirty="0">
                <a:solidFill>
                  <a:srgbClr val="00B050"/>
                </a:solidFill>
              </a:rPr>
              <a:t>Total </a:t>
            </a:r>
            <a:r>
              <a:rPr lang="da-DK" sz="2800" dirty="0" err="1">
                <a:solidFill>
                  <a:srgbClr val="00B050"/>
                </a:solidFill>
              </a:rPr>
              <a:t>Cost</a:t>
            </a:r>
            <a:r>
              <a:rPr lang="da-DK" sz="2800" dirty="0">
                <a:solidFill>
                  <a:srgbClr val="00B050"/>
                </a:solidFill>
              </a:rPr>
              <a:t> of </a:t>
            </a:r>
            <a:r>
              <a:rPr lang="da-DK" sz="2800" dirty="0" err="1">
                <a:solidFill>
                  <a:srgbClr val="00B050"/>
                </a:solidFill>
              </a:rPr>
              <a:t>Ownership</a:t>
            </a:r>
            <a:r>
              <a:rPr lang="da-DK" sz="2800" dirty="0">
                <a:solidFill>
                  <a:srgbClr val="00B050"/>
                </a:solidFill>
              </a:rPr>
              <a:t> </a:t>
            </a:r>
            <a:r>
              <a:rPr lang="da-DK" sz="2800" dirty="0" err="1">
                <a:solidFill>
                  <a:srgbClr val="00B050"/>
                </a:solidFill>
              </a:rPr>
              <a:t>includes</a:t>
            </a:r>
            <a:endParaRPr lang="da-DK" sz="2800" dirty="0">
              <a:solidFill>
                <a:srgbClr val="00B050"/>
              </a:solidFill>
            </a:endParaRPr>
          </a:p>
        </p:txBody>
      </p:sp>
      <p:sp>
        <p:nvSpPr>
          <p:cNvPr id="8" name="Content Placeholder 1"/>
          <p:cNvSpPr txBox="1">
            <a:spLocks/>
          </p:cNvSpPr>
          <p:nvPr/>
        </p:nvSpPr>
        <p:spPr>
          <a:xfrm>
            <a:off x="6675292" y="1016450"/>
            <a:ext cx="5284817" cy="57536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6213" indent="-176213" algn="l" defTabSz="358775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E4002B"/>
              </a:buClr>
              <a:buFont typeface="Arial" panose="020B0604020202020204" pitchFamily="34" charset="0"/>
              <a:buChar char="•"/>
              <a:defRPr sz="1800" b="0" kern="1200">
                <a:solidFill>
                  <a:srgbClr val="00263A"/>
                </a:solidFill>
                <a:latin typeface="Helvetica LT Std" panose="020B0504020202020204" pitchFamily="34" charset="0"/>
                <a:ea typeface="+mn-ea"/>
                <a:cs typeface="+mn-cs"/>
              </a:defRPr>
            </a:lvl1pPr>
            <a:lvl2pPr marL="358775" indent="-182563" algn="l" defTabSz="358775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Font typeface="Arial" panose="020B0604020202020204" pitchFamily="34" charset="0"/>
              <a:buChar char="•"/>
              <a:defRPr sz="1300" kern="1200">
                <a:solidFill>
                  <a:srgbClr val="00263A"/>
                </a:solidFill>
                <a:latin typeface="Helvetica LT Std" panose="020B0504020202020204" pitchFamily="34" charset="0"/>
                <a:ea typeface="+mn-ea"/>
                <a:cs typeface="+mn-cs"/>
              </a:defRPr>
            </a:lvl2pPr>
            <a:lvl3pPr marL="534988" indent="-176213" algn="l" defTabSz="358775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Font typeface="Arial" panose="020B0604020202020204" pitchFamily="34" charset="0"/>
              <a:buChar char="•"/>
              <a:defRPr sz="1300" kern="1200">
                <a:solidFill>
                  <a:srgbClr val="00263A"/>
                </a:solidFill>
                <a:latin typeface="Helvetica LT Std" panose="020B0504020202020204" pitchFamily="34" charset="0"/>
                <a:ea typeface="+mn-ea"/>
                <a:cs typeface="+mn-cs"/>
              </a:defRPr>
            </a:lvl3pPr>
            <a:lvl4pPr marL="717550" indent="-182563" algn="l" defTabSz="358775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Font typeface="Arial" panose="020B0604020202020204" pitchFamily="34" charset="0"/>
              <a:buChar char="•"/>
              <a:defRPr sz="1300" kern="1200">
                <a:solidFill>
                  <a:srgbClr val="00263A"/>
                </a:solidFill>
                <a:latin typeface="Helvetica LT Std" panose="020B0504020202020204" pitchFamily="34" charset="0"/>
                <a:ea typeface="+mn-ea"/>
                <a:cs typeface="+mn-cs"/>
              </a:defRPr>
            </a:lvl4pPr>
            <a:lvl5pPr marL="893763" indent="-176213" algn="l" defTabSz="358775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Font typeface="Arial" panose="020B0604020202020204" pitchFamily="34" charset="0"/>
              <a:buChar char="•"/>
              <a:defRPr sz="1300" kern="1200">
                <a:solidFill>
                  <a:srgbClr val="00263A"/>
                </a:solidFill>
                <a:latin typeface="Helvetica LT Std" panose="020B05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marR="0" lvl="1" indent="-182563" algn="l" defTabSz="3587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002839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eration (OPEX)</a:t>
            </a:r>
          </a:p>
          <a:p>
            <a:pPr marL="534988" marR="0" lvl="2" indent="-176213" algn="l" defTabSz="3587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2839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t loss cost</a:t>
            </a:r>
          </a:p>
          <a:p>
            <a:pPr marL="534988" marR="0" lvl="2" indent="-176213" algn="l" defTabSz="3587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2839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mping cost</a:t>
            </a:r>
          </a:p>
          <a:p>
            <a:pPr marL="534988" marR="0" lvl="2" indent="-176213" algn="l" defTabSz="3587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2839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pairs</a:t>
            </a:r>
          </a:p>
          <a:p>
            <a:pPr marL="534988" marR="0" lvl="2" indent="-176213" algn="l" defTabSz="3587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2839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intenance</a:t>
            </a:r>
          </a:p>
          <a:p>
            <a:pPr marL="534988" marR="0" lvl="2" indent="-176213" algn="l" defTabSz="3587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2839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rveillance </a:t>
            </a:r>
          </a:p>
          <a:p>
            <a:pPr marL="534988" marR="0" lvl="2" indent="-176213" algn="l" defTabSz="3587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srgbClr val="00263A"/>
              </a:solidFill>
              <a:effectLst/>
              <a:uLnTx/>
              <a:uFillTx/>
              <a:latin typeface="Helvetica LT Std" panose="020B0504020202020204" pitchFamily="34" charset="0"/>
              <a:ea typeface="+mn-ea"/>
              <a:cs typeface="+mn-cs"/>
            </a:endParaRPr>
          </a:p>
          <a:p>
            <a:pPr marL="358775" marR="0" lvl="1" indent="-182563" algn="l" defTabSz="3587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2800" b="0" i="0" u="none" strike="noStrike" kern="1200" cap="none" spc="0" normalizeH="0" baseline="0" noProof="0" dirty="0">
              <a:ln>
                <a:noFill/>
              </a:ln>
              <a:solidFill>
                <a:srgbClr val="00263A"/>
              </a:solidFill>
              <a:effectLst/>
              <a:uLnTx/>
              <a:uFillTx/>
              <a:latin typeface="Helvetica LT Std" panose="020B0504020202020204" pitchFamily="34" charset="0"/>
              <a:ea typeface="+mn-ea"/>
              <a:cs typeface="+mn-cs"/>
            </a:endParaRPr>
          </a:p>
          <a:p>
            <a:pPr marL="358775" marR="0" lvl="1" indent="-182563" algn="l" defTabSz="3587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2800" b="0" i="0" u="none" strike="noStrike" kern="1200" cap="none" spc="0" normalizeH="0" baseline="0" noProof="0" dirty="0">
              <a:ln>
                <a:noFill/>
              </a:ln>
              <a:solidFill>
                <a:srgbClr val="00263A"/>
              </a:solidFill>
              <a:effectLst/>
              <a:uLnTx/>
              <a:uFillTx/>
              <a:latin typeface="Helvetica LT Std" panose="020B0504020202020204" pitchFamily="34" charset="0"/>
              <a:ea typeface="+mn-ea"/>
              <a:cs typeface="+mn-cs"/>
            </a:endParaRPr>
          </a:p>
          <a:p>
            <a:pPr marL="358775" marR="0" lvl="1" indent="-182563" algn="l" defTabSz="3587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263A"/>
              </a:solidFill>
              <a:effectLst/>
              <a:uLnTx/>
              <a:uFillTx/>
              <a:latin typeface="Helvetica LT Std" panose="020B0504020202020204" pitchFamily="34" charset="0"/>
              <a:ea typeface="+mn-ea"/>
              <a:cs typeface="+mn-cs"/>
            </a:endParaRPr>
          </a:p>
        </p:txBody>
      </p:sp>
      <p:sp>
        <p:nvSpPr>
          <p:cNvPr id="14" name="Rektangel 18"/>
          <p:cNvSpPr/>
          <p:nvPr/>
        </p:nvSpPr>
        <p:spPr bwMode="auto">
          <a:xfrm>
            <a:off x="938442" y="1582262"/>
            <a:ext cx="2922358" cy="396760"/>
          </a:xfrm>
          <a:prstGeom prst="rect">
            <a:avLst/>
          </a:prstGeom>
          <a:noFill/>
          <a:ln w="63500" cap="rnd">
            <a:solidFill>
              <a:srgbClr val="FF0000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3249" tIns="46625" rIns="93249" bIns="466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97154" y="4303818"/>
            <a:ext cx="1603364" cy="2405046"/>
          </a:xfrm>
          <a:prstGeom prst="rect">
            <a:avLst/>
          </a:prstGeom>
        </p:spPr>
      </p:pic>
      <p:sp>
        <p:nvSpPr>
          <p:cNvPr id="20" name="Rektangel 18"/>
          <p:cNvSpPr/>
          <p:nvPr/>
        </p:nvSpPr>
        <p:spPr bwMode="auto">
          <a:xfrm>
            <a:off x="7029450" y="1553733"/>
            <a:ext cx="2288250" cy="453817"/>
          </a:xfrm>
          <a:prstGeom prst="rect">
            <a:avLst/>
          </a:prstGeom>
          <a:noFill/>
          <a:ln w="63500" cap="rnd">
            <a:solidFill>
              <a:srgbClr val="FF0000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3249" tIns="46625" rIns="93249" bIns="466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7774" y="4313474"/>
            <a:ext cx="1555122" cy="2395390"/>
          </a:xfrm>
          <a:prstGeom prst="rect">
            <a:avLst/>
          </a:prstGeom>
        </p:spPr>
      </p:pic>
      <p:sp>
        <p:nvSpPr>
          <p:cNvPr id="21" name="Rektangel 18"/>
          <p:cNvSpPr/>
          <p:nvPr/>
        </p:nvSpPr>
        <p:spPr bwMode="auto">
          <a:xfrm>
            <a:off x="938442" y="2077033"/>
            <a:ext cx="3591884" cy="396760"/>
          </a:xfrm>
          <a:prstGeom prst="rect">
            <a:avLst/>
          </a:prstGeom>
          <a:noFill/>
          <a:ln w="63500" cap="rnd">
            <a:solidFill>
              <a:srgbClr val="FF0000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3249" tIns="46625" rIns="93249" bIns="466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2" name="Rektangel 18"/>
          <p:cNvSpPr/>
          <p:nvPr/>
        </p:nvSpPr>
        <p:spPr bwMode="auto">
          <a:xfrm>
            <a:off x="938442" y="2602604"/>
            <a:ext cx="4005244" cy="713884"/>
          </a:xfrm>
          <a:prstGeom prst="rect">
            <a:avLst/>
          </a:prstGeom>
          <a:noFill/>
          <a:ln w="63500" cap="rnd">
            <a:solidFill>
              <a:srgbClr val="FF0000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3249" tIns="46625" rIns="93249" bIns="466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37537" y="4107367"/>
            <a:ext cx="4188884" cy="2523767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601" y="4363290"/>
            <a:ext cx="2590833" cy="2406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1350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1B01AF6A-A608-45A0-B2E1-E2C3C3F1994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Twin Pipes vs Traditional preinsulated pipes</a:t>
            </a:r>
            <a:endParaRPr lang="da-DK" sz="3200" dirty="0"/>
          </a:p>
        </p:txBody>
      </p:sp>
      <p:pic>
        <p:nvPicPr>
          <p:cNvPr id="10" name="Picture 1" descr="D:\2017\Prezentari\Heat Loss DBDH.png">
            <a:extLst>
              <a:ext uri="{FF2B5EF4-FFF2-40B4-BE49-F238E27FC236}">
                <a16:creationId xmlns:a16="http://schemas.microsoft.com/office/drawing/2014/main" id="{76E08AF8-3B40-48B2-9B12-AA00D96771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920" y="1995952"/>
            <a:ext cx="5044523" cy="3390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56A1EAF-AFBE-495A-9738-B320E197EE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6558" y="1943375"/>
            <a:ext cx="5289350" cy="336006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A5D510C-6484-43FE-B96D-5F6F677A084A}"/>
              </a:ext>
            </a:extLst>
          </p:cNvPr>
          <p:cNvSpPr txBox="1"/>
          <p:nvPr/>
        </p:nvSpPr>
        <p:spPr>
          <a:xfrm>
            <a:off x="4145401" y="2135577"/>
            <a:ext cx="11063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CC0001"/>
              </a:buClr>
              <a:buFontTx/>
              <a:buChar char="•"/>
            </a:pPr>
            <a:r>
              <a:rPr lang="en-US" sz="2400" b="1" dirty="0">
                <a:solidFill>
                  <a:srgbClr val="003466"/>
                </a:solidFill>
                <a:latin typeface="Calibri"/>
                <a:ea typeface="ＭＳ Ｐゴシック" charset="0"/>
              </a:rPr>
              <a:t>DN 80</a:t>
            </a:r>
            <a:endParaRPr lang="ro-RO" sz="2400" b="1" dirty="0">
              <a:solidFill>
                <a:srgbClr val="003466"/>
              </a:solidFill>
              <a:latin typeface="Calibri"/>
              <a:ea typeface="ＭＳ Ｐゴシック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C68ABAD-63DC-49D6-92E0-A154B87190D0}"/>
              </a:ext>
            </a:extLst>
          </p:cNvPr>
          <p:cNvSpPr txBox="1"/>
          <p:nvPr/>
        </p:nvSpPr>
        <p:spPr>
          <a:xfrm>
            <a:off x="9132480" y="2299548"/>
            <a:ext cx="11063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CC0001"/>
              </a:buClr>
              <a:buFontTx/>
              <a:buChar char="•"/>
            </a:pPr>
            <a:r>
              <a:rPr lang="en-US" sz="2400" b="1" dirty="0">
                <a:solidFill>
                  <a:srgbClr val="003466"/>
                </a:solidFill>
                <a:latin typeface="Calibri"/>
                <a:ea typeface="ＭＳ Ｐゴシック" charset="0"/>
              </a:rPr>
              <a:t>DN 50</a:t>
            </a:r>
            <a:endParaRPr lang="ro-RO" sz="2400" b="1" dirty="0">
              <a:solidFill>
                <a:srgbClr val="003466"/>
              </a:solidFill>
              <a:latin typeface="Calibri"/>
              <a:ea typeface="ＭＳ Ｐゴシック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5ACE5F3-688E-4BC2-9CC5-5F7744D1FB5E}"/>
              </a:ext>
            </a:extLst>
          </p:cNvPr>
          <p:cNvSpPr txBox="1"/>
          <p:nvPr/>
        </p:nvSpPr>
        <p:spPr>
          <a:xfrm>
            <a:off x="2982543" y="1564750"/>
            <a:ext cx="49439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educing energy losses by more than 50 %</a:t>
            </a:r>
            <a:endParaRPr lang="da-DK" b="1" dirty="0">
              <a:solidFill>
                <a:srgbClr val="004289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F953CC2-607A-4171-B592-E7BEEA9D8F15}"/>
              </a:ext>
            </a:extLst>
          </p:cNvPr>
          <p:cNvSpPr txBox="1"/>
          <p:nvPr/>
        </p:nvSpPr>
        <p:spPr>
          <a:xfrm flipH="1">
            <a:off x="559919" y="5368564"/>
            <a:ext cx="98937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7662" lvl="1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anose="020B0604020202020204" pitchFamily="34" charset="0"/>
              </a:rPr>
              <a:t>Choosing twin system will reduce installation costs by 10-15%.
</a:t>
            </a:r>
            <a:r>
              <a:rPr lang="en-US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cs typeface="Arial" panose="020B0604020202020204" pitchFamily="34" charset="0"/>
              </a:rPr>
              <a:t>TwinPipe</a:t>
            </a:r>
            <a:r>
              <a:rPr lang="en-US" sz="16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anose="020B0604020202020204" pitchFamily="34" charset="0"/>
              </a:rPr>
              <a:t> system are 35% of total sales in sizes where Twin is possible;
In Denmark it is more than </a:t>
            </a:r>
            <a:r>
              <a:rPr lang="en-US" sz="1600" b="1">
                <a:solidFill>
                  <a:schemeClr val="tx2">
                    <a:lumMod val="90000"/>
                    <a:lumOff val="10000"/>
                  </a:schemeClr>
                </a:solidFill>
                <a:cs typeface="Arial" panose="020B0604020202020204" pitchFamily="34" charset="0"/>
              </a:rPr>
              <a:t>70%.</a:t>
            </a:r>
            <a:endParaRPr lang="da-DK" sz="1600" b="1" dirty="0"/>
          </a:p>
        </p:txBody>
      </p:sp>
    </p:spTree>
    <p:extLst>
      <p:ext uri="{BB962C8B-B14F-4D97-AF65-F5344CB8AC3E}">
        <p14:creationId xmlns:p14="http://schemas.microsoft.com/office/powerpoint/2010/main" val="39021657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C32F246-306A-4069-94A8-7D376265D6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293" y="1486567"/>
            <a:ext cx="7701622" cy="4620973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1C263139-84A7-493D-A94E-64877D032F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7" y="296455"/>
            <a:ext cx="10944225" cy="495300"/>
          </a:xfrm>
        </p:spPr>
        <p:txBody>
          <a:bodyPr/>
          <a:lstStyle/>
          <a:p>
            <a:r>
              <a:rPr lang="en-US" sz="2800" dirty="0"/>
              <a:t>Choosing the type of pre-insulated pipe will determine the total cost of ownership over the minimum 30 years</a:t>
            </a:r>
            <a:r>
              <a:rPr lang="en-US" dirty="0"/>
              <a:t>.
</a:t>
            </a:r>
            <a:endParaRPr lang="ro-RO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96EC8E-2948-4C61-86AA-EF09931CF0F3}"/>
              </a:ext>
            </a:extLst>
          </p:cNvPr>
          <p:cNvSpPr txBox="1"/>
          <p:nvPr/>
        </p:nvSpPr>
        <p:spPr>
          <a:xfrm>
            <a:off x="8884289" y="1555667"/>
            <a:ext cx="301478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4289"/>
                </a:solidFill>
              </a:rPr>
              <a:t>Choosing the type of pre-insulated pipe will determine the total cost of ownership over the minimum 30 years.
</a:t>
            </a: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34704804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396F9FDB-B257-4A0F-81FA-A5952C13A3B1}"/>
              </a:ext>
            </a:extLst>
          </p:cNvPr>
          <p:cNvSpPr txBox="1">
            <a:spLocks/>
          </p:cNvSpPr>
          <p:nvPr/>
        </p:nvSpPr>
        <p:spPr>
          <a:xfrm>
            <a:off x="352504" y="335949"/>
            <a:ext cx="11418917" cy="546191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>
                <a:solidFill>
                  <a:srgbClr val="00263A"/>
                </a:solidFill>
                <a:latin typeface="Helvetica LT Std" panose="020B05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33" b="1" i="0" u="none" strike="noStrike" kern="1200" cap="none" spc="0" normalizeH="0" baseline="0" noProof="0" dirty="0">
                <a:ln>
                  <a:noFill/>
                </a:ln>
                <a:solidFill>
                  <a:srgbClr val="00263A"/>
                </a:solidFill>
                <a:effectLst/>
                <a:uLnTx/>
                <a:uFillTx/>
                <a:latin typeface="Helvetica LT Std" panose="020B0504020202020204" pitchFamily="34" charset="0"/>
                <a:ea typeface="+mj-ea"/>
                <a:cs typeface="+mj-cs"/>
              </a:rPr>
              <a:t>Total Cost of Ownership Analysis – 30 years </a:t>
            </a:r>
            <a:endParaRPr kumimoji="0" lang="ro-RO" sz="2933" b="1" i="0" u="none" strike="noStrike" kern="1200" cap="none" spc="0" normalizeH="0" baseline="0" noProof="0" dirty="0">
              <a:ln>
                <a:noFill/>
              </a:ln>
              <a:solidFill>
                <a:srgbClr val="00263A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012258-BDE0-46F0-B26C-EB147BBB0AD7}"/>
              </a:ext>
            </a:extLst>
          </p:cNvPr>
          <p:cNvSpPr/>
          <p:nvPr/>
        </p:nvSpPr>
        <p:spPr>
          <a:xfrm>
            <a:off x="433406" y="2372110"/>
            <a:ext cx="6422895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00000"/>
                </a:solidFill>
                <a:latin typeface="Calibri" panose="020F0502020204030204"/>
              </a:rPr>
              <a:t> Investment in the pre-insulated materials is the smallest part cost which you will have during the lifetime of you network.  </a:t>
            </a:r>
          </a:p>
          <a:p>
            <a:endParaRPr lang="ro-RO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4DD72B0-C949-4AE9-8E88-99A194A3CAC3}"/>
              </a:ext>
            </a:extLst>
          </p:cNvPr>
          <p:cNvGrpSpPr>
            <a:grpSpLocks noChangeAspect="1"/>
          </p:cNvGrpSpPr>
          <p:nvPr/>
        </p:nvGrpSpPr>
        <p:grpSpPr>
          <a:xfrm>
            <a:off x="7002096" y="1356303"/>
            <a:ext cx="5081583" cy="4619620"/>
            <a:chOff x="6402912" y="1614398"/>
            <a:chExt cx="2803188" cy="2592288"/>
          </a:xfrm>
        </p:grpSpPr>
        <p:pic>
          <p:nvPicPr>
            <p:cNvPr id="7" name="Billede 8" descr="Graf-2.png">
              <a:extLst>
                <a:ext uri="{FF2B5EF4-FFF2-40B4-BE49-F238E27FC236}">
                  <a16:creationId xmlns:a16="http://schemas.microsoft.com/office/drawing/2014/main" id="{2EFEFBED-E496-4997-BE8E-B2FCCAC358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220"/>
            <a:stretch/>
          </p:blipFill>
          <p:spPr bwMode="auto">
            <a:xfrm>
              <a:off x="6402912" y="1614398"/>
              <a:ext cx="2803188" cy="2592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192E67F-9EAF-4F73-8ECE-B923D272EA4B}"/>
                </a:ext>
              </a:extLst>
            </p:cNvPr>
            <p:cNvSpPr txBox="1"/>
            <p:nvPr/>
          </p:nvSpPr>
          <p:spPr>
            <a:xfrm>
              <a:off x="6971652" y="2236123"/>
              <a:ext cx="1146231" cy="2492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</a:rPr>
                <a:t>Investment Cost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067FD04-1E64-4185-9D7F-924B7AB1B146}"/>
                </a:ext>
              </a:extLst>
            </p:cNvPr>
            <p:cNvSpPr txBox="1"/>
            <p:nvPr/>
          </p:nvSpPr>
          <p:spPr>
            <a:xfrm>
              <a:off x="6909357" y="3104964"/>
              <a:ext cx="1144812" cy="4487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</a:rPr>
                <a:t>Operating Costs</a:t>
              </a:r>
            </a:p>
            <a:p>
              <a:pPr algn="ctr"/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</a:rPr>
                <a:t>30 yea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325966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ingspan Theme Group">
  <a:themeElements>
    <a:clrScheme name="Kingsp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4189"/>
      </a:accent1>
      <a:accent2>
        <a:srgbClr val="C09A5D"/>
      </a:accent2>
      <a:accent3>
        <a:srgbClr val="F7A32C"/>
      </a:accent3>
      <a:accent4>
        <a:srgbClr val="0FA041"/>
      </a:accent4>
      <a:accent5>
        <a:srgbClr val="138DC6"/>
      </a:accent5>
      <a:accent6>
        <a:srgbClr val="6B6B6B"/>
      </a:accent6>
      <a:hlink>
        <a:srgbClr val="F7A32C"/>
      </a:hlink>
      <a:folHlink>
        <a:srgbClr val="128DC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gspan Theme Group" id="{6DD7C933-1ED7-164E-9E3E-5F016153B454}" vid="{BC0D456D-0E5D-B544-ADCF-7B3DB8C18A23}"/>
    </a:ext>
  </a:extLst>
</a:theme>
</file>

<file path=ppt/theme/theme10.xml><?xml version="1.0" encoding="utf-8"?>
<a:theme xmlns:a="http://schemas.openxmlformats.org/drawingml/2006/main" name="9_Kingspan Theme Group">
  <a:themeElements>
    <a:clrScheme name="Kingsp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4189"/>
      </a:accent1>
      <a:accent2>
        <a:srgbClr val="C09A5D"/>
      </a:accent2>
      <a:accent3>
        <a:srgbClr val="F7A32C"/>
      </a:accent3>
      <a:accent4>
        <a:srgbClr val="0FA041"/>
      </a:accent4>
      <a:accent5>
        <a:srgbClr val="138DC6"/>
      </a:accent5>
      <a:accent6>
        <a:srgbClr val="6B6B6B"/>
      </a:accent6>
      <a:hlink>
        <a:srgbClr val="F7A32C"/>
      </a:hlink>
      <a:folHlink>
        <a:srgbClr val="128DC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gspan Theme Group" id="{6DD7C933-1ED7-164E-9E3E-5F016153B454}" vid="{BC0D456D-0E5D-B544-ADCF-7B3DB8C18A23}"/>
    </a:ext>
  </a:extLst>
</a:theme>
</file>

<file path=ppt/theme/theme11.xml><?xml version="1.0" encoding="utf-8"?>
<a:theme xmlns:a="http://schemas.openxmlformats.org/drawingml/2006/main" name="10_Kingspan Theme Group">
  <a:themeElements>
    <a:clrScheme name="Kingsp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4189"/>
      </a:accent1>
      <a:accent2>
        <a:srgbClr val="C09A5D"/>
      </a:accent2>
      <a:accent3>
        <a:srgbClr val="F7A32C"/>
      </a:accent3>
      <a:accent4>
        <a:srgbClr val="0FA041"/>
      </a:accent4>
      <a:accent5>
        <a:srgbClr val="138DC6"/>
      </a:accent5>
      <a:accent6>
        <a:srgbClr val="6B6B6B"/>
      </a:accent6>
      <a:hlink>
        <a:srgbClr val="F7A32C"/>
      </a:hlink>
      <a:folHlink>
        <a:srgbClr val="128DC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gspan Theme Group" id="{6DD7C933-1ED7-164E-9E3E-5F016153B454}" vid="{BC0D456D-0E5D-B544-ADCF-7B3DB8C18A23}"/>
    </a:ext>
  </a:extLst>
</a:theme>
</file>

<file path=ppt/theme/theme12.xml><?xml version="1.0" encoding="utf-8"?>
<a:theme xmlns:a="http://schemas.openxmlformats.org/drawingml/2006/main" name="11_Kingspan Theme Group">
  <a:themeElements>
    <a:clrScheme name="Kingsp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4189"/>
      </a:accent1>
      <a:accent2>
        <a:srgbClr val="C09A5D"/>
      </a:accent2>
      <a:accent3>
        <a:srgbClr val="F7A32C"/>
      </a:accent3>
      <a:accent4>
        <a:srgbClr val="0FA041"/>
      </a:accent4>
      <a:accent5>
        <a:srgbClr val="138DC6"/>
      </a:accent5>
      <a:accent6>
        <a:srgbClr val="6B6B6B"/>
      </a:accent6>
      <a:hlink>
        <a:srgbClr val="F7A32C"/>
      </a:hlink>
      <a:folHlink>
        <a:srgbClr val="128DC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gspan Theme Group" id="{6DD7C933-1ED7-164E-9E3E-5F016153B454}" vid="{BC0D456D-0E5D-B544-ADCF-7B3DB8C18A23}"/>
    </a:ext>
  </a:extLst>
</a:theme>
</file>

<file path=ppt/theme/theme13.xml><?xml version="1.0" encoding="utf-8"?>
<a:theme xmlns:a="http://schemas.openxmlformats.org/drawingml/2006/main" name="LOGSTOR_theme">
  <a:themeElements>
    <a:clrScheme name="Logstor lys">
      <a:dk1>
        <a:srgbClr val="000000"/>
      </a:dk1>
      <a:lt1>
        <a:sysClr val="window" lastClr="FFFFFF"/>
      </a:lt1>
      <a:dk2>
        <a:srgbClr val="002839"/>
      </a:dk2>
      <a:lt2>
        <a:srgbClr val="F2F2F2"/>
      </a:lt2>
      <a:accent1>
        <a:srgbClr val="ADCCD2"/>
      </a:accent1>
      <a:accent2>
        <a:srgbClr val="0077AA"/>
      </a:accent2>
      <a:accent3>
        <a:srgbClr val="8DA089"/>
      </a:accent3>
      <a:accent4>
        <a:srgbClr val="E4002B"/>
      </a:accent4>
      <a:accent5>
        <a:srgbClr val="5C6E58"/>
      </a:accent5>
      <a:accent6>
        <a:srgbClr val="92A4B5"/>
      </a:accent6>
      <a:hlink>
        <a:srgbClr val="B5B5B5"/>
      </a:hlink>
      <a:folHlink>
        <a:srgbClr val="999999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OGSTOR.potx" id="{15C50A8A-4365-41E2-8D63-714A324C3AAB}" vid="{131D67AD-3D57-463D-8856-F4D6553C3EBD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Kingspan Theme Group">
  <a:themeElements>
    <a:clrScheme name="Kingsp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4189"/>
      </a:accent1>
      <a:accent2>
        <a:srgbClr val="C09A5D"/>
      </a:accent2>
      <a:accent3>
        <a:srgbClr val="F7A32C"/>
      </a:accent3>
      <a:accent4>
        <a:srgbClr val="0FA041"/>
      </a:accent4>
      <a:accent5>
        <a:srgbClr val="138DC6"/>
      </a:accent5>
      <a:accent6>
        <a:srgbClr val="6B6B6B"/>
      </a:accent6>
      <a:hlink>
        <a:srgbClr val="F7A32C"/>
      </a:hlink>
      <a:folHlink>
        <a:srgbClr val="128DC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gspan Theme Group" id="{6DD7C933-1ED7-164E-9E3E-5F016153B454}" vid="{BC0D456D-0E5D-B544-ADCF-7B3DB8C18A23}"/>
    </a:ext>
  </a:extLst>
</a:theme>
</file>

<file path=ppt/theme/theme3.xml><?xml version="1.0" encoding="utf-8"?>
<a:theme xmlns:a="http://schemas.openxmlformats.org/drawingml/2006/main" name="2_Kingspan Theme Group">
  <a:themeElements>
    <a:clrScheme name="Kingsp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4189"/>
      </a:accent1>
      <a:accent2>
        <a:srgbClr val="C09A5D"/>
      </a:accent2>
      <a:accent3>
        <a:srgbClr val="F7A32C"/>
      </a:accent3>
      <a:accent4>
        <a:srgbClr val="0FA041"/>
      </a:accent4>
      <a:accent5>
        <a:srgbClr val="138DC6"/>
      </a:accent5>
      <a:accent6>
        <a:srgbClr val="6B6B6B"/>
      </a:accent6>
      <a:hlink>
        <a:srgbClr val="F7A32C"/>
      </a:hlink>
      <a:folHlink>
        <a:srgbClr val="128DC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gspan Theme Group" id="{6DD7C933-1ED7-164E-9E3E-5F016153B454}" vid="{BC0D456D-0E5D-B544-ADCF-7B3DB8C18A23}"/>
    </a:ext>
  </a:extLst>
</a:theme>
</file>

<file path=ppt/theme/theme4.xml><?xml version="1.0" encoding="utf-8"?>
<a:theme xmlns:a="http://schemas.openxmlformats.org/drawingml/2006/main" name="3_Kingspan Theme Group">
  <a:themeElements>
    <a:clrScheme name="Kingsp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4189"/>
      </a:accent1>
      <a:accent2>
        <a:srgbClr val="C09A5D"/>
      </a:accent2>
      <a:accent3>
        <a:srgbClr val="F7A32C"/>
      </a:accent3>
      <a:accent4>
        <a:srgbClr val="0FA041"/>
      </a:accent4>
      <a:accent5>
        <a:srgbClr val="138DC6"/>
      </a:accent5>
      <a:accent6>
        <a:srgbClr val="6B6B6B"/>
      </a:accent6>
      <a:hlink>
        <a:srgbClr val="F7A32C"/>
      </a:hlink>
      <a:folHlink>
        <a:srgbClr val="128DC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gspan Theme Group" id="{6DD7C933-1ED7-164E-9E3E-5F016153B454}" vid="{BC0D456D-0E5D-B544-ADCF-7B3DB8C18A23}"/>
    </a:ext>
  </a:extLst>
</a:theme>
</file>

<file path=ppt/theme/theme5.xml><?xml version="1.0" encoding="utf-8"?>
<a:theme xmlns:a="http://schemas.openxmlformats.org/drawingml/2006/main" name="4_Kingspan Theme Group">
  <a:themeElements>
    <a:clrScheme name="Kingsp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4189"/>
      </a:accent1>
      <a:accent2>
        <a:srgbClr val="C09A5D"/>
      </a:accent2>
      <a:accent3>
        <a:srgbClr val="F7A32C"/>
      </a:accent3>
      <a:accent4>
        <a:srgbClr val="0FA041"/>
      </a:accent4>
      <a:accent5>
        <a:srgbClr val="138DC6"/>
      </a:accent5>
      <a:accent6>
        <a:srgbClr val="6B6B6B"/>
      </a:accent6>
      <a:hlink>
        <a:srgbClr val="F7A32C"/>
      </a:hlink>
      <a:folHlink>
        <a:srgbClr val="128DC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gspan Theme Group" id="{6DD7C933-1ED7-164E-9E3E-5F016153B454}" vid="{BC0D456D-0E5D-B544-ADCF-7B3DB8C18A23}"/>
    </a:ext>
  </a:extLst>
</a:theme>
</file>

<file path=ppt/theme/theme6.xml><?xml version="1.0" encoding="utf-8"?>
<a:theme xmlns:a="http://schemas.openxmlformats.org/drawingml/2006/main" name="5_Kingspan Theme Group">
  <a:themeElements>
    <a:clrScheme name="Kingsp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4189"/>
      </a:accent1>
      <a:accent2>
        <a:srgbClr val="C09A5D"/>
      </a:accent2>
      <a:accent3>
        <a:srgbClr val="F7A32C"/>
      </a:accent3>
      <a:accent4>
        <a:srgbClr val="0FA041"/>
      </a:accent4>
      <a:accent5>
        <a:srgbClr val="138DC6"/>
      </a:accent5>
      <a:accent6>
        <a:srgbClr val="6B6B6B"/>
      </a:accent6>
      <a:hlink>
        <a:srgbClr val="F7A32C"/>
      </a:hlink>
      <a:folHlink>
        <a:srgbClr val="128DC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gspan Theme Group" id="{6DD7C933-1ED7-164E-9E3E-5F016153B454}" vid="{BC0D456D-0E5D-B544-ADCF-7B3DB8C18A23}"/>
    </a:ext>
  </a:extLst>
</a:theme>
</file>

<file path=ppt/theme/theme7.xml><?xml version="1.0" encoding="utf-8"?>
<a:theme xmlns:a="http://schemas.openxmlformats.org/drawingml/2006/main" name="6_Kingspan Theme Group">
  <a:themeElements>
    <a:clrScheme name="Kingsp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4189"/>
      </a:accent1>
      <a:accent2>
        <a:srgbClr val="C09A5D"/>
      </a:accent2>
      <a:accent3>
        <a:srgbClr val="F7A32C"/>
      </a:accent3>
      <a:accent4>
        <a:srgbClr val="0FA041"/>
      </a:accent4>
      <a:accent5>
        <a:srgbClr val="138DC6"/>
      </a:accent5>
      <a:accent6>
        <a:srgbClr val="6B6B6B"/>
      </a:accent6>
      <a:hlink>
        <a:srgbClr val="F7A32C"/>
      </a:hlink>
      <a:folHlink>
        <a:srgbClr val="128DC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gspan Theme Group" id="{6DD7C933-1ED7-164E-9E3E-5F016153B454}" vid="{BC0D456D-0E5D-B544-ADCF-7B3DB8C18A23}"/>
    </a:ext>
  </a:extLst>
</a:theme>
</file>

<file path=ppt/theme/theme8.xml><?xml version="1.0" encoding="utf-8"?>
<a:theme xmlns:a="http://schemas.openxmlformats.org/drawingml/2006/main" name="7_Kingspan Theme Group">
  <a:themeElements>
    <a:clrScheme name="Kingsp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4189"/>
      </a:accent1>
      <a:accent2>
        <a:srgbClr val="C09A5D"/>
      </a:accent2>
      <a:accent3>
        <a:srgbClr val="F7A32C"/>
      </a:accent3>
      <a:accent4>
        <a:srgbClr val="0FA041"/>
      </a:accent4>
      <a:accent5>
        <a:srgbClr val="138DC6"/>
      </a:accent5>
      <a:accent6>
        <a:srgbClr val="6B6B6B"/>
      </a:accent6>
      <a:hlink>
        <a:srgbClr val="F7A32C"/>
      </a:hlink>
      <a:folHlink>
        <a:srgbClr val="128DC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gspan Theme Group" id="{6DD7C933-1ED7-164E-9E3E-5F016153B454}" vid="{BC0D456D-0E5D-B544-ADCF-7B3DB8C18A23}"/>
    </a:ext>
  </a:extLst>
</a:theme>
</file>

<file path=ppt/theme/theme9.xml><?xml version="1.0" encoding="utf-8"?>
<a:theme xmlns:a="http://schemas.openxmlformats.org/drawingml/2006/main" name="8_Kingspan Theme Group">
  <a:themeElements>
    <a:clrScheme name="Kingsp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4189"/>
      </a:accent1>
      <a:accent2>
        <a:srgbClr val="C09A5D"/>
      </a:accent2>
      <a:accent3>
        <a:srgbClr val="F7A32C"/>
      </a:accent3>
      <a:accent4>
        <a:srgbClr val="0FA041"/>
      </a:accent4>
      <a:accent5>
        <a:srgbClr val="138DC6"/>
      </a:accent5>
      <a:accent6>
        <a:srgbClr val="6B6B6B"/>
      </a:accent6>
      <a:hlink>
        <a:srgbClr val="F7A32C"/>
      </a:hlink>
      <a:folHlink>
        <a:srgbClr val="128DC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gspan Theme Group" id="{6DD7C933-1ED7-164E-9E3E-5F016153B454}" vid="{BC0D456D-0E5D-B544-ADCF-7B3DB8C18A2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2FED64CCAE9E45A5327713A23FE9AD" ma:contentTypeVersion="" ma:contentTypeDescription="Create a new document." ma:contentTypeScope="" ma:versionID="e291a873e7357cd35727f476d0793f5c">
  <xsd:schema xmlns:xsd="http://www.w3.org/2001/XMLSchema" xmlns:xs="http://www.w3.org/2001/XMLSchema" xmlns:p="http://schemas.microsoft.com/office/2006/metadata/properties" xmlns:ns2="b00f693a-d229-4692-8947-e7c7028602b5" xmlns:ns3="baa76f3a-de4c-4ed9-94a3-21bece57cf18" xmlns:ns4="a98ba0a5-16ed-4b7e-bd40-2c2f8c7118b4" targetNamespace="http://schemas.microsoft.com/office/2006/metadata/properties" ma:root="true" ma:fieldsID="26ca8f9103b975459a44409d1ab8f1fa" ns2:_="" ns3:_="" ns4:_="">
    <xsd:import namespace="b00f693a-d229-4692-8947-e7c7028602b5"/>
    <xsd:import namespace="baa76f3a-de4c-4ed9-94a3-21bece57cf18"/>
    <xsd:import namespace="a98ba0a5-16ed-4b7e-bd40-2c2f8c7118b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0f693a-d229-4692-8947-e7c7028602b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t med detaljer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a6db8463-fa12-4a25-9f52-256a0efd236f}" ma:internalName="TaxCatchAll" ma:showField="CatchAllData" ma:web="b00f693a-d229-4692-8947-e7c7028602b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a76f3a-de4c-4ed9-94a3-21bece57cf18" elementFormDefault="qualified">
    <xsd:import namespace="http://schemas.microsoft.com/office/2006/documentManagement/types"/>
    <xsd:import namespace="http://schemas.microsoft.com/office/infopath/2007/PartnerControls"/>
    <xsd:element name="LastSharedByUser" ma:index="10" nillable="true" ma:displayName="Sidst delt efter brug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Sidst delt efter tid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8ba0a5-16ed-4b7e-bd40-2c2f8c7118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Billedmærker" ma:readOnly="false" ma:fieldId="{5cf76f15-5ced-4ddc-b409-7134ff3c332f}" ma:taxonomyMulti="true" ma:sspId="f7229231-3c6d-4648-bd25-6cc8a4879a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98ba0a5-16ed-4b7e-bd40-2c2f8c7118b4">
      <Terms xmlns="http://schemas.microsoft.com/office/infopath/2007/PartnerControls"/>
    </lcf76f155ced4ddcb4097134ff3c332f>
    <TaxCatchAll xmlns="b00f693a-d229-4692-8947-e7c7028602b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B61DCC3-D25E-4B4F-A0C1-FFA306AEF6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0f693a-d229-4692-8947-e7c7028602b5"/>
    <ds:schemaRef ds:uri="baa76f3a-de4c-4ed9-94a3-21bece57cf18"/>
    <ds:schemaRef ds:uri="a98ba0a5-16ed-4b7e-bd40-2c2f8c7118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E7428EE-7C15-44EA-BB20-5C2920DDEC9E}">
  <ds:schemaRefs>
    <ds:schemaRef ds:uri="http://purl.org/dc/dcmitype/"/>
    <ds:schemaRef ds:uri="http://schemas.microsoft.com/office/infopath/2007/PartnerControls"/>
    <ds:schemaRef ds:uri="b00f693a-d229-4692-8947-e7c7028602b5"/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a98ba0a5-16ed-4b7e-bd40-2c2f8c7118b4"/>
    <ds:schemaRef ds:uri="baa76f3a-de4c-4ed9-94a3-21bece57cf18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FFF0443-672A-485A-9234-B5ADC37AE76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204</TotalTime>
  <Words>748</Words>
  <Application>Microsoft Office PowerPoint</Application>
  <PresentationFormat>Widescreen</PresentationFormat>
  <Paragraphs>84</Paragraphs>
  <Slides>12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2</vt:i4>
      </vt:variant>
    </vt:vector>
  </HeadingPairs>
  <TitlesOfParts>
    <vt:vector size="31" baseType="lpstr">
      <vt:lpstr>Arial</vt:lpstr>
      <vt:lpstr>Calibri</vt:lpstr>
      <vt:lpstr>Century Gothic</vt:lpstr>
      <vt:lpstr>Helvetica LT Std</vt:lpstr>
      <vt:lpstr>Moderat-Light</vt:lpstr>
      <vt:lpstr>Kingspan Theme Group</vt:lpstr>
      <vt:lpstr>1_Kingspan Theme Group</vt:lpstr>
      <vt:lpstr>2_Kingspan Theme Group</vt:lpstr>
      <vt:lpstr>3_Kingspan Theme Group</vt:lpstr>
      <vt:lpstr>4_Kingspan Theme Group</vt:lpstr>
      <vt:lpstr>5_Kingspan Theme Group</vt:lpstr>
      <vt:lpstr>6_Kingspan Theme Group</vt:lpstr>
      <vt:lpstr>7_Kingspan Theme Group</vt:lpstr>
      <vt:lpstr>8_Kingspan Theme Group</vt:lpstr>
      <vt:lpstr>9_Kingspan Theme Group</vt:lpstr>
      <vt:lpstr>10_Kingspan Theme Group</vt:lpstr>
      <vt:lpstr>11_Kingspan Theme Group</vt:lpstr>
      <vt:lpstr>LOGSTOR_theme</vt:lpstr>
      <vt:lpstr>think-cell Slide</vt:lpstr>
      <vt:lpstr>Logstor Twin Pipe System Impact in Total Cost of Ownership </vt:lpstr>
      <vt:lpstr>We grew to become global leaders 
</vt:lpstr>
      <vt:lpstr>With more than 50 years of research, development and experience, we have become the leading manufacturer of pre-insulated pipe systems.   We invented the pre-insulated pipe, the flexible pipe, unique joints and fittings. And on top of that, we are the first company to introduce environmentally friendly products to manufacture the best insulation material.     </vt:lpstr>
      <vt:lpstr>Logstor’s Proposal for energy efficiency: Twin Pipe system  </vt:lpstr>
      <vt:lpstr>Why TWIN PIPES ?</vt:lpstr>
      <vt:lpstr>Total Cost of Ownership includes</vt:lpstr>
      <vt:lpstr>Twin Pipes vs Traditional preinsulated pipes</vt:lpstr>
      <vt:lpstr>Choosing the type of pre-insulated pipe will determine the total cost of ownership over the minimum 30 years.
</vt:lpstr>
      <vt:lpstr>PowerPoint-præsentation</vt:lpstr>
      <vt:lpstr>Logstor Fingerprint in 21st Century Technology 
</vt:lpstr>
      <vt:lpstr>Investing in energy efficiency - investing in our future</vt:lpstr>
      <vt:lpstr> Thank you,  for your atten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any Presentation</dc:title>
  <dc:creator>Renata Gajos Ottesen</dc:creator>
  <cp:lastModifiedBy>Pia Zimmermann</cp:lastModifiedBy>
  <cp:revision>119</cp:revision>
  <cp:lastPrinted>2022-01-13T14:41:17Z</cp:lastPrinted>
  <dcterms:created xsi:type="dcterms:W3CDTF">2021-12-14T07:43:42Z</dcterms:created>
  <dcterms:modified xsi:type="dcterms:W3CDTF">2023-04-18T15:1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2FED64CCAE9E45A5327713A23FE9AD</vt:lpwstr>
  </property>
</Properties>
</file>